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olors1.xml" ContentType="application/vnd.ms-office.chartcolorstyle+xml"/>
  <Override PartName="/ppt/charts/colors2.xml" ContentType="application/vnd.ms-office.chartcolorstyle+xml"/>
  <Override PartName="/ppt/charts/colors3.xml" ContentType="application/vnd.ms-office.chartcolorstyle+xml"/>
  <Override PartName="/ppt/charts/style1.xml" ContentType="application/vnd.ms-office.chartstyle+xml"/>
  <Override PartName="/ppt/charts/style2.xml" ContentType="application/vnd.ms-office.chartstyle+xml"/>
  <Override PartName="/ppt/charts/style3.xml" ContentType="application/vnd.ms-office.chartstyle+xml"/>
  <Override PartName="/ppt/comments/modernComment_7FFFE97C_8FCDDA8B.xml" ContentType="application/vnd.ms-powerpoint.comments+xml"/>
  <Override PartName="/ppt/comments/modernComment_7FFFEEBB_C936FDB1.xml" ContentType="application/vnd.ms-powerpoint.comments+xml"/>
  <Override PartName="/ppt/comments/modernComment_7FFFFF45_4547B095.xml" ContentType="application/vnd.ms-powerpoint.comments+xml"/>
  <Override PartName="/ppt/comments/modernComment_7FFFFF46_65528789.xml" ContentType="application/vnd.ms-powerpoint.comments+xml"/>
  <Override PartName="/ppt/comments/modernComment_7FFFFFF3_C8BC88B5.xml" ContentType="application/vnd.ms-powerpoint.comments+xml"/>
  <Override PartName="/ppt/comments/modernComment_7FFFFFFC_D2783892.xml" ContentType="application/vnd.ms-powerpoint.comments+xml"/>
  <Override PartName="/ppt/embeddings/Microsoft_Excel_Binary_Worksheet.xlsb" ContentType="application/vnd.ms-excel.sheet.binary.macroEnabled.12"/>
  <Override PartName="/ppt/embeddings/Microsoft_Excel_Binary_Worksheet1.xlsb" ContentType="application/vnd.ms-excel.sheet.binary.macroEnabled.12"/>
  <Override PartName="/ppt/embeddings/Microsoft_Excel_Binary_Worksheet6.xlsb" ContentType="application/vnd.ms-excel.sheet.binary.macroEnabled.12"/>
  <Override PartName="/ppt/embeddings/Microsoft_Excel_Binary_Worksheet7.xlsb" ContentType="application/vnd.ms-excel.sheet.binary.macroEnabled.12"/>
  <Override PartName="/ppt/embeddings/Microsoft_Excel_Binary_Worksheet8.xlsb" ContentType="application/vnd.ms-excel.sheet.binary.macroEnabled.12"/>
  <Override PartName="/ppt/embeddings/Microsoft_Excel_Binary_Worksheet9.xlsb" ContentType="application/vnd.ms-excel.sheet.binary.macroEnabled.12"/>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29.bin" ContentType="application/vnd.openxmlformats-officedocument.oleObject"/>
  <Override PartName="/ppt/embeddings/oleObject3.bin" ContentType="application/vnd.openxmlformats-officedocument.oleObject"/>
  <Override PartName="/ppt/embeddings/oleObject30.bin" ContentType="application/vnd.openxmlformats-officedocument.oleObject"/>
  <Override PartName="/ppt/embeddings/oleObject31.bin" ContentType="application/vnd.openxmlformats-officedocument.oleObject"/>
  <Override PartName="/ppt/embeddings/oleObject32.bin" ContentType="application/vnd.openxmlformats-officedocument.oleObject"/>
  <Override PartName="/ppt/embeddings/oleObject33.bin" ContentType="application/vnd.openxmlformats-officedocument.oleObject"/>
  <Override PartName="/ppt/embeddings/oleObject34.bin" ContentType="application/vnd.openxmlformats-officedocument.oleObject"/>
  <Override PartName="/ppt/embeddings/oleObject35.bin" ContentType="application/vnd.openxmlformats-officedocument.oleObject"/>
  <Override PartName="/ppt/embeddings/oleObject36.bin" ContentType="application/vnd.openxmlformats-officedocument.oleObject"/>
  <Override PartName="/ppt/embeddings/oleObject37.bin" ContentType="application/vnd.openxmlformats-officedocument.oleObject"/>
  <Override PartName="/ppt/embeddings/oleObject38.bin" ContentType="application/vnd.openxmlformats-officedocument.oleObject"/>
  <Override PartName="/ppt/embeddings/oleObject39.bin" ContentType="application/vnd.openxmlformats-officedocument.oleObject"/>
  <Override PartName="/ppt/embeddings/oleObject4.bin" ContentType="application/vnd.openxmlformats-officedocument.oleObject"/>
  <Override PartName="/ppt/embeddings/oleObject40.bin" ContentType="application/vnd.openxmlformats-officedocument.oleObject"/>
  <Override PartName="/ppt/embeddings/oleObject41.bin" ContentType="application/vnd.openxmlformats-officedocument.oleObject"/>
  <Override PartName="/ppt/embeddings/oleObject42.bin" ContentType="application/vnd.openxmlformats-officedocument.oleObject"/>
  <Override PartName="/ppt/embeddings/oleObject43.bin" ContentType="application/vnd.openxmlformats-officedocument.oleObject"/>
  <Override PartName="/ppt/embeddings/oleObject44.bin" ContentType="application/vnd.openxmlformats-officedocument.oleObject"/>
  <Override PartName="/ppt/embeddings/oleObject45.bin" ContentType="application/vnd.openxmlformats-officedocument.oleObject"/>
  <Override PartName="/ppt/embeddings/oleObject46.bin" ContentType="application/vnd.openxmlformats-officedocument.oleObject"/>
  <Override PartName="/ppt/embeddings/oleObject47.bin" ContentType="application/vnd.openxmlformats-officedocument.oleObject"/>
  <Override PartName="/ppt/embeddings/oleObject48.bin" ContentType="application/vnd.openxmlformats-officedocument.oleObject"/>
  <Override PartName="/ppt/embeddings/oleObject49.bin" ContentType="application/vnd.openxmlformats-officedocument.oleObject"/>
  <Override PartName="/ppt/embeddings/oleObject5.bin" ContentType="application/vnd.openxmlformats-officedocument.oleObject"/>
  <Override PartName="/ppt/embeddings/oleObject50.bin" ContentType="application/vnd.openxmlformats-officedocument.oleObject"/>
  <Override PartName="/ppt/embeddings/oleObject51.bin" ContentType="application/vnd.openxmlformats-officedocument.oleObject"/>
  <Override PartName="/ppt/embeddings/oleObject52.bin" ContentType="application/vnd.openxmlformats-officedocument.oleObject"/>
  <Override PartName="/ppt/embeddings/oleObject53.bin" ContentType="application/vnd.openxmlformats-officedocument.oleObject"/>
  <Override PartName="/ppt/embeddings/oleObject54.bin" ContentType="application/vnd.openxmlformats-officedocument.oleObject"/>
  <Override PartName="/ppt/embeddings/oleObject55.bin" ContentType="application/vnd.openxmlformats-officedocument.oleObject"/>
  <Override PartName="/ppt/embeddings/oleObject56.bin" ContentType="application/vnd.openxmlformats-officedocument.oleObject"/>
  <Override PartName="/ppt/embeddings/oleObject57.bin" ContentType="application/vnd.openxmlformats-officedocument.oleObject"/>
  <Override PartName="/ppt/embeddings/oleObject58.bin" ContentType="application/vnd.openxmlformats-officedocument.oleObject"/>
  <Override PartName="/ppt/embeddings/oleObject59.bin" ContentType="application/vnd.openxmlformats-officedocument.oleObject"/>
  <Override PartName="/ppt/embeddings/oleObject6.bin" ContentType="application/vnd.openxmlformats-officedocument.oleObject"/>
  <Override PartName="/ppt/embeddings/oleObject60.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media/image104.svg" ContentType="image/svg+xml"/>
  <Override PartName="/ppt/media/image106.svg" ContentType="image/svg+xml"/>
  <Override PartName="/ppt/media/image192.svg" ContentType="image/svg+xml"/>
  <Override PartName="/ppt/media/image207.svg" ContentType="image/svg+xml"/>
  <Override PartName="/ppt/media/image235.svg" ContentType="image/svg+xml"/>
  <Override PartName="/ppt/media/image237.svg" ContentType="image/svg+xml"/>
  <Override PartName="/ppt/media/image239.svg" ContentType="image/svg+xml"/>
  <Override PartName="/ppt/media/image241.svg" ContentType="image/svg+xml"/>
  <Override PartName="/ppt/media/image244.svg" ContentType="image/svg+xml"/>
  <Override PartName="/ppt/media/image5.svg" ContentType="image/svg+xml"/>
  <Override PartName="/ppt/media/image59.svg" ContentType="image/svg+xml"/>
  <Override PartName="/ppt/media/image7.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xml" ContentType="application/vnd.openxmlformats-officedocument.presentationml.slideLayout+xml"/>
  <Override PartName="/ppt/slideLayouts/slideLayout450.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Masters/slideMaster1.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9" r:id="rId4"/>
    <p:sldMasterId id="2147483736" r:id="rId5"/>
    <p:sldMasterId id="2147483823" r:id="rId6"/>
    <p:sldMasterId id="2147483840" r:id="rId7"/>
    <p:sldMasterId id="2147483866" r:id="rId8"/>
    <p:sldMasterId id="2147483887" r:id="rId9"/>
    <p:sldMasterId id="2147483952" r:id="rId10"/>
    <p:sldMasterId id="2147484190" r:id="rId11"/>
    <p:sldMasterId id="2147484211" r:id="rId12"/>
    <p:sldMasterId id="2147484231" r:id="rId13"/>
    <p:sldMasterId id="2147484252" r:id="rId14"/>
    <p:sldMasterId id="2147484368" r:id="rId15"/>
  </p:sldMasterIdLst>
  <p:notesMasterIdLst>
    <p:notesMasterId r:id="rId48"/>
  </p:notesMasterIdLst>
  <p:sldIdLst>
    <p:sldId id="2147378291" r:id="rId16"/>
    <p:sldId id="2147473046" r:id="rId17"/>
    <p:sldId id="2147483468" r:id="rId18"/>
    <p:sldId id="2147483466" r:id="rId19"/>
    <p:sldId id="2147483461" r:id="rId20"/>
    <p:sldId id="2147483628" r:id="rId21"/>
    <p:sldId id="2147483629" r:id="rId22"/>
    <p:sldId id="2147478099" r:id="rId23"/>
    <p:sldId id="2147478397" r:id="rId24"/>
    <p:sldId id="2147478412" r:id="rId25"/>
    <p:sldId id="10878" r:id="rId26"/>
    <p:sldId id="2147377139" r:id="rId27"/>
    <p:sldId id="2147478100" r:id="rId28"/>
    <p:sldId id="2147483462" r:id="rId29"/>
    <p:sldId id="2147483642" r:id="rId30"/>
    <p:sldId id="2147483456" r:id="rId31"/>
    <p:sldId id="2147479228" r:id="rId32"/>
    <p:sldId id="2147479227" r:id="rId33"/>
    <p:sldId id="2147479231" r:id="rId34"/>
    <p:sldId id="2147483643" r:id="rId35"/>
    <p:sldId id="2147483635" r:id="rId36"/>
    <p:sldId id="2147478414" r:id="rId37"/>
    <p:sldId id="2147483644" r:id="rId38"/>
    <p:sldId id="2147479230" r:id="rId39"/>
    <p:sldId id="2147478126" r:id="rId40"/>
    <p:sldId id="2147477764" r:id="rId41"/>
    <p:sldId id="2147477884" r:id="rId42"/>
    <p:sldId id="2147377121" r:id="rId43"/>
    <p:sldId id="2147477807" r:id="rId44"/>
    <p:sldId id="2147477793" r:id="rId45"/>
    <p:sldId id="10901" r:id="rId46"/>
    <p:sldId id="424" r:id="rId47"/>
  </p:sldIdLst>
  <p:sldSz cx="12192000" cy="6858000"/>
  <p:notesSz cx="6858000" cy="9144000"/>
  <p:custDataLst>
    <p:tags r:id="rId4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266D902-D612-CAE8-8E6A-B959220EDFF9}" name="Gupta, S. (Samiksha)" initials="SG" userId="S::Samiksha.Gupta@frieslandcampina.com::a2d5176c-db8c-4dce-9c64-1b0bf8c2c592" providerId="AD"/>
  <p188:author id="{F007B231-B7DC-AF16-6A01-358DAA5C8E37}" name="Guan, Y. (Yinyin)" initials="GY(" userId="S::Yinyin.Guan@frieslandcampina.com::274ea2ec-d8d2-4cd4-850e-a030c4a23fe5" providerId="AD"/>
  <p188:author id="{0C0483A1-7E16-CD4C-F6D1-5B979D79CC7C}" name="Agudelo Echeverri, C.E. (Carlos)" initials="AEC(" userId="S::Carlos.Agudelo@frieslandcampina.com::fbe6701e-cb21-4a56-9552-f9a84b64a374" providerId="AD"/>
  <p188:author id="{F7B9A2A9-48CA-7DE2-0703-681897457532}" name="Davies, V. (Vicky)" initials="DV(" userId="S::vicky.davies@frieslandcampina.com::5ceb6f7b-0dfb-48c2-b110-64f6aacc6d2d" providerId="AD"/>
  <p188:author id="{5FA0CDB2-257F-D966-EC4A-652B2AA63B05}" name="Geurts, J.M.W. (Jan)" initials="JG" userId="S::Jan.Geurts@frieslandcampina.com::8f97994a-1891-4e62-850a-c6549b34b490" providerId="AD"/>
  <p188:author id="{2A1623DF-7DF8-47B3-35EC-A56B3BA72D16}" name="Bentert, L.L.M. (Linda)" initials="BL(" userId="S::linda.bentert@frieslandcampina.com::867a19eb-2320-49a6-9851-83d8c38c36a6" providerId="AD"/>
  <p188:author id="{B71C15E6-848C-0CEE-E1A0-9F0174BCC8A2}" name="Verlaan, K. (Katie)" initials="KV" userId="S::katie.verlaan@frieslandcampina.com::cf2548e0-2619-4e5d-9b5b-a9a26fdb4f4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930998F-BBD6-47D9-B5D0-31531AEF5076}" v="1077" dt="2025-04-16T14:11:38.587"/>
    <p1510:client id="{17A61962-6FB7-4437-A224-E3F2B60E553D}" v="34512" dt="2025-04-17T08:22:44.886"/>
    <p1510:client id="{21176610-E1BC-4BC0-BD3D-5D3A5C05A637}" v="75" dt="2025-04-17T11:48:40.769"/>
    <p1510:client id="{44B21929-BB21-4215-AD6D-E817E470B0B3}" v="388" dt="2025-04-16T13:09:01.058"/>
    <p1510:client id="{4B80ECBA-EDEF-43E5-B63A-A95D4D0E6219}" v="6221" dt="2025-04-17T13:53:50.850"/>
    <p1510:client id="{9C75ACA4-2386-46D1-95C0-E1BCDDD94C62}" v="3040" dt="2025-04-16T14:04:08.80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7" d="100"/>
          <a:sy n="57" d="100"/>
        </p:scale>
        <p:origin x="28" y="4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6" Type="http://schemas.openxmlformats.org/officeDocument/2006/relationships/slideMaster" Target="slideMasters/slideMaster3.xml"/><Relationship Id="rId7" Type="http://schemas.openxmlformats.org/officeDocument/2006/relationships/slideMaster" Target="slideMasters/slideMaster4.xml"/><Relationship Id="rId8" Type="http://schemas.openxmlformats.org/officeDocument/2006/relationships/slideMaster" Target="slideMasters/slideMaster5.xml"/><Relationship Id="rId9" Type="http://schemas.openxmlformats.org/officeDocument/2006/relationships/slideMaster" Target="slideMasters/slideMaster6.xml"/><Relationship Id="rId10" Type="http://schemas.openxmlformats.org/officeDocument/2006/relationships/slideMaster" Target="slideMasters/slideMaster7.xml"/><Relationship Id="rId11" Type="http://schemas.openxmlformats.org/officeDocument/2006/relationships/slideMaster" Target="slideMasters/slideMaster8.xml"/><Relationship Id="rId12" Type="http://schemas.openxmlformats.org/officeDocument/2006/relationships/slideMaster" Target="slideMasters/slideMaster9.xml"/><Relationship Id="rId13" Type="http://schemas.openxmlformats.org/officeDocument/2006/relationships/slideMaster" Target="slideMasters/slideMaster10.xml"/><Relationship Id="rId14" Type="http://schemas.openxmlformats.org/officeDocument/2006/relationships/slideMaster" Target="slideMasters/slideMaster11.xml"/><Relationship Id="rId15" Type="http://schemas.openxmlformats.org/officeDocument/2006/relationships/slideMaster" Target="slideMasters/slideMaster12.xml"/><Relationship Id="rId16" Type="http://schemas.openxmlformats.org/officeDocument/2006/relationships/slide" Target="slides/slide1.xml"/><Relationship Id="rId17" Type="http://schemas.openxmlformats.org/officeDocument/2006/relationships/slide" Target="slides/slide2.xml"/><Relationship Id="rId18" Type="http://schemas.openxmlformats.org/officeDocument/2006/relationships/slide" Target="slides/slide3.xml"/><Relationship Id="rId19" Type="http://schemas.openxmlformats.org/officeDocument/2006/relationships/slide" Target="slides/slide4.xml"/><Relationship Id="rId20" Type="http://schemas.openxmlformats.org/officeDocument/2006/relationships/slide" Target="slides/slide5.xml"/><Relationship Id="rId21" Type="http://schemas.openxmlformats.org/officeDocument/2006/relationships/slide" Target="slides/slide6.xml"/><Relationship Id="rId22" Type="http://schemas.openxmlformats.org/officeDocument/2006/relationships/slide" Target="slides/slide7.xml"/><Relationship Id="rId23" Type="http://schemas.openxmlformats.org/officeDocument/2006/relationships/slide" Target="slides/slide8.xml"/><Relationship Id="rId24" Type="http://schemas.openxmlformats.org/officeDocument/2006/relationships/slide" Target="slides/slide9.xml"/><Relationship Id="rId25" Type="http://schemas.openxmlformats.org/officeDocument/2006/relationships/slide" Target="slides/slide10.xml"/><Relationship Id="rId26" Type="http://schemas.openxmlformats.org/officeDocument/2006/relationships/slide" Target="slides/slide11.xml"/><Relationship Id="rId27" Type="http://schemas.openxmlformats.org/officeDocument/2006/relationships/slide" Target="slides/slide12.xml"/><Relationship Id="rId28" Type="http://schemas.openxmlformats.org/officeDocument/2006/relationships/slide" Target="slides/slide13.xml"/><Relationship Id="rId29" Type="http://schemas.openxmlformats.org/officeDocument/2006/relationships/slide" Target="slides/slide14.xml"/><Relationship Id="rId30" Type="http://schemas.openxmlformats.org/officeDocument/2006/relationships/slide" Target="slides/slide15.xml"/><Relationship Id="rId31" Type="http://schemas.openxmlformats.org/officeDocument/2006/relationships/slide" Target="slides/slide16.xml"/><Relationship Id="rId32" Type="http://schemas.openxmlformats.org/officeDocument/2006/relationships/slide" Target="slides/slide17.xml"/><Relationship Id="rId33" Type="http://schemas.openxmlformats.org/officeDocument/2006/relationships/slide" Target="slides/slide18.xml"/><Relationship Id="rId34" Type="http://schemas.openxmlformats.org/officeDocument/2006/relationships/slide" Target="slides/slide19.xml"/><Relationship Id="rId35" Type="http://schemas.openxmlformats.org/officeDocument/2006/relationships/slide" Target="slides/slide20.xml"/><Relationship Id="rId36" Type="http://schemas.openxmlformats.org/officeDocument/2006/relationships/slide" Target="slides/slide21.xml"/><Relationship Id="rId37" Type="http://schemas.openxmlformats.org/officeDocument/2006/relationships/slide" Target="slides/slide22.xml"/><Relationship Id="rId38" Type="http://schemas.openxmlformats.org/officeDocument/2006/relationships/slide" Target="slides/slide23.xml"/><Relationship Id="rId39" Type="http://schemas.openxmlformats.org/officeDocument/2006/relationships/slide" Target="slides/slide24.xml"/><Relationship Id="rId40" Type="http://schemas.openxmlformats.org/officeDocument/2006/relationships/slide" Target="slides/slide25.xml"/><Relationship Id="rId41" Type="http://schemas.openxmlformats.org/officeDocument/2006/relationships/slide" Target="slides/slide26.xml"/><Relationship Id="rId42" Type="http://schemas.openxmlformats.org/officeDocument/2006/relationships/slide" Target="slides/slide27.xml"/><Relationship Id="rId43" Type="http://schemas.openxmlformats.org/officeDocument/2006/relationships/slide" Target="slides/slide28.xml"/><Relationship Id="rId44" Type="http://schemas.openxmlformats.org/officeDocument/2006/relationships/slide" Target="slides/slide29.xml"/><Relationship Id="rId45" Type="http://schemas.openxmlformats.org/officeDocument/2006/relationships/slide" Target="slides/slide30.xml"/><Relationship Id="rId46" Type="http://schemas.openxmlformats.org/officeDocument/2006/relationships/slide" Target="slides/slide31.xml"/><Relationship Id="rId47" Type="http://schemas.openxmlformats.org/officeDocument/2006/relationships/slide" Target="slides/slide32.xml"/><Relationship Id="rId48" Type="http://schemas.openxmlformats.org/officeDocument/2006/relationships/notesMaster" Target="notesMasters/notesMaster1.xml"/><Relationship Id="rId49" Type="http://schemas.openxmlformats.org/officeDocument/2006/relationships/tags" Target="tags/tag1.xml"/><Relationship Id="rId50" Type="http://schemas.openxmlformats.org/officeDocument/2006/relationships/presProps" Target="presProps.xml"/><Relationship Id="rId51" Type="http://schemas.openxmlformats.org/officeDocument/2006/relationships/viewProps" Target="viewProps.xml"/><Relationship Id="rId52" Type="http://schemas.openxmlformats.org/officeDocument/2006/relationships/theme" Target="theme/theme1.xml"/><Relationship Id="rId53" Type="http://schemas.openxmlformats.org/officeDocument/2006/relationships/tableStyles" Target="tableStyles.xml"/><Relationship Id="rId54" Type="http://schemas.microsoft.com/office/2015/10/relationships/revisionInfo" Target="revisionInfo.xml"/><Relationship Id="rId55"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package" Target="../embeddings/Microsoft_Excel_Worksheet.xlsx"/></Relationships>
</file>

<file path=ppt/charts/_rels/chart4.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package" Target="../embeddings/Microsoft_Excel_Worksheet2.xlsx"/></Relationships>
</file>

<file path=ppt/charts/_rels/chart5.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3.xlsx"/></Relationships>
</file>

<file path=ppt/charts/_rels/chart6.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4.xlsx"/></Relationships>
</file>

<file path=ppt/charts/_rels/chart7.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5.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903983949555747E-2"/>
          <c:y val="7.5268817204301078E-2"/>
          <c:w val="0.97019203210088856"/>
          <c:h val="0.84946236559139787"/>
        </c:manualLayout>
      </c:layout>
      <c:barChart>
        <c:barDir val="col"/>
        <c:grouping val="stacked"/>
        <c:varyColors val="0"/>
        <c:ser>
          <c:idx val="0"/>
          <c:order val="0"/>
          <c:spPr>
            <a:solidFill>
              <a:schemeClr val="accent3"/>
            </a:solidFill>
            <a:ln w="9525" cmpd="sng" algn="ctr">
              <a:solidFill>
                <a:schemeClr val="bg1"/>
              </a:solidFill>
              <a:prstDash val="solid"/>
            </a:ln>
          </c:spPr>
          <c:invertIfNegative val="0"/>
          <c:dLbls>
            <c:dLbl>
              <c:idx val="0"/>
              <c:layout>
                <c:manualLayout>
                  <c:x val="0"/>
                  <c:y val="-4.4802867383512545E-4"/>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434-4105-9BC1-F87BC59C1198}"/>
                </c:ext>
              </c:extLst>
            </c:dLbl>
            <c:dLbl>
              <c:idx val="1"/>
              <c:layout>
                <c:manualLayout>
                  <c:x val="0"/>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434-4105-9BC1-F87BC59C1198}"/>
                </c:ext>
              </c:extLst>
            </c:dLbl>
            <c:dLbl>
              <c:idx val="2"/>
              <c:layout>
                <c:manualLayout>
                  <c:x val="0"/>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434-4105-9BC1-F87BC59C1198}"/>
                </c:ext>
              </c:extLst>
            </c:dLbl>
            <c:dLbl>
              <c:idx val="3"/>
              <c:layout>
                <c:manualLayout>
                  <c:x val="0"/>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434-4105-9BC1-F87BC59C1198}"/>
                </c:ext>
              </c:extLst>
            </c:dLbl>
            <c:dLbl>
              <c:idx val="4"/>
              <c:layout>
                <c:manualLayout>
                  <c:x val="0"/>
                  <c:y val="-4.4802867383512545E-4"/>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434-4105-9BC1-F87BC59C1198}"/>
                </c:ext>
              </c:extLst>
            </c:dLbl>
            <c:dLbl>
              <c:idx val="5"/>
              <c:layout>
                <c:manualLayout>
                  <c:x val="0"/>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434-4105-9BC1-F87BC59C1198}"/>
                </c:ext>
              </c:extLst>
            </c:dLbl>
            <c:dLbl>
              <c:idx val="6"/>
              <c:layout>
                <c:manualLayout>
                  <c:x val="0"/>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434-4105-9BC1-F87BC59C1198}"/>
                </c:ext>
              </c:extLst>
            </c:dLbl>
            <c:dLbl>
              <c:idx val="7"/>
              <c:layout>
                <c:manualLayout>
                  <c:x val="0"/>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434-4105-9BC1-F87BC59C119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31.802599999999998</c:v>
                </c:pt>
                <c:pt idx="1">
                  <c:v>32.900500000000001</c:v>
                </c:pt>
                <c:pt idx="2">
                  <c:v>34.091699999999996</c:v>
                </c:pt>
                <c:pt idx="3">
                  <c:v>35.520199999999996</c:v>
                </c:pt>
                <c:pt idx="4">
                  <c:v>37.078800000000001</c:v>
                </c:pt>
                <c:pt idx="5">
                  <c:v>38.801300000000005</c:v>
                </c:pt>
                <c:pt idx="6">
                  <c:v>40.621300000000005</c:v>
                </c:pt>
                <c:pt idx="7">
                  <c:v>42.575199999999995</c:v>
                </c:pt>
              </c:numCache>
            </c:numRef>
          </c:val>
          <c:extLst>
            <c:ext xmlns:c16="http://schemas.microsoft.com/office/drawing/2014/chart" uri="{C3380CC4-5D6E-409C-BE32-E72D297353CC}">
              <c16:uniqueId val="{00000008-D434-4105-9BC1-F87BC59C1198}"/>
            </c:ext>
          </c:extLst>
        </c:ser>
        <c:ser>
          <c:idx val="1"/>
          <c:order val="1"/>
          <c:spPr>
            <a:solidFill>
              <a:schemeClr val="accent2"/>
            </a:solidFill>
            <a:ln w="9525" cmpd="sng" algn="ctr">
              <a:solidFill>
                <a:schemeClr val="bg1"/>
              </a:solidFill>
              <a:prstDash val="solid"/>
            </a:ln>
          </c:spPr>
          <c:invertIfNegative val="0"/>
          <c:dLbls>
            <c:dLbl>
              <c:idx val="0"/>
              <c:layout>
                <c:manualLayout>
                  <c:x val="0"/>
                  <c:y val="0"/>
                </c:manualLayout>
              </c:layout>
              <c:numFmt formatCode="#,##0;&quot;-&quot;#,##0" sourceLinked="0"/>
              <c:spPr>
                <a:noFill/>
                <a:ln>
                  <a:noFill/>
                </a:ln>
              </c:spPr>
              <c:txPr>
                <a:bodyPr wrap="none"/>
                <a:lstStyle/>
                <a:p>
                  <a:pPr>
                    <a:defRPr sz="1200" kern="1200">
                      <a:solidFill>
                        <a:schemeClr val="tx2"/>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434-4105-9BC1-F87BC59C1198}"/>
                </c:ext>
              </c:extLst>
            </c:dLbl>
            <c:dLbl>
              <c:idx val="1"/>
              <c:layout>
                <c:manualLayout>
                  <c:x val="0"/>
                  <c:y val="0"/>
                </c:manualLayout>
              </c:layout>
              <c:numFmt formatCode="#,##0;&quot;-&quot;#,##0" sourceLinked="0"/>
              <c:spPr>
                <a:noFill/>
                <a:ln>
                  <a:noFill/>
                </a:ln>
              </c:spPr>
              <c:txPr>
                <a:bodyPr wrap="none"/>
                <a:lstStyle/>
                <a:p>
                  <a:pPr>
                    <a:defRPr sz="1200" kern="1200">
                      <a:solidFill>
                        <a:schemeClr val="tx2"/>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434-4105-9BC1-F87BC59C1198}"/>
                </c:ext>
              </c:extLst>
            </c:dLbl>
            <c:dLbl>
              <c:idx val="2"/>
              <c:layout>
                <c:manualLayout>
                  <c:x val="0"/>
                  <c:y val="0"/>
                </c:manualLayout>
              </c:layout>
              <c:numFmt formatCode="#,##0;&quot;-&quot;#,##0" sourceLinked="0"/>
              <c:spPr>
                <a:noFill/>
                <a:ln>
                  <a:noFill/>
                </a:ln>
              </c:spPr>
              <c:txPr>
                <a:bodyPr wrap="none"/>
                <a:lstStyle/>
                <a:p>
                  <a:pPr>
                    <a:defRPr sz="1200" kern="1200">
                      <a:solidFill>
                        <a:schemeClr val="tx2"/>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434-4105-9BC1-F87BC59C1198}"/>
                </c:ext>
              </c:extLst>
            </c:dLbl>
            <c:dLbl>
              <c:idx val="3"/>
              <c:layout>
                <c:manualLayout>
                  <c:x val="0"/>
                  <c:y val="0"/>
                </c:manualLayout>
              </c:layout>
              <c:numFmt formatCode="#,##0;&quot;-&quot;#,##0" sourceLinked="0"/>
              <c:spPr>
                <a:noFill/>
                <a:ln>
                  <a:noFill/>
                </a:ln>
              </c:spPr>
              <c:txPr>
                <a:bodyPr wrap="none"/>
                <a:lstStyle/>
                <a:p>
                  <a:pPr>
                    <a:defRPr sz="1200" kern="1200">
                      <a:solidFill>
                        <a:schemeClr val="tx2"/>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434-4105-9BC1-F87BC59C1198}"/>
                </c:ext>
              </c:extLst>
            </c:dLbl>
            <c:dLbl>
              <c:idx val="4"/>
              <c:layout>
                <c:manualLayout>
                  <c:x val="0"/>
                  <c:y val="-4.4802867383512545E-4"/>
                </c:manualLayout>
              </c:layout>
              <c:numFmt formatCode="#,##0;&quot;-&quot;#,##0" sourceLinked="0"/>
              <c:spPr>
                <a:noFill/>
                <a:ln>
                  <a:noFill/>
                </a:ln>
              </c:spPr>
              <c:txPr>
                <a:bodyPr wrap="none"/>
                <a:lstStyle/>
                <a:p>
                  <a:pPr>
                    <a:defRPr sz="1200" kern="1200">
                      <a:solidFill>
                        <a:schemeClr val="tx2"/>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434-4105-9BC1-F87BC59C1198}"/>
                </c:ext>
              </c:extLst>
            </c:dLbl>
            <c:dLbl>
              <c:idx val="5"/>
              <c:layout>
                <c:manualLayout>
                  <c:x val="0"/>
                  <c:y val="0"/>
                </c:manualLayout>
              </c:layout>
              <c:numFmt formatCode="#,##0;&quot;-&quot;#,##0" sourceLinked="0"/>
              <c:spPr>
                <a:noFill/>
                <a:ln>
                  <a:noFill/>
                </a:ln>
              </c:spPr>
              <c:txPr>
                <a:bodyPr wrap="none"/>
                <a:lstStyle/>
                <a:p>
                  <a:pPr>
                    <a:defRPr sz="1200" kern="1200">
                      <a:solidFill>
                        <a:schemeClr val="tx2"/>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434-4105-9BC1-F87BC59C1198}"/>
                </c:ext>
              </c:extLst>
            </c:dLbl>
            <c:dLbl>
              <c:idx val="6"/>
              <c:layout>
                <c:manualLayout>
                  <c:x val="0"/>
                  <c:y val="-4.4802867383512545E-4"/>
                </c:manualLayout>
              </c:layout>
              <c:numFmt formatCode="#,##0;&quot;-&quot;#,##0" sourceLinked="0"/>
              <c:spPr>
                <a:noFill/>
                <a:ln>
                  <a:noFill/>
                </a:ln>
              </c:spPr>
              <c:txPr>
                <a:bodyPr wrap="none"/>
                <a:lstStyle/>
                <a:p>
                  <a:pPr>
                    <a:defRPr sz="1200" kern="1200">
                      <a:solidFill>
                        <a:schemeClr val="tx2"/>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434-4105-9BC1-F87BC59C1198}"/>
                </c:ext>
              </c:extLst>
            </c:dLbl>
            <c:dLbl>
              <c:idx val="7"/>
              <c:layout>
                <c:manualLayout>
                  <c:x val="0"/>
                  <c:y val="0"/>
                </c:manualLayout>
              </c:layout>
              <c:numFmt formatCode="#,##0;&quot;-&quot;#,##0" sourceLinked="0"/>
              <c:spPr>
                <a:noFill/>
                <a:ln>
                  <a:noFill/>
                </a:ln>
              </c:spPr>
              <c:txPr>
                <a:bodyPr wrap="none"/>
                <a:lstStyle/>
                <a:p>
                  <a:pPr>
                    <a:defRPr sz="1200" kern="1200">
                      <a:solidFill>
                        <a:schemeClr val="tx2"/>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434-4105-9BC1-F87BC59C119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0">
                  <c:v>27.687399999999997</c:v>
                </c:pt>
                <c:pt idx="1">
                  <c:v>32.189799999999998</c:v>
                </c:pt>
                <c:pt idx="2">
                  <c:v>31.905700000000003</c:v>
                </c:pt>
                <c:pt idx="3">
                  <c:v>32.430100000000003</c:v>
                </c:pt>
                <c:pt idx="4">
                  <c:v>33.217699999999994</c:v>
                </c:pt>
                <c:pt idx="5">
                  <c:v>34.240699999999997</c:v>
                </c:pt>
                <c:pt idx="6">
                  <c:v>35.600000000000009</c:v>
                </c:pt>
                <c:pt idx="7">
                  <c:v>37.229699999999994</c:v>
                </c:pt>
              </c:numCache>
            </c:numRef>
          </c:val>
          <c:extLst>
            <c:ext xmlns:c16="http://schemas.microsoft.com/office/drawing/2014/chart" uri="{C3380CC4-5D6E-409C-BE32-E72D297353CC}">
              <c16:uniqueId val="{00000011-D434-4105-9BC1-F87BC59C1198}"/>
            </c:ext>
          </c:extLst>
        </c:ser>
        <c:ser>
          <c:idx val="2"/>
          <c:order val="2"/>
          <c:spPr>
            <a:solidFill>
              <a:schemeClr val="accent1"/>
            </a:solidFill>
            <a:ln w="9525" cmpd="sng" algn="ctr">
              <a:solidFill>
                <a:schemeClr val="bg1"/>
              </a:solidFill>
              <a:prstDash val="solid"/>
            </a:ln>
          </c:spPr>
          <c:invertIfNegative val="0"/>
          <c:dLbls>
            <c:dLbl>
              <c:idx val="0"/>
              <c:layout>
                <c:manualLayout>
                  <c:x val="0"/>
                  <c:y val="-4.4802867383512545E-4"/>
                </c:manualLayout>
              </c:layout>
              <c:numFmt formatCode="#,##0;&quot;-&quot;#,##0" sourceLinked="0"/>
              <c:spPr>
                <a:noFill/>
                <a:ln>
                  <a:noFill/>
                </a:ln>
              </c:spPr>
              <c:txPr>
                <a:bodyPr wrap="none"/>
                <a:lstStyle/>
                <a:p>
                  <a:pPr>
                    <a:defRPr sz="1200" kern="1200">
                      <a:solidFill>
                        <a:schemeClr val="tx2"/>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D434-4105-9BC1-F87BC59C1198}"/>
                </c:ext>
              </c:extLst>
            </c:dLbl>
            <c:dLbl>
              <c:idx val="1"/>
              <c:layout>
                <c:manualLayout>
                  <c:x val="0"/>
                  <c:y val="0"/>
                </c:manualLayout>
              </c:layout>
              <c:numFmt formatCode="#,##0;&quot;-&quot;#,##0" sourceLinked="0"/>
              <c:spPr>
                <a:noFill/>
                <a:ln>
                  <a:noFill/>
                </a:ln>
              </c:spPr>
              <c:txPr>
                <a:bodyPr wrap="none"/>
                <a:lstStyle/>
                <a:p>
                  <a:pPr>
                    <a:defRPr sz="1200" kern="1200">
                      <a:solidFill>
                        <a:schemeClr val="tx2"/>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D434-4105-9BC1-F87BC59C1198}"/>
                </c:ext>
              </c:extLst>
            </c:dLbl>
            <c:dLbl>
              <c:idx val="2"/>
              <c:layout>
                <c:manualLayout>
                  <c:x val="0"/>
                  <c:y val="0"/>
                </c:manualLayout>
              </c:layout>
              <c:numFmt formatCode="#,##0;&quot;-&quot;#,##0" sourceLinked="0"/>
              <c:spPr>
                <a:noFill/>
                <a:ln>
                  <a:noFill/>
                </a:ln>
              </c:spPr>
              <c:txPr>
                <a:bodyPr wrap="none"/>
                <a:lstStyle/>
                <a:p>
                  <a:pPr>
                    <a:defRPr sz="1200" kern="1200">
                      <a:solidFill>
                        <a:schemeClr val="tx2"/>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D434-4105-9BC1-F87BC59C1198}"/>
                </c:ext>
              </c:extLst>
            </c:dLbl>
            <c:dLbl>
              <c:idx val="3"/>
              <c:layout>
                <c:manualLayout>
                  <c:x val="0"/>
                  <c:y val="0"/>
                </c:manualLayout>
              </c:layout>
              <c:numFmt formatCode="#,##0;&quot;-&quot;#,##0" sourceLinked="0"/>
              <c:spPr>
                <a:noFill/>
                <a:ln>
                  <a:noFill/>
                </a:ln>
              </c:spPr>
              <c:txPr>
                <a:bodyPr wrap="none"/>
                <a:lstStyle/>
                <a:p>
                  <a:pPr>
                    <a:defRPr sz="1200" kern="1200">
                      <a:solidFill>
                        <a:schemeClr val="tx2"/>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D434-4105-9BC1-F87BC59C1198}"/>
                </c:ext>
              </c:extLst>
            </c:dLbl>
            <c:dLbl>
              <c:idx val="4"/>
              <c:layout>
                <c:manualLayout>
                  <c:x val="0"/>
                  <c:y val="-4.4802867383512545E-4"/>
                </c:manualLayout>
              </c:layout>
              <c:numFmt formatCode="#,##0;&quot;-&quot;#,##0" sourceLinked="0"/>
              <c:spPr>
                <a:noFill/>
                <a:ln>
                  <a:noFill/>
                </a:ln>
              </c:spPr>
              <c:txPr>
                <a:bodyPr wrap="none"/>
                <a:lstStyle/>
                <a:p>
                  <a:pPr>
                    <a:defRPr sz="1200" kern="1200">
                      <a:solidFill>
                        <a:schemeClr val="tx2"/>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D434-4105-9BC1-F87BC59C1198}"/>
                </c:ext>
              </c:extLst>
            </c:dLbl>
            <c:dLbl>
              <c:idx val="5"/>
              <c:layout>
                <c:manualLayout>
                  <c:x val="0"/>
                  <c:y val="0"/>
                </c:manualLayout>
              </c:layout>
              <c:numFmt formatCode="#,##0;&quot;-&quot;#,##0" sourceLinked="0"/>
              <c:spPr>
                <a:noFill/>
                <a:ln>
                  <a:noFill/>
                </a:ln>
              </c:spPr>
              <c:txPr>
                <a:bodyPr wrap="none"/>
                <a:lstStyle/>
                <a:p>
                  <a:pPr>
                    <a:defRPr sz="1200" kern="1200">
                      <a:solidFill>
                        <a:schemeClr val="tx2"/>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D434-4105-9BC1-F87BC59C1198}"/>
                </c:ext>
              </c:extLst>
            </c:dLbl>
            <c:dLbl>
              <c:idx val="6"/>
              <c:layout>
                <c:manualLayout>
                  <c:x val="0"/>
                  <c:y val="0"/>
                </c:manualLayout>
              </c:layout>
              <c:numFmt formatCode="#,##0;&quot;-&quot;#,##0" sourceLinked="0"/>
              <c:spPr>
                <a:noFill/>
                <a:ln>
                  <a:noFill/>
                </a:ln>
              </c:spPr>
              <c:txPr>
                <a:bodyPr wrap="none"/>
                <a:lstStyle/>
                <a:p>
                  <a:pPr>
                    <a:defRPr sz="1200" kern="1200">
                      <a:solidFill>
                        <a:schemeClr val="tx2"/>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D434-4105-9BC1-F87BC59C1198}"/>
                </c:ext>
              </c:extLst>
            </c:dLbl>
            <c:dLbl>
              <c:idx val="7"/>
              <c:layout>
                <c:manualLayout>
                  <c:x val="0"/>
                  <c:y val="-4.4802867383512545E-4"/>
                </c:manualLayout>
              </c:layout>
              <c:numFmt formatCode="#,##0;&quot;-&quot;#,##0" sourceLinked="0"/>
              <c:spPr>
                <a:noFill/>
                <a:ln>
                  <a:noFill/>
                </a:ln>
              </c:spPr>
              <c:txPr>
                <a:bodyPr wrap="none"/>
                <a:lstStyle/>
                <a:p>
                  <a:pPr>
                    <a:defRPr sz="1200" kern="1200">
                      <a:solidFill>
                        <a:schemeClr val="tx2"/>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D434-4105-9BC1-F87BC59C119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H$3</c:f>
              <c:numCache>
                <c:formatCode>General</c:formatCode>
                <c:ptCount val="8"/>
                <c:pt idx="0">
                  <c:v>16.863399999999999</c:v>
                </c:pt>
                <c:pt idx="1">
                  <c:v>20.100499999999997</c:v>
                </c:pt>
                <c:pt idx="2">
                  <c:v>21.115700000000004</c:v>
                </c:pt>
                <c:pt idx="3">
                  <c:v>22.414199999999994</c:v>
                </c:pt>
                <c:pt idx="4">
                  <c:v>24.135400000000004</c:v>
                </c:pt>
                <c:pt idx="5">
                  <c:v>26.177099999999996</c:v>
                </c:pt>
                <c:pt idx="6">
                  <c:v>28.316500000000005</c:v>
                </c:pt>
                <c:pt idx="7">
                  <c:v>30.913799999999995</c:v>
                </c:pt>
              </c:numCache>
            </c:numRef>
          </c:val>
          <c:extLst>
            <c:ext xmlns:c16="http://schemas.microsoft.com/office/drawing/2014/chart" uri="{C3380CC4-5D6E-409C-BE32-E72D297353CC}">
              <c16:uniqueId val="{0000001A-D434-4105-9BC1-F87BC59C1198}"/>
            </c:ext>
          </c:extLst>
        </c:ser>
        <c:dLbls>
          <c:showLegendKey val="0"/>
          <c:showVal val="0"/>
          <c:showCatName val="0"/>
          <c:showSerName val="0"/>
          <c:showPercent val="0"/>
          <c:showBubbleSize val="0"/>
        </c:dLbls>
        <c:gapWidth val="40"/>
        <c:overlap val="100"/>
        <c:axId val="1989913407"/>
        <c:axId val="1"/>
      </c:barChart>
      <c:catAx>
        <c:axId val="198991340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10.71869999999998"/>
          <c:min val="0"/>
        </c:scaling>
        <c:delete val="1"/>
        <c:axPos val="l"/>
        <c:numFmt formatCode="General" sourceLinked="1"/>
        <c:majorTickMark val="out"/>
        <c:minorTickMark val="none"/>
        <c:tickLblPos val="nextTo"/>
        <c:crossAx val="1989913407"/>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329221008107157E-2"/>
          <c:y val="7.4285714285714288E-2"/>
          <c:w val="0.96334155798378573"/>
          <c:h val="0.85142857142857142"/>
        </c:manualLayout>
      </c:layout>
      <c:barChart>
        <c:barDir val="col"/>
        <c:grouping val="stacked"/>
        <c:varyColors val="0"/>
        <c:ser>
          <c:idx val="0"/>
          <c:order val="0"/>
          <c:spPr>
            <a:solidFill>
              <a:schemeClr val="accent1"/>
            </a:solidFill>
            <a:ln>
              <a:noFill/>
            </a:ln>
          </c:spPr>
          <c:invertIfNegative val="0"/>
          <c:val>
            <c:numRef>
              <c:f>Sheet1!$A$1:$E$1</c:f>
              <c:numCache>
                <c:formatCode>General</c:formatCode>
                <c:ptCount val="5"/>
                <c:pt idx="0">
                  <c:v>1.5350553505535056</c:v>
                </c:pt>
                <c:pt idx="1">
                  <c:v>3.8571428571428577</c:v>
                </c:pt>
                <c:pt idx="2">
                  <c:v>3.8571428571428577</c:v>
                </c:pt>
                <c:pt idx="3">
                  <c:v>3.375</c:v>
                </c:pt>
                <c:pt idx="4">
                  <c:v>2.8342895713803578</c:v>
                </c:pt>
              </c:numCache>
            </c:numRef>
          </c:val>
          <c:extLst>
            <c:ext xmlns:c16="http://schemas.microsoft.com/office/drawing/2014/chart" uri="{C3380CC4-5D6E-409C-BE32-E72D297353CC}">
              <c16:uniqueId val="{00000000-5228-47A3-97A2-CFE6A9D7055E}"/>
            </c:ext>
          </c:extLst>
        </c:ser>
        <c:dLbls>
          <c:showLegendKey val="0"/>
          <c:showVal val="0"/>
          <c:showCatName val="0"/>
          <c:showSerName val="0"/>
          <c:showPercent val="0"/>
          <c:showBubbleSize val="0"/>
        </c:dLbls>
        <c:gapWidth val="80"/>
        <c:overlap val="100"/>
        <c:axId val="199509151"/>
        <c:axId val="1"/>
      </c:barChart>
      <c:catAx>
        <c:axId val="19950915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8571428571428577"/>
          <c:min val="0"/>
        </c:scaling>
        <c:delete val="1"/>
        <c:axPos val="l"/>
        <c:numFmt formatCode="General" sourceLinked="1"/>
        <c:majorTickMark val="out"/>
        <c:minorTickMark val="none"/>
        <c:tickLblPos val="nextTo"/>
        <c:crossAx val="199509151"/>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253668763102725E-2"/>
          <c:y val="2.8276237085372486E-2"/>
          <c:w val="0.9454926624737946"/>
          <c:h val="0.94344752582925506"/>
        </c:manualLayout>
      </c:layout>
      <c:barChart>
        <c:barDir val="col"/>
        <c:grouping val="clustered"/>
        <c:varyColors val="0"/>
        <c:ser>
          <c:idx val="0"/>
          <c:order val="0"/>
          <c:spPr>
            <a:solidFill>
              <a:schemeClr val="accent1"/>
            </a:solidFill>
            <a:ln>
              <a:noFill/>
            </a:ln>
          </c:spPr>
          <c:invertIfNegative val="0"/>
          <c:val>
            <c:numRef>
              <c:f>Sheet1!$A$1:$C$1</c:f>
              <c:numCache>
                <c:formatCode>General</c:formatCode>
                <c:ptCount val="3"/>
                <c:pt idx="0">
                  <c:v>4595.3593069728086</c:v>
                </c:pt>
                <c:pt idx="1">
                  <c:v>27897.059306972802</c:v>
                </c:pt>
                <c:pt idx="2">
                  <c:v>15742.559306972809</c:v>
                </c:pt>
              </c:numCache>
            </c:numRef>
          </c:val>
          <c:extLst>
            <c:ext xmlns:c16="http://schemas.microsoft.com/office/drawing/2014/chart" uri="{C3380CC4-5D6E-409C-BE32-E72D297353CC}">
              <c16:uniqueId val="{00000000-442E-4515-A5E6-7186CA10DDDC}"/>
            </c:ext>
          </c:extLst>
        </c:ser>
        <c:ser>
          <c:idx val="1"/>
          <c:order val="1"/>
          <c:spPr>
            <a:solidFill>
              <a:schemeClr val="accent2"/>
            </a:solidFill>
            <a:ln>
              <a:noFill/>
            </a:ln>
          </c:spPr>
          <c:invertIfNegative val="0"/>
          <c:val>
            <c:numRef>
              <c:f>Sheet1!$A$2:$C$2</c:f>
              <c:numCache>
                <c:formatCode>General</c:formatCode>
                <c:ptCount val="3"/>
                <c:pt idx="0">
                  <c:v>8759.5526403061194</c:v>
                </c:pt>
                <c:pt idx="1">
                  <c:v>47742.205973639677</c:v>
                </c:pt>
                <c:pt idx="2">
                  <c:v>31757.454862529001</c:v>
                </c:pt>
              </c:numCache>
            </c:numRef>
          </c:val>
          <c:extLst>
            <c:ext xmlns:c16="http://schemas.microsoft.com/office/drawing/2014/chart" uri="{C3380CC4-5D6E-409C-BE32-E72D297353CC}">
              <c16:uniqueId val="{00000001-442E-4515-A5E6-7186CA10DDDC}"/>
            </c:ext>
          </c:extLst>
        </c:ser>
        <c:dLbls>
          <c:showLegendKey val="0"/>
          <c:showVal val="0"/>
          <c:showCatName val="0"/>
          <c:showSerName val="0"/>
          <c:showPercent val="0"/>
          <c:showBubbleSize val="0"/>
        </c:dLbls>
        <c:gapWidth val="200"/>
        <c:axId val="482811215"/>
        <c:axId val="1"/>
      </c:barChart>
      <c:catAx>
        <c:axId val="48281121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7742.205973639677"/>
          <c:min val="0"/>
        </c:scaling>
        <c:delete val="1"/>
        <c:axPos val="l"/>
        <c:numFmt formatCode="General" sourceLinked="1"/>
        <c:majorTickMark val="out"/>
        <c:minorTickMark val="none"/>
        <c:tickLblPos val="nextTo"/>
        <c:crossAx val="482811215"/>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903983949555747E-2"/>
          <c:y val="2.5999999999999999E-2"/>
          <c:w val="0.97019203210088856"/>
          <c:h val="0.94799999999999995"/>
        </c:manualLayout>
      </c:layout>
      <c:barChart>
        <c:barDir val="col"/>
        <c:grouping val="stacked"/>
        <c:varyColors val="0"/>
        <c:ser>
          <c:idx val="0"/>
          <c:order val="0"/>
          <c:spPr>
            <a:solidFill>
              <a:schemeClr val="accent2"/>
            </a:solidFill>
            <a:ln w="9525" cmpd="sng" algn="ctr">
              <a:solidFill>
                <a:schemeClr val="bg1"/>
              </a:solidFill>
              <a:prstDash val="solid"/>
            </a:ln>
          </c:spPr>
          <c:invertIfNegative val="0"/>
          <c:val>
            <c:numRef>
              <c:f>Sheet1!$A$1:$H$1</c:f>
              <c:numCache>
                <c:formatCode>General</c:formatCode>
                <c:ptCount val="8"/>
                <c:pt idx="0">
                  <c:v>14.2636</c:v>
                </c:pt>
                <c:pt idx="1">
                  <c:v>11.3459</c:v>
                </c:pt>
                <c:pt idx="2">
                  <c:v>10.214</c:v>
                </c:pt>
                <c:pt idx="3">
                  <c:v>9.6286000000000005</c:v>
                </c:pt>
                <c:pt idx="4">
                  <c:v>9.2138999999999989</c:v>
                </c:pt>
                <c:pt idx="5">
                  <c:v>8.9802999999999997</c:v>
                </c:pt>
                <c:pt idx="6">
                  <c:v>9.1092999999999993</c:v>
                </c:pt>
                <c:pt idx="7">
                  <c:v>9.3452000000000002</c:v>
                </c:pt>
              </c:numCache>
            </c:numRef>
          </c:val>
          <c:extLst>
            <c:ext xmlns:c16="http://schemas.microsoft.com/office/drawing/2014/chart" uri="{C3380CC4-5D6E-409C-BE32-E72D297353CC}">
              <c16:uniqueId val="{00000000-CEC8-4141-86E1-28F5547D5DB0}"/>
            </c:ext>
          </c:extLst>
        </c:ser>
        <c:ser>
          <c:idx val="1"/>
          <c:order val="1"/>
          <c:spPr>
            <a:solidFill>
              <a:schemeClr val="accent1"/>
            </a:solidFill>
            <a:ln w="9525" cmpd="sng" algn="ctr">
              <a:solidFill>
                <a:schemeClr val="bg1"/>
              </a:solidFill>
              <a:prstDash val="solid"/>
            </a:ln>
          </c:spPr>
          <c:invertIfNegative val="0"/>
          <c:val>
            <c:numRef>
              <c:f>Sheet1!$A$2:$H$2</c:f>
              <c:numCache>
                <c:formatCode>General</c:formatCode>
                <c:ptCount val="8"/>
                <c:pt idx="0">
                  <c:v>1.9208999999999996</c:v>
                </c:pt>
                <c:pt idx="1">
                  <c:v>1.4966000000000008</c:v>
                </c:pt>
                <c:pt idx="2">
                  <c:v>1.3544</c:v>
                </c:pt>
                <c:pt idx="3">
                  <c:v>1.2981999999999996</c:v>
                </c:pt>
                <c:pt idx="4">
                  <c:v>1.2873999999999999</c:v>
                </c:pt>
                <c:pt idx="5">
                  <c:v>1.3198000000000008</c:v>
                </c:pt>
                <c:pt idx="6">
                  <c:v>1.3596000000000004</c:v>
                </c:pt>
                <c:pt idx="7">
                  <c:v>1.4013000000000009</c:v>
                </c:pt>
              </c:numCache>
            </c:numRef>
          </c:val>
          <c:extLst>
            <c:ext xmlns:c16="http://schemas.microsoft.com/office/drawing/2014/chart" uri="{C3380CC4-5D6E-409C-BE32-E72D297353CC}">
              <c16:uniqueId val="{00000001-CEC8-4141-86E1-28F5547D5DB0}"/>
            </c:ext>
          </c:extLst>
        </c:ser>
        <c:ser>
          <c:idx val="2"/>
          <c:order val="2"/>
          <c:spPr>
            <a:solidFill>
              <a:schemeClr val="accent3"/>
            </a:solidFill>
            <a:ln w="9525" cmpd="sng" algn="ctr">
              <a:solidFill>
                <a:schemeClr val="bg1"/>
              </a:solidFill>
              <a:prstDash val="solid"/>
            </a:ln>
          </c:spPr>
          <c:invertIfNegative val="0"/>
          <c:val>
            <c:numRef>
              <c:f>Sheet1!$A$3:$H$3</c:f>
              <c:numCache>
                <c:formatCode>General</c:formatCode>
                <c:ptCount val="8"/>
                <c:pt idx="0">
                  <c:v>1.797699999999999</c:v>
                </c:pt>
                <c:pt idx="1">
                  <c:v>1.4870000000000001</c:v>
                </c:pt>
                <c:pt idx="2">
                  <c:v>1.3529999999999998</c:v>
                </c:pt>
                <c:pt idx="3">
                  <c:v>1.287700000000001</c:v>
                </c:pt>
                <c:pt idx="4">
                  <c:v>1.2590000000000003</c:v>
                </c:pt>
                <c:pt idx="5">
                  <c:v>1.2591999999999999</c:v>
                </c:pt>
                <c:pt idx="6">
                  <c:v>1.2941000000000003</c:v>
                </c:pt>
                <c:pt idx="7">
                  <c:v>1.3305000000000007</c:v>
                </c:pt>
              </c:numCache>
            </c:numRef>
          </c:val>
          <c:extLst>
            <c:ext xmlns:c16="http://schemas.microsoft.com/office/drawing/2014/chart" uri="{C3380CC4-5D6E-409C-BE32-E72D297353CC}">
              <c16:uniqueId val="{00000002-CEC8-4141-86E1-28F5547D5DB0}"/>
            </c:ext>
          </c:extLst>
        </c:ser>
        <c:dLbls>
          <c:showLegendKey val="0"/>
          <c:showVal val="0"/>
          <c:showCatName val="0"/>
          <c:showSerName val="0"/>
          <c:showPercent val="0"/>
          <c:showBubbleSize val="0"/>
        </c:dLbls>
        <c:gapWidth val="40"/>
        <c:overlap val="100"/>
        <c:axId val="680407264"/>
        <c:axId val="1"/>
      </c:barChart>
      <c:catAx>
        <c:axId val="68040726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7.982199999999999"/>
          <c:min val="0"/>
        </c:scaling>
        <c:delete val="1"/>
        <c:axPos val="l"/>
        <c:numFmt formatCode="General" sourceLinked="1"/>
        <c:majorTickMark val="out"/>
        <c:minorTickMark val="none"/>
        <c:tickLblPos val="nextTo"/>
        <c:crossAx val="680407264"/>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8104289174079895"/>
          <c:y val="3.8095239549875259E-2"/>
          <c:w val="0.48899001822215699"/>
          <c:h val="0.91716426610946655"/>
        </c:manualLayout>
      </c:layout>
      <c:barChart>
        <c:barDir val="bar"/>
        <c:grouping val="clustered"/>
        <c:varyColors val="0"/>
        <c:ser>
          <c:idx val="0"/>
          <c:order val="0"/>
          <c:tx>
            <c:strRef>
              <c:f>Sheet1!$B$1</c:f>
              <c:strCache>
                <c:ptCount val="1"/>
                <c:pt idx="0">
                  <c:v>Global Avg</c:v>
                </c:pt>
              </c:strCache>
            </c:strRef>
          </c:tx>
          <c:spPr>
            <a:solidFill>
              <a:schemeClr val="tx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6972-41F2-A7CA-F934E5F8AB6A}"/>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6972-41F2-A7CA-F934E5F8AB6A}"/>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5-6972-41F2-A7CA-F934E5F8AB6A}"/>
              </c:ext>
            </c:extLst>
          </c:dPt>
          <c:dLbls>
            <c:spPr>
              <a:noFill/>
              <a:ln>
                <a:noFill/>
              </a:ln>
              <a:effectLst/>
            </c:spPr>
            <c:txPr>
              <a:bodyPr rot="0" vert="horz"/>
              <a:lstStyle/>
              <a:p>
                <a:pPr>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c:spPr>
                </c15:leaderLines>
              </c:ext>
            </c:extLst>
          </c:dLbls>
          <c:cat>
            <c:strRef>
              <c:f>Sheet1!$A$2:$A$11</c:f>
              <c:strCache>
                <c:ptCount val="10"/>
                <c:pt idx="0">
                  <c:v>Healthy</c:v>
                </c:pt>
                <c:pt idx="1">
                  <c:v>Tastes good</c:v>
                </c:pt>
                <c:pt idx="2">
                  <c:v>Convenient</c:v>
                </c:pt>
                <c:pt idx="3">
                  <c:v>Staple food/drink</c:v>
                </c:pt>
                <c:pt idx="4">
                  <c:v>For energy/to keep going</c:v>
                </c:pt>
                <c:pt idx="5">
                  <c:v>To make self happy</c:v>
                </c:pt>
                <c:pt idx="6">
                  <c:v>To fill up</c:v>
                </c:pt>
                <c:pt idx="7">
                  <c:v>To indulge/treat or reward self</c:v>
                </c:pt>
                <c:pt idx="8">
                  <c:v>To relax and wind down</c:v>
                </c:pt>
                <c:pt idx="9">
                  <c:v>For something new or different</c:v>
                </c:pt>
              </c:strCache>
            </c:strRef>
          </c:cat>
          <c:val>
            <c:numRef>
              <c:f>Sheet1!$B$2:$B$11</c:f>
              <c:numCache>
                <c:formatCode>0%</c:formatCode>
                <c:ptCount val="10"/>
                <c:pt idx="0">
                  <c:v>0.51</c:v>
                </c:pt>
                <c:pt idx="1">
                  <c:v>0.5</c:v>
                </c:pt>
                <c:pt idx="2">
                  <c:v>0.31</c:v>
                </c:pt>
                <c:pt idx="3">
                  <c:v>0.25</c:v>
                </c:pt>
                <c:pt idx="4">
                  <c:v>0.2</c:v>
                </c:pt>
                <c:pt idx="5">
                  <c:v>0.18</c:v>
                </c:pt>
                <c:pt idx="6">
                  <c:v>0.16</c:v>
                </c:pt>
                <c:pt idx="7">
                  <c:v>0.15</c:v>
                </c:pt>
                <c:pt idx="8">
                  <c:v>0.15</c:v>
                </c:pt>
                <c:pt idx="9">
                  <c:v>0.11</c:v>
                </c:pt>
              </c:numCache>
            </c:numRef>
          </c:val>
          <c:extLst>
            <c:ext xmlns:c16="http://schemas.microsoft.com/office/drawing/2014/chart" uri="{C3380CC4-5D6E-409C-BE32-E72D297353CC}">
              <c16:uniqueId val="{00000006-6972-41F2-A7CA-F934E5F8AB6A}"/>
            </c:ext>
          </c:extLst>
        </c:ser>
        <c:dLbls>
          <c:showLegendKey val="0"/>
          <c:showVal val="0"/>
          <c:showCatName val="0"/>
          <c:showSerName val="0"/>
          <c:showPercent val="0"/>
          <c:showBubbleSize val="0"/>
        </c:dLbls>
        <c:gapWidth val="100"/>
        <c:axId val="520851440"/>
        <c:axId val="898159968"/>
      </c:barChart>
      <c:catAx>
        <c:axId val="520851440"/>
        <c:scaling>
          <c:orientation val="maxMin"/>
        </c:scaling>
        <c:delete val="0"/>
        <c:axPos val="l"/>
        <c:numFmt formatCode="General" sourceLinked="1"/>
        <c:majorTickMark val="none"/>
        <c:minorTickMark val="none"/>
        <c:tickLblPos val="nextTo"/>
        <c:spPr>
          <a:noFill/>
          <a:ln w="9525" cap="flat" cmpd="sng" algn="ctr">
            <a:solidFill>
              <a:srgbClr val="DFE8E8"/>
            </a:solidFill>
            <a:round/>
          </a:ln>
          <a:effectLst/>
        </c:spPr>
        <c:txPr>
          <a:bodyPr rot="-60000000" vert="horz"/>
          <a:lstStyle/>
          <a:p>
            <a:pPr>
              <a:defRPr/>
            </a:pPr>
            <a:endParaRPr lang="zh-CN"/>
          </a:p>
        </c:txPr>
        <c:crossAx val="898159968"/>
        <c:crosses val="autoZero"/>
        <c:auto val="0"/>
        <c:lblAlgn val="ctr"/>
        <c:lblOffset val="100"/>
        <c:noMultiLvlLbl val="0"/>
      </c:catAx>
      <c:valAx>
        <c:axId val="898159968"/>
        <c:scaling>
          <c:orientation val="minMax"/>
        </c:scaling>
        <c:delete val="1"/>
        <c:axPos val="t"/>
        <c:numFmt formatCode="0%" sourceLinked="1"/>
        <c:majorTickMark val="out"/>
        <c:minorTickMark val="none"/>
        <c:tickLblPos val="nextTo"/>
        <c:crossAx val="5208514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smtId="4294967295">
          <a:solidFill>
            <a:schemeClr val="tx1"/>
          </a:solidFill>
        </a:defRPr>
      </a:pPr>
      <a:endParaRPr lang="zh-CN"/>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9115711498816874"/>
          <c:y val="4.2341496795415878E-2"/>
          <c:w val="0.60884288501183126"/>
          <c:h val="0.8045315146446228"/>
        </c:manualLayout>
      </c:layout>
      <c:barChart>
        <c:barDir val="bar"/>
        <c:grouping val="clustered"/>
        <c:varyColors val="0"/>
        <c:ser>
          <c:idx val="0"/>
          <c:order val="0"/>
          <c:tx>
            <c:strRef>
              <c:f>Sheet1!$B$1</c:f>
              <c:strCache>
                <c:ptCount val="1"/>
                <c:pt idx="0">
                  <c:v>Dairy yogurt</c:v>
                </c:pt>
              </c:strCache>
            </c:strRef>
          </c:tx>
          <c:spPr>
            <a:solidFill>
              <a:srgbClr val="3F4043"/>
            </a:solidFill>
            <a:ln>
              <a:noFill/>
            </a:ln>
            <a:effectLst/>
          </c:spPr>
          <c:invertIfNegative val="0"/>
          <c:dLbls>
            <c:spPr>
              <a:noFill/>
              <a:ln>
                <a:noFill/>
              </a:ln>
              <a:effectLst/>
            </c:spPr>
            <c:txPr>
              <a:bodyPr rot="0" vert="horz"/>
              <a:lstStyle/>
              <a:p>
                <a:pPr>
                  <a:defRPr sz="800">
                    <a:solidFill>
                      <a:srgbClr val="002060"/>
                    </a:solidFill>
                    <a:latin typeface="Verdana" panose="020B0604030504040204" pitchFamily="34" charset="0"/>
                    <a:ea typeface="Verdana" panose="020B0604030504040204" pitchFamily="34" charset="0"/>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c:spPr>
                </c15:leaderLines>
              </c:ext>
            </c:extLst>
          </c:dLbls>
          <c:cat>
            <c:strRef>
              <c:f>Sheet1!$A$2:$A$8</c:f>
              <c:strCache>
                <c:ptCount val="7"/>
                <c:pt idx="0">
                  <c:v>Breakfast</c:v>
                </c:pt>
                <c:pt idx="1">
                  <c:v>Morning snack</c:v>
                </c:pt>
                <c:pt idx="2">
                  <c:v>Lunch</c:v>
                </c:pt>
                <c:pt idx="3">
                  <c:v>Afternoon snack</c:v>
                </c:pt>
                <c:pt idx="4">
                  <c:v>Dinner</c:v>
                </c:pt>
                <c:pt idx="5">
                  <c:v>Evening snack</c:v>
                </c:pt>
                <c:pt idx="6">
                  <c:v>Night snack</c:v>
                </c:pt>
              </c:strCache>
            </c:strRef>
          </c:cat>
          <c:val>
            <c:numRef>
              <c:f>Sheet1!$B$2:$B$8</c:f>
              <c:numCache>
                <c:formatCode>0%</c:formatCode>
                <c:ptCount val="7"/>
                <c:pt idx="0">
                  <c:v>0.4</c:v>
                </c:pt>
                <c:pt idx="1">
                  <c:v>0.24</c:v>
                </c:pt>
                <c:pt idx="2">
                  <c:v>0.25</c:v>
                </c:pt>
                <c:pt idx="3">
                  <c:v>0.35</c:v>
                </c:pt>
                <c:pt idx="4">
                  <c:v>0.23</c:v>
                </c:pt>
                <c:pt idx="5">
                  <c:v>0.22</c:v>
                </c:pt>
                <c:pt idx="6">
                  <c:v>7.0000000000000007E-2</c:v>
                </c:pt>
              </c:numCache>
            </c:numRef>
          </c:val>
          <c:extLst>
            <c:ext xmlns:c16="http://schemas.microsoft.com/office/drawing/2014/chart" uri="{C3380CC4-5D6E-409C-BE32-E72D297353CC}">
              <c16:uniqueId val="{00000000-B1C4-4565-AA27-78707510E612}"/>
            </c:ext>
          </c:extLst>
        </c:ser>
        <c:dLbls>
          <c:showLegendKey val="0"/>
          <c:showVal val="0"/>
          <c:showCatName val="0"/>
          <c:showSerName val="0"/>
          <c:showPercent val="0"/>
          <c:showBubbleSize val="0"/>
        </c:dLbls>
        <c:gapWidth val="100"/>
        <c:axId val="132196464"/>
        <c:axId val="469212432"/>
        <c:extLst>
          <c:ext xmlns:c15="http://schemas.microsoft.com/office/drawing/2012/chart" uri="{02D57815-91ED-43cb-92C2-25804820EDAC}">
            <c15:filteredBarSeries>
              <c15:ser>
                <c:idx val="1"/>
                <c:order val="1"/>
                <c:tx>
                  <c:strRef>
                    <c:extLst>
                      <c:ext uri="{02D57815-91ED-43cb-92C2-25804820EDAC}">
                        <c15:formulaRef>
                          <c15:sqref>Sheet1!$C$1</c15:sqref>
                        </c15:formulaRef>
                      </c:ext>
                    </c:extLst>
                    <c:strCache>
                      <c:ptCount val="1"/>
                      <c:pt idx="0">
                        <c:v>Non-dairy yogurt</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smtId="4294967295">
                          <a:solidFill>
                            <a:schemeClr val="tx1"/>
                          </a:solidFill>
                          <a:latin typeface="Arial" panose="020B0604020202020204" pitchFamily="34" charset="0"/>
                          <a:ea typeface="+mn-ea"/>
                          <a:cs typeface="Arial" panose="020B0604020202020204" pitchFamily="34" charset="0"/>
                        </a:defRPr>
                      </a:pPr>
                      <a:endParaRPr lang="zh-CN"/>
                    </a:p>
                  </c:txP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c:spPr>
                      </c15:leaderLines>
                    </c:ext>
                  </c:extLst>
                </c:dLbls>
                <c:cat>
                  <c:strRef>
                    <c:extLst>
                      <c:ext uri="{02D57815-91ED-43cb-92C2-25804820EDAC}">
                        <c15:formulaRef>
                          <c15:sqref>Sheet1!$A$2:$A$8</c15:sqref>
                        </c15:formulaRef>
                      </c:ext>
                    </c:extLst>
                    <c:strCache>
                      <c:ptCount val="7"/>
                      <c:pt idx="0">
                        <c:v>Breakfast</c:v>
                      </c:pt>
                      <c:pt idx="1">
                        <c:v>Morning snack</c:v>
                      </c:pt>
                      <c:pt idx="2">
                        <c:v>Lunch</c:v>
                      </c:pt>
                      <c:pt idx="3">
                        <c:v>Afternoon snack</c:v>
                      </c:pt>
                      <c:pt idx="4">
                        <c:v>Dinner</c:v>
                      </c:pt>
                      <c:pt idx="5">
                        <c:v>Evening snack</c:v>
                      </c:pt>
                      <c:pt idx="6">
                        <c:v>Night snack</c:v>
                      </c:pt>
                    </c:strCache>
                  </c:strRef>
                </c:cat>
                <c:val>
                  <c:numRef>
                    <c:extLst>
                      <c:ext uri="{02D57815-91ED-43cb-92C2-25804820EDAC}">
                        <c15:formulaRef>
                          <c15:sqref>Sheet1!$C$2:$C$8</c15:sqref>
                        </c15:formulaRef>
                      </c:ext>
                    </c:extLst>
                    <c:numCache>
                      <c:formatCode>0%</c:formatCode>
                      <c:ptCount val="7"/>
                      <c:pt idx="0">
                        <c:v>0.4</c:v>
                      </c:pt>
                      <c:pt idx="1">
                        <c:v>0.3</c:v>
                      </c:pt>
                      <c:pt idx="2">
                        <c:v>0.28999999999999998</c:v>
                      </c:pt>
                      <c:pt idx="3">
                        <c:v>0.37</c:v>
                      </c:pt>
                      <c:pt idx="4">
                        <c:v>0.24</c:v>
                      </c:pt>
                      <c:pt idx="5">
                        <c:v>0.23</c:v>
                      </c:pt>
                      <c:pt idx="6">
                        <c:v>0.08</c:v>
                      </c:pt>
                    </c:numCache>
                  </c:numRef>
                </c:val>
                <c:extLst>
                  <c:ext xmlns:c16="http://schemas.microsoft.com/office/drawing/2014/chart" uri="{C3380CC4-5D6E-409C-BE32-E72D297353CC}">
                    <c16:uniqueId val="{00000001-B1C4-4565-AA27-78707510E612}"/>
                  </c:ext>
                </c:extLst>
              </c15:ser>
            </c15:filteredBarSeries>
          </c:ext>
        </c:extLst>
      </c:barChart>
      <c:catAx>
        <c:axId val="132196464"/>
        <c:scaling>
          <c:orientation val="minMax"/>
        </c:scaling>
        <c:delete val="0"/>
        <c:axPos val="l"/>
        <c:numFmt formatCode="General" sourceLinked="1"/>
        <c:majorTickMark val="none"/>
        <c:minorTickMark val="none"/>
        <c:tickLblPos val="nextTo"/>
        <c:spPr>
          <a:noFill/>
          <a:ln w="9525" cap="flat" cmpd="sng" algn="ctr">
            <a:solidFill>
              <a:srgbClr val="DFE8E8"/>
            </a:solidFill>
            <a:round/>
          </a:ln>
          <a:effectLst/>
        </c:spPr>
        <c:txPr>
          <a:bodyPr rot="-60000000" vert="horz"/>
          <a:lstStyle/>
          <a:p>
            <a:pPr>
              <a:defRPr sz="800">
                <a:solidFill>
                  <a:srgbClr val="002060"/>
                </a:solidFill>
                <a:latin typeface="Verdana" panose="020B0604030504040204" pitchFamily="34" charset="0"/>
                <a:ea typeface="Verdana" panose="020B0604030504040204" pitchFamily="34" charset="0"/>
              </a:defRPr>
            </a:pPr>
            <a:endParaRPr lang="zh-CN"/>
          </a:p>
        </c:txPr>
        <c:crossAx val="469212432"/>
        <c:crosses val="autoZero"/>
        <c:auto val="0"/>
        <c:lblAlgn val="ctr"/>
        <c:lblOffset val="100"/>
        <c:noMultiLvlLbl val="0"/>
      </c:catAx>
      <c:valAx>
        <c:axId val="469212432"/>
        <c:scaling>
          <c:orientation val="minMax"/>
        </c:scaling>
        <c:delete val="1"/>
        <c:axPos val="b"/>
        <c:numFmt formatCode="0%" sourceLinked="1"/>
        <c:majorTickMark val="none"/>
        <c:minorTickMark val="none"/>
        <c:tickLblPos val="nextTo"/>
        <c:crossAx val="132196464"/>
        <c:crosses val="autoZero"/>
        <c:crossBetween val="between"/>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smtId="4294967295">
          <a:solidFill>
            <a:schemeClr val="tx1"/>
          </a:solidFill>
          <a:latin typeface="+mj-lt"/>
          <a:cs typeface="Arial" panose="020B0604020202020204" pitchFamily="34" charset="0"/>
        </a:defRPr>
      </a:pPr>
      <a:endParaRPr lang="zh-CN"/>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631977442876581"/>
          <c:y val="5.0620453852046235E-2"/>
          <c:w val="0.65997138610398953"/>
          <c:h val="0.66600838631137571"/>
        </c:manualLayout>
      </c:layout>
      <c:barChart>
        <c:barDir val="bar"/>
        <c:grouping val="percentStacked"/>
        <c:varyColors val="0"/>
        <c:ser>
          <c:idx val="0"/>
          <c:order val="0"/>
          <c:tx>
            <c:strRef>
              <c:f>Sheet1!$B$1</c:f>
              <c:strCache>
                <c:ptCount val="1"/>
                <c:pt idx="0">
                  <c:v>proactiv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omers</c:v>
                </c:pt>
                <c:pt idx="1">
                  <c:v>Generation X</c:v>
                </c:pt>
                <c:pt idx="2">
                  <c:v>Millennials</c:v>
                </c:pt>
                <c:pt idx="3">
                  <c:v>Generation Z</c:v>
                </c:pt>
              </c:strCache>
            </c:strRef>
          </c:cat>
          <c:val>
            <c:numRef>
              <c:f>Sheet1!$B$2:$B$5</c:f>
              <c:numCache>
                <c:formatCode>General</c:formatCode>
                <c:ptCount val="4"/>
                <c:pt idx="0">
                  <c:v>38</c:v>
                </c:pt>
                <c:pt idx="1">
                  <c:v>34</c:v>
                </c:pt>
                <c:pt idx="2">
                  <c:v>36</c:v>
                </c:pt>
                <c:pt idx="3">
                  <c:v>32</c:v>
                </c:pt>
              </c:numCache>
            </c:numRef>
          </c:val>
          <c:extLst>
            <c:ext xmlns:c16="http://schemas.microsoft.com/office/drawing/2014/chart" uri="{C3380CC4-5D6E-409C-BE32-E72D297353CC}">
              <c16:uniqueId val="{00000000-7E17-3B4E-89E3-C639476B6C8B}"/>
            </c:ext>
          </c:extLst>
        </c:ser>
        <c:ser>
          <c:idx val="1"/>
          <c:order val="1"/>
          <c:tx>
            <c:strRef>
              <c:f>Sheet1!$C$1</c:f>
              <c:strCache>
                <c:ptCount val="1"/>
                <c:pt idx="0">
                  <c:v>tend to be proactiv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omers</c:v>
                </c:pt>
                <c:pt idx="1">
                  <c:v>Generation X</c:v>
                </c:pt>
                <c:pt idx="2">
                  <c:v>Millennials</c:v>
                </c:pt>
                <c:pt idx="3">
                  <c:v>Generation Z</c:v>
                </c:pt>
              </c:strCache>
            </c:strRef>
          </c:cat>
          <c:val>
            <c:numRef>
              <c:f>Sheet1!$C$2:$C$5</c:f>
              <c:numCache>
                <c:formatCode>General</c:formatCode>
                <c:ptCount val="4"/>
                <c:pt idx="0">
                  <c:v>25</c:v>
                </c:pt>
                <c:pt idx="1">
                  <c:v>27</c:v>
                </c:pt>
                <c:pt idx="2">
                  <c:v>30</c:v>
                </c:pt>
                <c:pt idx="3">
                  <c:v>27</c:v>
                </c:pt>
              </c:numCache>
            </c:numRef>
          </c:val>
          <c:extLst>
            <c:ext xmlns:c16="http://schemas.microsoft.com/office/drawing/2014/chart" uri="{C3380CC4-5D6E-409C-BE32-E72D297353CC}">
              <c16:uniqueId val="{00000001-7E17-3B4E-89E3-C639476B6C8B}"/>
            </c:ext>
          </c:extLst>
        </c:ser>
        <c:ser>
          <c:idx val="2"/>
          <c:order val="2"/>
          <c:tx>
            <c:strRef>
              <c:f>Sheet1!$D$1</c:f>
              <c:strCache>
                <c:ptCount val="1"/>
                <c:pt idx="0">
                  <c:v>Neautral</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omers</c:v>
                </c:pt>
                <c:pt idx="1">
                  <c:v>Generation X</c:v>
                </c:pt>
                <c:pt idx="2">
                  <c:v>Millennials</c:v>
                </c:pt>
                <c:pt idx="3">
                  <c:v>Generation Z</c:v>
                </c:pt>
              </c:strCache>
            </c:strRef>
          </c:cat>
          <c:val>
            <c:numRef>
              <c:f>Sheet1!$D$2:$D$5</c:f>
              <c:numCache>
                <c:formatCode>General</c:formatCode>
                <c:ptCount val="4"/>
                <c:pt idx="0">
                  <c:v>25</c:v>
                </c:pt>
                <c:pt idx="1">
                  <c:v>25</c:v>
                </c:pt>
                <c:pt idx="2">
                  <c:v>21</c:v>
                </c:pt>
                <c:pt idx="3">
                  <c:v>24</c:v>
                </c:pt>
              </c:numCache>
            </c:numRef>
          </c:val>
          <c:extLst>
            <c:ext xmlns:c16="http://schemas.microsoft.com/office/drawing/2014/chart" uri="{C3380CC4-5D6E-409C-BE32-E72D297353CC}">
              <c16:uniqueId val="{00000002-7E17-3B4E-89E3-C639476B6C8B}"/>
            </c:ext>
          </c:extLst>
        </c:ser>
        <c:ser>
          <c:idx val="3"/>
          <c:order val="3"/>
          <c:tx>
            <c:strRef>
              <c:f>Sheet1!$E$1</c:f>
              <c:strCache>
                <c:ptCount val="1"/>
                <c:pt idx="0">
                  <c:v>tend to be reactive</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omers</c:v>
                </c:pt>
                <c:pt idx="1">
                  <c:v>Generation X</c:v>
                </c:pt>
                <c:pt idx="2">
                  <c:v>Millennials</c:v>
                </c:pt>
                <c:pt idx="3">
                  <c:v>Generation Z</c:v>
                </c:pt>
              </c:strCache>
            </c:strRef>
          </c:cat>
          <c:val>
            <c:numRef>
              <c:f>Sheet1!$E$2:$E$5</c:f>
              <c:numCache>
                <c:formatCode>General</c:formatCode>
                <c:ptCount val="4"/>
                <c:pt idx="0">
                  <c:v>5</c:v>
                </c:pt>
                <c:pt idx="1">
                  <c:v>7</c:v>
                </c:pt>
                <c:pt idx="2">
                  <c:v>9</c:v>
                </c:pt>
                <c:pt idx="3">
                  <c:v>12</c:v>
                </c:pt>
              </c:numCache>
            </c:numRef>
          </c:val>
          <c:extLst>
            <c:ext xmlns:c16="http://schemas.microsoft.com/office/drawing/2014/chart" uri="{C3380CC4-5D6E-409C-BE32-E72D297353CC}">
              <c16:uniqueId val="{00000003-7E17-3B4E-89E3-C639476B6C8B}"/>
            </c:ext>
          </c:extLst>
        </c:ser>
        <c:ser>
          <c:idx val="4"/>
          <c:order val="4"/>
          <c:tx>
            <c:strRef>
              <c:f>Sheet1!$F$1</c:f>
              <c:strCache>
                <c:ptCount val="1"/>
                <c:pt idx="0">
                  <c:v>reactive</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omers</c:v>
                </c:pt>
                <c:pt idx="1">
                  <c:v>Generation X</c:v>
                </c:pt>
                <c:pt idx="2">
                  <c:v>Millennials</c:v>
                </c:pt>
                <c:pt idx="3">
                  <c:v>Generation Z</c:v>
                </c:pt>
              </c:strCache>
            </c:strRef>
          </c:cat>
          <c:val>
            <c:numRef>
              <c:f>Sheet1!$F$2:$F$5</c:f>
              <c:numCache>
                <c:formatCode>General</c:formatCode>
                <c:ptCount val="4"/>
                <c:pt idx="0">
                  <c:v>7</c:v>
                </c:pt>
                <c:pt idx="1">
                  <c:v>7</c:v>
                </c:pt>
                <c:pt idx="2">
                  <c:v>4</c:v>
                </c:pt>
                <c:pt idx="3">
                  <c:v>6</c:v>
                </c:pt>
              </c:numCache>
            </c:numRef>
          </c:val>
          <c:extLst>
            <c:ext xmlns:c16="http://schemas.microsoft.com/office/drawing/2014/chart" uri="{C3380CC4-5D6E-409C-BE32-E72D297353CC}">
              <c16:uniqueId val="{00000004-7E17-3B4E-89E3-C639476B6C8B}"/>
            </c:ext>
          </c:extLst>
        </c:ser>
        <c:dLbls>
          <c:dLblPos val="ctr"/>
          <c:showLegendKey val="0"/>
          <c:showVal val="1"/>
          <c:showCatName val="0"/>
          <c:showSerName val="0"/>
          <c:showPercent val="0"/>
          <c:showBubbleSize val="0"/>
        </c:dLbls>
        <c:gapWidth val="150"/>
        <c:overlap val="100"/>
        <c:axId val="2133872799"/>
        <c:axId val="2133874527"/>
      </c:barChart>
      <c:catAx>
        <c:axId val="213387279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zh-CN"/>
          </a:p>
        </c:txPr>
        <c:crossAx val="2133874527"/>
        <c:crosses val="autoZero"/>
        <c:auto val="1"/>
        <c:lblAlgn val="ctr"/>
        <c:lblOffset val="100"/>
        <c:noMultiLvlLbl val="0"/>
      </c:catAx>
      <c:valAx>
        <c:axId val="2133874527"/>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2133872799"/>
        <c:crosses val="autoZero"/>
        <c:crossBetween val="between"/>
      </c:valAx>
      <c:spPr>
        <a:noFill/>
        <a:ln>
          <a:noFill/>
        </a:ln>
        <a:effectLst/>
      </c:spPr>
    </c:plotArea>
    <c:legend>
      <c:legendPos val="b"/>
      <c:layout>
        <c:manualLayout>
          <c:xMode val="edge"/>
          <c:yMode val="edge"/>
          <c:x val="0.27721882869835102"/>
          <c:y val="0.80425453040744599"/>
          <c:w val="0.61796051860725287"/>
          <c:h val="0.1647717988386092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w="6350"/>
          </c:spPr>
          <c:dPt>
            <c:idx val="0"/>
            <c:bubble3D val="0"/>
            <c:spPr>
              <a:solidFill>
                <a:schemeClr val="accent2"/>
              </a:solidFill>
              <a:ln w="6350">
                <a:solidFill>
                  <a:schemeClr val="lt1"/>
                </a:solidFill>
              </a:ln>
              <a:effectLst/>
            </c:spPr>
            <c:extLst>
              <c:ext xmlns:c16="http://schemas.microsoft.com/office/drawing/2014/chart" uri="{C3380CC4-5D6E-409C-BE32-E72D297353CC}">
                <c16:uniqueId val="{00000005-34BC-5444-A1B3-D331BBDDB572}"/>
              </c:ext>
            </c:extLst>
          </c:dPt>
          <c:dPt>
            <c:idx val="1"/>
            <c:bubble3D val="0"/>
            <c:spPr>
              <a:solidFill>
                <a:schemeClr val="accent4"/>
              </a:solidFill>
              <a:ln w="6350">
                <a:solidFill>
                  <a:schemeClr val="lt1"/>
                </a:solidFill>
              </a:ln>
              <a:effectLst/>
            </c:spPr>
            <c:extLst>
              <c:ext xmlns:c16="http://schemas.microsoft.com/office/drawing/2014/chart" uri="{C3380CC4-5D6E-409C-BE32-E72D297353CC}">
                <c16:uniqueId val="{00000004-34BC-5444-A1B3-D331BBDDB572}"/>
              </c:ext>
            </c:extLst>
          </c:dPt>
          <c:dPt>
            <c:idx val="2"/>
            <c:bubble3D val="0"/>
            <c:spPr>
              <a:solidFill>
                <a:schemeClr val="accent5"/>
              </a:solidFill>
              <a:ln w="6350">
                <a:solidFill>
                  <a:schemeClr val="lt1"/>
                </a:solidFill>
              </a:ln>
              <a:effectLst/>
            </c:spPr>
            <c:extLst>
              <c:ext xmlns:c16="http://schemas.microsoft.com/office/drawing/2014/chart" uri="{C3380CC4-5D6E-409C-BE32-E72D297353CC}">
                <c16:uniqueId val="{00000002-34BC-5444-A1B3-D331BBDDB572}"/>
              </c:ext>
            </c:extLst>
          </c:dPt>
          <c:dPt>
            <c:idx val="3"/>
            <c:bubble3D val="0"/>
            <c:spPr>
              <a:solidFill>
                <a:schemeClr val="accent6"/>
              </a:solidFill>
              <a:ln w="6350">
                <a:solidFill>
                  <a:schemeClr val="lt1"/>
                </a:solidFill>
              </a:ln>
              <a:effectLst/>
            </c:spPr>
            <c:extLst>
              <c:ext xmlns:c16="http://schemas.microsoft.com/office/drawing/2014/chart" uri="{C3380CC4-5D6E-409C-BE32-E72D297353CC}">
                <c16:uniqueId val="{00000006-34BC-5444-A1B3-D331BBDDB572}"/>
              </c:ext>
            </c:extLst>
          </c:dPt>
          <c:dPt>
            <c:idx val="4"/>
            <c:bubble3D val="0"/>
            <c:spPr>
              <a:solidFill>
                <a:schemeClr val="accent3">
                  <a:lumMod val="75000"/>
                </a:schemeClr>
              </a:solidFill>
              <a:ln w="6350">
                <a:solidFill>
                  <a:schemeClr val="lt1"/>
                </a:solidFill>
              </a:ln>
              <a:effectLst/>
            </c:spPr>
            <c:extLst>
              <c:ext xmlns:c16="http://schemas.microsoft.com/office/drawing/2014/chart" uri="{C3380CC4-5D6E-409C-BE32-E72D297353CC}">
                <c16:uniqueId val="{00000003-34BC-5444-A1B3-D331BBDDB572}"/>
              </c:ext>
            </c:extLst>
          </c:dPt>
          <c:dPt>
            <c:idx val="5"/>
            <c:bubble3D val="0"/>
            <c:spPr>
              <a:solidFill>
                <a:schemeClr val="accent1"/>
              </a:solidFill>
              <a:ln w="6350">
                <a:solidFill>
                  <a:schemeClr val="lt1"/>
                </a:solidFill>
              </a:ln>
              <a:effectLst/>
            </c:spPr>
            <c:extLst>
              <c:ext xmlns:c16="http://schemas.microsoft.com/office/drawing/2014/chart" uri="{C3380CC4-5D6E-409C-BE32-E72D297353CC}">
                <c16:uniqueId val="{00000007-34BC-5444-A1B3-D331BBDDB572}"/>
              </c:ext>
            </c:extLst>
          </c:dPt>
          <c:cat>
            <c:strRef>
              <c:f>Sheet1!$A$2:$A$7</c:f>
              <c:strCache>
                <c:ptCount val="6"/>
                <c:pt idx="0">
                  <c:v>North America</c:v>
                </c:pt>
                <c:pt idx="1">
                  <c:v>Latin America</c:v>
                </c:pt>
                <c:pt idx="2">
                  <c:v>Africa</c:v>
                </c:pt>
                <c:pt idx="3">
                  <c:v>Europe</c:v>
                </c:pt>
                <c:pt idx="4">
                  <c:v>Asia</c:v>
                </c:pt>
                <c:pt idx="5">
                  <c:v>Ocenia</c:v>
                </c:pt>
              </c:strCache>
            </c:strRef>
          </c:cat>
          <c:val>
            <c:numRef>
              <c:f>Sheet1!$B$2:$B$7</c:f>
              <c:numCache>
                <c:formatCode>General</c:formatCode>
                <c:ptCount val="6"/>
                <c:pt idx="0">
                  <c:v>8.1</c:v>
                </c:pt>
                <c:pt idx="1">
                  <c:v>7.9</c:v>
                </c:pt>
                <c:pt idx="2">
                  <c:v>7.1</c:v>
                </c:pt>
                <c:pt idx="3">
                  <c:v>19</c:v>
                </c:pt>
                <c:pt idx="4">
                  <c:v>57.1</c:v>
                </c:pt>
                <c:pt idx="5">
                  <c:v>0.7</c:v>
                </c:pt>
              </c:numCache>
            </c:numRef>
          </c:val>
          <c:extLst>
            <c:ext xmlns:c16="http://schemas.microsoft.com/office/drawing/2014/chart" uri="{C3380CC4-5D6E-409C-BE32-E72D297353CC}">
              <c16:uniqueId val="{00000000-34BC-5444-A1B3-D331BBDDB572}"/>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0.62944918060354127"/>
          <c:y val="9.4862434493956663E-2"/>
          <c:w val="0.28124708526186348"/>
          <c:h val="0.67201233761933132"/>
        </c:manualLayout>
      </c:layout>
      <c:overlay val="0"/>
      <c:spPr>
        <a:noFill/>
        <a:ln>
          <a:noFill/>
        </a:ln>
        <a:effectLst/>
      </c:spPr>
      <c:txPr>
        <a:bodyPr rot="0" spcFirstLastPara="1" vertOverflow="ellipsis" vert="horz" wrap="square" anchor="ctr" anchorCtr="1"/>
        <a:lstStyle/>
        <a:p>
          <a:pPr>
            <a:lnSpc>
              <a:spcPct val="100000"/>
            </a:lnSpc>
            <a:defRPr sz="800" b="0" i="0" u="none" strike="noStrike" kern="1200" baseline="0">
              <a:solidFill>
                <a:schemeClr val="tx1"/>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w="6350"/>
          </c:spPr>
          <c:dPt>
            <c:idx val="0"/>
            <c:bubble3D val="0"/>
            <c:spPr>
              <a:solidFill>
                <a:schemeClr val="accent2">
                  <a:alpha val="50000"/>
                </a:schemeClr>
              </a:solidFill>
              <a:ln w="6350">
                <a:solidFill>
                  <a:schemeClr val="lt1"/>
                </a:solidFill>
              </a:ln>
              <a:effectLst/>
            </c:spPr>
            <c:extLst>
              <c:ext xmlns:c16="http://schemas.microsoft.com/office/drawing/2014/chart" uri="{C3380CC4-5D6E-409C-BE32-E72D297353CC}">
                <c16:uniqueId val="{00000001-C0CF-BE40-99F2-EEA4672DDE94}"/>
              </c:ext>
            </c:extLst>
          </c:dPt>
          <c:dPt>
            <c:idx val="1"/>
            <c:bubble3D val="0"/>
            <c:spPr>
              <a:solidFill>
                <a:schemeClr val="accent4">
                  <a:alpha val="50000"/>
                </a:schemeClr>
              </a:solidFill>
              <a:ln w="6350">
                <a:solidFill>
                  <a:schemeClr val="lt1"/>
                </a:solidFill>
              </a:ln>
              <a:effectLst/>
            </c:spPr>
            <c:extLst>
              <c:ext xmlns:c16="http://schemas.microsoft.com/office/drawing/2014/chart" uri="{C3380CC4-5D6E-409C-BE32-E72D297353CC}">
                <c16:uniqueId val="{00000003-C0CF-BE40-99F2-EEA4672DDE94}"/>
              </c:ext>
            </c:extLst>
          </c:dPt>
          <c:dPt>
            <c:idx val="2"/>
            <c:bubble3D val="0"/>
            <c:spPr>
              <a:solidFill>
                <a:schemeClr val="accent5">
                  <a:alpha val="50000"/>
                </a:schemeClr>
              </a:solidFill>
              <a:ln w="6350">
                <a:solidFill>
                  <a:schemeClr val="lt1"/>
                </a:solidFill>
              </a:ln>
              <a:effectLst/>
            </c:spPr>
            <c:extLst>
              <c:ext xmlns:c16="http://schemas.microsoft.com/office/drawing/2014/chart" uri="{C3380CC4-5D6E-409C-BE32-E72D297353CC}">
                <c16:uniqueId val="{00000005-C0CF-BE40-99F2-EEA4672DDE94}"/>
              </c:ext>
            </c:extLst>
          </c:dPt>
          <c:dPt>
            <c:idx val="3"/>
            <c:bubble3D val="0"/>
            <c:spPr>
              <a:solidFill>
                <a:schemeClr val="accent6">
                  <a:alpha val="50000"/>
                </a:schemeClr>
              </a:solidFill>
              <a:ln w="6350">
                <a:solidFill>
                  <a:schemeClr val="lt1"/>
                </a:solidFill>
              </a:ln>
              <a:effectLst/>
            </c:spPr>
            <c:extLst>
              <c:ext xmlns:c16="http://schemas.microsoft.com/office/drawing/2014/chart" uri="{C3380CC4-5D6E-409C-BE32-E72D297353CC}">
                <c16:uniqueId val="{00000007-C0CF-BE40-99F2-EEA4672DDE94}"/>
              </c:ext>
            </c:extLst>
          </c:dPt>
          <c:dPt>
            <c:idx val="4"/>
            <c:bubble3D val="0"/>
            <c:spPr>
              <a:solidFill>
                <a:schemeClr val="accent3">
                  <a:alpha val="50000"/>
                </a:schemeClr>
              </a:solidFill>
              <a:ln w="6350">
                <a:solidFill>
                  <a:schemeClr val="lt1"/>
                </a:solidFill>
              </a:ln>
              <a:effectLst/>
            </c:spPr>
            <c:extLst>
              <c:ext xmlns:c16="http://schemas.microsoft.com/office/drawing/2014/chart" uri="{C3380CC4-5D6E-409C-BE32-E72D297353CC}">
                <c16:uniqueId val="{00000009-C0CF-BE40-99F2-EEA4672DDE94}"/>
              </c:ext>
            </c:extLst>
          </c:dPt>
          <c:dPt>
            <c:idx val="5"/>
            <c:bubble3D val="0"/>
            <c:spPr>
              <a:solidFill>
                <a:schemeClr val="accent1"/>
              </a:solidFill>
              <a:ln w="6350">
                <a:solidFill>
                  <a:schemeClr val="lt1"/>
                </a:solidFill>
              </a:ln>
              <a:effectLst/>
            </c:spPr>
            <c:extLst>
              <c:ext xmlns:c16="http://schemas.microsoft.com/office/drawing/2014/chart" uri="{C3380CC4-5D6E-409C-BE32-E72D297353CC}">
                <c16:uniqueId val="{0000000B-C0CF-BE40-99F2-EEA4672DDE94}"/>
              </c:ext>
            </c:extLst>
          </c:dPt>
          <c:cat>
            <c:strRef>
              <c:f>Sheet1!$A$2:$A$7</c:f>
              <c:strCache>
                <c:ptCount val="6"/>
                <c:pt idx="0">
                  <c:v>North America</c:v>
                </c:pt>
                <c:pt idx="1">
                  <c:v>Latin America</c:v>
                </c:pt>
                <c:pt idx="2">
                  <c:v>africa</c:v>
                </c:pt>
                <c:pt idx="3">
                  <c:v>Europe</c:v>
                </c:pt>
                <c:pt idx="4">
                  <c:v>Asia</c:v>
                </c:pt>
                <c:pt idx="5">
                  <c:v>Ocenia</c:v>
                </c:pt>
              </c:strCache>
            </c:strRef>
          </c:cat>
          <c:val>
            <c:numRef>
              <c:f>Sheet1!$B$2:$B$7</c:f>
              <c:numCache>
                <c:formatCode>General</c:formatCode>
                <c:ptCount val="6"/>
                <c:pt idx="0">
                  <c:v>5.9</c:v>
                </c:pt>
                <c:pt idx="1">
                  <c:v>9.5</c:v>
                </c:pt>
                <c:pt idx="2">
                  <c:v>10.9</c:v>
                </c:pt>
                <c:pt idx="3">
                  <c:v>11.9</c:v>
                </c:pt>
                <c:pt idx="4">
                  <c:v>61.2</c:v>
                </c:pt>
                <c:pt idx="5">
                  <c:v>0.6</c:v>
                </c:pt>
              </c:numCache>
            </c:numRef>
          </c:val>
          <c:extLst>
            <c:ext xmlns:c16="http://schemas.microsoft.com/office/drawing/2014/chart" uri="{C3380CC4-5D6E-409C-BE32-E72D297353CC}">
              <c16:uniqueId val="{0000000C-C0CF-BE40-99F2-EEA4672DDE94}"/>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0.6205187619857423"/>
          <c:y val="9.4862434493956663E-2"/>
          <c:w val="0.29272898747854864"/>
          <c:h val="0.67201233761933132"/>
        </c:manualLayout>
      </c:layout>
      <c:overlay val="0"/>
      <c:spPr>
        <a:noFill/>
        <a:ln>
          <a:noFill/>
        </a:ln>
        <a:effectLst/>
      </c:spPr>
      <c:txPr>
        <a:bodyPr rot="0" spcFirstLastPara="1" vertOverflow="ellipsis" vert="horz" wrap="square" anchor="ctr" anchorCtr="1"/>
        <a:lstStyle/>
        <a:p>
          <a:pPr>
            <a:lnSpc>
              <a:spcPct val="100000"/>
            </a:lnSpc>
            <a:defRPr sz="800" b="0" i="0" u="none" strike="noStrike" kern="1200" baseline="0">
              <a:solidFill>
                <a:schemeClr val="tx1"/>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338225017470298E-2"/>
          <c:y val="2.7310924369747899E-2"/>
          <c:w val="0.92732354996505939"/>
          <c:h val="0.94537815126050417"/>
        </c:manualLayout>
      </c:layout>
      <c:barChart>
        <c:barDir val="col"/>
        <c:grouping val="clustered"/>
        <c:varyColors val="0"/>
        <c:ser>
          <c:idx val="0"/>
          <c:order val="0"/>
          <c:spPr>
            <a:solidFill>
              <a:schemeClr val="accent1"/>
            </a:solidFill>
            <a:ln>
              <a:noFill/>
            </a:ln>
          </c:spPr>
          <c:invertIfNegative val="0"/>
          <c:val>
            <c:numRef>
              <c:f>Sheet1!$A$1:$C$1</c:f>
              <c:numCache>
                <c:formatCode>General</c:formatCode>
                <c:ptCount val="3"/>
                <c:pt idx="0">
                  <c:v>10214</c:v>
                </c:pt>
                <c:pt idx="1">
                  <c:v>2707.4</c:v>
                </c:pt>
                <c:pt idx="2">
                  <c:v>2636.9</c:v>
                </c:pt>
              </c:numCache>
            </c:numRef>
          </c:val>
          <c:extLst>
            <c:ext xmlns:c16="http://schemas.microsoft.com/office/drawing/2014/chart" uri="{C3380CC4-5D6E-409C-BE32-E72D297353CC}">
              <c16:uniqueId val="{00000000-C933-4B4E-97F4-17315348CB41}"/>
            </c:ext>
          </c:extLst>
        </c:ser>
        <c:ser>
          <c:idx val="1"/>
          <c:order val="1"/>
          <c:spPr>
            <a:solidFill>
              <a:schemeClr val="accent2"/>
            </a:solidFill>
            <a:ln>
              <a:noFill/>
            </a:ln>
          </c:spPr>
          <c:invertIfNegative val="0"/>
          <c:val>
            <c:numRef>
              <c:f>Sheet1!$A$2:$C$2</c:f>
              <c:numCache>
                <c:formatCode>General</c:formatCode>
                <c:ptCount val="3"/>
                <c:pt idx="0">
                  <c:v>7248.1333333333023</c:v>
                </c:pt>
                <c:pt idx="1">
                  <c:v>2222.4000000000233</c:v>
                </c:pt>
                <c:pt idx="2">
                  <c:v>2949.8712962963073</c:v>
                </c:pt>
              </c:numCache>
            </c:numRef>
          </c:val>
          <c:extLst>
            <c:ext xmlns:c16="http://schemas.microsoft.com/office/drawing/2014/chart" uri="{C3380CC4-5D6E-409C-BE32-E72D297353CC}">
              <c16:uniqueId val="{00000001-C933-4B4E-97F4-17315348CB41}"/>
            </c:ext>
          </c:extLst>
        </c:ser>
        <c:dLbls>
          <c:showLegendKey val="0"/>
          <c:showVal val="0"/>
          <c:showCatName val="0"/>
          <c:showSerName val="0"/>
          <c:showPercent val="0"/>
          <c:showBubbleSize val="0"/>
        </c:dLbls>
        <c:gapWidth val="80"/>
        <c:axId val="482819855"/>
        <c:axId val="1"/>
      </c:barChart>
      <c:catAx>
        <c:axId val="48281985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214"/>
          <c:min val="0"/>
        </c:scaling>
        <c:delete val="1"/>
        <c:axPos val="l"/>
        <c:numFmt formatCode="General" sourceLinked="1"/>
        <c:majorTickMark val="out"/>
        <c:minorTickMark val="none"/>
        <c:tickLblPos val="nextTo"/>
        <c:crossAx val="482819855"/>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329221008107157E-2"/>
          <c:y val="7.4285714285714288E-2"/>
          <c:w val="0.96334155798378573"/>
          <c:h val="0.85142857142857142"/>
        </c:manualLayout>
      </c:layout>
      <c:barChart>
        <c:barDir val="col"/>
        <c:grouping val="stacked"/>
        <c:varyColors val="0"/>
        <c:ser>
          <c:idx val="0"/>
          <c:order val="0"/>
          <c:spPr>
            <a:solidFill>
              <a:schemeClr val="accent1"/>
            </a:solidFill>
            <a:ln>
              <a:noFill/>
            </a:ln>
          </c:spPr>
          <c:invertIfNegative val="0"/>
          <c:val>
            <c:numRef>
              <c:f>Sheet1!$A$1:$E$1</c:f>
              <c:numCache>
                <c:formatCode>General</c:formatCode>
                <c:ptCount val="5"/>
                <c:pt idx="0">
                  <c:v>45</c:v>
                </c:pt>
                <c:pt idx="1">
                  <c:v>58.199999999999996</c:v>
                </c:pt>
                <c:pt idx="2">
                  <c:v>5.8999999999999995</c:v>
                </c:pt>
                <c:pt idx="3">
                  <c:v>6</c:v>
                </c:pt>
                <c:pt idx="4">
                  <c:v>1.5</c:v>
                </c:pt>
              </c:numCache>
            </c:numRef>
          </c:val>
          <c:extLst>
            <c:ext xmlns:c16="http://schemas.microsoft.com/office/drawing/2014/chart" uri="{C3380CC4-5D6E-409C-BE32-E72D297353CC}">
              <c16:uniqueId val="{00000000-D848-4323-88E9-9CF3E01E250C}"/>
            </c:ext>
          </c:extLst>
        </c:ser>
        <c:dLbls>
          <c:showLegendKey val="0"/>
          <c:showVal val="0"/>
          <c:showCatName val="0"/>
          <c:showSerName val="0"/>
          <c:showPercent val="0"/>
          <c:showBubbleSize val="0"/>
        </c:dLbls>
        <c:gapWidth val="80"/>
        <c:overlap val="100"/>
        <c:axId val="482803535"/>
        <c:axId val="1"/>
      </c:barChart>
      <c:catAx>
        <c:axId val="48280353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8.199999999999996"/>
          <c:min val="0"/>
        </c:scaling>
        <c:delete val="1"/>
        <c:axPos val="l"/>
        <c:numFmt formatCode="General" sourceLinked="1"/>
        <c:majorTickMark val="out"/>
        <c:minorTickMark val="none"/>
        <c:tickLblPos val="nextTo"/>
        <c:crossAx val="482803535"/>
        <c:crosses val="min"/>
        <c:crossBetween val="between"/>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7FFFE97C_8FCDDA8B.xml><?xml version="1.0" encoding="utf-8"?>
<p188:cmLst xmlns:a="http://schemas.openxmlformats.org/drawingml/2006/main" xmlns:r="http://schemas.openxmlformats.org/officeDocument/2006/relationships" xmlns:p188="http://schemas.microsoft.com/office/powerpoint/2018/8/main">
  <p188:cm id="{581BFBA8-2F22-4842-A75E-E2E00E3AE884}" authorId="{2A1623DF-7DF8-47B3-35EC-A56B3BA72D16}" created="2025-04-16T10:02:41.742">
    <pc:sldMkLst xmlns:pc="http://schemas.microsoft.com/office/powerpoint/2013/main/command">
      <pc:docMk/>
      <pc:sldMk cId="3885537424" sldId="2147477884"/>
    </pc:sldMkLst>
    <p188:txBody>
      <a:bodyPr/>
      <a:lstStyle/>
      <a:p>
        <a:r>
          <a:rPr lang="nl-NL"/>
          <a:t>Do we have a 2024 update? </a:t>
        </a:r>
      </a:p>
    </p188:txBody>
  </p188:cm>
</p188:cmLst>
</file>

<file path=ppt/comments/modernComment_7FFFEEBB_C936FDB1.xml><?xml version="1.0" encoding="utf-8"?>
<p188:cmLst xmlns:a="http://schemas.openxmlformats.org/drawingml/2006/main" xmlns:r="http://schemas.openxmlformats.org/officeDocument/2006/relationships" xmlns:p188="http://schemas.microsoft.com/office/powerpoint/2018/8/main">
  <p188:cm id="{B6410404-B2AA-4E8C-9FB3-6E86270AD58C}" authorId="{5FA0CDB2-257F-D966-EC4A-652B2AA63B05}" status="resolved" created="2025-01-08T12:25:25.903">
    <ac:txMkLst xmlns:ac="http://schemas.microsoft.com/office/drawing/2013/main/command">
      <pc:docMk xmlns:pc="http://schemas.microsoft.com/office/powerpoint/2013/main/command"/>
      <pc:sldMk xmlns:pc="http://schemas.microsoft.com/office/powerpoint/2013/main/command" cId="815301600" sldId="2147479227"/>
      <ac:spMk id="13" creationId="{1E908E62-B863-2189-FCC2-87FE0FC62031}"/>
      <ac:txMk cp="0" len="39">
        <ac:context len="41" hash="3301758988"/>
      </ac:txMk>
    </ac:txMkLst>
    <p188:txBody>
      <a:bodyPr/>
      <a:lstStyle/>
      <a:p>
        <a:r>
          <a:rPr lang="en-NL"/>
          <a:t>This is not correct. GLP-1 increased insulin after a meal. Better, and more scientifically, said: it significantly contributes to the physiological insulin response after a meal</a:t>
        </a:r>
      </a:p>
    </p188:txBody>
  </p188:cm>
</p188:cmLst>
</file>

<file path=ppt/comments/modernComment_7FFFFF45_4547B095.xml><?xml version="1.0" encoding="utf-8"?>
<p188:cmLst xmlns:a="http://schemas.openxmlformats.org/drawingml/2006/main" xmlns:r="http://schemas.openxmlformats.org/officeDocument/2006/relationships" xmlns:p188="http://schemas.microsoft.com/office/powerpoint/2018/8/main">
  <p188:cm id="{5ACD2A0D-5892-495F-8C23-7CEFC4747DF2}" authorId="{B71C15E6-848C-0CEE-E1A0-9F0174BCC8A2}" created="2025-04-16T11:38:25.937">
    <pc:sldMkLst xmlns:pc="http://schemas.microsoft.com/office/powerpoint/2013/main/command">
      <pc:docMk/>
      <pc:sldMk cId="1162326165" sldId="2147483461"/>
    </pc:sldMkLst>
    <p188:replyLst>
      <p188:reply id="{1860CC26-2B76-412F-93B1-57B9429062D1}" authorId="{3266D902-D612-CAE8-8E6A-B959220EDFF9}" created="2025-04-16T12:06:10.397">
        <p188:txBody>
          <a:bodyPr/>
          <a:lstStyle/>
          <a:p>
            <a:r>
              <a:rPr lang="en-US"/>
              <a:t>[@Verlaan, K. (Katie)]  yes, updated</a:t>
            </a:r>
          </a:p>
        </p188:txBody>
      </p188:reply>
    </p188:replyLst>
    <p188:txBody>
      <a:bodyPr/>
      <a:lstStyle/>
      <a:p>
        <a:r>
          <a:rPr lang="en-US"/>
          <a:t>[@Gupta, S. (Samiksha)] - I think you  checked this right?</a:t>
        </a:r>
      </a:p>
    </p188:txBody>
  </p188:cm>
</p188:cmLst>
</file>

<file path=ppt/comments/modernComment_7FFFFF46_65528789.xml><?xml version="1.0" encoding="utf-8"?>
<p188:cmLst xmlns:a="http://schemas.openxmlformats.org/drawingml/2006/main" xmlns:r="http://schemas.openxmlformats.org/officeDocument/2006/relationships" xmlns:p188="http://schemas.microsoft.com/office/powerpoint/2018/8/main">
  <p188:cm id="{1F4DCF1E-2DC3-4C48-A25F-6CF2ECC34A21}" authorId="{B71C15E6-848C-0CEE-E1A0-9F0174BCC8A2}" created="2025-04-16T08:37:05.865">
    <ac:deMkLst xmlns:ac="http://schemas.microsoft.com/office/drawing/2013/main/command">
      <pc:docMk xmlns:pc="http://schemas.microsoft.com/office/powerpoint/2013/main/command"/>
      <pc:sldMk xmlns:pc="http://schemas.microsoft.com/office/powerpoint/2013/main/command" cId="1699907465" sldId="2147483462"/>
      <ac:spMk id="281" creationId="{FB0F0D0C-9778-9492-706F-9440445E8210}"/>
    </ac:deMkLst>
    <p188:replyLst>
      <p188:reply id="{712351C4-4C74-4403-86CD-5D0384DC4809}" authorId="{3266D902-D612-CAE8-8E6A-B959220EDFF9}" created="2025-04-16T08:48:14.381">
        <p188:txBody>
          <a:bodyPr/>
          <a:lstStyle/>
          <a:p>
            <a:r>
              <a:rPr lang="nl-NL"/>
              <a:t>[@Verlaan, K. (Katie)] updated it now for China </a:t>
            </a:r>
          </a:p>
        </p188:txBody>
      </p188:reply>
      <p188:reply id="{E45204BC-EB96-4915-BD10-80CBC53828ED}" authorId="{B71C15E6-848C-0CEE-E1A0-9F0174BCC8A2}" created="2025-04-16T08:53:12.750">
        <p188:txBody>
          <a:bodyPr/>
          <a:lstStyle/>
          <a:p>
            <a:r>
              <a:rPr lang="nl-NL"/>
              <a:t>[@Gupta, S. (Samiksha)] are the global 2030 numbers correct? Functional yoghurts can’t be bigger that spoonable and drinking as I thought this was a subset of the 2?
</a:t>
            </a:r>
          </a:p>
        </p188:txBody>
      </p188:reply>
      <p188:reply id="{FC0F5D19-3BF7-48D8-86C3-8C3A2017115B}" authorId="{B71C15E6-848C-0CEE-E1A0-9F0174BCC8A2}" created="2025-04-16T08:53:43.230">
        <p188:txBody>
          <a:bodyPr/>
          <a:lstStyle/>
          <a:p>
            <a:r>
              <a:rPr lang="nl-NL"/>
              <a:t>Could you also olease add the number behind the decimal for the CAGR growth?</a:t>
            </a:r>
          </a:p>
        </p188:txBody>
      </p188:reply>
    </p188:replyLst>
    <p188:txBody>
      <a:bodyPr/>
      <a:lstStyle/>
      <a:p>
        <a:r>
          <a:rPr lang="nl-NL"/>
          <a:t>[@Gupta, S. (Samiksha)] - is the 2.2 average correct?
</a:t>
        </a:r>
      </a:p>
    </p188:txBody>
  </p188:cm>
  <p188:cm id="{8ED0163E-08D5-4314-A0F4-71B1515FFA44}" authorId="{B71C15E6-848C-0CEE-E1A0-9F0174BCC8A2}" created="2025-04-16T09:40:12.375">
    <pc:sldMkLst xmlns:pc="http://schemas.microsoft.com/office/powerpoint/2013/main/command">
      <pc:docMk/>
      <pc:sldMk cId="1699907465" sldId="2147483462"/>
    </pc:sldMkLst>
    <p188:replyLst>
      <p188:reply id="{28FEAE33-0043-4DCE-9A17-7D4F04F11D90}" authorId="{3266D902-D612-CAE8-8E6A-B959220EDFF9}" created="2025-04-16T09:44:27.744">
        <p188:txBody>
          <a:bodyPr/>
          <a:lstStyle/>
          <a:p>
            <a:r>
              <a:rPr lang="nl-NL"/>
              <a:t>[@Verlaan, K. (Katie)] I realised the whole of China chart didn’t sync in - now you will see updated numbers and CAGR</a:t>
            </a:r>
          </a:p>
        </p188:txBody>
      </p188:reply>
    </p188:replyLst>
    <p188:txBody>
      <a:bodyPr/>
      <a:lstStyle/>
      <a:p>
        <a:r>
          <a:rPr lang="nl-NL"/>
          <a:t>[@Gupta, S. (Samiksha)] - could you also check the China numbers? The CAGRs were just placeholders I put in.
</a:t>
        </a:r>
      </a:p>
    </p188:txBody>
  </p188:cm>
  <p188:cm id="{ECED4723-FB79-4ADB-BFFC-DF6476FA88FC}" authorId="{B71C15E6-848C-0CEE-E1A0-9F0174BCC8A2}" created="2025-04-17T08:12:44.374">
    <ac:deMkLst xmlns:ac="http://schemas.microsoft.com/office/drawing/2013/main/command">
      <pc:docMk xmlns:pc="http://schemas.microsoft.com/office/powerpoint/2013/main/command"/>
      <pc:sldMk xmlns:pc="http://schemas.microsoft.com/office/powerpoint/2013/main/command" cId="1699907465" sldId="2147483462"/>
      <ac:spMk id="4" creationId="{00E5C444-EEF0-6107-B487-F876384EC6F0}"/>
    </ac:deMkLst>
    <p188:replyLst>
      <p188:reply id="{B084809E-93FC-4D03-8646-C0E97D8C76EA}" authorId="{3266D902-D612-CAE8-8E6A-B959220EDFF9}" created="2025-04-17T08:20:55.185">
        <p188:txBody>
          <a:bodyPr/>
          <a:lstStyle/>
          <a:p>
            <a:r>
              <a:rPr lang="nl-NL"/>
              <a:t>[@Verlaan, K. (Katie)] its correct, also added all the definitions in Notes section of the slide</a:t>
            </a:r>
          </a:p>
        </p188:txBody>
      </p188:reply>
    </p188:replyLst>
    <p188:txBody>
      <a:bodyPr/>
      <a:lstStyle/>
      <a:p>
        <a:r>
          <a:rPr lang="nl-NL"/>
          <a:t>[@Gupta, S. (Samiksha)] - can you check the source and confirm what products are included? </a:t>
        </a:r>
      </a:p>
    </p188:txBody>
  </p188:cm>
</p188:cmLst>
</file>

<file path=ppt/comments/modernComment_7FFFFFF3_C8BC88B5.xml><?xml version="1.0" encoding="utf-8"?>
<p188:cmLst xmlns:a="http://schemas.openxmlformats.org/drawingml/2006/main" xmlns:r="http://schemas.openxmlformats.org/officeDocument/2006/relationships" xmlns:p188="http://schemas.microsoft.com/office/powerpoint/2018/8/main">
  <p188:cm id="{C56BD7DE-D016-4D12-BEC4-23C064FCC25A}" authorId="{B71C15E6-848C-0CEE-E1A0-9F0174BCC8A2}" created="2025-04-16T14:04:08.782">
    <pc:sldMkLst xmlns:pc="http://schemas.microsoft.com/office/powerpoint/2013/main/command">
      <pc:docMk/>
      <pc:sldMk cId="3367798965" sldId="2147483635"/>
    </pc:sldMkLst>
    <p188:txBody>
      <a:bodyPr/>
      <a:lstStyle/>
      <a:p>
        <a:r>
          <a:rPr lang="nl-NL"/>
          <a:t>[@Mommersteeg, R.A.F. (Ramon)] I've changed my approach here a bit, and think it's better to focus on a summary of some of the challenges that there are in making yoghurts. Can you please take a look at this chart and build it further? Also, not sure if anything further came out of the discussion with Jean and Stella that can add to this.</a:t>
        </a:r>
      </a:p>
    </p188:txBody>
  </p188:cm>
</p188:cmLst>
</file>

<file path=ppt/comments/modernComment_7FFFFFFC_D2783892.xml><?xml version="1.0" encoding="utf-8"?>
<p188:cmLst xmlns:a="http://schemas.openxmlformats.org/drawingml/2006/main" xmlns:r="http://schemas.openxmlformats.org/officeDocument/2006/relationships" xmlns:p188="http://schemas.microsoft.com/office/powerpoint/2018/8/main">
  <p188:cm id="{CCA7E471-B9B2-444A-B952-98777C4D919F}" authorId="{B71C15E6-848C-0CEE-E1A0-9F0174BCC8A2}" created="2025-04-16T14:04:08.782">
    <pc:sldMkLst xmlns:pc="http://schemas.microsoft.com/office/powerpoint/2013/main/command">
      <pc:docMk/>
      <pc:sldMk cId="3367798965" sldId="2147483635"/>
    </pc:sldMkLst>
    <p188:txBody>
      <a:bodyPr/>
      <a:lstStyle/>
      <a:p>
        <a:r>
          <a:rPr lang="nl-NL"/>
          <a:t>[@Mommersteeg, R.A.F. (Ramon)] I've changed my approach here a bit, and think it's better to focus on a summary of some of the challenges that there are in making yoghurts. Can you please take a look at this chart and build it further? Also, not sure if anything further came out of the discussion with Jean and Stella that can add to this.</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141C024-0605-4A00-A37F-A29507F8B0E2}" type="datetimeFigureOut">
              <a:rPr lang="nl-NL" smtClean="0"/>
              <a:t>18-4-2025</a:t>
            </a:fld>
            <a:endParaRPr lang="nl-N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08B9BE1-381F-45B2-BB3C-1FD44ABF01EB}" type="slidenum">
              <a:rPr lang="nl-NL" smtClean="0"/>
              <a:t>‹#›</a:t>
            </a:fld>
            <a:endParaRPr lang="nl-NL"/>
          </a:p>
        </p:txBody>
      </p:sp>
    </p:spTree>
    <p:extLst>
      <p:ext uri="{BB962C8B-B14F-4D97-AF65-F5344CB8AC3E}">
        <p14:creationId xmlns:p14="http://schemas.microsoft.com/office/powerpoint/2010/main" val="33183001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 Id="rId3" Type="http://schemas.openxmlformats.org/officeDocument/2006/relationships/hyperlink" Target="https://my.clevelandclinic.org/health/treatments/13901-glp-1-agonists" TargetMode="Externa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562DA1B-3183-4065-B4D7-59854A79323A}" type="slidenum">
              <a:rPr kumimoji="0" lang="en-US" sz="1200" b="0" i="0" u="none" strike="noStrike" kern="1200" cap="none" spc="0" normalizeH="0" baseline="0" noProof="0" smtClean="0">
                <a:ln>
                  <a:noFill/>
                </a:ln>
                <a:solidFill>
                  <a:srgbClr val="3F4043"/>
                </a:solidFill>
                <a:effectLst/>
                <a:uLnTx/>
                <a:uFillTx/>
                <a:latin typeface="Verdana"/>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srgbClr val="3F4043"/>
              </a:solidFill>
              <a:effectLst/>
              <a:uLnTx/>
              <a:uFillTx/>
              <a:latin typeface="Verdana"/>
              <a:ea typeface="+mn-ea"/>
              <a:cs typeface="+mn-cs"/>
            </a:endParaRPr>
          </a:p>
        </p:txBody>
      </p:sp>
    </p:spTree>
    <p:extLst>
      <p:ext uri="{BB962C8B-B14F-4D97-AF65-F5344CB8AC3E}">
        <p14:creationId xmlns:p14="http://schemas.microsoft.com/office/powerpoint/2010/main" val="28539867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On top of </a:t>
            </a:r>
            <a:r>
              <a:rPr lang="nl-NL" err="1"/>
              <a:t>all</a:t>
            </a:r>
            <a:r>
              <a:rPr lang="nl-NL"/>
              <a:t> of </a:t>
            </a:r>
            <a:r>
              <a:rPr lang="nl-NL" err="1"/>
              <a:t>this</a:t>
            </a:r>
            <a:r>
              <a:rPr lang="nl-NL"/>
              <a:t>, we have </a:t>
            </a:r>
            <a:r>
              <a:rPr lang="nl-NL" err="1"/>
              <a:t>the</a:t>
            </a:r>
            <a:r>
              <a:rPr lang="nl-NL"/>
              <a:t> recent </a:t>
            </a:r>
            <a:r>
              <a:rPr lang="nl-NL" err="1"/>
              <a:t>insurgence</a:t>
            </a:r>
            <a:r>
              <a:rPr lang="nl-NL"/>
              <a:t> of GLP-1 </a:t>
            </a:r>
            <a:r>
              <a:rPr lang="nl-NL" err="1"/>
              <a:t>which</a:t>
            </a:r>
            <a:r>
              <a:rPr lang="nl-NL"/>
              <a:t> is </a:t>
            </a:r>
            <a:r>
              <a:rPr lang="nl-NL" err="1"/>
              <a:t>driving</a:t>
            </a:r>
            <a:r>
              <a:rPr lang="nl-NL"/>
              <a:t> </a:t>
            </a:r>
            <a:r>
              <a:rPr lang="nl-NL" err="1"/>
              <a:t>another</a:t>
            </a:r>
            <a:r>
              <a:rPr lang="nl-NL"/>
              <a:t> level of </a:t>
            </a:r>
            <a:r>
              <a:rPr lang="nl-NL" err="1"/>
              <a:t>dynamic</a:t>
            </a:r>
            <a:r>
              <a:rPr lang="nl-NL"/>
              <a:t> on top of </a:t>
            </a:r>
            <a:r>
              <a:rPr lang="nl-NL" err="1"/>
              <a:t>the</a:t>
            </a:r>
            <a:r>
              <a:rPr lang="nl-NL"/>
              <a:t> trends we are </a:t>
            </a:r>
            <a:r>
              <a:rPr lang="nl-NL" err="1"/>
              <a:t>seeing</a:t>
            </a:r>
            <a:r>
              <a:rPr lang="nl-NL"/>
              <a:t> in </a:t>
            </a:r>
            <a:r>
              <a:rPr lang="nl-NL" err="1"/>
              <a:t>the</a:t>
            </a:r>
            <a:r>
              <a:rPr lang="nl-NL"/>
              <a:t> market. </a:t>
            </a:r>
          </a:p>
        </p:txBody>
      </p:sp>
      <p:sp>
        <p:nvSpPr>
          <p:cNvPr id="4" name="Slide Number Placeholder 3"/>
          <p:cNvSpPr>
            <a:spLocks noGrp="1"/>
          </p:cNvSpPr>
          <p:nvPr>
            <p:ph type="sldNum" sz="quarter" idx="5"/>
          </p:nvPr>
        </p:nvSpPr>
        <p:spPr/>
        <p:txBody>
          <a:bodyPr/>
          <a:lstStyle/>
          <a:p>
            <a:fld id="{B08B9BE1-381F-45B2-BB3C-1FD44ABF01EB}" type="slidenum">
              <a:rPr lang="nl-NL" smtClean="0"/>
              <a:t>16</a:t>
            </a:fld>
            <a:endParaRPr lang="nl-NL"/>
          </a:p>
        </p:txBody>
      </p:sp>
    </p:spTree>
    <p:extLst>
      <p:ext uri="{BB962C8B-B14F-4D97-AF65-F5344CB8AC3E}">
        <p14:creationId xmlns:p14="http://schemas.microsoft.com/office/powerpoint/2010/main" val="40364087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a:effectLst/>
                <a:latin typeface="verdana, 9"/>
              </a:rPr>
              <a:t>So what is the </a:t>
            </a:r>
            <a:r>
              <a:rPr lang="en-US" sz="1800" u="sng">
                <a:effectLst/>
                <a:latin typeface="verdana, 9"/>
              </a:rPr>
              <a:t>impact of AOM's</a:t>
            </a:r>
            <a:r>
              <a:rPr lang="en-US" sz="1800">
                <a:effectLst/>
                <a:latin typeface="verdana, 9"/>
              </a:rPr>
              <a:t>. Well, let's throw in some </a:t>
            </a:r>
            <a:r>
              <a:rPr lang="en-US" sz="1800" u="sng">
                <a:effectLst/>
                <a:latin typeface="verdana, 9"/>
              </a:rPr>
              <a:t>numbers</a:t>
            </a:r>
            <a:r>
              <a:rPr lang="en-US" sz="1800">
                <a:effectLst/>
                <a:latin typeface="verdana, 9"/>
              </a:rPr>
              <a:t>, so you have an idea what we are talking about. Recent </a:t>
            </a:r>
            <a:r>
              <a:rPr lang="en-US" sz="1800" u="sng">
                <a:effectLst/>
                <a:latin typeface="verdana, 9"/>
              </a:rPr>
              <a:t>CDC</a:t>
            </a:r>
            <a:r>
              <a:rPr lang="en-US" sz="1800">
                <a:effectLst/>
                <a:latin typeface="verdana, 9"/>
              </a:rPr>
              <a:t> publication showed that currently about </a:t>
            </a:r>
            <a:r>
              <a:rPr lang="en-US" sz="1800" u="sng">
                <a:effectLst/>
                <a:latin typeface="verdana, 9"/>
              </a:rPr>
              <a:t>40%</a:t>
            </a:r>
            <a:r>
              <a:rPr lang="en-US" sz="1800">
                <a:effectLst/>
                <a:latin typeface="verdana, 9"/>
              </a:rPr>
              <a:t> of adult Americans are actually obese. And if we look at the projection of the </a:t>
            </a:r>
            <a:r>
              <a:rPr lang="en-US" sz="1800" u="sng">
                <a:effectLst/>
                <a:latin typeface="verdana, 9"/>
              </a:rPr>
              <a:t>World obesity federation</a:t>
            </a:r>
            <a:r>
              <a:rPr lang="en-US" sz="1800">
                <a:effectLst/>
                <a:latin typeface="verdana, 9"/>
              </a:rPr>
              <a:t>, they predict that by 2030 1 bln people </a:t>
            </a:r>
            <a:r>
              <a:rPr lang="en-US" sz="1800" u="sng">
                <a:effectLst/>
                <a:latin typeface="verdana, 9"/>
              </a:rPr>
              <a:t>worldwide</a:t>
            </a:r>
            <a:r>
              <a:rPr lang="en-US" sz="1800">
                <a:effectLst/>
                <a:latin typeface="verdana, 9"/>
              </a:rPr>
              <a:t> will be obese. So that is a tremendous amount of people. Ok, I will buy that. That's a lot. But surely not all of them will be </a:t>
            </a:r>
            <a:r>
              <a:rPr lang="en-US" sz="1800" u="sng">
                <a:effectLst/>
                <a:latin typeface="verdana, 9"/>
              </a:rPr>
              <a:t>using AOM medication</a:t>
            </a:r>
            <a:r>
              <a:rPr lang="en-US" sz="1800">
                <a:effectLst/>
                <a:latin typeface="verdana, 9"/>
              </a:rPr>
              <a:t>, right. Right, not all of them, but to give you a bit of an idea, a recent </a:t>
            </a:r>
            <a:r>
              <a:rPr lang="en-US" sz="1800" u="sng">
                <a:effectLst/>
                <a:latin typeface="verdana, 9"/>
              </a:rPr>
              <a:t>KFF survey reported</a:t>
            </a:r>
            <a:r>
              <a:rPr lang="en-US" sz="1800">
                <a:effectLst/>
                <a:latin typeface="verdana, 9"/>
              </a:rPr>
              <a:t> that 1 out of 8 of all </a:t>
            </a:r>
            <a:r>
              <a:rPr lang="en-US" sz="1800" u="sng">
                <a:effectLst/>
                <a:latin typeface="verdana, 9"/>
              </a:rPr>
              <a:t>American adults</a:t>
            </a:r>
            <a:r>
              <a:rPr lang="en-US" sz="1800">
                <a:effectLst/>
                <a:latin typeface="verdana, 9"/>
              </a:rPr>
              <a:t> is actually using an AOM, translating to a </a:t>
            </a:r>
            <a:r>
              <a:rPr lang="en-US" sz="1800" u="sng">
                <a:effectLst/>
                <a:latin typeface="verdana, 9"/>
              </a:rPr>
              <a:t>current number of 15 </a:t>
            </a:r>
            <a:r>
              <a:rPr lang="en-US" sz="1800" u="sng" err="1">
                <a:effectLst/>
                <a:latin typeface="verdana, 9"/>
              </a:rPr>
              <a:t>mln</a:t>
            </a:r>
            <a:r>
              <a:rPr lang="en-US" sz="1800">
                <a:effectLst/>
                <a:latin typeface="verdana, 9"/>
              </a:rPr>
              <a:t>. Which you could call substantial. Ok, ok, </a:t>
            </a:r>
            <a:r>
              <a:rPr lang="en-US" sz="1800" u="sng">
                <a:effectLst/>
                <a:latin typeface="verdana, 9"/>
              </a:rPr>
              <a:t>quite a lot of current users</a:t>
            </a:r>
            <a:r>
              <a:rPr lang="en-US" sz="1800">
                <a:effectLst/>
                <a:latin typeface="verdana, 9"/>
              </a:rPr>
              <a:t>, what about when the usage has been stagnant. Well, over the period of 2020-2023 the</a:t>
            </a:r>
            <a:r>
              <a:rPr lang="en-US" sz="1800" u="sng">
                <a:effectLst/>
                <a:latin typeface="verdana, 9"/>
              </a:rPr>
              <a:t> prescription of AOM's in the US h</a:t>
            </a:r>
            <a:r>
              <a:rPr lang="en-US" sz="1800">
                <a:effectLst/>
                <a:latin typeface="verdana, 9"/>
              </a:rPr>
              <a:t>as increased by a staggering 300%. And if we look at the </a:t>
            </a:r>
            <a:r>
              <a:rPr lang="en-US" sz="1800" u="sng">
                <a:effectLst/>
                <a:latin typeface="verdana, 9"/>
              </a:rPr>
              <a:t>forecasted growth numbers</a:t>
            </a:r>
            <a:r>
              <a:rPr lang="en-US" sz="1800">
                <a:effectLst/>
                <a:latin typeface="verdana, 9"/>
              </a:rPr>
              <a:t>, there are several sources, but </a:t>
            </a:r>
            <a:r>
              <a:rPr lang="en-US" sz="1800" u="sng">
                <a:effectLst/>
                <a:latin typeface="verdana, 9"/>
              </a:rPr>
              <a:t>Grand View Research</a:t>
            </a:r>
            <a:r>
              <a:rPr lang="en-US" sz="1800">
                <a:effectLst/>
                <a:latin typeface="verdana, 9"/>
              </a:rPr>
              <a:t>, places the growth number for the AOM of 32% of 2024-2030. So we can imagine quite </a:t>
            </a:r>
            <a:r>
              <a:rPr lang="en-US" sz="1800" u="sng">
                <a:effectLst/>
                <a:latin typeface="verdana, 9"/>
              </a:rPr>
              <a:t>a lot of potential impact</a:t>
            </a:r>
            <a:r>
              <a:rPr lang="en-US" sz="1800">
                <a:effectLst/>
                <a:latin typeface="verdana, 9"/>
              </a:rPr>
              <a:t> coming from this factor. Ok, so it is a relevant factor. But what are actually AOM's and why do people use them.</a:t>
            </a: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562DA1B-3183-4065-B4D7-59854A79323A}" type="slidenum">
              <a:rPr kumimoji="0" lang="en-GB" sz="1200" b="0" i="0" u="none" strike="noStrike" kern="1200" cap="none" spc="0" normalizeH="0" baseline="0" noProof="0" smtClean="0">
                <a:ln>
                  <a:noFill/>
                </a:ln>
                <a:solidFill>
                  <a:srgbClr val="3F4043"/>
                </a:solidFill>
                <a:effectLst/>
                <a:uLnTx/>
                <a:uFillTx/>
                <a:latin typeface="Verdana"/>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srgbClr val="3F4043"/>
              </a:solidFill>
              <a:effectLst/>
              <a:uLnTx/>
              <a:uFillTx/>
              <a:latin typeface="Verdana"/>
              <a:ea typeface="+mn-ea"/>
              <a:cs typeface="+mn-cs"/>
            </a:endParaRPr>
          </a:p>
        </p:txBody>
      </p:sp>
    </p:spTree>
    <p:extLst>
      <p:ext uri="{BB962C8B-B14F-4D97-AF65-F5344CB8AC3E}">
        <p14:creationId xmlns:p14="http://schemas.microsoft.com/office/powerpoint/2010/main" val="10709156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a:t>AOM, what is it and what does it do?</a:t>
            </a:r>
            <a:endParaRPr lang="en-US" sz="1800">
              <a:effectLst/>
              <a:latin typeface="verdana, 9"/>
            </a:endParaRPr>
          </a:p>
          <a:p>
            <a:r>
              <a:rPr lang="en-US" sz="1800">
                <a:effectLst/>
                <a:latin typeface="verdana, 9"/>
              </a:rPr>
              <a:t>The most well-known version is </a:t>
            </a:r>
            <a:r>
              <a:rPr lang="en-US" sz="1800" u="sng">
                <a:effectLst/>
                <a:latin typeface="verdana, 9"/>
              </a:rPr>
              <a:t>GLP-1, Glucagon-Like Peptide 1</a:t>
            </a:r>
            <a:r>
              <a:rPr lang="en-US" sz="1800">
                <a:effectLst/>
                <a:latin typeface="verdana, 9"/>
              </a:rPr>
              <a:t>, I am not an expert, but when quoting sources and </a:t>
            </a:r>
            <a:r>
              <a:rPr lang="en-US" sz="1800" u="sng">
                <a:effectLst/>
                <a:latin typeface="verdana, 9"/>
              </a:rPr>
              <a:t>simplifying the actions of the medicine</a:t>
            </a:r>
            <a:r>
              <a:rPr lang="en-US" sz="1800">
                <a:effectLst/>
                <a:latin typeface="verdana, 9"/>
              </a:rPr>
              <a:t>, we come to the following </a:t>
            </a:r>
            <a:r>
              <a:rPr lang="en-US" sz="1800" u="sng">
                <a:effectLst/>
                <a:latin typeface="verdana, 9"/>
              </a:rPr>
              <a:t>relevant actions</a:t>
            </a:r>
            <a:r>
              <a:rPr lang="en-US" sz="1800">
                <a:effectLst/>
                <a:latin typeface="verdana, 9"/>
              </a:rPr>
              <a:t> for our storyline. it is actually a naturally </a:t>
            </a:r>
            <a:r>
              <a:rPr lang="en-US" sz="1800" err="1">
                <a:effectLst/>
                <a:latin typeface="verdana, 9"/>
              </a:rPr>
              <a:t>occuring</a:t>
            </a:r>
            <a:r>
              <a:rPr lang="en-US" sz="1800">
                <a:effectLst/>
                <a:latin typeface="verdana, 9"/>
              </a:rPr>
              <a:t> human hormone. And it is prescribed to support managing type 2 diabetes and obesity. </a:t>
            </a:r>
            <a:br>
              <a:rPr lang="en-US" sz="1800">
                <a:effectLst/>
                <a:latin typeface="verdana, 9"/>
              </a:rPr>
            </a:br>
            <a:r>
              <a:rPr lang="en-US" sz="1800">
                <a:effectLst/>
                <a:latin typeface="verdana, 9"/>
              </a:rPr>
              <a:t>By support to</a:t>
            </a:r>
            <a:r>
              <a:rPr lang="en-US" sz="1800" u="sng">
                <a:effectLst/>
                <a:latin typeface="verdana, 9"/>
              </a:rPr>
              <a:t> suppress appetite</a:t>
            </a:r>
            <a:r>
              <a:rPr lang="en-US" sz="1800">
                <a:effectLst/>
                <a:latin typeface="verdana, 9"/>
              </a:rPr>
              <a:t>, increase satiety after a meal and decreases the </a:t>
            </a:r>
            <a:r>
              <a:rPr lang="en-US" sz="1800" err="1">
                <a:effectLst/>
                <a:latin typeface="verdana, 9"/>
              </a:rPr>
              <a:t>insuline</a:t>
            </a:r>
            <a:r>
              <a:rPr lang="en-US" sz="1800">
                <a:effectLst/>
                <a:latin typeface="verdana, 9"/>
              </a:rPr>
              <a:t> response after a meal.</a:t>
            </a:r>
            <a:br>
              <a:rPr lang="en-US" sz="1800">
                <a:effectLst/>
                <a:latin typeface="verdana, 9"/>
              </a:rPr>
            </a:br>
            <a:r>
              <a:rPr lang="en-US" sz="1800">
                <a:effectLst/>
                <a:latin typeface="verdana, 9"/>
              </a:rPr>
              <a:t>OK, that is</a:t>
            </a:r>
            <a:r>
              <a:rPr lang="en-US" sz="1800" u="sng">
                <a:effectLst/>
                <a:latin typeface="verdana, 9"/>
              </a:rPr>
              <a:t> all clear</a:t>
            </a:r>
            <a:r>
              <a:rPr lang="en-US" sz="1800">
                <a:effectLst/>
                <a:latin typeface="verdana, 9"/>
              </a:rPr>
              <a:t>. So there is a </a:t>
            </a:r>
            <a:r>
              <a:rPr lang="en-US" sz="1800" u="sng">
                <a:effectLst/>
                <a:latin typeface="verdana, 9"/>
              </a:rPr>
              <a:t>huge potential impact</a:t>
            </a:r>
            <a:r>
              <a:rPr lang="en-US" sz="1800">
                <a:effectLst/>
                <a:latin typeface="verdana, 9"/>
              </a:rPr>
              <a:t> and</a:t>
            </a:r>
            <a:r>
              <a:rPr lang="en-US" sz="1800" u="sng">
                <a:effectLst/>
                <a:latin typeface="verdana, 9"/>
              </a:rPr>
              <a:t> AOM's support obese people</a:t>
            </a:r>
            <a:r>
              <a:rPr lang="en-US" sz="1800">
                <a:effectLst/>
                <a:latin typeface="verdana, 9"/>
              </a:rPr>
              <a:t> but what does that all </a:t>
            </a:r>
            <a:r>
              <a:rPr lang="en-US" sz="1800" u="sng">
                <a:effectLst/>
                <a:latin typeface="verdana, 9"/>
              </a:rPr>
              <a:t>have to do with protein</a:t>
            </a:r>
            <a:r>
              <a:rPr lang="en-US" sz="1800">
                <a:effectLst/>
                <a:latin typeface="verdana, 9"/>
              </a:rPr>
              <a:t> and increasing demand.</a:t>
            </a:r>
            <a:endParaRPr lang="en-US"/>
          </a:p>
          <a:p>
            <a:r>
              <a:rPr lang="en-US"/>
              <a:t>AOM, what is it and what does it do?</a:t>
            </a:r>
            <a:br>
              <a:rPr lang="en-US"/>
            </a:br>
            <a:r>
              <a:rPr lang="en-US">
                <a:hlinkClick r:id="rId3"/>
              </a:rPr>
              <a:t>GLP-1 Agonists: What They Are, How They Work &amp; Side Effects (clevelandclinic.org)</a:t>
            </a: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562DA1B-3183-4065-B4D7-59854A79323A}" type="slidenum">
              <a:rPr kumimoji="0" lang="en-GB" sz="1200" b="0" i="0" u="none" strike="noStrike" kern="1200" cap="none" spc="0" normalizeH="0" baseline="0" noProof="0" smtClean="0">
                <a:ln>
                  <a:noFill/>
                </a:ln>
                <a:solidFill>
                  <a:srgbClr val="3F4043"/>
                </a:solidFill>
                <a:effectLst/>
                <a:uLnTx/>
                <a:uFillTx/>
                <a:latin typeface="Verdana"/>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srgbClr val="3F4043"/>
              </a:solidFill>
              <a:effectLst/>
              <a:uLnTx/>
              <a:uFillTx/>
              <a:latin typeface="Verdana"/>
              <a:ea typeface="+mn-ea"/>
              <a:cs typeface="+mn-cs"/>
            </a:endParaRPr>
          </a:p>
        </p:txBody>
      </p:sp>
    </p:spTree>
    <p:extLst>
      <p:ext uri="{BB962C8B-B14F-4D97-AF65-F5344CB8AC3E}">
        <p14:creationId xmlns:p14="http://schemas.microsoft.com/office/powerpoint/2010/main" val="4856116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512458-5605-4F55-81DF-4AD0986146A2}"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33464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562DA1B-3183-4065-B4D7-59854A79323A}" type="slidenum">
              <a:rPr kumimoji="0" lang="en-GB" sz="1200" b="0" i="0" u="none" strike="noStrike" kern="1200" cap="none" spc="0" normalizeH="0" baseline="0" noProof="0" smtClean="0">
                <a:ln>
                  <a:noFill/>
                </a:ln>
                <a:solidFill>
                  <a:srgbClr val="3F4043"/>
                </a:solidFill>
                <a:effectLst/>
                <a:uLnTx/>
                <a:uFillTx/>
                <a:latin typeface="Verdana"/>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srgbClr val="3F4043"/>
              </a:solidFill>
              <a:effectLst/>
              <a:uLnTx/>
              <a:uFillTx/>
              <a:latin typeface="Verdana"/>
              <a:ea typeface="+mn-ea"/>
              <a:cs typeface="+mn-cs"/>
            </a:endParaRPr>
          </a:p>
        </p:txBody>
      </p:sp>
    </p:spTree>
    <p:extLst>
      <p:ext uri="{BB962C8B-B14F-4D97-AF65-F5344CB8AC3E}">
        <p14:creationId xmlns:p14="http://schemas.microsoft.com/office/powerpoint/2010/main" val="19446410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171450" indent="-171450">
              <a:buFont typeface="Arial" panose="020B0604020202020204" pitchFamily="34" charset="0"/>
              <a:buChar char="•"/>
            </a:pPr>
            <a:r>
              <a:rPr lang="en-GB" i="1">
                <a:ea typeface="Verdana"/>
                <a:cs typeface="Verdana"/>
              </a:rPr>
              <a:t>2022 financial results</a:t>
            </a:r>
          </a:p>
          <a:p>
            <a:pPr marL="171450" indent="-171450">
              <a:buFont typeface="Arial" panose="020B0604020202020204" pitchFamily="34" charset="0"/>
              <a:buChar char="•"/>
            </a:pPr>
            <a:r>
              <a:rPr lang="en-GB" i="1">
                <a:ea typeface="Verdana"/>
                <a:cs typeface="Verdana"/>
              </a:rPr>
              <a:t>Number of employees per May 2023 (number of FTEs is 14,00)</a:t>
            </a:r>
          </a:p>
        </p:txBody>
      </p:sp>
      <p:sp>
        <p:nvSpPr>
          <p:cNvPr id="4" name="Tijdelijke aanduiding voor dia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562DA1B-3183-4065-B4D7-59854A79323A}" type="slidenum">
              <a:rPr kumimoji="0" lang="en-GB" sz="1200" b="0" i="0" u="none" strike="noStrike" kern="1200" cap="none" spc="0" normalizeH="0" baseline="0" noProof="0" smtClean="0">
                <a:ln>
                  <a:noFill/>
                </a:ln>
                <a:solidFill>
                  <a:srgbClr val="3F4043"/>
                </a:solidFill>
                <a:effectLst/>
                <a:uLnTx/>
                <a:uFillTx/>
                <a:latin typeface="Verdana"/>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srgbClr val="3F4043"/>
              </a:solidFill>
              <a:effectLst/>
              <a:uLnTx/>
              <a:uFillTx/>
              <a:latin typeface="Verdana"/>
              <a:ea typeface="+mn-ea"/>
              <a:cs typeface="+mn-cs"/>
            </a:endParaRPr>
          </a:p>
        </p:txBody>
      </p:sp>
    </p:spTree>
    <p:extLst>
      <p:ext uri="{BB962C8B-B14F-4D97-AF65-F5344CB8AC3E}">
        <p14:creationId xmlns:p14="http://schemas.microsoft.com/office/powerpoint/2010/main" val="10971398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We bring </a:t>
            </a:r>
            <a:r>
              <a:rPr lang="en-GB">
                <a:solidFill>
                  <a:schemeClr val="accent1"/>
                </a:solidFill>
              </a:rPr>
              <a:t>expertise</a:t>
            </a:r>
            <a:r>
              <a:rPr lang="en-GB"/>
              <a:t> and </a:t>
            </a:r>
            <a:r>
              <a:rPr lang="en-GB">
                <a:solidFill>
                  <a:schemeClr val="accent1"/>
                </a:solidFill>
              </a:rPr>
              <a:t>insights</a:t>
            </a:r>
            <a:r>
              <a:rPr lang="en-GB"/>
              <a:t> in a wide range of markets. We collaborate with our partners to develop </a:t>
            </a:r>
            <a:r>
              <a:rPr lang="en-GB">
                <a:solidFill>
                  <a:schemeClr val="accent1"/>
                </a:solidFill>
              </a:rPr>
              <a:t>nutritional</a:t>
            </a:r>
            <a:r>
              <a:rPr lang="en-GB"/>
              <a:t> </a:t>
            </a:r>
            <a:r>
              <a:rPr lang="en-GB">
                <a:solidFill>
                  <a:schemeClr val="accent1"/>
                </a:solidFill>
              </a:rPr>
              <a:t>health</a:t>
            </a:r>
            <a:r>
              <a:rPr lang="en-GB" b="1">
                <a:solidFill>
                  <a:schemeClr val="accent1"/>
                </a:solidFill>
              </a:rPr>
              <a:t> </a:t>
            </a:r>
            <a:r>
              <a:rPr lang="en-GB">
                <a:solidFill>
                  <a:schemeClr val="accent1"/>
                </a:solidFill>
              </a:rPr>
              <a:t>and</a:t>
            </a:r>
            <a:r>
              <a:rPr lang="en-GB" b="1">
                <a:solidFill>
                  <a:schemeClr val="accent1"/>
                </a:solidFill>
              </a:rPr>
              <a:t> </a:t>
            </a:r>
            <a:r>
              <a:rPr lang="en-GB">
                <a:solidFill>
                  <a:schemeClr val="accent1"/>
                </a:solidFill>
              </a:rPr>
              <a:t>wellbeing</a:t>
            </a:r>
            <a:r>
              <a:rPr lang="en-GB" b="1">
                <a:solidFill>
                  <a:schemeClr val="accent1"/>
                </a:solidFill>
              </a:rPr>
              <a:t> </a:t>
            </a:r>
            <a:r>
              <a:rPr lang="en-GB">
                <a:solidFill>
                  <a:schemeClr val="accent1"/>
                </a:solidFill>
              </a:rPr>
              <a:t>solutions</a:t>
            </a:r>
            <a:r>
              <a:rPr lang="en-GB" b="1">
                <a:solidFill>
                  <a:schemeClr val="accent1"/>
                </a:solidFill>
              </a:rPr>
              <a:t> </a:t>
            </a:r>
            <a:r>
              <a:rPr lang="en-GB"/>
              <a:t>for people in </a:t>
            </a:r>
            <a:r>
              <a:rPr lang="en-GB">
                <a:solidFill>
                  <a:schemeClr val="accent1"/>
                </a:solidFill>
              </a:rPr>
              <a:t>all life stages</a:t>
            </a:r>
            <a:r>
              <a:rPr lang="en-GB"/>
              <a:t>. </a:t>
            </a:r>
          </a:p>
          <a:p>
            <a:r>
              <a:rPr lang="en-GB"/>
              <a:t>We offer nutrition to get the most out of life. Always.</a:t>
            </a:r>
          </a:p>
          <a:p>
            <a:endParaRPr lang="en-GB"/>
          </a:p>
          <a:p>
            <a:r>
              <a:rPr lang="en-GB"/>
              <a:t>We offer nutrition in 5 different market segments, 3 in Adult Nutrition, and Early Life Nutrition and Cell Nutrition – more to come later.</a:t>
            </a:r>
          </a:p>
          <a:p>
            <a:endParaRPr lang="en-NL"/>
          </a:p>
        </p:txBody>
      </p:sp>
      <p:sp>
        <p:nvSpPr>
          <p:cNvPr id="4" name="Slide Number Placeholder 3"/>
          <p:cNvSpPr>
            <a:spLocks noGrp="1"/>
          </p:cNvSpPr>
          <p:nvPr>
            <p:ph type="sldNum" sz="quarter" idx="5"/>
          </p:nvPr>
        </p:nvSpPr>
        <p:spPr/>
        <p:txBody>
          <a:bodyPr/>
          <a:lstStyle/>
          <a:p>
            <a:pPr marL="0" marR="0" lvl="0" indent="0" algn="r" defTabSz="939363" rtl="0" eaLnBrk="1" fontAlgn="auto" latinLnBrk="0" hangingPunct="1">
              <a:lnSpc>
                <a:spcPct val="100000"/>
              </a:lnSpc>
              <a:spcBef>
                <a:spcPts val="0"/>
              </a:spcBef>
              <a:spcAft>
                <a:spcPts val="0"/>
              </a:spcAft>
              <a:buClrTx/>
              <a:buSzTx/>
              <a:buFontTx/>
              <a:buNone/>
              <a:tabLst/>
              <a:defRPr/>
            </a:pPr>
            <a:fld id="{F938AB80-C85B-E940-8030-09D24BD161BD}" type="slidenum">
              <a:rPr kumimoji="0" lang="en-NL"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9363" rtl="0" eaLnBrk="1" fontAlgn="auto" latinLnBrk="0" hangingPunct="1">
                <a:lnSpc>
                  <a:spcPct val="100000"/>
                </a:lnSpc>
                <a:spcBef>
                  <a:spcPts val="0"/>
                </a:spcBef>
                <a:spcAft>
                  <a:spcPts val="0"/>
                </a:spcAft>
                <a:buClrTx/>
                <a:buSzTx/>
                <a:buFontTx/>
                <a:buNone/>
                <a:tabLst/>
                <a:defRPr/>
              </a:pPr>
              <a:t>28</a:t>
            </a:fld>
            <a:endParaRPr kumimoji="0" lang="en-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38749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a:solidFill>
                  <a:schemeClr val="accent4"/>
                </a:solidFill>
              </a:rPr>
              <a:t>Milk equivalents are 2021 figures, % calculated on total number of milk volume FC 2021</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a:solidFill>
                <a:schemeClr val="accent4"/>
              </a:solidFill>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US">
                <a:solidFill>
                  <a:schemeClr val="accent4"/>
                </a:solidFill>
              </a:rPr>
              <a:t>Note that the consumer impact numbers are calculated by taking the highest number of each end consumer/product group:</a:t>
            </a:r>
          </a:p>
          <a:p>
            <a:pPr marL="0" marR="0" lvl="0" indent="0" algn="l" defTabSz="685800" rtl="0" eaLnBrk="1" fontAlgn="auto" latinLnBrk="0" hangingPunct="1">
              <a:lnSpc>
                <a:spcPct val="100000"/>
              </a:lnSpc>
              <a:spcBef>
                <a:spcPts val="0"/>
              </a:spcBef>
              <a:spcAft>
                <a:spcPts val="0"/>
              </a:spcAft>
              <a:buClrTx/>
              <a:buSzTx/>
              <a:buFontTx/>
              <a:buNone/>
              <a:tabLst/>
              <a:defRPr/>
            </a:pPr>
            <a:r>
              <a:rPr lang="en-US">
                <a:solidFill>
                  <a:schemeClr val="accent4"/>
                </a:solidFill>
              </a:rPr>
              <a:t>So for babies it’s</a:t>
            </a:r>
            <a:br>
              <a:rPr lang="en-US">
                <a:solidFill>
                  <a:schemeClr val="accent4"/>
                </a:solidFill>
              </a:rPr>
            </a:br>
            <a:r>
              <a:rPr lang="en-US" b="1">
                <a:solidFill>
                  <a:schemeClr val="accent4"/>
                </a:solidFill>
              </a:rPr>
              <a:t>30M babies with our GOS (Borculo)</a:t>
            </a:r>
          </a:p>
          <a:p>
            <a:pPr marL="0" marR="0" lvl="0" indent="0" algn="l" defTabSz="685800" rtl="0" eaLnBrk="1" fontAlgn="auto" latinLnBrk="0" hangingPunct="1">
              <a:lnSpc>
                <a:spcPct val="100000"/>
              </a:lnSpc>
              <a:spcBef>
                <a:spcPts val="0"/>
              </a:spcBef>
              <a:spcAft>
                <a:spcPts val="0"/>
              </a:spcAft>
              <a:buClrTx/>
              <a:buSzTx/>
              <a:buFontTx/>
              <a:buNone/>
              <a:tabLst/>
              <a:defRPr/>
            </a:pPr>
            <a:r>
              <a:rPr lang="en-US">
                <a:solidFill>
                  <a:schemeClr val="accent4"/>
                </a:solidFill>
              </a:rPr>
              <a:t>2M babies with our Lactose (</a:t>
            </a:r>
            <a:r>
              <a:rPr lang="en-US" err="1">
                <a:solidFill>
                  <a:schemeClr val="accent4"/>
                </a:solidFill>
              </a:rPr>
              <a:t>Veghel</a:t>
            </a:r>
            <a:r>
              <a:rPr lang="en-US">
                <a:solidFill>
                  <a:schemeClr val="accent4"/>
                </a:solidFill>
              </a:rPr>
              <a:t>)</a:t>
            </a:r>
          </a:p>
          <a:p>
            <a:pPr marL="0" marR="0" lvl="0" indent="0" algn="l" defTabSz="685800" rtl="0" eaLnBrk="1" fontAlgn="auto" latinLnBrk="0" hangingPunct="1">
              <a:lnSpc>
                <a:spcPct val="100000"/>
              </a:lnSpc>
              <a:spcBef>
                <a:spcPts val="0"/>
              </a:spcBef>
              <a:spcAft>
                <a:spcPts val="0"/>
              </a:spcAft>
              <a:buClrTx/>
              <a:buSzTx/>
              <a:buFontTx/>
              <a:buNone/>
              <a:tabLst/>
              <a:defRPr/>
            </a:pPr>
            <a:r>
              <a:rPr lang="en-US">
                <a:solidFill>
                  <a:schemeClr val="accent4"/>
                </a:solidFill>
              </a:rPr>
              <a:t>1M babies with our </a:t>
            </a:r>
            <a:r>
              <a:rPr lang="en-US" err="1">
                <a:solidFill>
                  <a:schemeClr val="accent4"/>
                </a:solidFill>
              </a:rPr>
              <a:t>basepowders</a:t>
            </a:r>
            <a:r>
              <a:rPr lang="en-US">
                <a:solidFill>
                  <a:schemeClr val="accent4"/>
                </a:solidFill>
              </a:rPr>
              <a:t> (Borculo)</a:t>
            </a:r>
          </a:p>
          <a:p>
            <a:pPr marL="0" marR="0" lvl="0" indent="0" algn="l" defTabSz="685800" rtl="0" eaLnBrk="1" fontAlgn="auto" latinLnBrk="0" hangingPunct="1">
              <a:lnSpc>
                <a:spcPct val="100000"/>
              </a:lnSpc>
              <a:spcBef>
                <a:spcPts val="0"/>
              </a:spcBef>
              <a:spcAft>
                <a:spcPts val="0"/>
              </a:spcAft>
              <a:buClrTx/>
              <a:buSzTx/>
              <a:buFontTx/>
              <a:buNone/>
              <a:tabLst/>
              <a:defRPr/>
            </a:pPr>
            <a:r>
              <a:rPr lang="en-US">
                <a:solidFill>
                  <a:schemeClr val="accent4"/>
                </a:solidFill>
              </a:rPr>
              <a:t>5M babies with our D90 (</a:t>
            </a:r>
            <a:r>
              <a:rPr lang="en-US" err="1">
                <a:solidFill>
                  <a:schemeClr val="accent4"/>
                </a:solidFill>
              </a:rPr>
              <a:t>Bedum</a:t>
            </a:r>
            <a:r>
              <a:rPr lang="en-US">
                <a:solidFill>
                  <a:schemeClr val="accent4"/>
                </a:solidFill>
              </a:rPr>
              <a:t>)</a:t>
            </a:r>
          </a:p>
          <a:p>
            <a:pPr marL="0" marR="0" lvl="0" indent="0" algn="l" defTabSz="685800" rtl="0" eaLnBrk="1" fontAlgn="auto" latinLnBrk="0" hangingPunct="1">
              <a:lnSpc>
                <a:spcPct val="100000"/>
              </a:lnSpc>
              <a:spcBef>
                <a:spcPts val="0"/>
              </a:spcBef>
              <a:spcAft>
                <a:spcPts val="0"/>
              </a:spcAft>
              <a:buClrTx/>
              <a:buSzTx/>
              <a:buFontTx/>
              <a:buNone/>
              <a:tabLst/>
              <a:defRPr/>
            </a:pPr>
            <a:r>
              <a:rPr lang="en-US">
                <a:solidFill>
                  <a:schemeClr val="accent4"/>
                </a:solidFill>
              </a:rPr>
              <a:t>3M babies with our H35 (</a:t>
            </a:r>
            <a:r>
              <a:rPr lang="en-US" err="1">
                <a:solidFill>
                  <a:schemeClr val="accent4"/>
                </a:solidFill>
              </a:rPr>
              <a:t>Workum</a:t>
            </a:r>
            <a:r>
              <a:rPr lang="en-US">
                <a:solidFill>
                  <a:schemeClr val="accent4"/>
                </a:solidFill>
              </a:rPr>
              <a:t>)</a:t>
            </a:r>
            <a:endParaRPr lang="nl-NL">
              <a:solidFill>
                <a:schemeClr val="accent4"/>
              </a:solidFill>
            </a:endParaRPr>
          </a:p>
          <a:p>
            <a:r>
              <a:rPr lang="nl-NL"/>
              <a:t>For </a:t>
            </a:r>
            <a:r>
              <a:rPr lang="nl-NL" err="1"/>
              <a:t>athletes</a:t>
            </a:r>
            <a:r>
              <a:rPr lang="nl-NL"/>
              <a:t> </a:t>
            </a:r>
            <a:r>
              <a:rPr lang="nl-NL" err="1"/>
              <a:t>it</a:t>
            </a:r>
            <a:r>
              <a:rPr lang="nl-NL"/>
              <a:t> is</a:t>
            </a:r>
          </a:p>
          <a:p>
            <a:r>
              <a:rPr lang="nl-NL"/>
              <a:t>25M </a:t>
            </a:r>
            <a:r>
              <a:rPr lang="nl-NL" err="1"/>
              <a:t>athletes</a:t>
            </a:r>
            <a:r>
              <a:rPr lang="nl-NL"/>
              <a:t> (Veghel)</a:t>
            </a:r>
          </a:p>
          <a:p>
            <a:r>
              <a:rPr lang="nl-NL"/>
              <a:t>0,3M </a:t>
            </a:r>
            <a:r>
              <a:rPr lang="nl-NL" err="1"/>
              <a:t>athletes</a:t>
            </a:r>
            <a:r>
              <a:rPr lang="nl-NL"/>
              <a:t> (WPI, Borculo)</a:t>
            </a:r>
          </a:p>
        </p:txBody>
      </p:sp>
      <p:sp>
        <p:nvSpPr>
          <p:cNvPr id="4" name="Tijdelijke aanduiding voor dia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562DA1B-3183-4065-B4D7-59854A79323A}" type="slidenum">
              <a:rPr kumimoji="0" lang="en-GB" sz="1200" b="0" i="0" u="none" strike="noStrike" kern="1200" cap="none" spc="0" normalizeH="0" baseline="0" noProof="0" smtClean="0">
                <a:ln>
                  <a:noFill/>
                </a:ln>
                <a:solidFill>
                  <a:srgbClr val="3F4043"/>
                </a:solidFill>
                <a:effectLst/>
                <a:uLnTx/>
                <a:uFillTx/>
                <a:latin typeface="Verdana"/>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srgbClr val="3F4043"/>
              </a:solidFill>
              <a:effectLst/>
              <a:uLnTx/>
              <a:uFillTx/>
              <a:latin typeface="Verdana"/>
              <a:ea typeface="+mn-ea"/>
              <a:cs typeface="+mn-cs"/>
            </a:endParaRPr>
          </a:p>
        </p:txBody>
      </p:sp>
    </p:spTree>
    <p:extLst>
      <p:ext uri="{BB962C8B-B14F-4D97-AF65-F5344CB8AC3E}">
        <p14:creationId xmlns:p14="http://schemas.microsoft.com/office/powerpoint/2010/main" val="42073876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562DA1B-3183-4065-B4D7-59854A79323A}" type="slidenum">
              <a:rPr kumimoji="0" lang="en-US" sz="1200" b="0" i="0" u="none" strike="noStrike" kern="1200" cap="none" spc="0" normalizeH="0" baseline="0" noProof="0" smtClean="0">
                <a:ln>
                  <a:noFill/>
                </a:ln>
                <a:solidFill>
                  <a:srgbClr val="3F4043"/>
                </a:solidFill>
                <a:effectLst/>
                <a:uLnTx/>
                <a:uFillTx/>
                <a:latin typeface="Verdana"/>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srgbClr val="3F4043"/>
              </a:solidFill>
              <a:effectLst/>
              <a:uLnTx/>
              <a:uFillTx/>
              <a:latin typeface="Verdana"/>
              <a:ea typeface="+mn-ea"/>
              <a:cs typeface="+mn-cs"/>
            </a:endParaRPr>
          </a:p>
        </p:txBody>
      </p:sp>
    </p:spTree>
    <p:extLst>
      <p:ext uri="{BB962C8B-B14F-4D97-AF65-F5344CB8AC3E}">
        <p14:creationId xmlns:p14="http://schemas.microsoft.com/office/powerpoint/2010/main" val="34584131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C025A9-BDC0-4F29-BC46-4B3087A7B18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24339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735012" y="4518025"/>
            <a:ext cx="5632450" cy="169277"/>
          </a:xfrm>
        </p:spPr>
        <p:txBody>
          <a:bodyPr/>
          <a:lstStyle/>
          <a:p>
            <a:pPr algn="l"/>
            <a:r>
              <a:rPr lang="en-US" sz="1800" b="1" i="0" u="none" strike="noStrike" baseline="0">
                <a:solidFill>
                  <a:srgbClr val="3F4043"/>
                </a:solidFill>
                <a:latin typeface="Verdana-Bold"/>
              </a:rPr>
              <a:t>Demographics changing with </a:t>
            </a:r>
            <a:r>
              <a:rPr lang="en-US" sz="1800" b="1" i="0" u="none" strike="noStrike" baseline="0" err="1">
                <a:solidFill>
                  <a:srgbClr val="3F4043"/>
                </a:solidFill>
                <a:latin typeface="Verdana-Bold"/>
              </a:rPr>
              <a:t>GenZ</a:t>
            </a:r>
            <a:r>
              <a:rPr lang="en-US" sz="1800" b="1" i="0" u="none" strike="noStrike" baseline="0">
                <a:solidFill>
                  <a:srgbClr val="3F4043"/>
                </a:solidFill>
                <a:latin typeface="Verdana-Bold"/>
              </a:rPr>
              <a:t> </a:t>
            </a:r>
            <a:r>
              <a:rPr lang="en-US" sz="1800" b="0" i="0" u="none" strike="noStrike" baseline="0">
                <a:solidFill>
                  <a:srgbClr val="3F4043"/>
                </a:solidFill>
                <a:latin typeface="Verdana" panose="020B0604030504040204" pitchFamily="34" charset="0"/>
              </a:rPr>
              <a:t>becoming an increasing share of the</a:t>
            </a:r>
          </a:p>
          <a:p>
            <a:pPr algn="l"/>
            <a:r>
              <a:rPr lang="en-US" sz="1800" b="0" i="0" u="none" strike="noStrike" baseline="0">
                <a:solidFill>
                  <a:srgbClr val="3F4043"/>
                </a:solidFill>
                <a:latin typeface="Verdana" panose="020B0604030504040204" pitchFamily="34" charset="0"/>
              </a:rPr>
              <a:t>consuming population and showing higher tendency towards H&amp;W trends - e.g.,</a:t>
            </a:r>
          </a:p>
          <a:p>
            <a:pPr algn="l"/>
            <a:r>
              <a:rPr lang="en-US" sz="1800" b="0" i="0" u="none" strike="noStrike" baseline="0">
                <a:solidFill>
                  <a:srgbClr val="3F4043"/>
                </a:solidFill>
                <a:latin typeface="Verdana" panose="020B0604030504040204" pitchFamily="34" charset="0"/>
              </a:rPr>
              <a:t>35% of </a:t>
            </a:r>
            <a:r>
              <a:rPr lang="en-US" sz="1800" b="0" i="0" u="none" strike="noStrike" baseline="0" err="1">
                <a:solidFill>
                  <a:srgbClr val="3F4043"/>
                </a:solidFill>
                <a:latin typeface="Verdana" panose="020B0604030504040204" pitchFamily="34" charset="0"/>
              </a:rPr>
              <a:t>GenZ</a:t>
            </a:r>
            <a:r>
              <a:rPr lang="en-US" sz="1800" b="0" i="0" u="none" strike="noStrike" baseline="0">
                <a:solidFill>
                  <a:srgbClr val="3F4043"/>
                </a:solidFill>
                <a:latin typeface="Verdana" panose="020B0604030504040204" pitchFamily="34" charset="0"/>
              </a:rPr>
              <a:t> intent to buy products with high protein share vs 11% of Gen X</a:t>
            </a:r>
            <a:endParaRPr lang="en-US"/>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8 April 2025</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2101026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735012" y="4518025"/>
            <a:ext cx="5632450" cy="169277"/>
          </a:xfrm>
        </p:spPr>
        <p:txBody>
          <a:bodyPr/>
          <a:lstStyle/>
          <a:p>
            <a:endParaRPr lang="en-US"/>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8 April 2025</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8654873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562DA1B-3183-4065-B4D7-59854A79323A}" type="slidenum">
              <a:rPr kumimoji="0" lang="en-GB" sz="1200" b="0" i="0" u="none" strike="noStrike" kern="1200" cap="none" spc="0" normalizeH="0" baseline="0" noProof="0" smtClean="0">
                <a:ln>
                  <a:noFill/>
                </a:ln>
                <a:solidFill>
                  <a:srgbClr val="3F4043"/>
                </a:solidFill>
                <a:effectLst/>
                <a:uLnTx/>
                <a:uFillTx/>
                <a:latin typeface="Verdana"/>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srgbClr val="3F4043"/>
              </a:solidFill>
              <a:effectLst/>
              <a:uLnTx/>
              <a:uFillTx/>
              <a:latin typeface="Verdana"/>
              <a:ea typeface="+mn-ea"/>
              <a:cs typeface="+mn-cs"/>
            </a:endParaRPr>
          </a:p>
        </p:txBody>
      </p:sp>
    </p:spTree>
    <p:extLst>
      <p:ext uri="{BB962C8B-B14F-4D97-AF65-F5344CB8AC3E}">
        <p14:creationId xmlns:p14="http://schemas.microsoft.com/office/powerpoint/2010/main" val="31721101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512458-5605-4F55-81DF-4AD0986146A2}"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56343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Calibri"/>
                <a:ea typeface="Calibri"/>
                <a:cs typeface="Calibri"/>
              </a:rPr>
              <a:t>1 (and 2) One of the Innova 2024 trends - Prioritizing prevention: positive action to prevent health concerns before they arise is driving consumers to products that meet their personal well-being needs for a longer, healthier life</a:t>
            </a:r>
          </a:p>
          <a:p>
            <a:endParaRPr lang="en-US">
              <a:latin typeface="Calibri"/>
              <a:ea typeface="Calibri"/>
              <a:cs typeface="Calibri"/>
            </a:endParaRPr>
          </a:p>
          <a:p>
            <a:r>
              <a:rPr lang="en-US">
                <a:latin typeface="Calibri"/>
                <a:ea typeface="Calibri"/>
                <a:cs typeface="Calibri"/>
              </a:rPr>
              <a:t>2. </a:t>
            </a:r>
            <a:r>
              <a:rPr lang="en-US" sz="900" b="0"/>
              <a:t>Aging population is increasing worldwide</a:t>
            </a:r>
            <a:endParaRPr lang="en-US" b="0">
              <a:latin typeface="Calibri"/>
              <a:ea typeface="Calibri"/>
              <a:cs typeface="Calibri"/>
            </a:endParaRPr>
          </a:p>
          <a:p>
            <a:endParaRPr lang="en-US">
              <a:latin typeface="Calibri"/>
              <a:ea typeface="Calibri"/>
              <a:cs typeface="Calibri"/>
            </a:endParaRPr>
          </a:p>
          <a:p>
            <a:r>
              <a:rPr lang="en-US">
                <a:latin typeface="Calibri"/>
                <a:ea typeface="Calibri"/>
                <a:cs typeface="Calibri"/>
              </a:rPr>
              <a:t>3: </a:t>
            </a:r>
            <a:r>
              <a:rPr lang="en-US" b="0" i="0">
                <a:solidFill>
                  <a:srgbClr val="222222"/>
                </a:solidFill>
                <a:effectLst/>
                <a:latin typeface="open sans" panose="020B0606030504020204" pitchFamily="34" charset="0"/>
              </a:rPr>
              <a:t>The South Korean government has hailed the success of a national food industry strategy that has reduced frailty, nutrition, and malnutrition rates among the elderly population. They government introduced an ‘S mark’ (senior friendly foods: based on parameters such as product hardness, viscosity, nutritional content, and more) certification that these products are able to display on their food labelling.</a:t>
            </a:r>
            <a:endParaRPr lang="en-US" b="0">
              <a:latin typeface="Calibri"/>
              <a:ea typeface="Calibri"/>
              <a:cs typeface="Calibri"/>
            </a:endParaRPr>
          </a:p>
        </p:txBody>
      </p:sp>
      <p:sp>
        <p:nvSpPr>
          <p:cNvPr id="4" name="Slide Number Placeholder 3"/>
          <p:cNvSpPr>
            <a:spLocks noGrp="1"/>
          </p:cNvSpPr>
          <p:nvPr>
            <p:ph type="sldNum" sz="quarter" idx="5"/>
          </p:nvPr>
        </p:nvSpPr>
        <p:spPr/>
        <p:txBody>
          <a:bodyPr/>
          <a:lstStyle/>
          <a:p>
            <a:fld id="{C562DA1B-3183-4065-B4D7-59854A79323A}" type="slidenum">
              <a:rPr lang="en-GB" smtClean="0"/>
              <a:t>11</a:t>
            </a:fld>
            <a:endParaRPr lang="en-GB"/>
          </a:p>
        </p:txBody>
      </p:sp>
    </p:spTree>
    <p:extLst>
      <p:ext uri="{BB962C8B-B14F-4D97-AF65-F5344CB8AC3E}">
        <p14:creationId xmlns:p14="http://schemas.microsoft.com/office/powerpoint/2010/main" val="14574675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t is a well known fact that global population is aging and that Asia is leading this process in terms of absolute number of aging individuals. Together with this demographic change, there is also emerging science on how the aging process develops and how it can be influenced. </a:t>
            </a:r>
            <a:endParaRPr lang="en-NL"/>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562DA1B-3183-4065-B4D7-59854A79323A}" type="slidenum">
              <a:rPr kumimoji="0" lang="en-US" sz="1300" b="0" i="0" u="none" strike="noStrike" kern="1200" cap="none" spc="0" normalizeH="0" baseline="0" noProof="0" smtClean="0">
                <a:ln>
                  <a:noFill/>
                </a:ln>
                <a:solidFill>
                  <a:srgbClr val="3F4043"/>
                </a:solidFill>
                <a:effectLst/>
                <a:uLnTx/>
                <a:uFillTx/>
                <a:latin typeface="Verdana"/>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300" b="0" i="0" u="none" strike="noStrike" kern="1200" cap="none" spc="0" normalizeH="0" baseline="0" noProof="0">
              <a:ln>
                <a:noFill/>
              </a:ln>
              <a:solidFill>
                <a:srgbClr val="3F4043"/>
              </a:solidFill>
              <a:effectLst/>
              <a:uLnTx/>
              <a:uFillTx/>
              <a:latin typeface="Verdana"/>
              <a:ea typeface="+mn-ea"/>
              <a:cs typeface="+mn-cs"/>
            </a:endParaRPr>
          </a:p>
        </p:txBody>
      </p:sp>
    </p:spTree>
    <p:extLst>
      <p:ext uri="{BB962C8B-B14F-4D97-AF65-F5344CB8AC3E}">
        <p14:creationId xmlns:p14="http://schemas.microsoft.com/office/powerpoint/2010/main" val="35490078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rtl="0" fontAlgn="base"/>
            <a:r>
              <a:rPr lang="en-US" sz="1800" b="1" i="0">
                <a:solidFill>
                  <a:srgbClr val="3F4043"/>
                </a:solidFill>
                <a:effectLst/>
                <a:latin typeface="Verdana" panose="020B0604030504040204" pitchFamily="34" charset="0"/>
              </a:rPr>
              <a:t>Drinking yoghurt</a:t>
            </a:r>
            <a:r>
              <a:rPr lang="en-US" sz="1800" b="0" i="0">
                <a:solidFill>
                  <a:srgbClr val="3F4043"/>
                </a:solidFill>
                <a:effectLst/>
                <a:latin typeface="Verdana" panose="020B0604030504040204" pitchFamily="34" charset="0"/>
              </a:rPr>
              <a:t>: ​Includes dairy based drinking yoghurts of all types (full fat, low fat, </a:t>
            </a:r>
            <a:r>
              <a:rPr lang="en-US" sz="1800" b="0" i="0" err="1">
                <a:solidFill>
                  <a:srgbClr val="3F4043"/>
                </a:solidFill>
                <a:effectLst/>
                <a:latin typeface="Verdana" panose="020B0604030504040204" pitchFamily="34" charset="0"/>
              </a:rPr>
              <a:t>flavoured</a:t>
            </a:r>
            <a:r>
              <a:rPr lang="en-US" sz="1800" b="0" i="0">
                <a:solidFill>
                  <a:srgbClr val="3F4043"/>
                </a:solidFill>
                <a:effectLst/>
                <a:latin typeface="Verdana" panose="020B0604030504040204" pitchFamily="34" charset="0"/>
              </a:rPr>
              <a:t>, fruited, plain, </a:t>
            </a:r>
            <a:r>
              <a:rPr lang="en-US" sz="1800" b="0" i="0" err="1">
                <a:solidFill>
                  <a:srgbClr val="3F4043"/>
                </a:solidFill>
                <a:effectLst/>
                <a:latin typeface="Verdana" panose="020B0604030504040204" pitchFamily="34" charset="0"/>
              </a:rPr>
              <a:t>etc</a:t>
            </a:r>
            <a:r>
              <a:rPr lang="en-US" sz="1800" b="0" i="0">
                <a:solidFill>
                  <a:srgbClr val="3F4043"/>
                </a:solidFill>
                <a:effectLst/>
                <a:latin typeface="Verdana" panose="020B0604030504040204" pitchFamily="34" charset="0"/>
              </a:rPr>
              <a:t>), regardless of </a:t>
            </a:r>
            <a:r>
              <a:rPr lang="en-US" sz="1800" b="0" i="0" err="1">
                <a:solidFill>
                  <a:srgbClr val="3F4043"/>
                </a:solidFill>
                <a:effectLst/>
                <a:latin typeface="Verdana" panose="020B0604030504040204" pitchFamily="34" charset="0"/>
              </a:rPr>
              <a:t>flavour</a:t>
            </a:r>
            <a:r>
              <a:rPr lang="en-US" sz="1800" b="0" i="0">
                <a:solidFill>
                  <a:srgbClr val="3F4043"/>
                </a:solidFill>
                <a:effectLst/>
                <a:latin typeface="Verdana" panose="020B0604030504040204" pitchFamily="34" charset="0"/>
              </a:rPr>
              <a:t> (</a:t>
            </a:r>
            <a:r>
              <a:rPr lang="en-US" sz="1800" b="0" i="0" err="1">
                <a:solidFill>
                  <a:srgbClr val="3F4043"/>
                </a:solidFill>
                <a:effectLst/>
                <a:latin typeface="Verdana" panose="020B0604030504040204" pitchFamily="34" charset="0"/>
              </a:rPr>
              <a:t>eg</a:t>
            </a:r>
            <a:r>
              <a:rPr lang="en-US" sz="1800" b="0" i="0">
                <a:solidFill>
                  <a:srgbClr val="3F4043"/>
                </a:solidFill>
                <a:effectLst/>
                <a:latin typeface="Verdana" panose="020B0604030504040204" pitchFamily="34" charset="0"/>
              </a:rPr>
              <a:t>, strawberry, banana raspberry, </a:t>
            </a:r>
            <a:r>
              <a:rPr lang="en-US" sz="1800" b="0" i="0" err="1">
                <a:solidFill>
                  <a:srgbClr val="3F4043"/>
                </a:solidFill>
                <a:effectLst/>
                <a:latin typeface="Verdana" panose="020B0604030504040204" pitchFamily="34" charset="0"/>
              </a:rPr>
              <a:t>etc</a:t>
            </a:r>
            <a:r>
              <a:rPr lang="en-US" sz="1800" b="0" i="0">
                <a:solidFill>
                  <a:srgbClr val="3F4043"/>
                </a:solidFill>
                <a:effectLst/>
                <a:latin typeface="Verdana" panose="020B0604030504040204" pitchFamily="34" charset="0"/>
              </a:rPr>
              <a:t>) are included. Drinking yoghurts explicitly positioned towards children (and in some cases featuring a toy/surprise) is also included here regardless of </a:t>
            </a:r>
            <a:r>
              <a:rPr lang="en-US" sz="1800" b="0" i="0" err="1">
                <a:solidFill>
                  <a:srgbClr val="3F4043"/>
                </a:solidFill>
                <a:effectLst/>
                <a:latin typeface="Verdana" panose="020B0604030504040204" pitchFamily="34" charset="0"/>
              </a:rPr>
              <a:t>flavour</a:t>
            </a:r>
            <a:r>
              <a:rPr lang="en-US" sz="1800" b="0" i="0">
                <a:solidFill>
                  <a:srgbClr val="3F4043"/>
                </a:solidFill>
                <a:effectLst/>
                <a:latin typeface="Verdana" panose="020B0604030504040204" pitchFamily="34" charset="0"/>
              </a:rPr>
              <a:t>. Drinking fromage frais, also typically positioned for children is included here. Includes both normal/regular drinking yoghurt as well as products with a “functional” positioning.​ (fermented)</a:t>
            </a:r>
            <a:endParaRPr lang="en-US" sz="2400" b="0" i="0">
              <a:solidFill>
                <a:srgbClr val="3F4043"/>
              </a:solidFill>
              <a:effectLst/>
            </a:endParaRPr>
          </a:p>
          <a:p>
            <a:pPr algn="just" rtl="0" fontAlgn="base"/>
            <a:r>
              <a:rPr lang="en-US" sz="1800" b="1" i="0" err="1">
                <a:solidFill>
                  <a:srgbClr val="3F4043"/>
                </a:solidFill>
                <a:effectLst/>
                <a:latin typeface="Verdana" panose="020B0604030504040204" pitchFamily="34" charset="0"/>
              </a:rPr>
              <a:t>Spoonable</a:t>
            </a:r>
            <a:r>
              <a:rPr lang="en-US" sz="1800" b="1" i="0">
                <a:solidFill>
                  <a:srgbClr val="3F4043"/>
                </a:solidFill>
                <a:effectLst/>
                <a:latin typeface="Verdana" panose="020B0604030504040204" pitchFamily="34" charset="0"/>
              </a:rPr>
              <a:t> yoghurt</a:t>
            </a:r>
            <a:r>
              <a:rPr lang="en-US" sz="1800" b="0" i="0">
                <a:solidFill>
                  <a:srgbClr val="3F4043"/>
                </a:solidFill>
                <a:effectLst/>
                <a:latin typeface="Verdana" panose="020B0604030504040204" pitchFamily="34" charset="0"/>
              </a:rPr>
              <a:t>: ​Aggregation of </a:t>
            </a:r>
            <a:r>
              <a:rPr lang="en-US" sz="1800" b="0" i="0" err="1">
                <a:solidFill>
                  <a:srgbClr val="3F4043"/>
                </a:solidFill>
                <a:effectLst/>
                <a:latin typeface="Verdana" panose="020B0604030504040204" pitchFamily="34" charset="0"/>
              </a:rPr>
              <a:t>Flavoured</a:t>
            </a:r>
            <a:r>
              <a:rPr lang="en-US" sz="1800" b="0" i="0">
                <a:solidFill>
                  <a:srgbClr val="3F4043"/>
                </a:solidFill>
                <a:effectLst/>
                <a:latin typeface="Verdana" panose="020B0604030504040204" pitchFamily="34" charset="0"/>
              </a:rPr>
              <a:t> and Plain (</a:t>
            </a:r>
            <a:r>
              <a:rPr lang="en-US" sz="1800" b="0" i="0" err="1">
                <a:solidFill>
                  <a:srgbClr val="3F4043"/>
                </a:solidFill>
                <a:effectLst/>
                <a:latin typeface="Verdana" panose="020B0604030504040204" pitchFamily="34" charset="0"/>
              </a:rPr>
              <a:t>Spoonable</a:t>
            </a:r>
            <a:r>
              <a:rPr lang="en-US" sz="1800" b="0" i="0">
                <a:solidFill>
                  <a:srgbClr val="3F4043"/>
                </a:solidFill>
                <a:effectLst/>
                <a:latin typeface="Verdana" panose="020B0604030504040204" pitchFamily="34" charset="0"/>
              </a:rPr>
              <a:t>) Yoghurt​</a:t>
            </a:r>
            <a:endParaRPr lang="en-US" sz="2400" b="0" i="0">
              <a:solidFill>
                <a:srgbClr val="3F4043"/>
              </a:solidFill>
              <a:effectLst/>
            </a:endParaRPr>
          </a:p>
          <a:p>
            <a:pPr algn="just" rtl="0" fontAlgn="base"/>
            <a:r>
              <a:rPr lang="en-US" sz="1800" b="1" i="0">
                <a:solidFill>
                  <a:srgbClr val="3F4043"/>
                </a:solidFill>
                <a:effectLst/>
                <a:latin typeface="Verdana" panose="020B0604030504040204" pitchFamily="34" charset="0"/>
              </a:rPr>
              <a:t>Functional yoghurt</a:t>
            </a:r>
            <a:r>
              <a:rPr lang="en-US" sz="1800" b="0" i="0">
                <a:solidFill>
                  <a:srgbClr val="3F4043"/>
                </a:solidFill>
                <a:effectLst/>
                <a:latin typeface="Verdana" panose="020B0604030504040204" pitchFamily="34" charset="0"/>
              </a:rPr>
              <a:t>​</a:t>
            </a:r>
            <a:r>
              <a:rPr lang="en-US" sz="2400" b="0" i="0">
                <a:solidFill>
                  <a:srgbClr val="3F4043"/>
                </a:solidFill>
                <a:effectLst/>
                <a:latin typeface="+mn-lt"/>
              </a:rPr>
              <a:t>: </a:t>
            </a:r>
            <a:r>
              <a:rPr lang="en-US" sz="1800" b="0" i="0">
                <a:solidFill>
                  <a:srgbClr val="3F4043"/>
                </a:solidFill>
                <a:effectLst/>
                <a:latin typeface="Verdana" panose="020B0604030504040204" pitchFamily="34" charset="0"/>
              </a:rPr>
              <a:t>Aggregation of all functional segments (Good source of Vitamins, Good source of Minerals, Good source of Anti-oxidants, High fiber, High protein &amp; Probiotic)​</a:t>
            </a:r>
            <a:r>
              <a:rPr lang="en-US" sz="2400" b="0" i="0">
                <a:solidFill>
                  <a:srgbClr val="3F4043"/>
                </a:solidFill>
                <a:effectLst/>
                <a:latin typeface="+mn-lt"/>
              </a:rPr>
              <a:t>. </a:t>
            </a:r>
            <a:r>
              <a:rPr lang="en-US" sz="1200">
                <a:solidFill>
                  <a:srgbClr val="3F4043"/>
                </a:solidFill>
                <a:latin typeface="Verdana"/>
              </a:rPr>
              <a:t>These functional yoghurt categories include both drinking and non-drinking yoghurt (plain and </a:t>
            </a:r>
            <a:r>
              <a:rPr lang="en-US" sz="1200" err="1">
                <a:solidFill>
                  <a:srgbClr val="3F4043"/>
                </a:solidFill>
                <a:latin typeface="Verdana"/>
              </a:rPr>
              <a:t>flavoured</a:t>
            </a:r>
            <a:r>
              <a:rPr lang="en-US" sz="1200">
                <a:solidFill>
                  <a:srgbClr val="3F4043"/>
                </a:solidFill>
                <a:latin typeface="Verdana"/>
              </a:rPr>
              <a:t>). This includes chilled and shelf stable yoghurt. Plant based-based yoghurts are included. </a:t>
            </a:r>
          </a:p>
          <a:p>
            <a:endParaRPr lang="nl-NL"/>
          </a:p>
        </p:txBody>
      </p:sp>
      <p:sp>
        <p:nvSpPr>
          <p:cNvPr id="4" name="Slide Number Placeholder 3"/>
          <p:cNvSpPr>
            <a:spLocks noGrp="1"/>
          </p:cNvSpPr>
          <p:nvPr>
            <p:ph type="sldNum" sz="quarter" idx="5"/>
          </p:nvPr>
        </p:nvSpPr>
        <p:spPr/>
        <p:txBody>
          <a:bodyPr/>
          <a:lstStyle/>
          <a:p>
            <a:fld id="{B08B9BE1-381F-45B2-BB3C-1FD44ABF01EB}" type="slidenum">
              <a:rPr lang="nl-NL" smtClean="0"/>
              <a:t>14</a:t>
            </a:fld>
            <a:endParaRPr lang="nl-NL"/>
          </a:p>
        </p:txBody>
      </p:sp>
    </p:spTree>
    <p:extLst>
      <p:ext uri="{BB962C8B-B14F-4D97-AF65-F5344CB8AC3E}">
        <p14:creationId xmlns:p14="http://schemas.microsoft.com/office/powerpoint/2010/main" val="8071372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8.png"/><Relationship Id="rId3" Type="http://schemas.openxmlformats.org/officeDocument/2006/relationships/image" Target="../media/image59.svg"/></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8.png"/><Relationship Id="rId3" Type="http://schemas.openxmlformats.org/officeDocument/2006/relationships/image" Target="../media/image59.svg"/></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0.png"/></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0.png"/></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 Id="rId3" Type="http://schemas.openxmlformats.org/officeDocument/2006/relationships/image" Target="../media/image9.sv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60.png"/></Relationships>
</file>

<file path=ppt/slideLayouts/_rels/slideLayout122.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tags" Target="../tags/tag81.xml"/><Relationship Id="rId3" Type="http://schemas.openxmlformats.org/officeDocument/2006/relationships/tags" Target="../tags/tag82.xml"/><Relationship Id="rId4" Type="http://schemas.openxmlformats.org/officeDocument/2006/relationships/tags" Target="../tags/tag83.xml"/><Relationship Id="rId5" Type="http://schemas.openxmlformats.org/officeDocument/2006/relationships/tags" Target="../tags/tag84.xml"/><Relationship Id="rId6" Type="http://schemas.openxmlformats.org/officeDocument/2006/relationships/slideMaster" Target="../slideMasters/slideMaster3.xml"/><Relationship Id="rId7" Type="http://schemas.openxmlformats.org/officeDocument/2006/relationships/oleObject" Target="../embeddings/oleObject4.bin"/><Relationship Id="rId8" Type="http://schemas.openxmlformats.org/officeDocument/2006/relationships/image" Target="../media/image64.emf"/><Relationship Id="rId9" Type="http://schemas.openxmlformats.org/officeDocument/2006/relationships/image" Target="../media/image36.jpeg"/><Relationship Id="rId10" Type="http://schemas.openxmlformats.org/officeDocument/2006/relationships/image" Target="../media/image62.png"/></Relationships>
</file>

<file path=ppt/slideLayouts/_rels/slideLayout123.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tags" Target="../tags/tag86.xml"/><Relationship Id="rId3" Type="http://schemas.openxmlformats.org/officeDocument/2006/relationships/tags" Target="../tags/tag87.xml"/><Relationship Id="rId4" Type="http://schemas.openxmlformats.org/officeDocument/2006/relationships/tags" Target="../tags/tag88.xml"/><Relationship Id="rId5" Type="http://schemas.openxmlformats.org/officeDocument/2006/relationships/tags" Target="../tags/tag89.xml"/><Relationship Id="rId6" Type="http://schemas.openxmlformats.org/officeDocument/2006/relationships/tags" Target="../tags/tag90.xml"/><Relationship Id="rId7" Type="http://schemas.openxmlformats.org/officeDocument/2006/relationships/tags" Target="../tags/tag91.xml"/><Relationship Id="rId8" Type="http://schemas.openxmlformats.org/officeDocument/2006/relationships/slideMaster" Target="../slideMasters/slideMaster3.xml"/><Relationship Id="rId9" Type="http://schemas.openxmlformats.org/officeDocument/2006/relationships/oleObject" Target="../embeddings/oleObject5.bin"/><Relationship Id="rId10" Type="http://schemas.openxmlformats.org/officeDocument/2006/relationships/image" Target="../media/image61.emf"/></Relationships>
</file>

<file path=ppt/slideLayouts/_rels/slideLayout124.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tags" Target="../tags/tag93.xml"/><Relationship Id="rId3" Type="http://schemas.openxmlformats.org/officeDocument/2006/relationships/tags" Target="../tags/tag94.xml"/><Relationship Id="rId4" Type="http://schemas.openxmlformats.org/officeDocument/2006/relationships/tags" Target="../tags/tag95.xml"/><Relationship Id="rId5" Type="http://schemas.openxmlformats.org/officeDocument/2006/relationships/tags" Target="../tags/tag96.xml"/><Relationship Id="rId6" Type="http://schemas.openxmlformats.org/officeDocument/2006/relationships/tags" Target="../tags/tag97.xml"/><Relationship Id="rId7" Type="http://schemas.openxmlformats.org/officeDocument/2006/relationships/tags" Target="../tags/tag98.xml"/><Relationship Id="rId8" Type="http://schemas.openxmlformats.org/officeDocument/2006/relationships/slideMaster" Target="../slideMasters/slideMaster3.xml"/><Relationship Id="rId9" Type="http://schemas.openxmlformats.org/officeDocument/2006/relationships/oleObject" Target="../embeddings/oleObject6.bin"/><Relationship Id="rId10" Type="http://schemas.openxmlformats.org/officeDocument/2006/relationships/image" Target="../media/image61.emf"/></Relationships>
</file>

<file path=ppt/slideLayouts/_rels/slideLayout125.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tags" Target="../tags/tag100.xml"/><Relationship Id="rId3" Type="http://schemas.openxmlformats.org/officeDocument/2006/relationships/tags" Target="../tags/tag101.xml"/><Relationship Id="rId4" Type="http://schemas.openxmlformats.org/officeDocument/2006/relationships/tags" Target="../tags/tag102.xml"/><Relationship Id="rId5" Type="http://schemas.openxmlformats.org/officeDocument/2006/relationships/tags" Target="../tags/tag103.xml"/><Relationship Id="rId6" Type="http://schemas.openxmlformats.org/officeDocument/2006/relationships/tags" Target="../tags/tag104.xml"/><Relationship Id="rId7" Type="http://schemas.openxmlformats.org/officeDocument/2006/relationships/slideMaster" Target="../slideMasters/slideMaster3.xml"/><Relationship Id="rId8" Type="http://schemas.openxmlformats.org/officeDocument/2006/relationships/oleObject" Target="../embeddings/oleObject7.bin"/><Relationship Id="rId9" Type="http://schemas.openxmlformats.org/officeDocument/2006/relationships/image" Target="../media/image64.emf"/></Relationships>
</file>

<file path=ppt/slideLayouts/_rels/slideLayout126.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tags" Target="../tags/tag106.xml"/><Relationship Id="rId3" Type="http://schemas.openxmlformats.org/officeDocument/2006/relationships/tags" Target="../tags/tag107.xml"/><Relationship Id="rId4" Type="http://schemas.openxmlformats.org/officeDocument/2006/relationships/tags" Target="../tags/tag108.xml"/><Relationship Id="rId5" Type="http://schemas.openxmlformats.org/officeDocument/2006/relationships/tags" Target="../tags/tag109.xml"/><Relationship Id="rId6" Type="http://schemas.openxmlformats.org/officeDocument/2006/relationships/tags" Target="../tags/tag110.xml"/><Relationship Id="rId7" Type="http://schemas.openxmlformats.org/officeDocument/2006/relationships/slideMaster" Target="../slideMasters/slideMaster3.xml"/><Relationship Id="rId8" Type="http://schemas.openxmlformats.org/officeDocument/2006/relationships/oleObject" Target="../embeddings/oleObject8.bin"/><Relationship Id="rId9" Type="http://schemas.openxmlformats.org/officeDocument/2006/relationships/image" Target="../media/image64.emf"/></Relationships>
</file>

<file path=ppt/slideLayouts/_rels/slideLayout127.xml.rels><?xml version='1.0' encoding='UTF-8' standalone='yes'?>
<Relationships xmlns="http://schemas.openxmlformats.org/package/2006/relationships"><Relationship Id="rId1" Type="http://schemas.openxmlformats.org/officeDocument/2006/relationships/tags" Target="../tags/tag111.xml"/><Relationship Id="rId2" Type="http://schemas.openxmlformats.org/officeDocument/2006/relationships/tags" Target="../tags/tag112.xml"/><Relationship Id="rId3" Type="http://schemas.openxmlformats.org/officeDocument/2006/relationships/tags" Target="../tags/tag113.xml"/><Relationship Id="rId4" Type="http://schemas.openxmlformats.org/officeDocument/2006/relationships/tags" Target="../tags/tag114.xml"/><Relationship Id="rId5" Type="http://schemas.openxmlformats.org/officeDocument/2006/relationships/tags" Target="../tags/tag115.xml"/><Relationship Id="rId6" Type="http://schemas.openxmlformats.org/officeDocument/2006/relationships/tags" Target="../tags/tag116.xml"/><Relationship Id="rId7" Type="http://schemas.openxmlformats.org/officeDocument/2006/relationships/slideMaster" Target="../slideMasters/slideMaster3.xml"/><Relationship Id="rId8" Type="http://schemas.openxmlformats.org/officeDocument/2006/relationships/oleObject" Target="../embeddings/oleObject9.bin"/><Relationship Id="rId9" Type="http://schemas.openxmlformats.org/officeDocument/2006/relationships/image" Target="../media/image64.emf"/><Relationship Id="rId10" Type="http://schemas.openxmlformats.org/officeDocument/2006/relationships/image" Target="../media/image50.jpeg"/></Relationships>
</file>

<file path=ppt/slideLayouts/_rels/slideLayout128.xml.rels><?xml version='1.0' encoding='UTF-8' standalone='yes'?>
<Relationships xmlns="http://schemas.openxmlformats.org/package/2006/relationships"><Relationship Id="rId1" Type="http://schemas.openxmlformats.org/officeDocument/2006/relationships/tags" Target="../tags/tag117.xml"/><Relationship Id="rId2" Type="http://schemas.openxmlformats.org/officeDocument/2006/relationships/tags" Target="../tags/tag118.xml"/><Relationship Id="rId3" Type="http://schemas.openxmlformats.org/officeDocument/2006/relationships/tags" Target="../tags/tag119.xml"/><Relationship Id="rId4" Type="http://schemas.openxmlformats.org/officeDocument/2006/relationships/tags" Target="../tags/tag120.xml"/><Relationship Id="rId5" Type="http://schemas.openxmlformats.org/officeDocument/2006/relationships/tags" Target="../tags/tag121.xml"/><Relationship Id="rId6" Type="http://schemas.openxmlformats.org/officeDocument/2006/relationships/tags" Target="../tags/tag122.xml"/><Relationship Id="rId7" Type="http://schemas.openxmlformats.org/officeDocument/2006/relationships/tags" Target="../tags/tag123.xml"/><Relationship Id="rId8" Type="http://schemas.openxmlformats.org/officeDocument/2006/relationships/slideMaster" Target="../slideMasters/slideMaster3.xml"/><Relationship Id="rId9" Type="http://schemas.openxmlformats.org/officeDocument/2006/relationships/oleObject" Target="../embeddings/oleObject10.bin"/><Relationship Id="rId10" Type="http://schemas.openxmlformats.org/officeDocument/2006/relationships/image" Target="../media/image64.emf"/></Relationships>
</file>

<file path=ppt/slideLayouts/_rels/slideLayout129.xml.rels><?xml version='1.0' encoding='UTF-8' standalone='yes'?>
<Relationships xmlns="http://schemas.openxmlformats.org/package/2006/relationships"><Relationship Id="rId1" Type="http://schemas.openxmlformats.org/officeDocument/2006/relationships/tags" Target="../tags/tag124.xml"/><Relationship Id="rId2" Type="http://schemas.openxmlformats.org/officeDocument/2006/relationships/tags" Target="../tags/tag125.xml"/><Relationship Id="rId3" Type="http://schemas.openxmlformats.org/officeDocument/2006/relationships/tags" Target="../tags/tag126.xml"/><Relationship Id="rId4" Type="http://schemas.openxmlformats.org/officeDocument/2006/relationships/tags" Target="../tags/tag127.xml"/><Relationship Id="rId5" Type="http://schemas.openxmlformats.org/officeDocument/2006/relationships/tags" Target="../tags/tag128.xml"/><Relationship Id="rId6" Type="http://schemas.openxmlformats.org/officeDocument/2006/relationships/tags" Target="../tags/tag129.xml"/><Relationship Id="rId7" Type="http://schemas.openxmlformats.org/officeDocument/2006/relationships/tags" Target="../tags/tag130.xml"/><Relationship Id="rId8" Type="http://schemas.openxmlformats.org/officeDocument/2006/relationships/tags" Target="../tags/tag131.xml"/><Relationship Id="rId9" Type="http://schemas.openxmlformats.org/officeDocument/2006/relationships/slideMaster" Target="../slideMasters/slideMaster3.xml"/><Relationship Id="rId10" Type="http://schemas.openxmlformats.org/officeDocument/2006/relationships/oleObject" Target="../embeddings/oleObject11.bin"/><Relationship Id="rId11" Type="http://schemas.openxmlformats.org/officeDocument/2006/relationships/image" Target="../media/image61.emf"/><Relationship Id="rId12" Type="http://schemas.openxmlformats.org/officeDocument/2006/relationships/image" Target="../media/image62.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tags" Target="../tags/tag132.xml"/><Relationship Id="rId2" Type="http://schemas.openxmlformats.org/officeDocument/2006/relationships/tags" Target="../tags/tag133.xml"/><Relationship Id="rId3" Type="http://schemas.openxmlformats.org/officeDocument/2006/relationships/tags" Target="../tags/tag134.xml"/><Relationship Id="rId4" Type="http://schemas.openxmlformats.org/officeDocument/2006/relationships/tags" Target="../tags/tag135.xml"/><Relationship Id="rId5" Type="http://schemas.openxmlformats.org/officeDocument/2006/relationships/tags" Target="../tags/tag136.xml"/><Relationship Id="rId6" Type="http://schemas.openxmlformats.org/officeDocument/2006/relationships/tags" Target="../tags/tag137.xml"/><Relationship Id="rId7" Type="http://schemas.openxmlformats.org/officeDocument/2006/relationships/tags" Target="../tags/tag138.xml"/><Relationship Id="rId8" Type="http://schemas.openxmlformats.org/officeDocument/2006/relationships/tags" Target="../tags/tag139.xml"/><Relationship Id="rId9" Type="http://schemas.openxmlformats.org/officeDocument/2006/relationships/slideMaster" Target="../slideMasters/slideMaster3.xml"/><Relationship Id="rId10" Type="http://schemas.openxmlformats.org/officeDocument/2006/relationships/oleObject" Target="../embeddings/oleObject12.bin"/><Relationship Id="rId11" Type="http://schemas.openxmlformats.org/officeDocument/2006/relationships/image" Target="../media/image61.emf"/><Relationship Id="rId12" Type="http://schemas.openxmlformats.org/officeDocument/2006/relationships/image" Target="../media/image62.png"/></Relationships>
</file>

<file path=ppt/slideLayouts/_rels/slideLayout131.xml.rels><?xml version='1.0' encoding='UTF-8' standalone='yes'?>
<Relationships xmlns="http://schemas.openxmlformats.org/package/2006/relationships"><Relationship Id="rId1" Type="http://schemas.openxmlformats.org/officeDocument/2006/relationships/tags" Target="../tags/tag140.xml"/><Relationship Id="rId2" Type="http://schemas.openxmlformats.org/officeDocument/2006/relationships/tags" Target="../tags/tag141.xml"/><Relationship Id="rId3" Type="http://schemas.openxmlformats.org/officeDocument/2006/relationships/tags" Target="../tags/tag142.xml"/><Relationship Id="rId4" Type="http://schemas.openxmlformats.org/officeDocument/2006/relationships/tags" Target="../tags/tag143.xml"/><Relationship Id="rId5" Type="http://schemas.openxmlformats.org/officeDocument/2006/relationships/tags" Target="../tags/tag144.xml"/><Relationship Id="rId6" Type="http://schemas.openxmlformats.org/officeDocument/2006/relationships/tags" Target="../tags/tag145.xml"/><Relationship Id="rId7" Type="http://schemas.openxmlformats.org/officeDocument/2006/relationships/tags" Target="../tags/tag146.xml"/><Relationship Id="rId8" Type="http://schemas.openxmlformats.org/officeDocument/2006/relationships/tags" Target="../tags/tag147.xml"/><Relationship Id="rId9" Type="http://schemas.openxmlformats.org/officeDocument/2006/relationships/slideMaster" Target="../slideMasters/slideMaster3.xml"/><Relationship Id="rId10" Type="http://schemas.openxmlformats.org/officeDocument/2006/relationships/oleObject" Target="../embeddings/oleObject13.bin"/><Relationship Id="rId11" Type="http://schemas.openxmlformats.org/officeDocument/2006/relationships/image" Target="../media/image61.emf"/><Relationship Id="rId12" Type="http://schemas.openxmlformats.org/officeDocument/2006/relationships/image" Target="../media/image62.png"/></Relationships>
</file>

<file path=ppt/slideLayouts/_rels/slideLayout132.xml.rels><?xml version='1.0' encoding='UTF-8' standalone='yes'?>
<Relationships xmlns="http://schemas.openxmlformats.org/package/2006/relationships"><Relationship Id="rId1" Type="http://schemas.openxmlformats.org/officeDocument/2006/relationships/tags" Target="../tags/tag148.xml"/><Relationship Id="rId2" Type="http://schemas.openxmlformats.org/officeDocument/2006/relationships/tags" Target="../tags/tag149.xml"/><Relationship Id="rId3" Type="http://schemas.openxmlformats.org/officeDocument/2006/relationships/tags" Target="../tags/tag150.xml"/><Relationship Id="rId4" Type="http://schemas.openxmlformats.org/officeDocument/2006/relationships/tags" Target="../tags/tag151.xml"/><Relationship Id="rId5" Type="http://schemas.openxmlformats.org/officeDocument/2006/relationships/tags" Target="../tags/tag152.xml"/><Relationship Id="rId6" Type="http://schemas.openxmlformats.org/officeDocument/2006/relationships/tags" Target="../tags/tag153.xml"/><Relationship Id="rId7" Type="http://schemas.openxmlformats.org/officeDocument/2006/relationships/tags" Target="../tags/tag154.xml"/><Relationship Id="rId8" Type="http://schemas.openxmlformats.org/officeDocument/2006/relationships/tags" Target="../tags/tag155.xml"/><Relationship Id="rId9" Type="http://schemas.openxmlformats.org/officeDocument/2006/relationships/slideMaster" Target="../slideMasters/slideMaster3.xml"/><Relationship Id="rId10" Type="http://schemas.openxmlformats.org/officeDocument/2006/relationships/oleObject" Target="../embeddings/oleObject14.bin"/><Relationship Id="rId11" Type="http://schemas.openxmlformats.org/officeDocument/2006/relationships/image" Target="../media/image65.emf"/><Relationship Id="rId12" Type="http://schemas.openxmlformats.org/officeDocument/2006/relationships/image" Target="../media/image62.png"/></Relationships>
</file>

<file path=ppt/slideLayouts/_rels/slideLayout133.xml.rels><?xml version='1.0' encoding='UTF-8' standalone='yes'?>
<Relationships xmlns="http://schemas.openxmlformats.org/package/2006/relationships"><Relationship Id="rId1" Type="http://schemas.openxmlformats.org/officeDocument/2006/relationships/tags" Target="../tags/tag156.xml"/><Relationship Id="rId2" Type="http://schemas.openxmlformats.org/officeDocument/2006/relationships/tags" Target="../tags/tag157.xml"/><Relationship Id="rId3" Type="http://schemas.openxmlformats.org/officeDocument/2006/relationships/tags" Target="../tags/tag158.xml"/><Relationship Id="rId4" Type="http://schemas.openxmlformats.org/officeDocument/2006/relationships/tags" Target="../tags/tag159.xml"/><Relationship Id="rId5" Type="http://schemas.openxmlformats.org/officeDocument/2006/relationships/tags" Target="../tags/tag160.xml"/><Relationship Id="rId6" Type="http://schemas.openxmlformats.org/officeDocument/2006/relationships/tags" Target="../tags/tag161.xml"/><Relationship Id="rId7" Type="http://schemas.openxmlformats.org/officeDocument/2006/relationships/tags" Target="../tags/tag162.xml"/><Relationship Id="rId8" Type="http://schemas.openxmlformats.org/officeDocument/2006/relationships/tags" Target="../tags/tag163.xml"/><Relationship Id="rId9" Type="http://schemas.openxmlformats.org/officeDocument/2006/relationships/slideMaster" Target="../slideMasters/slideMaster3.xml"/><Relationship Id="rId10" Type="http://schemas.openxmlformats.org/officeDocument/2006/relationships/oleObject" Target="../embeddings/oleObject15.bin"/><Relationship Id="rId11" Type="http://schemas.openxmlformats.org/officeDocument/2006/relationships/image" Target="../media/image61.emf"/><Relationship Id="rId12" Type="http://schemas.openxmlformats.org/officeDocument/2006/relationships/image" Target="../media/image62.png"/></Relationships>
</file>

<file path=ppt/slideLayouts/_rels/slideLayout134.xml.rels><?xml version='1.0' encoding='UTF-8' standalone='yes'?>
<Relationships xmlns="http://schemas.openxmlformats.org/package/2006/relationships"><Relationship Id="rId1" Type="http://schemas.openxmlformats.org/officeDocument/2006/relationships/tags" Target="../tags/tag164.xml"/><Relationship Id="rId2" Type="http://schemas.openxmlformats.org/officeDocument/2006/relationships/tags" Target="../tags/tag165.xml"/><Relationship Id="rId3" Type="http://schemas.openxmlformats.org/officeDocument/2006/relationships/tags" Target="../tags/tag166.xml"/><Relationship Id="rId4" Type="http://schemas.openxmlformats.org/officeDocument/2006/relationships/tags" Target="../tags/tag167.xml"/><Relationship Id="rId5" Type="http://schemas.openxmlformats.org/officeDocument/2006/relationships/tags" Target="../tags/tag168.xml"/><Relationship Id="rId6" Type="http://schemas.openxmlformats.org/officeDocument/2006/relationships/tags" Target="../tags/tag169.xml"/><Relationship Id="rId7" Type="http://schemas.openxmlformats.org/officeDocument/2006/relationships/slideMaster" Target="../slideMasters/slideMaster3.xml"/><Relationship Id="rId8" Type="http://schemas.openxmlformats.org/officeDocument/2006/relationships/oleObject" Target="../embeddings/oleObject16.bin"/><Relationship Id="rId9" Type="http://schemas.openxmlformats.org/officeDocument/2006/relationships/image" Target="../media/image64.emf"/><Relationship Id="rId10" Type="http://schemas.openxmlformats.org/officeDocument/2006/relationships/image" Target="../media/image62.png"/></Relationships>
</file>

<file path=ppt/slideLayouts/_rels/slideLayout135.xml.rels><?xml version='1.0' encoding='UTF-8' standalone='yes'?>
<Relationships xmlns="http://schemas.openxmlformats.org/package/2006/relationships"><Relationship Id="rId1" Type="http://schemas.openxmlformats.org/officeDocument/2006/relationships/tags" Target="../tags/tag170.xml"/><Relationship Id="rId2" Type="http://schemas.openxmlformats.org/officeDocument/2006/relationships/tags" Target="../tags/tag171.xml"/><Relationship Id="rId3" Type="http://schemas.openxmlformats.org/officeDocument/2006/relationships/tags" Target="../tags/tag172.xml"/><Relationship Id="rId4" Type="http://schemas.openxmlformats.org/officeDocument/2006/relationships/tags" Target="../tags/tag173.xml"/><Relationship Id="rId5" Type="http://schemas.openxmlformats.org/officeDocument/2006/relationships/slideMaster" Target="../slideMasters/slideMaster3.xml"/><Relationship Id="rId6" Type="http://schemas.openxmlformats.org/officeDocument/2006/relationships/oleObject" Target="../embeddings/oleObject17.bin"/><Relationship Id="rId7" Type="http://schemas.openxmlformats.org/officeDocument/2006/relationships/image" Target="../media/image64.emf"/><Relationship Id="rId8" Type="http://schemas.openxmlformats.org/officeDocument/2006/relationships/image" Target="../media/image62.png"/></Relationships>
</file>

<file path=ppt/slideLayouts/_rels/slideLayout136.xml.rels><?xml version='1.0' encoding='UTF-8' standalone='yes'?>
<Relationships xmlns="http://schemas.openxmlformats.org/package/2006/relationships"><Relationship Id="rId1" Type="http://schemas.openxmlformats.org/officeDocument/2006/relationships/tags" Target="../tags/tag174.xml"/><Relationship Id="rId2" Type="http://schemas.openxmlformats.org/officeDocument/2006/relationships/tags" Target="../tags/tag175.xml"/><Relationship Id="rId3" Type="http://schemas.openxmlformats.org/officeDocument/2006/relationships/slideMaster" Target="../slideMasters/slideMaster3.xml"/><Relationship Id="rId4" Type="http://schemas.openxmlformats.org/officeDocument/2006/relationships/oleObject" Target="../embeddings/oleObject18.bin"/><Relationship Id="rId5" Type="http://schemas.openxmlformats.org/officeDocument/2006/relationships/image" Target="../media/image64.emf"/><Relationship Id="rId6" Type="http://schemas.openxmlformats.org/officeDocument/2006/relationships/image" Target="../media/image62.png"/></Relationships>
</file>

<file path=ppt/slideLayouts/_rels/slideLayout137.xml.rels><?xml version='1.0' encoding='UTF-8' standalone='yes'?>
<Relationships xmlns="http://schemas.openxmlformats.org/package/2006/relationships"><Relationship Id="rId1" Type="http://schemas.openxmlformats.org/officeDocument/2006/relationships/tags" Target="../tags/tag176.xml"/><Relationship Id="rId2" Type="http://schemas.openxmlformats.org/officeDocument/2006/relationships/slideMaster" Target="../slideMasters/slideMaster3.xml"/><Relationship Id="rId3" Type="http://schemas.openxmlformats.org/officeDocument/2006/relationships/oleObject" Target="../embeddings/oleObject19.bin"/><Relationship Id="rId4" Type="http://schemas.openxmlformats.org/officeDocument/2006/relationships/image" Target="../media/image66.emf"/><Relationship Id="rId5" Type="http://schemas.openxmlformats.org/officeDocument/2006/relationships/image" Target="../media/image3.png"/></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4.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6.jpeg"/><Relationship Id="rId3" Type="http://schemas.openxmlformats.org/officeDocument/2006/relationships/image" Target="../media/image69.png"/></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70.jpeg"/></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71.jpeg"/></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72.jpeg"/></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tags" Target="../tags/tag179.xml"/><Relationship Id="rId2" Type="http://schemas.openxmlformats.org/officeDocument/2006/relationships/tags" Target="../tags/tag180.xml"/><Relationship Id="rId3" Type="http://schemas.openxmlformats.org/officeDocument/2006/relationships/slideMaster" Target="../slideMasters/slideMaster4.xml"/><Relationship Id="rId4" Type="http://schemas.openxmlformats.org/officeDocument/2006/relationships/oleObject" Target="../embeddings/oleObject21.bin"/><Relationship Id="rId5" Type="http://schemas.openxmlformats.org/officeDocument/2006/relationships/image" Target="../media/image73.emf"/></Relationships>
</file>

<file path=ppt/slideLayouts/_rels/slideLayout153.xml.rels><?xml version='1.0' encoding='UTF-8' standalone='yes'?>
<Relationships xmlns="http://schemas.openxmlformats.org/package/2006/relationships"><Relationship Id="rId1" Type="http://schemas.openxmlformats.org/officeDocument/2006/relationships/tags" Target="../tags/tag181.xml"/><Relationship Id="rId2" Type="http://schemas.openxmlformats.org/officeDocument/2006/relationships/slideMaster" Target="../slideMasters/slideMaster4.xml"/><Relationship Id="rId3" Type="http://schemas.openxmlformats.org/officeDocument/2006/relationships/oleObject" Target="../embeddings/oleObject22.bin"/><Relationship Id="rId4" Type="http://schemas.openxmlformats.org/officeDocument/2006/relationships/image" Target="../media/image74.emf"/></Relationships>
</file>

<file path=ppt/slideLayouts/_rels/slideLayout154.xml.rels><?xml version='1.0' encoding='UTF-8' standalone='yes'?>
<Relationships xmlns="http://schemas.openxmlformats.org/package/2006/relationships"><Relationship Id="rId1" Type="http://schemas.openxmlformats.org/officeDocument/2006/relationships/tags" Target="../tags/tag182.xml"/><Relationship Id="rId2"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tags" Target="../tags/tag183.xml"/><Relationship Id="rId2" Type="http://schemas.openxmlformats.org/officeDocument/2006/relationships/tags" Target="../tags/tag184.xml"/><Relationship Id="rId3" Type="http://schemas.openxmlformats.org/officeDocument/2006/relationships/slideMaster" Target="../slideMasters/slideMaster4.xml"/><Relationship Id="rId4" Type="http://schemas.openxmlformats.org/officeDocument/2006/relationships/oleObject" Target="../embeddings/oleObject23.bin"/><Relationship Id="rId5" Type="http://schemas.openxmlformats.org/officeDocument/2006/relationships/image" Target="../media/image74.emf"/></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tags" Target="../tags/tag185.xml"/><Relationship Id="rId2" Type="http://schemas.openxmlformats.org/officeDocument/2006/relationships/tags" Target="../tags/tag186.xml"/><Relationship Id="rId3"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tags" Target="../tags/tag187.xml"/><Relationship Id="rId2" Type="http://schemas.openxmlformats.org/officeDocument/2006/relationships/tags" Target="../tags/tag188.xml"/><Relationship Id="rId3" Type="http://schemas.openxmlformats.org/officeDocument/2006/relationships/tags" Target="../tags/tag189.xml"/><Relationship Id="rId4" Type="http://schemas.openxmlformats.org/officeDocument/2006/relationships/tags" Target="../tags/tag190.xml"/><Relationship Id="rId5"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png"/></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0.png"/></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tags" Target="../tags/tag211.xml"/><Relationship Id="rId2" Type="http://schemas.openxmlformats.org/officeDocument/2006/relationships/tags" Target="../tags/tag212.xml"/><Relationship Id="rId3" Type="http://schemas.openxmlformats.org/officeDocument/2006/relationships/tags" Target="../tags/tag213.xml"/><Relationship Id="rId4" Type="http://schemas.openxmlformats.org/officeDocument/2006/relationships/tags" Target="../tags/tag214.xml"/><Relationship Id="rId5" Type="http://schemas.openxmlformats.org/officeDocument/2006/relationships/slideMaster" Target="../slideMasters/slideMaster5.xml"/><Relationship Id="rId6" Type="http://schemas.openxmlformats.org/officeDocument/2006/relationships/oleObject" Target="../embeddings/oleObject25.bin"/><Relationship Id="rId7" Type="http://schemas.openxmlformats.org/officeDocument/2006/relationships/image" Target="../media/image64.emf"/><Relationship Id="rId8" Type="http://schemas.openxmlformats.org/officeDocument/2006/relationships/image" Target="../media/image36.jpeg"/><Relationship Id="rId9" Type="http://schemas.openxmlformats.org/officeDocument/2006/relationships/image" Target="../media/image62.png"/></Relationships>
</file>

<file path=ppt/slideLayouts/_rels/slideLayout167.xml.rels><?xml version='1.0' encoding='UTF-8' standalone='yes'?>
<Relationships xmlns="http://schemas.openxmlformats.org/package/2006/relationships"><Relationship Id="rId1" Type="http://schemas.openxmlformats.org/officeDocument/2006/relationships/tags" Target="../tags/tag215.xml"/><Relationship Id="rId2" Type="http://schemas.openxmlformats.org/officeDocument/2006/relationships/tags" Target="../tags/tag216.xml"/><Relationship Id="rId3" Type="http://schemas.openxmlformats.org/officeDocument/2006/relationships/tags" Target="../tags/tag217.xml"/><Relationship Id="rId4" Type="http://schemas.openxmlformats.org/officeDocument/2006/relationships/tags" Target="../tags/tag218.xml"/><Relationship Id="rId5" Type="http://schemas.openxmlformats.org/officeDocument/2006/relationships/tags" Target="../tags/tag219.xml"/><Relationship Id="rId6" Type="http://schemas.openxmlformats.org/officeDocument/2006/relationships/tags" Target="../tags/tag220.xml"/><Relationship Id="rId7" Type="http://schemas.openxmlformats.org/officeDocument/2006/relationships/tags" Target="../tags/tag221.xml"/><Relationship Id="rId8" Type="http://schemas.openxmlformats.org/officeDocument/2006/relationships/slideMaster" Target="../slideMasters/slideMaster5.xml"/><Relationship Id="rId9" Type="http://schemas.openxmlformats.org/officeDocument/2006/relationships/oleObject" Target="../embeddings/oleObject26.bin"/><Relationship Id="rId10" Type="http://schemas.openxmlformats.org/officeDocument/2006/relationships/image" Target="../media/image61.emf"/></Relationships>
</file>

<file path=ppt/slideLayouts/_rels/slideLayout168.xml.rels><?xml version='1.0' encoding='UTF-8' standalone='yes'?>
<Relationships xmlns="http://schemas.openxmlformats.org/package/2006/relationships"><Relationship Id="rId1" Type="http://schemas.openxmlformats.org/officeDocument/2006/relationships/tags" Target="../tags/tag222.xml"/><Relationship Id="rId2" Type="http://schemas.openxmlformats.org/officeDocument/2006/relationships/tags" Target="../tags/tag223.xml"/><Relationship Id="rId3" Type="http://schemas.openxmlformats.org/officeDocument/2006/relationships/tags" Target="../tags/tag224.xml"/><Relationship Id="rId4" Type="http://schemas.openxmlformats.org/officeDocument/2006/relationships/tags" Target="../tags/tag225.xml"/><Relationship Id="rId5" Type="http://schemas.openxmlformats.org/officeDocument/2006/relationships/tags" Target="../tags/tag226.xml"/><Relationship Id="rId6" Type="http://schemas.openxmlformats.org/officeDocument/2006/relationships/tags" Target="../tags/tag227.xml"/><Relationship Id="rId7" Type="http://schemas.openxmlformats.org/officeDocument/2006/relationships/tags" Target="../tags/tag228.xml"/><Relationship Id="rId8" Type="http://schemas.openxmlformats.org/officeDocument/2006/relationships/slideMaster" Target="../slideMasters/slideMaster5.xml"/><Relationship Id="rId9" Type="http://schemas.openxmlformats.org/officeDocument/2006/relationships/oleObject" Target="../embeddings/oleObject27.bin"/><Relationship Id="rId10" Type="http://schemas.openxmlformats.org/officeDocument/2006/relationships/image" Target="../media/image61.emf"/></Relationships>
</file>

<file path=ppt/slideLayouts/_rels/slideLayout169.xml.rels><?xml version='1.0' encoding='UTF-8' standalone='yes'?>
<Relationships xmlns="http://schemas.openxmlformats.org/package/2006/relationships"><Relationship Id="rId1" Type="http://schemas.openxmlformats.org/officeDocument/2006/relationships/tags" Target="../tags/tag229.xml"/><Relationship Id="rId2" Type="http://schemas.openxmlformats.org/officeDocument/2006/relationships/tags" Target="../tags/tag230.xml"/><Relationship Id="rId3" Type="http://schemas.openxmlformats.org/officeDocument/2006/relationships/tags" Target="../tags/tag231.xml"/><Relationship Id="rId4" Type="http://schemas.openxmlformats.org/officeDocument/2006/relationships/tags" Target="../tags/tag232.xml"/><Relationship Id="rId5" Type="http://schemas.openxmlformats.org/officeDocument/2006/relationships/tags" Target="../tags/tag233.xml"/><Relationship Id="rId6" Type="http://schemas.openxmlformats.org/officeDocument/2006/relationships/tags" Target="../tags/tag234.xml"/><Relationship Id="rId7" Type="http://schemas.openxmlformats.org/officeDocument/2006/relationships/slideMaster" Target="../slideMasters/slideMaster5.xml"/><Relationship Id="rId8" Type="http://schemas.openxmlformats.org/officeDocument/2006/relationships/oleObject" Target="../embeddings/oleObject28.bin"/><Relationship Id="rId9" Type="http://schemas.openxmlformats.org/officeDocument/2006/relationships/image" Target="../media/image64.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tags" Target="../tags/tag235.xml"/><Relationship Id="rId2" Type="http://schemas.openxmlformats.org/officeDocument/2006/relationships/tags" Target="../tags/tag236.xml"/><Relationship Id="rId3" Type="http://schemas.openxmlformats.org/officeDocument/2006/relationships/tags" Target="../tags/tag237.xml"/><Relationship Id="rId4" Type="http://schemas.openxmlformats.org/officeDocument/2006/relationships/tags" Target="../tags/tag238.xml"/><Relationship Id="rId5" Type="http://schemas.openxmlformats.org/officeDocument/2006/relationships/tags" Target="../tags/tag239.xml"/><Relationship Id="rId6" Type="http://schemas.openxmlformats.org/officeDocument/2006/relationships/tags" Target="../tags/tag240.xml"/><Relationship Id="rId7" Type="http://schemas.openxmlformats.org/officeDocument/2006/relationships/slideMaster" Target="../slideMasters/slideMaster5.xml"/><Relationship Id="rId8" Type="http://schemas.openxmlformats.org/officeDocument/2006/relationships/oleObject" Target="../embeddings/oleObject29.bin"/><Relationship Id="rId9" Type="http://schemas.openxmlformats.org/officeDocument/2006/relationships/image" Target="../media/image64.emf"/></Relationships>
</file>

<file path=ppt/slideLayouts/_rels/slideLayout171.xml.rels><?xml version='1.0' encoding='UTF-8' standalone='yes'?>
<Relationships xmlns="http://schemas.openxmlformats.org/package/2006/relationships"><Relationship Id="rId1" Type="http://schemas.openxmlformats.org/officeDocument/2006/relationships/tags" Target="../tags/tag241.xml"/><Relationship Id="rId2" Type="http://schemas.openxmlformats.org/officeDocument/2006/relationships/tags" Target="../tags/tag242.xml"/><Relationship Id="rId3" Type="http://schemas.openxmlformats.org/officeDocument/2006/relationships/tags" Target="../tags/tag243.xml"/><Relationship Id="rId4" Type="http://schemas.openxmlformats.org/officeDocument/2006/relationships/tags" Target="../tags/tag244.xml"/><Relationship Id="rId5" Type="http://schemas.openxmlformats.org/officeDocument/2006/relationships/tags" Target="../tags/tag245.xml"/><Relationship Id="rId6" Type="http://schemas.openxmlformats.org/officeDocument/2006/relationships/tags" Target="../tags/tag246.xml"/><Relationship Id="rId7" Type="http://schemas.openxmlformats.org/officeDocument/2006/relationships/slideMaster" Target="../slideMasters/slideMaster5.xml"/><Relationship Id="rId8" Type="http://schemas.openxmlformats.org/officeDocument/2006/relationships/oleObject" Target="../embeddings/oleObject30.bin"/><Relationship Id="rId9" Type="http://schemas.openxmlformats.org/officeDocument/2006/relationships/image" Target="../media/image64.emf"/><Relationship Id="rId10" Type="http://schemas.openxmlformats.org/officeDocument/2006/relationships/image" Target="../media/image50.jpeg"/></Relationships>
</file>

<file path=ppt/slideLayouts/_rels/slideLayout172.xml.rels><?xml version='1.0' encoding='UTF-8' standalone='yes'?>
<Relationships xmlns="http://schemas.openxmlformats.org/package/2006/relationships"><Relationship Id="rId1" Type="http://schemas.openxmlformats.org/officeDocument/2006/relationships/tags" Target="../tags/tag247.xml"/><Relationship Id="rId2" Type="http://schemas.openxmlformats.org/officeDocument/2006/relationships/tags" Target="../tags/tag248.xml"/><Relationship Id="rId3" Type="http://schemas.openxmlformats.org/officeDocument/2006/relationships/tags" Target="../tags/tag249.xml"/><Relationship Id="rId4" Type="http://schemas.openxmlformats.org/officeDocument/2006/relationships/tags" Target="../tags/tag250.xml"/><Relationship Id="rId5" Type="http://schemas.openxmlformats.org/officeDocument/2006/relationships/tags" Target="../tags/tag251.xml"/><Relationship Id="rId6" Type="http://schemas.openxmlformats.org/officeDocument/2006/relationships/tags" Target="../tags/tag252.xml"/><Relationship Id="rId7" Type="http://schemas.openxmlformats.org/officeDocument/2006/relationships/tags" Target="../tags/tag253.xml"/><Relationship Id="rId8" Type="http://schemas.openxmlformats.org/officeDocument/2006/relationships/slideMaster" Target="../slideMasters/slideMaster5.xml"/><Relationship Id="rId9" Type="http://schemas.openxmlformats.org/officeDocument/2006/relationships/oleObject" Target="../embeddings/oleObject31.bin"/><Relationship Id="rId10" Type="http://schemas.openxmlformats.org/officeDocument/2006/relationships/image" Target="../media/image64.emf"/></Relationships>
</file>

<file path=ppt/slideLayouts/_rels/slideLayout173.xml.rels><?xml version='1.0' encoding='UTF-8' standalone='yes'?>
<Relationships xmlns="http://schemas.openxmlformats.org/package/2006/relationships"><Relationship Id="rId1" Type="http://schemas.openxmlformats.org/officeDocument/2006/relationships/tags" Target="../tags/tag254.xml"/><Relationship Id="rId2" Type="http://schemas.openxmlformats.org/officeDocument/2006/relationships/tags" Target="../tags/tag255.xml"/><Relationship Id="rId3" Type="http://schemas.openxmlformats.org/officeDocument/2006/relationships/tags" Target="../tags/tag256.xml"/><Relationship Id="rId4" Type="http://schemas.openxmlformats.org/officeDocument/2006/relationships/tags" Target="../tags/tag257.xml"/><Relationship Id="rId5" Type="http://schemas.openxmlformats.org/officeDocument/2006/relationships/tags" Target="../tags/tag258.xml"/><Relationship Id="rId6" Type="http://schemas.openxmlformats.org/officeDocument/2006/relationships/tags" Target="../tags/tag259.xml"/><Relationship Id="rId7" Type="http://schemas.openxmlformats.org/officeDocument/2006/relationships/tags" Target="../tags/tag260.xml"/><Relationship Id="rId8" Type="http://schemas.openxmlformats.org/officeDocument/2006/relationships/tags" Target="../tags/tag261.xml"/><Relationship Id="rId9" Type="http://schemas.openxmlformats.org/officeDocument/2006/relationships/slideMaster" Target="../slideMasters/slideMaster5.xml"/><Relationship Id="rId10" Type="http://schemas.openxmlformats.org/officeDocument/2006/relationships/oleObject" Target="../embeddings/oleObject32.bin"/><Relationship Id="rId11" Type="http://schemas.openxmlformats.org/officeDocument/2006/relationships/image" Target="../media/image61.emf"/><Relationship Id="rId12" Type="http://schemas.openxmlformats.org/officeDocument/2006/relationships/image" Target="../media/image75.png"/><Relationship Id="rId13" Type="http://schemas.microsoft.com/office/2007/relationships/hdphoto" Target="../media/hdphoto1.wdp"/></Relationships>
</file>

<file path=ppt/slideLayouts/_rels/slideLayout174.xml.rels><?xml version='1.0' encoding='UTF-8' standalone='yes'?>
<Relationships xmlns="http://schemas.openxmlformats.org/package/2006/relationships"><Relationship Id="rId1" Type="http://schemas.openxmlformats.org/officeDocument/2006/relationships/tags" Target="../tags/tag262.xml"/><Relationship Id="rId2" Type="http://schemas.openxmlformats.org/officeDocument/2006/relationships/tags" Target="../tags/tag263.xml"/><Relationship Id="rId3" Type="http://schemas.openxmlformats.org/officeDocument/2006/relationships/tags" Target="../tags/tag264.xml"/><Relationship Id="rId4" Type="http://schemas.openxmlformats.org/officeDocument/2006/relationships/tags" Target="../tags/tag265.xml"/><Relationship Id="rId5" Type="http://schemas.openxmlformats.org/officeDocument/2006/relationships/tags" Target="../tags/tag266.xml"/><Relationship Id="rId6" Type="http://schemas.openxmlformats.org/officeDocument/2006/relationships/tags" Target="../tags/tag267.xml"/><Relationship Id="rId7" Type="http://schemas.openxmlformats.org/officeDocument/2006/relationships/tags" Target="../tags/tag268.xml"/><Relationship Id="rId8" Type="http://schemas.openxmlformats.org/officeDocument/2006/relationships/tags" Target="../tags/tag269.xml"/><Relationship Id="rId9" Type="http://schemas.openxmlformats.org/officeDocument/2006/relationships/slideMaster" Target="../slideMasters/slideMaster5.xml"/><Relationship Id="rId10" Type="http://schemas.openxmlformats.org/officeDocument/2006/relationships/oleObject" Target="../embeddings/oleObject33.bin"/><Relationship Id="rId11" Type="http://schemas.openxmlformats.org/officeDocument/2006/relationships/image" Target="../media/image61.emf"/><Relationship Id="rId12" Type="http://schemas.openxmlformats.org/officeDocument/2006/relationships/image" Target="../media/image75.png"/><Relationship Id="rId13" Type="http://schemas.microsoft.com/office/2007/relationships/hdphoto" Target="../media/hdphoto1.wdp"/></Relationships>
</file>

<file path=ppt/slideLayouts/_rels/slideLayout175.xml.rels><?xml version='1.0' encoding='UTF-8' standalone='yes'?>
<Relationships xmlns="http://schemas.openxmlformats.org/package/2006/relationships"><Relationship Id="rId1" Type="http://schemas.openxmlformats.org/officeDocument/2006/relationships/tags" Target="../tags/tag270.xml"/><Relationship Id="rId2" Type="http://schemas.openxmlformats.org/officeDocument/2006/relationships/tags" Target="../tags/tag271.xml"/><Relationship Id="rId3" Type="http://schemas.openxmlformats.org/officeDocument/2006/relationships/tags" Target="../tags/tag272.xml"/><Relationship Id="rId4" Type="http://schemas.openxmlformats.org/officeDocument/2006/relationships/tags" Target="../tags/tag273.xml"/><Relationship Id="rId5" Type="http://schemas.openxmlformats.org/officeDocument/2006/relationships/tags" Target="../tags/tag274.xml"/><Relationship Id="rId6" Type="http://schemas.openxmlformats.org/officeDocument/2006/relationships/tags" Target="../tags/tag275.xml"/><Relationship Id="rId7" Type="http://schemas.openxmlformats.org/officeDocument/2006/relationships/tags" Target="../tags/tag276.xml"/><Relationship Id="rId8" Type="http://schemas.openxmlformats.org/officeDocument/2006/relationships/tags" Target="../tags/tag277.xml"/><Relationship Id="rId9" Type="http://schemas.openxmlformats.org/officeDocument/2006/relationships/slideMaster" Target="../slideMasters/slideMaster5.xml"/><Relationship Id="rId10" Type="http://schemas.openxmlformats.org/officeDocument/2006/relationships/oleObject" Target="../embeddings/oleObject34.bin"/><Relationship Id="rId11" Type="http://schemas.openxmlformats.org/officeDocument/2006/relationships/image" Target="../media/image64.emf"/><Relationship Id="rId12" Type="http://schemas.openxmlformats.org/officeDocument/2006/relationships/image" Target="../media/image75.png"/><Relationship Id="rId13" Type="http://schemas.microsoft.com/office/2007/relationships/hdphoto" Target="../media/hdphoto1.wdp"/></Relationships>
</file>

<file path=ppt/slideLayouts/_rels/slideLayout176.xml.rels><?xml version='1.0' encoding='UTF-8' standalone='yes'?>
<Relationships xmlns="http://schemas.openxmlformats.org/package/2006/relationships"><Relationship Id="rId1" Type="http://schemas.openxmlformats.org/officeDocument/2006/relationships/tags" Target="../tags/tag278.xml"/><Relationship Id="rId2" Type="http://schemas.openxmlformats.org/officeDocument/2006/relationships/tags" Target="../tags/tag279.xml"/><Relationship Id="rId3" Type="http://schemas.openxmlformats.org/officeDocument/2006/relationships/tags" Target="../tags/tag280.xml"/><Relationship Id="rId4" Type="http://schemas.openxmlformats.org/officeDocument/2006/relationships/tags" Target="../tags/tag281.xml"/><Relationship Id="rId5" Type="http://schemas.openxmlformats.org/officeDocument/2006/relationships/tags" Target="../tags/tag282.xml"/><Relationship Id="rId6" Type="http://schemas.openxmlformats.org/officeDocument/2006/relationships/tags" Target="../tags/tag283.xml"/><Relationship Id="rId7" Type="http://schemas.openxmlformats.org/officeDocument/2006/relationships/tags" Target="../tags/tag284.xml"/><Relationship Id="rId8" Type="http://schemas.openxmlformats.org/officeDocument/2006/relationships/tags" Target="../tags/tag285.xml"/><Relationship Id="rId9" Type="http://schemas.openxmlformats.org/officeDocument/2006/relationships/slideMaster" Target="../slideMasters/slideMaster5.xml"/><Relationship Id="rId10" Type="http://schemas.openxmlformats.org/officeDocument/2006/relationships/oleObject" Target="../embeddings/oleObject35.bin"/><Relationship Id="rId11" Type="http://schemas.openxmlformats.org/officeDocument/2006/relationships/image" Target="../media/image61.emf"/><Relationship Id="rId12" Type="http://schemas.openxmlformats.org/officeDocument/2006/relationships/image" Target="../media/image75.png"/><Relationship Id="rId13" Type="http://schemas.microsoft.com/office/2007/relationships/hdphoto" Target="../media/hdphoto1.wdp"/></Relationships>
</file>

<file path=ppt/slideLayouts/_rels/slideLayout177.xml.rels><?xml version='1.0' encoding='UTF-8' standalone='yes'?>
<Relationships xmlns="http://schemas.openxmlformats.org/package/2006/relationships"><Relationship Id="rId1" Type="http://schemas.openxmlformats.org/officeDocument/2006/relationships/tags" Target="../tags/tag286.xml"/><Relationship Id="rId2" Type="http://schemas.openxmlformats.org/officeDocument/2006/relationships/tags" Target="../tags/tag287.xml"/><Relationship Id="rId3" Type="http://schemas.openxmlformats.org/officeDocument/2006/relationships/tags" Target="../tags/tag288.xml"/><Relationship Id="rId4" Type="http://schemas.openxmlformats.org/officeDocument/2006/relationships/tags" Target="../tags/tag289.xml"/><Relationship Id="rId5" Type="http://schemas.openxmlformats.org/officeDocument/2006/relationships/tags" Target="../tags/tag290.xml"/><Relationship Id="rId6" Type="http://schemas.openxmlformats.org/officeDocument/2006/relationships/tags" Target="../tags/tag291.xml"/><Relationship Id="rId7" Type="http://schemas.openxmlformats.org/officeDocument/2006/relationships/tags" Target="../tags/tag292.xml"/><Relationship Id="rId8" Type="http://schemas.openxmlformats.org/officeDocument/2006/relationships/tags" Target="../tags/tag293.xml"/><Relationship Id="rId9" Type="http://schemas.openxmlformats.org/officeDocument/2006/relationships/slideMaster" Target="../slideMasters/slideMaster5.xml"/><Relationship Id="rId10" Type="http://schemas.openxmlformats.org/officeDocument/2006/relationships/oleObject" Target="../embeddings/oleObject36.bin"/><Relationship Id="rId11" Type="http://schemas.openxmlformats.org/officeDocument/2006/relationships/image" Target="../media/image64.emf"/><Relationship Id="rId12" Type="http://schemas.openxmlformats.org/officeDocument/2006/relationships/image" Target="../media/image75.png"/><Relationship Id="rId13" Type="http://schemas.microsoft.com/office/2007/relationships/hdphoto" Target="../media/hdphoto1.wdp"/></Relationships>
</file>

<file path=ppt/slideLayouts/_rels/slideLayout178.xml.rels><?xml version='1.0' encoding='UTF-8' standalone='yes'?>
<Relationships xmlns="http://schemas.openxmlformats.org/package/2006/relationships"><Relationship Id="rId1" Type="http://schemas.openxmlformats.org/officeDocument/2006/relationships/tags" Target="../tags/tag294.xml"/><Relationship Id="rId2" Type="http://schemas.openxmlformats.org/officeDocument/2006/relationships/tags" Target="../tags/tag295.xml"/><Relationship Id="rId3" Type="http://schemas.openxmlformats.org/officeDocument/2006/relationships/tags" Target="../tags/tag296.xml"/><Relationship Id="rId4" Type="http://schemas.openxmlformats.org/officeDocument/2006/relationships/tags" Target="../tags/tag297.xml"/><Relationship Id="rId5" Type="http://schemas.openxmlformats.org/officeDocument/2006/relationships/tags" Target="../tags/tag298.xml"/><Relationship Id="rId6" Type="http://schemas.openxmlformats.org/officeDocument/2006/relationships/tags" Target="../tags/tag299.xml"/><Relationship Id="rId7" Type="http://schemas.openxmlformats.org/officeDocument/2006/relationships/tags" Target="../tags/tag300.xml"/><Relationship Id="rId8" Type="http://schemas.openxmlformats.org/officeDocument/2006/relationships/tags" Target="../tags/tag301.xml"/><Relationship Id="rId9" Type="http://schemas.openxmlformats.org/officeDocument/2006/relationships/slideMaster" Target="../slideMasters/slideMaster5.xml"/><Relationship Id="rId10" Type="http://schemas.openxmlformats.org/officeDocument/2006/relationships/oleObject" Target="../embeddings/oleObject37.bin"/><Relationship Id="rId11" Type="http://schemas.openxmlformats.org/officeDocument/2006/relationships/image" Target="../media/image64.emf"/><Relationship Id="rId12" Type="http://schemas.openxmlformats.org/officeDocument/2006/relationships/image" Target="../media/image62.png"/></Relationships>
</file>

<file path=ppt/slideLayouts/_rels/slideLayout179.xml.rels><?xml version='1.0' encoding='UTF-8' standalone='yes'?>
<Relationships xmlns="http://schemas.openxmlformats.org/package/2006/relationships"><Relationship Id="rId1" Type="http://schemas.openxmlformats.org/officeDocument/2006/relationships/tags" Target="../tags/tag302.xml"/><Relationship Id="rId2" Type="http://schemas.openxmlformats.org/officeDocument/2006/relationships/tags" Target="../tags/tag303.xml"/><Relationship Id="rId3" Type="http://schemas.openxmlformats.org/officeDocument/2006/relationships/tags" Target="../tags/tag304.xml"/><Relationship Id="rId4" Type="http://schemas.openxmlformats.org/officeDocument/2006/relationships/tags" Target="../tags/tag305.xml"/><Relationship Id="rId5" Type="http://schemas.openxmlformats.org/officeDocument/2006/relationships/tags" Target="../tags/tag306.xml"/><Relationship Id="rId6" Type="http://schemas.openxmlformats.org/officeDocument/2006/relationships/tags" Target="../tags/tag307.xml"/><Relationship Id="rId7" Type="http://schemas.openxmlformats.org/officeDocument/2006/relationships/tags" Target="../tags/tag308.xml"/><Relationship Id="rId8" Type="http://schemas.openxmlformats.org/officeDocument/2006/relationships/tags" Target="../tags/tag309.xml"/><Relationship Id="rId9" Type="http://schemas.openxmlformats.org/officeDocument/2006/relationships/slideMaster" Target="../slideMasters/slideMaster5.xml"/><Relationship Id="rId10" Type="http://schemas.openxmlformats.org/officeDocument/2006/relationships/oleObject" Target="../embeddings/oleObject38.bin"/><Relationship Id="rId11" Type="http://schemas.openxmlformats.org/officeDocument/2006/relationships/image" Target="../media/image61.emf"/><Relationship Id="rId12" Type="http://schemas.openxmlformats.org/officeDocument/2006/relationships/image" Target="../media/image62.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tags" Target="../tags/tag310.xml"/><Relationship Id="rId2" Type="http://schemas.openxmlformats.org/officeDocument/2006/relationships/tags" Target="../tags/tag311.xml"/><Relationship Id="rId3" Type="http://schemas.openxmlformats.org/officeDocument/2006/relationships/tags" Target="../tags/tag312.xml"/><Relationship Id="rId4" Type="http://schemas.openxmlformats.org/officeDocument/2006/relationships/tags" Target="../tags/tag313.xml"/><Relationship Id="rId5" Type="http://schemas.openxmlformats.org/officeDocument/2006/relationships/tags" Target="../tags/tag314.xml"/><Relationship Id="rId6" Type="http://schemas.openxmlformats.org/officeDocument/2006/relationships/tags" Target="../tags/tag315.xml"/><Relationship Id="rId7" Type="http://schemas.openxmlformats.org/officeDocument/2006/relationships/tags" Target="../tags/tag316.xml"/><Relationship Id="rId8" Type="http://schemas.openxmlformats.org/officeDocument/2006/relationships/tags" Target="../tags/tag317.xml"/><Relationship Id="rId9" Type="http://schemas.openxmlformats.org/officeDocument/2006/relationships/slideMaster" Target="../slideMasters/slideMaster5.xml"/><Relationship Id="rId10" Type="http://schemas.openxmlformats.org/officeDocument/2006/relationships/oleObject" Target="../embeddings/oleObject39.bin"/><Relationship Id="rId11" Type="http://schemas.openxmlformats.org/officeDocument/2006/relationships/image" Target="../media/image64.emf"/><Relationship Id="rId12" Type="http://schemas.openxmlformats.org/officeDocument/2006/relationships/image" Target="../media/image62.png"/></Relationships>
</file>

<file path=ppt/slideLayouts/_rels/slideLayout181.xml.rels><?xml version='1.0' encoding='UTF-8' standalone='yes'?>
<Relationships xmlns="http://schemas.openxmlformats.org/package/2006/relationships"><Relationship Id="rId1" Type="http://schemas.openxmlformats.org/officeDocument/2006/relationships/tags" Target="../tags/tag318.xml"/><Relationship Id="rId2" Type="http://schemas.openxmlformats.org/officeDocument/2006/relationships/tags" Target="../tags/tag319.xml"/><Relationship Id="rId3" Type="http://schemas.openxmlformats.org/officeDocument/2006/relationships/tags" Target="../tags/tag320.xml"/><Relationship Id="rId4" Type="http://schemas.openxmlformats.org/officeDocument/2006/relationships/tags" Target="../tags/tag321.xml"/><Relationship Id="rId5" Type="http://schemas.openxmlformats.org/officeDocument/2006/relationships/tags" Target="../tags/tag322.xml"/><Relationship Id="rId6" Type="http://schemas.openxmlformats.org/officeDocument/2006/relationships/tags" Target="../tags/tag323.xml"/><Relationship Id="rId7" Type="http://schemas.openxmlformats.org/officeDocument/2006/relationships/slideMaster" Target="../slideMasters/slideMaster5.xml"/><Relationship Id="rId8" Type="http://schemas.openxmlformats.org/officeDocument/2006/relationships/oleObject" Target="../embeddings/oleObject40.bin"/><Relationship Id="rId9" Type="http://schemas.openxmlformats.org/officeDocument/2006/relationships/image" Target="../media/image64.emf"/><Relationship Id="rId10" Type="http://schemas.openxmlformats.org/officeDocument/2006/relationships/image" Target="../media/image75.png"/><Relationship Id="rId11" Type="http://schemas.microsoft.com/office/2007/relationships/hdphoto" Target="../media/hdphoto1.wdp"/></Relationships>
</file>

<file path=ppt/slideLayouts/_rels/slideLayout182.xml.rels><?xml version='1.0' encoding='UTF-8' standalone='yes'?>
<Relationships xmlns="http://schemas.openxmlformats.org/package/2006/relationships"><Relationship Id="rId1" Type="http://schemas.openxmlformats.org/officeDocument/2006/relationships/tags" Target="../tags/tag324.xml"/><Relationship Id="rId2" Type="http://schemas.openxmlformats.org/officeDocument/2006/relationships/tags" Target="../tags/tag325.xml"/><Relationship Id="rId3" Type="http://schemas.openxmlformats.org/officeDocument/2006/relationships/tags" Target="../tags/tag326.xml"/><Relationship Id="rId4" Type="http://schemas.openxmlformats.org/officeDocument/2006/relationships/tags" Target="../tags/tag327.xml"/><Relationship Id="rId5" Type="http://schemas.openxmlformats.org/officeDocument/2006/relationships/slideMaster" Target="../slideMasters/slideMaster5.xml"/><Relationship Id="rId6" Type="http://schemas.openxmlformats.org/officeDocument/2006/relationships/oleObject" Target="../embeddings/oleObject41.bin"/><Relationship Id="rId7" Type="http://schemas.openxmlformats.org/officeDocument/2006/relationships/image" Target="../media/image64.emf"/><Relationship Id="rId8" Type="http://schemas.openxmlformats.org/officeDocument/2006/relationships/image" Target="../media/image75.png"/><Relationship Id="rId9" Type="http://schemas.microsoft.com/office/2007/relationships/hdphoto" Target="../media/hdphoto1.wdp"/></Relationships>
</file>

<file path=ppt/slideLayouts/_rels/slideLayout183.xml.rels><?xml version='1.0' encoding='UTF-8' standalone='yes'?>
<Relationships xmlns="http://schemas.openxmlformats.org/package/2006/relationships"><Relationship Id="rId1" Type="http://schemas.openxmlformats.org/officeDocument/2006/relationships/tags" Target="../tags/tag328.xml"/><Relationship Id="rId2" Type="http://schemas.openxmlformats.org/officeDocument/2006/relationships/tags" Target="../tags/tag329.xml"/><Relationship Id="rId3" Type="http://schemas.openxmlformats.org/officeDocument/2006/relationships/slideMaster" Target="../slideMasters/slideMaster5.xml"/><Relationship Id="rId4" Type="http://schemas.openxmlformats.org/officeDocument/2006/relationships/oleObject" Target="../embeddings/oleObject42.bin"/><Relationship Id="rId5" Type="http://schemas.openxmlformats.org/officeDocument/2006/relationships/image" Target="../media/image64.emf"/><Relationship Id="rId6" Type="http://schemas.openxmlformats.org/officeDocument/2006/relationships/image" Target="../media/image75.png"/><Relationship Id="rId7" Type="http://schemas.microsoft.com/office/2007/relationships/hdphoto" Target="../media/hdphoto1.wdp"/></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4.png"/></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5.jpeg"/><Relationship Id="rId3" Type="http://schemas.openxmlformats.org/officeDocument/2006/relationships/image" Target="../media/image14.png"/></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6.jpeg"/><Relationship Id="rId3" Type="http://schemas.openxmlformats.org/officeDocument/2006/relationships/image" Target="../media/image14.png"/></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7.jpeg"/><Relationship Id="rId3" Type="http://schemas.openxmlformats.org/officeDocument/2006/relationships/image" Target="../media/image14.png"/></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8.jpeg"/><Relationship Id="rId3" Type="http://schemas.openxmlformats.org/officeDocument/2006/relationships/image" Target="../media/image14.png"/></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9.jpeg"/><Relationship Id="rId3" Type="http://schemas.openxmlformats.org/officeDocument/2006/relationships/image" Target="../media/image14.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0.png"/></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0.jpeg"/><Relationship Id="rId3" Type="http://schemas.openxmlformats.org/officeDocument/2006/relationships/image" Target="../media/image14.png"/></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1.jpeg"/><Relationship Id="rId3" Type="http://schemas.openxmlformats.org/officeDocument/2006/relationships/image" Target="../media/image14.png"/></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2.jpeg"/><Relationship Id="rId3" Type="http://schemas.openxmlformats.org/officeDocument/2006/relationships/image" Target="../media/image23.png"/></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4.jpeg"/><Relationship Id="rId3" Type="http://schemas.openxmlformats.org/officeDocument/2006/relationships/image" Target="../media/image23.png"/></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5.jpeg"/><Relationship Id="rId3" Type="http://schemas.openxmlformats.org/officeDocument/2006/relationships/image" Target="../media/image23.png"/></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6.jpeg"/><Relationship Id="rId3" Type="http://schemas.openxmlformats.org/officeDocument/2006/relationships/image" Target="../media/image23.png"/></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7.jpeg"/><Relationship Id="rId3" Type="http://schemas.openxmlformats.org/officeDocument/2006/relationships/image" Target="../media/image23.png"/></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8.jpeg"/><Relationship Id="rId3" Type="http://schemas.openxmlformats.org/officeDocument/2006/relationships/image" Target="../media/image29.png"/></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0.jpeg"/><Relationship Id="rId3" Type="http://schemas.openxmlformats.org/officeDocument/2006/relationships/image" Target="../media/image29.png"/></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1.jpeg"/><Relationship Id="rId3" Type="http://schemas.openxmlformats.org/officeDocument/2006/relationships/image" Target="../media/image3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0.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3.jpeg"/><Relationship Id="rId3" Type="http://schemas.openxmlformats.org/officeDocument/2006/relationships/image" Target="../media/image32.png"/></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4.jpeg"/><Relationship Id="rId3" Type="http://schemas.openxmlformats.org/officeDocument/2006/relationships/image" Target="../media/image32.png"/></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5.jpeg"/><Relationship Id="rId3" Type="http://schemas.openxmlformats.org/officeDocument/2006/relationships/image" Target="../media/image32.png"/></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6.jpeg"/><Relationship Id="rId3" Type="http://schemas.openxmlformats.org/officeDocument/2006/relationships/image" Target="../media/image32.png"/></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7.jpeg"/><Relationship Id="rId3" Type="http://schemas.openxmlformats.org/officeDocument/2006/relationships/image" Target="../media/image38.png"/></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9.jpeg"/><Relationship Id="rId3" Type="http://schemas.openxmlformats.org/officeDocument/2006/relationships/image" Target="../media/image40.png"/></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1.png"/></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2.jpeg"/></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3.jpe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4.jpeg"/></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5.jpeg"/></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6.jpeg"/></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7.jpeg"/></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8.jpeg"/></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9.jpeg"/></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0.jpeg"/></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1.jpeg"/></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2.jpeg"/></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3.jpeg"/></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4.jpeg"/></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5.jpe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6.jpeg"/></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7.jpeg"/></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8.jpeg"/></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76.png"/></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1" Type="http://schemas.openxmlformats.org/officeDocument/2006/relationships/tags" Target="../tags/tag331.xml"/><Relationship Id="rId2" Type="http://schemas.openxmlformats.org/officeDocument/2006/relationships/tags" Target="../tags/tag332.xml"/><Relationship Id="rId3" Type="http://schemas.openxmlformats.org/officeDocument/2006/relationships/tags" Target="../tags/tag333.xml"/><Relationship Id="rId4" Type="http://schemas.openxmlformats.org/officeDocument/2006/relationships/tags" Target="../tags/tag334.xml"/><Relationship Id="rId5" Type="http://schemas.openxmlformats.org/officeDocument/2006/relationships/slideMaster" Target="../slideMasters/slideMaster6.xml"/><Relationship Id="rId6" Type="http://schemas.openxmlformats.org/officeDocument/2006/relationships/oleObject" Target="../embeddings/oleObject44.bin"/><Relationship Id="rId7" Type="http://schemas.openxmlformats.org/officeDocument/2006/relationships/image" Target="../media/image12.emf"/></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77.png"/></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5.jpeg"/><Relationship Id="rId3" Type="http://schemas.openxmlformats.org/officeDocument/2006/relationships/image" Target="../media/image77.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6.jpeg"/><Relationship Id="rId3" Type="http://schemas.openxmlformats.org/officeDocument/2006/relationships/image" Target="../media/image77.png"/></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78.jpeg"/><Relationship Id="rId3" Type="http://schemas.openxmlformats.org/officeDocument/2006/relationships/image" Target="../media/image77.png"/></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8.jpeg"/><Relationship Id="rId3" Type="http://schemas.openxmlformats.org/officeDocument/2006/relationships/image" Target="../media/image77.png"/></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79.jpeg"/><Relationship Id="rId3" Type="http://schemas.openxmlformats.org/officeDocument/2006/relationships/image" Target="../media/image77.png"/></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80.jpeg"/><Relationship Id="rId3" Type="http://schemas.openxmlformats.org/officeDocument/2006/relationships/image" Target="../media/image77.png"/></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81.jpeg"/><Relationship Id="rId3" Type="http://schemas.openxmlformats.org/officeDocument/2006/relationships/image" Target="../media/image77.png"/></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82.jpeg"/><Relationship Id="rId3" Type="http://schemas.openxmlformats.org/officeDocument/2006/relationships/image" Target="../media/image23.png"/></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83.jpeg"/><Relationship Id="rId3" Type="http://schemas.openxmlformats.org/officeDocument/2006/relationships/image" Target="../media/image23.png"/></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84.jpeg"/><Relationship Id="rId3" Type="http://schemas.openxmlformats.org/officeDocument/2006/relationships/image" Target="../media/image23.png"/></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6.jpeg"/><Relationship Id="rId3" Type="http://schemas.openxmlformats.org/officeDocument/2006/relationships/image" Target="../media/image23.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7.jpeg"/><Relationship Id="rId3" Type="http://schemas.openxmlformats.org/officeDocument/2006/relationships/image" Target="../media/image23.png"/></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85.jpeg"/><Relationship Id="rId3" Type="http://schemas.openxmlformats.org/officeDocument/2006/relationships/image" Target="../media/image29.png"/></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0.jpeg"/><Relationship Id="rId3" Type="http://schemas.openxmlformats.org/officeDocument/2006/relationships/image" Target="../media/image29.png"/></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86.jpeg"/><Relationship Id="rId3" Type="http://schemas.openxmlformats.org/officeDocument/2006/relationships/image" Target="../media/image32.png"/></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87.jpeg"/><Relationship Id="rId3" Type="http://schemas.openxmlformats.org/officeDocument/2006/relationships/image" Target="../media/image32.png"/></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88.jpeg"/><Relationship Id="rId3" Type="http://schemas.openxmlformats.org/officeDocument/2006/relationships/image" Target="../media/image32.png"/></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89.jpeg"/><Relationship Id="rId3" Type="http://schemas.openxmlformats.org/officeDocument/2006/relationships/image" Target="../media/image32.png"/></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6.jpeg"/><Relationship Id="rId3" Type="http://schemas.openxmlformats.org/officeDocument/2006/relationships/image" Target="../media/image32.png"/></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7.jpeg"/><Relationship Id="rId3" Type="http://schemas.openxmlformats.org/officeDocument/2006/relationships/image" Target="../media/image38.png"/></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9.jpeg"/><Relationship Id="rId3" Type="http://schemas.openxmlformats.org/officeDocument/2006/relationships/image" Target="../media/image40.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90.png"/></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42.jpeg"/></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43.jpeg"/></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91.jpeg"/></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45.jpeg"/></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46.jpeg"/></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92.jpeg"/></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48.jpeg"/></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49.jpeg"/></Relationships>
</file>

<file path=ppt/slideLayouts/_rels/slideLayout28.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tags" Target="../tags/tag5.xml"/><Relationship Id="rId3" Type="http://schemas.openxmlformats.org/officeDocument/2006/relationships/tags" Target="../tags/tag6.xml"/><Relationship Id="rId4" Type="http://schemas.openxmlformats.org/officeDocument/2006/relationships/tags" Target="../tags/tag7.xml"/><Relationship Id="rId5" Type="http://schemas.openxmlformats.org/officeDocument/2006/relationships/tags" Target="../tags/tag8.xml"/><Relationship Id="rId6"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50.jpeg"/></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51.jpeg"/></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tags" Target="../tags/tag10.xml"/><Relationship Id="rId3" Type="http://schemas.openxmlformats.org/officeDocument/2006/relationships/tags" Target="../tags/tag11.xml"/><Relationship Id="rId4" Type="http://schemas.openxmlformats.org/officeDocument/2006/relationships/tags" Target="../tags/tag12.xml"/><Relationship Id="rId5" Type="http://schemas.openxmlformats.org/officeDocument/2006/relationships/tags" Target="../tags/tag13.xml"/><Relationship Id="rId6" Type="http://schemas.openxmlformats.org/officeDocument/2006/relationships/tags" Target="../tags/tag14.xml"/><Relationship Id="rId7" Type="http://schemas.openxmlformats.org/officeDocument/2006/relationships/tags" Target="../tags/tag15.xml"/><Relationship Id="rId8"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93.jpeg"/></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53.jpeg"/></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94.jpeg"/></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55.jpeg"/></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56.jpeg"/></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57.jpeg"/></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58.jpeg"/></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openxmlformats.org/officeDocument/2006/relationships/image" Target="../media/image5.svg"/><Relationship Id="rId4" Type="http://schemas.openxmlformats.org/officeDocument/2006/relationships/image" Target="../media/image6.png"/><Relationship Id="rId5" Type="http://schemas.openxmlformats.org/officeDocument/2006/relationships/image" Target="../media/image7.svg"/></Relationships>
</file>

<file path=ppt/slideLayouts/_rels/slideLayout30.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tags" Target="../tags/tag17.xml"/><Relationship Id="rId3" Type="http://schemas.openxmlformats.org/officeDocument/2006/relationships/tags" Target="../tags/tag18.xml"/><Relationship Id="rId4" Type="http://schemas.openxmlformats.org/officeDocument/2006/relationships/tags" Target="../tags/tag19.xml"/><Relationship Id="rId5" Type="http://schemas.openxmlformats.org/officeDocument/2006/relationships/tags" Target="../tags/tag20.xml"/><Relationship Id="rId6" Type="http://schemas.openxmlformats.org/officeDocument/2006/relationships/tags" Target="../tags/tag21.xml"/><Relationship Id="rId7" Type="http://schemas.openxmlformats.org/officeDocument/2006/relationships/tags" Target="../tags/tag22.xml"/><Relationship Id="rId8" Type="http://schemas.openxmlformats.org/officeDocument/2006/relationships/tags" Target="../tags/tag23.xml"/><Relationship Id="rId9" Type="http://schemas.openxmlformats.org/officeDocument/2006/relationships/tags" Target="../tags/tag24.xml"/><Relationship Id="rId10" Type="http://schemas.openxmlformats.org/officeDocument/2006/relationships/tags" Target="../tags/tag25.xml"/><Relationship Id="rId11" Type="http://schemas.openxmlformats.org/officeDocument/2006/relationships/tags" Target="../tags/tag26.xml"/><Relationship Id="rId12" Type="http://schemas.openxmlformats.org/officeDocument/2006/relationships/tags" Target="../tags/tag27.xml"/><Relationship Id="rId13" Type="http://schemas.openxmlformats.org/officeDocument/2006/relationships/tags" Target="../tags/tag28.xml"/><Relationship Id="rId14" Type="http://schemas.openxmlformats.org/officeDocument/2006/relationships/tags" Target="../tags/tag29.xml"/><Relationship Id="rId15"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tags" Target="../tags/tag31.xml"/><Relationship Id="rId3" Type="http://schemas.openxmlformats.org/officeDocument/2006/relationships/tags" Target="../tags/tag32.xml"/><Relationship Id="rId4" Type="http://schemas.openxmlformats.org/officeDocument/2006/relationships/tags" Target="../tags/tag33.xml"/><Relationship Id="rId5" Type="http://schemas.openxmlformats.org/officeDocument/2006/relationships/tags" Target="../tags/tag34.xml"/><Relationship Id="rId6" Type="http://schemas.openxmlformats.org/officeDocument/2006/relationships/tags" Target="../tags/tag35.xml"/><Relationship Id="rId7" Type="http://schemas.openxmlformats.org/officeDocument/2006/relationships/tags" Target="../tags/tag36.xml"/><Relationship Id="rId8" Type="http://schemas.openxmlformats.org/officeDocument/2006/relationships/tags" Target="../tags/tag37.xml"/><Relationship Id="rId9"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97.png"/></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98.png"/></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tags" Target="../tags/tag39.xml"/><Relationship Id="rId3" Type="http://schemas.openxmlformats.org/officeDocument/2006/relationships/tags" Target="../tags/tag40.xml"/><Relationship Id="rId4" Type="http://schemas.openxmlformats.org/officeDocument/2006/relationships/tags" Target="../tags/tag41.xml"/><Relationship Id="rId5" Type="http://schemas.openxmlformats.org/officeDocument/2006/relationships/tags" Target="../tags/tag42.xml"/><Relationship Id="rId6" Type="http://schemas.openxmlformats.org/officeDocument/2006/relationships/tags" Target="../tags/tag43.xml"/><Relationship Id="rId7" Type="http://schemas.openxmlformats.org/officeDocument/2006/relationships/tags" Target="../tags/tag44.xml"/><Relationship Id="rId8" Type="http://schemas.openxmlformats.org/officeDocument/2006/relationships/tags" Target="../tags/tag45.xml"/><Relationship Id="rId9" Type="http://schemas.openxmlformats.org/officeDocument/2006/relationships/tags" Target="../tags/tag46.xml"/><Relationship Id="rId10" Type="http://schemas.openxmlformats.org/officeDocument/2006/relationships/tags" Target="../tags/tag47.xml"/><Relationship Id="rId11" Type="http://schemas.openxmlformats.org/officeDocument/2006/relationships/tags" Target="../tags/tag48.xml"/><Relationship Id="rId12" Type="http://schemas.openxmlformats.org/officeDocument/2006/relationships/tags" Target="../tags/tag49.xml"/><Relationship Id="rId13" Type="http://schemas.openxmlformats.org/officeDocument/2006/relationships/tags" Target="../tags/tag50.xml"/><Relationship Id="rId14" Type="http://schemas.openxmlformats.org/officeDocument/2006/relationships/tags" Target="../tags/tag51.xml"/><Relationship Id="rId15" Type="http://schemas.openxmlformats.org/officeDocument/2006/relationships/tags" Target="../tags/tag52.xml"/><Relationship Id="rId16" Type="http://schemas.openxmlformats.org/officeDocument/2006/relationships/tags" Target="../tags/tag53.xml"/><Relationship Id="rId17" Type="http://schemas.openxmlformats.org/officeDocument/2006/relationships/tags" Target="../tags/tag54.xml"/><Relationship Id="rId18" Type="http://schemas.openxmlformats.org/officeDocument/2006/relationships/tags" Target="../tags/tag55.xml"/><Relationship Id="rId19" Type="http://schemas.openxmlformats.org/officeDocument/2006/relationships/tags" Target="../tags/tag56.xml"/><Relationship Id="rId20" Type="http://schemas.openxmlformats.org/officeDocument/2006/relationships/tags" Target="../tags/tag57.xml"/><Relationship Id="rId2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99.png"/></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69.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1.png"/></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101.png"/></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102.png"/></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4.png"/></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5.jpeg"/><Relationship Id="rId3" Type="http://schemas.openxmlformats.org/officeDocument/2006/relationships/image" Target="../media/image14.png"/></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105.png"/><Relationship Id="rId3" Type="http://schemas.openxmlformats.org/officeDocument/2006/relationships/image" Target="../media/image106.svg"/></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108.png"/></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109.jpeg"/><Relationship Id="rId3" Type="http://schemas.openxmlformats.org/officeDocument/2006/relationships/image" Target="../media/image108.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6.jpeg"/><Relationship Id="rId3" Type="http://schemas.openxmlformats.org/officeDocument/2006/relationships/image" Target="../media/image14.png"/></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15.jpeg"/><Relationship Id="rId3" Type="http://schemas.openxmlformats.org/officeDocument/2006/relationships/image" Target="../media/image108.png"/></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16.jpeg"/><Relationship Id="rId3" Type="http://schemas.openxmlformats.org/officeDocument/2006/relationships/image" Target="../media/image108.png"/></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110.jpeg"/><Relationship Id="rId3" Type="http://schemas.openxmlformats.org/officeDocument/2006/relationships/image" Target="../media/image108.png"/></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6.jpeg"/><Relationship Id="rId3" Type="http://schemas.openxmlformats.org/officeDocument/2006/relationships/image" Target="../media/image111.png"/></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112.jpeg"/><Relationship Id="rId3" Type="http://schemas.openxmlformats.org/officeDocument/2006/relationships/image" Target="../media/image111.png"/></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113.jpeg"/><Relationship Id="rId3" Type="http://schemas.openxmlformats.org/officeDocument/2006/relationships/image" Target="../media/image114.png"/></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115.jpeg"/><Relationship Id="rId3" Type="http://schemas.openxmlformats.org/officeDocument/2006/relationships/image" Target="../media/image116.png"/></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117.jpeg"/><Relationship Id="rId3" Type="http://schemas.openxmlformats.org/officeDocument/2006/relationships/image" Target="../media/image118.png"/></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119.jpeg"/><Relationship Id="rId3" Type="http://schemas.openxmlformats.org/officeDocument/2006/relationships/image" Target="../media/image120.png"/></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121.jpeg"/><Relationship Id="rId3" Type="http://schemas.openxmlformats.org/officeDocument/2006/relationships/image" Target="../media/image122.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7.jpeg"/><Relationship Id="rId3" Type="http://schemas.openxmlformats.org/officeDocument/2006/relationships/image" Target="../media/image14.png"/></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8.jpeg"/><Relationship Id="rId3" Type="http://schemas.openxmlformats.org/officeDocument/2006/relationships/image" Target="../media/image122.png"/></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39.jpeg"/><Relationship Id="rId3" Type="http://schemas.openxmlformats.org/officeDocument/2006/relationships/image" Target="../media/image123.png"/></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108.png"/></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124.jpeg"/></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125.jpeg"/></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126.jpeg"/></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127.jpeg"/></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128.jpeg"/></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70.jpe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8.jpeg"/><Relationship Id="rId3" Type="http://schemas.openxmlformats.org/officeDocument/2006/relationships/image" Target="../media/image14.png"/></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129.jpeg"/></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130.jpeg"/></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71.jpeg"/></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131.jpeg"/></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9.jpeg"/><Relationship Id="rId3" Type="http://schemas.openxmlformats.org/officeDocument/2006/relationships/image" Target="../media/image14.png"/></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0.jpeg"/><Relationship Id="rId3" Type="http://schemas.openxmlformats.org/officeDocument/2006/relationships/image" Target="../media/image14.png"/></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33.png"/></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34.jpeg"/><Relationship Id="rId3" Type="http://schemas.openxmlformats.org/officeDocument/2006/relationships/image" Target="../media/image133.png"/></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5.jpeg"/><Relationship Id="rId3" Type="http://schemas.openxmlformats.org/officeDocument/2006/relationships/image" Target="../media/image133.png"/></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6.jpeg"/><Relationship Id="rId3" Type="http://schemas.openxmlformats.org/officeDocument/2006/relationships/image" Target="../media/image133.png"/></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10.jpeg"/><Relationship Id="rId3" Type="http://schemas.openxmlformats.org/officeDocument/2006/relationships/image" Target="../media/image133.png"/></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6.jpeg"/><Relationship Id="rId3" Type="http://schemas.openxmlformats.org/officeDocument/2006/relationships/image" Target="../media/image135.png"/></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12.jpeg"/><Relationship Id="rId3" Type="http://schemas.openxmlformats.org/officeDocument/2006/relationships/image" Target="../media/image135.png"/></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13.jpeg"/><Relationship Id="rId3" Type="http://schemas.openxmlformats.org/officeDocument/2006/relationships/image" Target="../media/image136.png"/></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15.jpeg"/><Relationship Id="rId3" Type="http://schemas.openxmlformats.org/officeDocument/2006/relationships/image" Target="../media/image137.png"/></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17.jpeg"/><Relationship Id="rId3" Type="http://schemas.openxmlformats.org/officeDocument/2006/relationships/image" Target="../media/image138.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1.jpeg"/><Relationship Id="rId3" Type="http://schemas.openxmlformats.org/officeDocument/2006/relationships/image" Target="../media/image14.png"/></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19.jpeg"/><Relationship Id="rId3" Type="http://schemas.openxmlformats.org/officeDocument/2006/relationships/image" Target="../media/image139.png"/></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21.jpeg"/><Relationship Id="rId3" Type="http://schemas.openxmlformats.org/officeDocument/2006/relationships/image" Target="../media/image140.png"/></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8.jpeg"/><Relationship Id="rId3" Type="http://schemas.openxmlformats.org/officeDocument/2006/relationships/image" Target="../media/image140.png"/></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39.jpeg"/><Relationship Id="rId3" Type="http://schemas.openxmlformats.org/officeDocument/2006/relationships/image" Target="../media/image141.png"/></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42.png"/></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24.jpeg"/></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25.jpeg"/></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26.jpeg"/></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27.jpe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2.jpeg"/><Relationship Id="rId3" Type="http://schemas.openxmlformats.org/officeDocument/2006/relationships/image" Target="../media/image23.png"/></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28.jpeg"/></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70.jpeg"/></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29.jpeg"/></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30.jpeg"/></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71.jpeg"/></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43.jpeg"/></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4.jpeg"/><Relationship Id="rId3" Type="http://schemas.openxmlformats.org/officeDocument/2006/relationships/image" Target="../media/image23.png"/></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5.jpeg"/><Relationship Id="rId3" Type="http://schemas.openxmlformats.org/officeDocument/2006/relationships/image" Target="../media/image23.png"/></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44.jpeg"/><Relationship Id="rId3" Type="http://schemas.openxmlformats.org/officeDocument/2006/relationships/image" Target="../media/image23.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6.jpeg"/><Relationship Id="rId3" Type="http://schemas.openxmlformats.org/officeDocument/2006/relationships/image" Target="../media/image23.pn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7.jpeg"/><Relationship Id="rId3" Type="http://schemas.openxmlformats.org/officeDocument/2006/relationships/image" Target="../media/image23.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8.jpeg"/><Relationship Id="rId3" Type="http://schemas.openxmlformats.org/officeDocument/2006/relationships/image" Target="../media/image29.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0.jpeg"/><Relationship Id="rId3" Type="http://schemas.openxmlformats.org/officeDocument/2006/relationships/image" Target="../media/image29.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1.jpeg"/><Relationship Id="rId3" Type="http://schemas.openxmlformats.org/officeDocument/2006/relationships/image" Target="../media/image32.pn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3.jpeg"/><Relationship Id="rId3" Type="http://schemas.openxmlformats.org/officeDocument/2006/relationships/image" Target="../media/image32.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4.jpeg"/><Relationship Id="rId3" Type="http://schemas.openxmlformats.org/officeDocument/2006/relationships/image" Target="../media/image32.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5.jpeg"/><Relationship Id="rId3" Type="http://schemas.openxmlformats.org/officeDocument/2006/relationships/image" Target="../media/image32.pn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6.jpeg"/><Relationship Id="rId3" Type="http://schemas.openxmlformats.org/officeDocument/2006/relationships/image" Target="../media/image32.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7.jpeg"/><Relationship Id="rId3" Type="http://schemas.openxmlformats.org/officeDocument/2006/relationships/image" Target="../media/image38.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9.jpeg"/><Relationship Id="rId3" Type="http://schemas.openxmlformats.org/officeDocument/2006/relationships/image" Target="../media/image40.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1.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2.jpe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3.jpe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4.jpe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5.jpe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6.jpe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7.jpe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8.jpe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9.jpe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50.jpe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51.jpe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 Id="rId3" Type="http://schemas.openxmlformats.org/officeDocument/2006/relationships/image" Target="../media/image9.sv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52.jpe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53.jpe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54.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55.jpe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56.jpe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57.jpe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58.jpe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1">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D00DA84-BE0D-C322-59C6-2CFF15D23254}"/>
              </a:ext>
            </a:extLst>
          </p:cNvPr>
          <p:cNvSpPr>
            <a:spLocks noGrp="1"/>
          </p:cNvSpPr>
          <p:nvPr>
            <p:ph type="pic" sz="quarter" idx="14"/>
          </p:nvPr>
        </p:nvSpPr>
        <p:spPr>
          <a:xfrm>
            <a:off x="768352" y="1701801"/>
            <a:ext cx="10847915" cy="3233615"/>
          </a:xfrm>
          <a:prstGeom prst="roundRect">
            <a:avLst>
              <a:gd name="adj" fmla="val 5981"/>
            </a:avLst>
          </a:prstGeom>
          <a:solidFill>
            <a:schemeClr val="tx1">
              <a:lumMod val="20000"/>
              <a:lumOff val="80000"/>
            </a:schemeClr>
          </a:solidFill>
        </p:spPr>
        <p:txBody>
          <a:bodyPr wrap="square" tIns="396000">
            <a:noAutofit/>
          </a:bodyPr>
          <a:lstStyle>
            <a:lvl1pPr marL="0" indent="0" algn="ctr">
              <a:buNone/>
              <a:defRPr/>
            </a:lvl1pPr>
          </a:lstStyle>
          <a:p>
            <a:r>
              <a:rPr lang="en-US"/>
              <a:t>Click icon to add picture</a:t>
            </a:r>
            <a:endParaRPr lang="en-GB"/>
          </a:p>
        </p:txBody>
      </p:sp>
      <p:sp>
        <p:nvSpPr>
          <p:cNvPr id="2" name="Title 1"/>
          <p:cNvSpPr>
            <a:spLocks noGrp="1"/>
          </p:cNvSpPr>
          <p:nvPr>
            <p:ph type="ctrTitle" hasCustomPrompt="1"/>
          </p:nvPr>
        </p:nvSpPr>
        <p:spPr>
          <a:xfrm>
            <a:off x="768352" y="4935415"/>
            <a:ext cx="10847915" cy="661255"/>
          </a:xfrm>
        </p:spPr>
        <p:txBody>
          <a:bodyPr wrap="none" anchor="b"/>
          <a:lstStyle>
            <a:lvl1pPr algn="l">
              <a:defRPr sz="3200"/>
            </a:lvl1pPr>
          </a:lstStyle>
          <a:p>
            <a:r>
              <a:rPr lang="en-GB"/>
              <a:t>Click to add title</a:t>
            </a:r>
          </a:p>
        </p:txBody>
      </p:sp>
      <p:sp>
        <p:nvSpPr>
          <p:cNvPr id="3" name="Subtitle 2"/>
          <p:cNvSpPr>
            <a:spLocks noGrp="1"/>
          </p:cNvSpPr>
          <p:nvPr>
            <p:ph type="subTitle" idx="1" hasCustomPrompt="1"/>
          </p:nvPr>
        </p:nvSpPr>
        <p:spPr>
          <a:xfrm>
            <a:off x="768352" y="5756031"/>
            <a:ext cx="10848000" cy="314920"/>
          </a:xfrm>
        </p:spPr>
        <p:txBody>
          <a:bodyPr wrap="none">
            <a:noAutofit/>
          </a:bodyPr>
          <a:lstStyle>
            <a:lvl1pPr marL="0" indent="0" algn="l">
              <a:buNone/>
              <a:defRPr sz="1867"/>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Subtitle</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768352" y="6536947"/>
            <a:ext cx="1356140"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3 </a:t>
            </a:r>
            <a:r>
              <a:rPr lang="en-GB" sz="800" kern="1200" err="1">
                <a:solidFill>
                  <a:schemeClr val="tx1">
                    <a:tint val="75000"/>
                  </a:schemeClr>
                </a:solidFill>
                <a:latin typeface="+mn-lt"/>
                <a:ea typeface="+mn-ea"/>
                <a:cs typeface="+mn-cs"/>
              </a:rPr>
              <a:t>FrieslandCampina</a:t>
            </a:r>
            <a:endParaRPr lang="en-GB" sz="800" kern="1200">
              <a:solidFill>
                <a:schemeClr val="tx1">
                  <a:tint val="75000"/>
                </a:schemeClr>
              </a:solidFill>
              <a:latin typeface="+mn-lt"/>
              <a:ea typeface="+mn-ea"/>
              <a:cs typeface="+mn-cs"/>
            </a:endParaRPr>
          </a:p>
        </p:txBody>
      </p:sp>
      <p:grpSp>
        <p:nvGrpSpPr>
          <p:cNvPr id="5" name="Groep 4">
            <a:extLst>
              <a:ext uri="{FF2B5EF4-FFF2-40B4-BE49-F238E27FC236}">
                <a16:creationId xmlns:a16="http://schemas.microsoft.com/office/drawing/2014/main" id="{D5A2D930-4F05-43DA-8F93-DEAFE1096447}"/>
              </a:ext>
            </a:extLst>
          </p:cNvPr>
          <p:cNvGrpSpPr/>
          <p:nvPr userDrawn="1"/>
        </p:nvGrpSpPr>
        <p:grpSpPr>
          <a:xfrm>
            <a:off x="12262861" y="1863585"/>
            <a:ext cx="1130143" cy="757167"/>
            <a:chOff x="9197145" y="1199569"/>
            <a:chExt cx="847607" cy="567875"/>
          </a:xfrm>
        </p:grpSpPr>
        <p:sp>
          <p:nvSpPr>
            <p:cNvPr id="7" name="Freeform 20">
              <a:extLst>
                <a:ext uri="{FF2B5EF4-FFF2-40B4-BE49-F238E27FC236}">
                  <a16:creationId xmlns:a16="http://schemas.microsoft.com/office/drawing/2014/main" id="{EC6D8501-6CE5-4E1D-B8D6-010E436AF741}"/>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rgbClr val="760E12"/>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4" name="Tekstvak 3">
              <a:extLst>
                <a:ext uri="{FF2B5EF4-FFF2-40B4-BE49-F238E27FC236}">
                  <a16:creationId xmlns:a16="http://schemas.microsoft.com/office/drawing/2014/main" id="{2565ADC4-81D8-4B71-BCBD-613626D2F4F6}"/>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pic>
        <p:nvPicPr>
          <p:cNvPr id="6" name="Picture 2" descr="G:\Corporate Communication\Logo's\FrieslandCampina\Nourishing by Nature tagline\Nbn_tag_with_FC_final.png">
            <a:extLst>
              <a:ext uri="{FF2B5EF4-FFF2-40B4-BE49-F238E27FC236}">
                <a16:creationId xmlns:a16="http://schemas.microsoft.com/office/drawing/2014/main" id="{6F6D29C9-0B5C-1B7C-2F68-596284469566}"/>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13972" y="305786"/>
            <a:ext cx="2332873" cy="12366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1971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3">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bject, image right -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0291" y="548218"/>
            <a:ext cx="11035975" cy="1036965"/>
          </a:xfrm>
        </p:spPr>
        <p:txBody>
          <a:bodyPr/>
          <a:lstStyle/>
          <a:p>
            <a:r>
              <a:rPr lang="en-GB"/>
              <a:t>Click to add title</a:t>
            </a:r>
          </a:p>
        </p:txBody>
      </p:sp>
      <p:sp>
        <p:nvSpPr>
          <p:cNvPr id="3" name="Content Placeholder 2"/>
          <p:cNvSpPr>
            <a:spLocks noGrp="1"/>
          </p:cNvSpPr>
          <p:nvPr>
            <p:ph idx="1" hasCustomPrompt="1"/>
          </p:nvPr>
        </p:nvSpPr>
        <p:spPr>
          <a:xfrm>
            <a:off x="580293" y="1701801"/>
            <a:ext cx="5257804" cy="4366684"/>
          </a:xfrm>
        </p:spPr>
        <p:txBody>
          <a:bodyPr/>
          <a:lstStyle/>
          <a:p>
            <a:pPr lvl="0"/>
            <a:r>
              <a:rPr lang="en-GB"/>
              <a:t>Click to add text or object</a:t>
            </a:r>
          </a:p>
          <a:p>
            <a:pPr lvl="1"/>
            <a:r>
              <a:rPr lang="en-GB"/>
              <a:t>Text level 2</a:t>
            </a:r>
          </a:p>
          <a:p>
            <a:pPr lvl="2"/>
            <a:r>
              <a:rPr lang="en-GB"/>
              <a:t>Text level 3</a:t>
            </a:r>
          </a:p>
          <a:p>
            <a:pPr lvl="3"/>
            <a:r>
              <a:rPr lang="en-GB"/>
              <a:t>Text level 4</a:t>
            </a:r>
          </a:p>
          <a:p>
            <a:pPr lvl="4"/>
            <a:r>
              <a:rPr lang="en-GB"/>
              <a:t>Text level 5</a:t>
            </a:r>
          </a:p>
        </p:txBody>
      </p:sp>
      <p:sp>
        <p:nvSpPr>
          <p:cNvPr id="4" name="Date Placeholder 3"/>
          <p:cNvSpPr>
            <a:spLocks noGrp="1"/>
          </p:cNvSpPr>
          <p:nvPr>
            <p:ph type="dt" sz="half" idx="10"/>
          </p:nvPr>
        </p:nvSpPr>
        <p:spPr/>
        <p:txBody>
          <a:bodyPr/>
          <a:lstStyle/>
          <a:p>
            <a:fld id="{3F68062F-C0DC-4488-9863-8E0A6F5AFD45}" type="datetime1">
              <a:rPr lang="en-GB" smtClean="0"/>
              <a:t>18/04/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7" name="Picture Placeholder 6">
            <a:extLst>
              <a:ext uri="{FF2B5EF4-FFF2-40B4-BE49-F238E27FC236}">
                <a16:creationId xmlns:a16="http://schemas.microsoft.com/office/drawing/2014/main" id="{13076E6A-DE89-C4E6-7698-98E6A236A890}"/>
              </a:ext>
            </a:extLst>
          </p:cNvPr>
          <p:cNvSpPr>
            <a:spLocks noGrp="1"/>
          </p:cNvSpPr>
          <p:nvPr>
            <p:ph type="pic" sz="quarter" idx="14"/>
          </p:nvPr>
        </p:nvSpPr>
        <p:spPr>
          <a:xfrm>
            <a:off x="6100558" y="1701801"/>
            <a:ext cx="5515708" cy="4366684"/>
          </a:xfrm>
          <a:prstGeom prst="roundRect">
            <a:avLst>
              <a:gd name="adj" fmla="val 5981"/>
            </a:avLst>
          </a:prstGeom>
          <a:solidFill>
            <a:schemeClr val="tx1">
              <a:lumMod val="20000"/>
              <a:lumOff val="80000"/>
            </a:schemeClr>
          </a:solidFill>
        </p:spPr>
        <p:txBody>
          <a:bodyPr wrap="square" tIns="396000">
            <a:noAutofit/>
          </a:bodyPr>
          <a:lstStyle>
            <a:lvl1pPr marL="0" indent="0" algn="ctr">
              <a:buNone/>
              <a:defRPr/>
            </a:lvl1pPr>
          </a:lstStyle>
          <a:p>
            <a:r>
              <a:rPr lang="en-US"/>
              <a:t>Click icon to add picture</a:t>
            </a:r>
            <a:endParaRPr lang="en-GB"/>
          </a:p>
        </p:txBody>
      </p:sp>
    </p:spTree>
    <p:extLst>
      <p:ext uri="{BB962C8B-B14F-4D97-AF65-F5344CB8AC3E}">
        <p14:creationId xmlns:p14="http://schemas.microsoft.com/office/powerpoint/2010/main" val="3422333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itle, object, image left - 3">
    <p:bg>
      <p:bgPr>
        <a:solidFill>
          <a:schemeClr val="bg1"/>
        </a:solidFill>
        <a:effectLst/>
      </p:bgPr>
    </p:bg>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865AA58E-D40A-0313-6154-7A140A71FE56}"/>
              </a:ext>
            </a:extLst>
          </p:cNvPr>
          <p:cNvSpPr>
            <a:spLocks noGrp="1" noChangeAspect="1"/>
          </p:cNvSpPr>
          <p:nvPr>
            <p:ph type="pic" sz="quarter" idx="14"/>
          </p:nvPr>
        </p:nvSpPr>
        <p:spPr>
          <a:xfrm>
            <a:off x="580292" y="1725060"/>
            <a:ext cx="4447451" cy="4343424"/>
          </a:xfrm>
          <a:custGeom>
            <a:avLst/>
            <a:gdLst>
              <a:gd name="connsiteX0" fmla="*/ 1678918 w 3335588"/>
              <a:gd name="connsiteY0" fmla="*/ 0 h 3257568"/>
              <a:gd name="connsiteX1" fmla="*/ 2848595 w 3335588"/>
              <a:gd name="connsiteY1" fmla="*/ 461675 h 3257568"/>
              <a:gd name="connsiteX2" fmla="*/ 3335505 w 3335588"/>
              <a:gd name="connsiteY2" fmla="*/ 1629238 h 3257568"/>
              <a:gd name="connsiteX3" fmla="*/ 3335588 w 3335588"/>
              <a:gd name="connsiteY3" fmla="*/ 1629321 h 3257568"/>
              <a:gd name="connsiteX4" fmla="*/ 2837015 w 3335588"/>
              <a:gd name="connsiteY4" fmla="*/ 2785325 h 3257568"/>
              <a:gd name="connsiteX5" fmla="*/ 1678918 w 3335588"/>
              <a:gd name="connsiteY5" fmla="*/ 3257568 h 3257568"/>
              <a:gd name="connsiteX6" fmla="*/ 519580 w 3335588"/>
              <a:gd name="connsiteY6" fmla="*/ 2786563 h 3257568"/>
              <a:gd name="connsiteX7" fmla="*/ 0 w 3335588"/>
              <a:gd name="connsiteY7" fmla="*/ 1629321 h 3257568"/>
              <a:gd name="connsiteX8" fmla="*/ 528596 w 3335588"/>
              <a:gd name="connsiteY8" fmla="*/ 481077 h 3257568"/>
              <a:gd name="connsiteX9" fmla="*/ 1678918 w 3335588"/>
              <a:gd name="connsiteY9" fmla="*/ 0 h 325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35588" h="3257568">
                <a:moveTo>
                  <a:pt x="1678918" y="0"/>
                </a:moveTo>
                <a:cubicBezTo>
                  <a:pt x="2135722" y="0"/>
                  <a:pt x="2549269" y="162891"/>
                  <a:pt x="2848595" y="461675"/>
                </a:cubicBezTo>
                <a:cubicBezTo>
                  <a:pt x="3147920" y="760460"/>
                  <a:pt x="3335505" y="1173342"/>
                  <a:pt x="3335505" y="1629238"/>
                </a:cubicBezTo>
                <a:lnTo>
                  <a:pt x="3335588" y="1629321"/>
                </a:lnTo>
                <a:cubicBezTo>
                  <a:pt x="3335588" y="2085299"/>
                  <a:pt x="3136423" y="2486541"/>
                  <a:pt x="2837015" y="2785325"/>
                </a:cubicBezTo>
                <a:cubicBezTo>
                  <a:pt x="2537690" y="3084110"/>
                  <a:pt x="2135722" y="3257568"/>
                  <a:pt x="1678918" y="3257568"/>
                </a:cubicBezTo>
                <a:cubicBezTo>
                  <a:pt x="1222114" y="3257568"/>
                  <a:pt x="818906" y="3085348"/>
                  <a:pt x="519580" y="2786563"/>
                </a:cubicBezTo>
                <a:cubicBezTo>
                  <a:pt x="220255" y="2487697"/>
                  <a:pt x="0" y="2085299"/>
                  <a:pt x="0" y="1629321"/>
                </a:cubicBezTo>
                <a:cubicBezTo>
                  <a:pt x="0" y="1173342"/>
                  <a:pt x="229270" y="779861"/>
                  <a:pt x="528596" y="481077"/>
                </a:cubicBezTo>
                <a:cubicBezTo>
                  <a:pt x="827921" y="182292"/>
                  <a:pt x="1222114" y="0"/>
                  <a:pt x="1678918" y="0"/>
                </a:cubicBezTo>
                <a:close/>
              </a:path>
            </a:pathLst>
          </a:custGeom>
          <a:solidFill>
            <a:schemeClr val="tx1">
              <a:lumMod val="20000"/>
              <a:lumOff val="80000"/>
            </a:schemeClr>
          </a:solidFill>
        </p:spPr>
        <p:txBody>
          <a:bodyPr wrap="square" tIns="396000">
            <a:noAutofit/>
          </a:bodyPr>
          <a:lstStyle>
            <a:lvl1pPr marL="0" indent="0" algn="ctr">
              <a:buNone/>
              <a:defRPr/>
            </a:lvl1pPr>
          </a:lstStyle>
          <a:p>
            <a:r>
              <a:rPr lang="en-US"/>
              <a:t>Click icon to add picture</a:t>
            </a:r>
            <a:endParaRPr lang="en-GB"/>
          </a:p>
        </p:txBody>
      </p:sp>
      <p:sp>
        <p:nvSpPr>
          <p:cNvPr id="2" name="Title 1"/>
          <p:cNvSpPr>
            <a:spLocks noGrp="1"/>
          </p:cNvSpPr>
          <p:nvPr>
            <p:ph type="title" hasCustomPrompt="1"/>
          </p:nvPr>
        </p:nvSpPr>
        <p:spPr>
          <a:xfrm>
            <a:off x="580293" y="548219"/>
            <a:ext cx="11035975" cy="1036965"/>
          </a:xfrm>
        </p:spPr>
        <p:txBody>
          <a:bodyPr/>
          <a:lstStyle/>
          <a:p>
            <a:r>
              <a:rPr lang="en-GB"/>
              <a:t>Click to add title</a:t>
            </a:r>
          </a:p>
        </p:txBody>
      </p:sp>
      <p:sp>
        <p:nvSpPr>
          <p:cNvPr id="3" name="Content Placeholder 2"/>
          <p:cNvSpPr>
            <a:spLocks noGrp="1"/>
          </p:cNvSpPr>
          <p:nvPr>
            <p:ph idx="1" hasCustomPrompt="1"/>
          </p:nvPr>
        </p:nvSpPr>
        <p:spPr>
          <a:xfrm>
            <a:off x="5277695" y="1701802"/>
            <a:ext cx="6338572" cy="4366684"/>
          </a:xfrm>
        </p:spPr>
        <p:txBody>
          <a:bodyPr/>
          <a:lstStyle>
            <a:lvl1pPr>
              <a:defRPr/>
            </a:lvl1pPr>
          </a:lstStyle>
          <a:p>
            <a:pPr lvl="0"/>
            <a:r>
              <a:rPr lang="en-GB"/>
              <a:t>Click to add text or object</a:t>
            </a:r>
          </a:p>
          <a:p>
            <a:pPr lvl="1"/>
            <a:r>
              <a:rPr lang="en-GB"/>
              <a:t>Text level 2</a:t>
            </a:r>
          </a:p>
          <a:p>
            <a:pPr lvl="2"/>
            <a:r>
              <a:rPr lang="en-GB"/>
              <a:t>Text level 3</a:t>
            </a:r>
          </a:p>
          <a:p>
            <a:pPr lvl="3"/>
            <a:r>
              <a:rPr lang="en-GB"/>
              <a:t>Text level 4</a:t>
            </a:r>
          </a:p>
          <a:p>
            <a:pPr lvl="4"/>
            <a:r>
              <a:rPr lang="en-GB"/>
              <a:t>Text level 5</a:t>
            </a:r>
          </a:p>
        </p:txBody>
      </p:sp>
      <p:sp>
        <p:nvSpPr>
          <p:cNvPr id="4" name="Date Placeholder 3"/>
          <p:cNvSpPr>
            <a:spLocks noGrp="1"/>
          </p:cNvSpPr>
          <p:nvPr>
            <p:ph type="dt" sz="half" idx="10"/>
          </p:nvPr>
        </p:nvSpPr>
        <p:spPr>
          <a:xfrm>
            <a:off x="10183135" y="6491400"/>
            <a:ext cx="512962" cy="102657"/>
          </a:xfrm>
        </p:spPr>
        <p:txBody>
          <a:bodyPr/>
          <a:lstStyle/>
          <a:p>
            <a:fld id="{763B6CFB-38FF-46D0-9FAE-208D593911E0}" type="datetime1">
              <a:rPr lang="en-GB" smtClean="0"/>
              <a:t>18/04/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Tree>
    <p:extLst>
      <p:ext uri="{BB962C8B-B14F-4D97-AF65-F5344CB8AC3E}">
        <p14:creationId xmlns:p14="http://schemas.microsoft.com/office/powerpoint/2010/main" val="3094761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object, image left - 4">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C3F007B-22A5-FE4A-0521-0AF0B1BD41B2}"/>
              </a:ext>
            </a:extLst>
          </p:cNvPr>
          <p:cNvSpPr/>
          <p:nvPr userDrawn="1"/>
        </p:nvSpPr>
        <p:spPr>
          <a:xfrm>
            <a:off x="0" y="2"/>
            <a:ext cx="12192000" cy="6068484"/>
          </a:xfrm>
          <a:prstGeom prst="rect">
            <a:avLst/>
          </a:prstGeom>
          <a:solidFill>
            <a:srgbClr val="EEF3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2000"/>
              </a:lnSpc>
            </a:pPr>
            <a:endParaRPr lang="en-GB" sz="1867"/>
          </a:p>
        </p:txBody>
      </p:sp>
      <p:pic>
        <p:nvPicPr>
          <p:cNvPr id="15" name="Graphic 14">
            <a:extLst>
              <a:ext uri="{FF2B5EF4-FFF2-40B4-BE49-F238E27FC236}">
                <a16:creationId xmlns:a16="http://schemas.microsoft.com/office/drawing/2014/main" id="{B499055B-F162-13F2-1FDB-A6B57233D6A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0292" y="1723200"/>
            <a:ext cx="4205069" cy="4106712"/>
          </a:xfrm>
          <a:prstGeom prst="rect">
            <a:avLst/>
          </a:prstGeom>
        </p:spPr>
      </p:pic>
      <p:sp>
        <p:nvSpPr>
          <p:cNvPr id="2" name="Title 1"/>
          <p:cNvSpPr>
            <a:spLocks noGrp="1"/>
          </p:cNvSpPr>
          <p:nvPr>
            <p:ph type="title" hasCustomPrompt="1"/>
          </p:nvPr>
        </p:nvSpPr>
        <p:spPr>
          <a:xfrm>
            <a:off x="580293" y="548219"/>
            <a:ext cx="11035975" cy="1036965"/>
          </a:xfrm>
        </p:spPr>
        <p:txBody>
          <a:bodyPr/>
          <a:lstStyle/>
          <a:p>
            <a:r>
              <a:rPr lang="en-GB"/>
              <a:t>Click to add title</a:t>
            </a:r>
          </a:p>
        </p:txBody>
      </p:sp>
      <p:sp>
        <p:nvSpPr>
          <p:cNvPr id="3" name="Content Placeholder 2"/>
          <p:cNvSpPr>
            <a:spLocks noGrp="1"/>
          </p:cNvSpPr>
          <p:nvPr>
            <p:ph idx="1" hasCustomPrompt="1"/>
          </p:nvPr>
        </p:nvSpPr>
        <p:spPr>
          <a:xfrm>
            <a:off x="5277695" y="1701802"/>
            <a:ext cx="6338572" cy="4366684"/>
          </a:xfrm>
        </p:spPr>
        <p:txBody>
          <a:bodyPr/>
          <a:lstStyle>
            <a:lvl1pPr>
              <a:defRPr/>
            </a:lvl1pPr>
          </a:lstStyle>
          <a:p>
            <a:pPr lvl="0"/>
            <a:r>
              <a:rPr lang="en-GB"/>
              <a:t>Click to add text or object</a:t>
            </a:r>
          </a:p>
          <a:p>
            <a:pPr lvl="1"/>
            <a:r>
              <a:rPr lang="en-GB"/>
              <a:t>Text level 2</a:t>
            </a:r>
          </a:p>
          <a:p>
            <a:pPr lvl="2"/>
            <a:r>
              <a:rPr lang="en-GB"/>
              <a:t>Text level 3</a:t>
            </a:r>
          </a:p>
          <a:p>
            <a:pPr lvl="3"/>
            <a:r>
              <a:rPr lang="en-GB"/>
              <a:t>Text level 4</a:t>
            </a:r>
          </a:p>
          <a:p>
            <a:pPr lvl="4"/>
            <a:r>
              <a:rPr lang="en-GB"/>
              <a:t>Text level 5</a:t>
            </a:r>
          </a:p>
        </p:txBody>
      </p:sp>
      <p:sp>
        <p:nvSpPr>
          <p:cNvPr id="4" name="Date Placeholder 3"/>
          <p:cNvSpPr>
            <a:spLocks noGrp="1"/>
          </p:cNvSpPr>
          <p:nvPr>
            <p:ph type="dt" sz="half" idx="10"/>
          </p:nvPr>
        </p:nvSpPr>
        <p:spPr>
          <a:xfrm>
            <a:off x="10183135" y="6491400"/>
            <a:ext cx="512962" cy="102657"/>
          </a:xfrm>
        </p:spPr>
        <p:txBody>
          <a:bodyPr/>
          <a:lstStyle/>
          <a:p>
            <a:fld id="{24ED49A8-BFFB-4223-B58B-C17F3546F460}" type="datetime1">
              <a:rPr lang="en-GB" smtClean="0"/>
              <a:t>18/04/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16" name="Picture Placeholder 15">
            <a:extLst>
              <a:ext uri="{FF2B5EF4-FFF2-40B4-BE49-F238E27FC236}">
                <a16:creationId xmlns:a16="http://schemas.microsoft.com/office/drawing/2014/main" id="{865AA58E-D40A-0313-6154-7A140A71FE56}"/>
              </a:ext>
            </a:extLst>
          </p:cNvPr>
          <p:cNvSpPr>
            <a:spLocks noGrp="1" noChangeAspect="1"/>
          </p:cNvSpPr>
          <p:nvPr>
            <p:ph type="pic" sz="quarter" idx="14"/>
          </p:nvPr>
        </p:nvSpPr>
        <p:spPr>
          <a:xfrm>
            <a:off x="754281" y="1893119"/>
            <a:ext cx="3857095" cy="3766876"/>
          </a:xfrm>
          <a:custGeom>
            <a:avLst/>
            <a:gdLst>
              <a:gd name="connsiteX0" fmla="*/ 1678918 w 3335588"/>
              <a:gd name="connsiteY0" fmla="*/ 0 h 3257568"/>
              <a:gd name="connsiteX1" fmla="*/ 2848595 w 3335588"/>
              <a:gd name="connsiteY1" fmla="*/ 461675 h 3257568"/>
              <a:gd name="connsiteX2" fmla="*/ 3335505 w 3335588"/>
              <a:gd name="connsiteY2" fmla="*/ 1629238 h 3257568"/>
              <a:gd name="connsiteX3" fmla="*/ 3335588 w 3335588"/>
              <a:gd name="connsiteY3" fmla="*/ 1629321 h 3257568"/>
              <a:gd name="connsiteX4" fmla="*/ 2837015 w 3335588"/>
              <a:gd name="connsiteY4" fmla="*/ 2785325 h 3257568"/>
              <a:gd name="connsiteX5" fmla="*/ 1678918 w 3335588"/>
              <a:gd name="connsiteY5" fmla="*/ 3257568 h 3257568"/>
              <a:gd name="connsiteX6" fmla="*/ 519580 w 3335588"/>
              <a:gd name="connsiteY6" fmla="*/ 2786563 h 3257568"/>
              <a:gd name="connsiteX7" fmla="*/ 0 w 3335588"/>
              <a:gd name="connsiteY7" fmla="*/ 1629321 h 3257568"/>
              <a:gd name="connsiteX8" fmla="*/ 528596 w 3335588"/>
              <a:gd name="connsiteY8" fmla="*/ 481077 h 3257568"/>
              <a:gd name="connsiteX9" fmla="*/ 1678918 w 3335588"/>
              <a:gd name="connsiteY9" fmla="*/ 0 h 325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35588" h="3257568">
                <a:moveTo>
                  <a:pt x="1678918" y="0"/>
                </a:moveTo>
                <a:cubicBezTo>
                  <a:pt x="2135722" y="0"/>
                  <a:pt x="2549269" y="162891"/>
                  <a:pt x="2848595" y="461675"/>
                </a:cubicBezTo>
                <a:cubicBezTo>
                  <a:pt x="3147920" y="760460"/>
                  <a:pt x="3335505" y="1173342"/>
                  <a:pt x="3335505" y="1629238"/>
                </a:cubicBezTo>
                <a:lnTo>
                  <a:pt x="3335588" y="1629321"/>
                </a:lnTo>
                <a:cubicBezTo>
                  <a:pt x="3335588" y="2085299"/>
                  <a:pt x="3136423" y="2486541"/>
                  <a:pt x="2837015" y="2785325"/>
                </a:cubicBezTo>
                <a:cubicBezTo>
                  <a:pt x="2537690" y="3084110"/>
                  <a:pt x="2135722" y="3257568"/>
                  <a:pt x="1678918" y="3257568"/>
                </a:cubicBezTo>
                <a:cubicBezTo>
                  <a:pt x="1222114" y="3257568"/>
                  <a:pt x="818906" y="3085348"/>
                  <a:pt x="519580" y="2786563"/>
                </a:cubicBezTo>
                <a:cubicBezTo>
                  <a:pt x="220255" y="2487697"/>
                  <a:pt x="0" y="2085299"/>
                  <a:pt x="0" y="1629321"/>
                </a:cubicBezTo>
                <a:cubicBezTo>
                  <a:pt x="0" y="1173342"/>
                  <a:pt x="229270" y="779861"/>
                  <a:pt x="528596" y="481077"/>
                </a:cubicBezTo>
                <a:cubicBezTo>
                  <a:pt x="827921" y="182292"/>
                  <a:pt x="1222114" y="0"/>
                  <a:pt x="1678918" y="0"/>
                </a:cubicBezTo>
                <a:close/>
              </a:path>
            </a:pathLst>
          </a:custGeom>
          <a:solidFill>
            <a:schemeClr val="tx1">
              <a:lumMod val="20000"/>
              <a:lumOff val="80000"/>
            </a:schemeClr>
          </a:solidFill>
        </p:spPr>
        <p:txBody>
          <a:bodyPr wrap="square" tIns="396000">
            <a:noAutofit/>
          </a:bodyPr>
          <a:lstStyle>
            <a:lvl1pPr marL="0" indent="0" algn="ctr">
              <a:buNone/>
              <a:defRPr/>
            </a:lvl1pPr>
          </a:lstStyle>
          <a:p>
            <a:r>
              <a:rPr lang="en-US"/>
              <a:t>Click icon to add picture</a:t>
            </a:r>
            <a:endParaRPr lang="en-GB"/>
          </a:p>
        </p:txBody>
      </p:sp>
    </p:spTree>
    <p:extLst>
      <p:ext uri="{BB962C8B-B14F-4D97-AF65-F5344CB8AC3E}">
        <p14:creationId xmlns:p14="http://schemas.microsoft.com/office/powerpoint/2010/main" val="4110315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bject, image left - 5">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19C60E4-499D-5846-DA17-B2DCF1100A93}"/>
              </a:ext>
            </a:extLst>
          </p:cNvPr>
          <p:cNvSpPr>
            <a:spLocks noGrp="1"/>
          </p:cNvSpPr>
          <p:nvPr>
            <p:ph type="pic" sz="quarter" idx="14"/>
          </p:nvPr>
        </p:nvSpPr>
        <p:spPr>
          <a:xfrm>
            <a:off x="580291" y="1701802"/>
            <a:ext cx="4368000" cy="4366684"/>
          </a:xfrm>
          <a:prstGeom prst="roundRect">
            <a:avLst>
              <a:gd name="adj" fmla="val 5981"/>
            </a:avLst>
          </a:prstGeom>
          <a:solidFill>
            <a:schemeClr val="tx1">
              <a:lumMod val="20000"/>
              <a:lumOff val="80000"/>
            </a:schemeClr>
          </a:solidFill>
        </p:spPr>
        <p:txBody>
          <a:bodyPr wrap="square" tIns="396000">
            <a:noAutofit/>
          </a:bodyPr>
          <a:lstStyle>
            <a:lvl1pPr marL="0" indent="0" algn="ctr">
              <a:buNone/>
              <a:defRPr/>
            </a:lvl1pPr>
          </a:lstStyle>
          <a:p>
            <a:r>
              <a:rPr lang="en-US"/>
              <a:t>Click icon to add picture</a:t>
            </a:r>
            <a:endParaRPr lang="en-GB"/>
          </a:p>
        </p:txBody>
      </p:sp>
      <p:sp>
        <p:nvSpPr>
          <p:cNvPr id="7" name="Text Placeholder 6">
            <a:extLst>
              <a:ext uri="{FF2B5EF4-FFF2-40B4-BE49-F238E27FC236}">
                <a16:creationId xmlns:a16="http://schemas.microsoft.com/office/drawing/2014/main" id="{8D6A2074-4B23-FA44-8A54-9A181E3C48B2}"/>
              </a:ext>
            </a:extLst>
          </p:cNvPr>
          <p:cNvSpPr>
            <a:spLocks noGrp="1"/>
          </p:cNvSpPr>
          <p:nvPr>
            <p:ph type="body" sz="quarter" idx="15"/>
          </p:nvPr>
        </p:nvSpPr>
        <p:spPr>
          <a:xfrm>
            <a:off x="4459705" y="2321918"/>
            <a:ext cx="7156560" cy="3536897"/>
          </a:xfrm>
          <a:prstGeom prst="roundRect">
            <a:avLst>
              <a:gd name="adj" fmla="val 7384"/>
            </a:avLst>
          </a:prstGeom>
          <a:solidFill>
            <a:srgbClr val="74BDE9"/>
          </a:solidFill>
        </p:spPr>
        <p:txBody>
          <a:bodyPr vert="horz" lIns="180000" tIns="288000" rIns="180000" bIns="180000" rtlCol="0">
            <a:noAutofit/>
          </a:bodyPr>
          <a:lstStyle>
            <a:lvl1pPr>
              <a:buClrTx/>
              <a:defRPr lang="en-US" dirty="0" smtClean="0">
                <a:solidFill>
                  <a:schemeClr val="bg1"/>
                </a:solidFill>
              </a:defRPr>
            </a:lvl1pPr>
            <a:lvl2pPr>
              <a:buClrTx/>
              <a:defRPr lang="en-US" dirty="0" smtClean="0">
                <a:solidFill>
                  <a:schemeClr val="bg1"/>
                </a:solidFill>
              </a:defRPr>
            </a:lvl2pPr>
            <a:lvl3pPr>
              <a:buClrTx/>
              <a:defRPr lang="en-US" dirty="0" smtClean="0">
                <a:solidFill>
                  <a:schemeClr val="bg1"/>
                </a:solidFill>
              </a:defRPr>
            </a:lvl3pPr>
            <a:lvl4pPr>
              <a:buClrTx/>
              <a:defRPr lang="en-US" dirty="0" smtClean="0">
                <a:solidFill>
                  <a:schemeClr val="bg1"/>
                </a:solidFill>
              </a:defRPr>
            </a:lvl4pPr>
            <a:lvl5pPr>
              <a:buClrTx/>
              <a:defRPr lang="en-GB" dirty="0">
                <a:solidFill>
                  <a:schemeClr val="bg1"/>
                </a:solidFill>
              </a:defRPr>
            </a:lvl5pPr>
          </a:lstStyle>
          <a:p>
            <a:pPr lvl="0">
              <a:buClr>
                <a:schemeClr val="bg1"/>
              </a:buClr>
            </a:pPr>
            <a:r>
              <a:rPr lang="en-US"/>
              <a:t>Click to edit Master text styles</a:t>
            </a:r>
          </a:p>
          <a:p>
            <a:pPr lvl="1">
              <a:buClr>
                <a:schemeClr val="bg1"/>
              </a:buClr>
            </a:pPr>
            <a:r>
              <a:rPr lang="en-US"/>
              <a:t>Second level</a:t>
            </a:r>
          </a:p>
          <a:p>
            <a:pPr lvl="2">
              <a:buClr>
                <a:schemeClr val="bg1"/>
              </a:buClr>
            </a:pPr>
            <a:r>
              <a:rPr lang="en-US"/>
              <a:t>Third level</a:t>
            </a:r>
          </a:p>
          <a:p>
            <a:pPr lvl="3">
              <a:buClr>
                <a:schemeClr val="bg1"/>
              </a:buClr>
            </a:pPr>
            <a:r>
              <a:rPr lang="en-US"/>
              <a:t>Fourth level</a:t>
            </a:r>
          </a:p>
          <a:p>
            <a:pPr lvl="4">
              <a:buClr>
                <a:schemeClr val="bg1"/>
              </a:buClr>
            </a:pPr>
            <a:r>
              <a:rPr lang="en-US"/>
              <a:t>Fifth level</a:t>
            </a:r>
            <a:endParaRPr lang="en-GB"/>
          </a:p>
        </p:txBody>
      </p:sp>
      <p:sp>
        <p:nvSpPr>
          <p:cNvPr id="2" name="Title 1"/>
          <p:cNvSpPr>
            <a:spLocks noGrp="1"/>
          </p:cNvSpPr>
          <p:nvPr>
            <p:ph type="title" hasCustomPrompt="1"/>
          </p:nvPr>
        </p:nvSpPr>
        <p:spPr>
          <a:xfrm>
            <a:off x="580293" y="548219"/>
            <a:ext cx="11035975" cy="1036965"/>
          </a:xfrm>
        </p:spPr>
        <p:txBody>
          <a:bodyPr/>
          <a:lstStyle/>
          <a:p>
            <a:r>
              <a:rPr lang="en-GB"/>
              <a:t>Click to add title</a:t>
            </a:r>
          </a:p>
        </p:txBody>
      </p:sp>
      <p:sp>
        <p:nvSpPr>
          <p:cNvPr id="4" name="Date Placeholder 3"/>
          <p:cNvSpPr>
            <a:spLocks noGrp="1"/>
          </p:cNvSpPr>
          <p:nvPr>
            <p:ph type="dt" sz="half" idx="10"/>
          </p:nvPr>
        </p:nvSpPr>
        <p:spPr>
          <a:xfrm>
            <a:off x="10183135" y="6491400"/>
            <a:ext cx="512962" cy="102657"/>
          </a:xfrm>
        </p:spPr>
        <p:txBody>
          <a:bodyPr/>
          <a:lstStyle/>
          <a:p>
            <a:fld id="{348E600B-2374-4B93-98BF-D5F15DD1994E}" type="datetime1">
              <a:rPr lang="en-GB" smtClean="0"/>
              <a:t>18/04/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Tree>
    <p:extLst>
      <p:ext uri="{BB962C8B-B14F-4D97-AF65-F5344CB8AC3E}">
        <p14:creationId xmlns:p14="http://schemas.microsoft.com/office/powerpoint/2010/main" val="2589618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itle, object, image right -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0293" y="548219"/>
            <a:ext cx="11035975" cy="1036965"/>
          </a:xfrm>
        </p:spPr>
        <p:txBody>
          <a:bodyPr/>
          <a:lstStyle/>
          <a:p>
            <a:r>
              <a:rPr lang="en-GB"/>
              <a:t>Click to add title</a:t>
            </a:r>
          </a:p>
        </p:txBody>
      </p:sp>
      <p:sp>
        <p:nvSpPr>
          <p:cNvPr id="3" name="Content Placeholder 2"/>
          <p:cNvSpPr>
            <a:spLocks noGrp="1"/>
          </p:cNvSpPr>
          <p:nvPr>
            <p:ph idx="1" hasCustomPrompt="1"/>
          </p:nvPr>
        </p:nvSpPr>
        <p:spPr>
          <a:xfrm>
            <a:off x="580292" y="1701802"/>
            <a:ext cx="7898035" cy="4366684"/>
          </a:xfrm>
        </p:spPr>
        <p:txBody>
          <a:bodyPr/>
          <a:lstStyle/>
          <a:p>
            <a:pPr lvl="0"/>
            <a:r>
              <a:rPr lang="en-GB"/>
              <a:t>Click to add text or object</a:t>
            </a:r>
          </a:p>
          <a:p>
            <a:pPr lvl="1"/>
            <a:r>
              <a:rPr lang="en-GB"/>
              <a:t>Text level 2</a:t>
            </a:r>
          </a:p>
          <a:p>
            <a:pPr lvl="2"/>
            <a:r>
              <a:rPr lang="en-GB"/>
              <a:t>Text level 3</a:t>
            </a:r>
          </a:p>
          <a:p>
            <a:pPr lvl="3"/>
            <a:r>
              <a:rPr lang="en-GB"/>
              <a:t>Text level 4</a:t>
            </a:r>
          </a:p>
          <a:p>
            <a:pPr lvl="4"/>
            <a:r>
              <a:rPr lang="en-GB"/>
              <a:t>Text level 5</a:t>
            </a:r>
          </a:p>
        </p:txBody>
      </p:sp>
      <p:sp>
        <p:nvSpPr>
          <p:cNvPr id="4" name="Date Placeholder 3"/>
          <p:cNvSpPr>
            <a:spLocks noGrp="1"/>
          </p:cNvSpPr>
          <p:nvPr>
            <p:ph type="dt" sz="half" idx="10"/>
          </p:nvPr>
        </p:nvSpPr>
        <p:spPr>
          <a:xfrm>
            <a:off x="10183135" y="6491400"/>
            <a:ext cx="512962" cy="102657"/>
          </a:xfrm>
        </p:spPr>
        <p:txBody>
          <a:bodyPr/>
          <a:lstStyle/>
          <a:p>
            <a:fld id="{C516CCF9-51F3-4C42-9BC5-6997D8D40BB8}" type="datetime1">
              <a:rPr lang="en-GB" smtClean="0"/>
              <a:t>18/04/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7" name="Picture Placeholder 6">
            <a:extLst>
              <a:ext uri="{FF2B5EF4-FFF2-40B4-BE49-F238E27FC236}">
                <a16:creationId xmlns:a16="http://schemas.microsoft.com/office/drawing/2014/main" id="{154D7718-D424-9E6A-7A6F-CBF6DF55AD33}"/>
              </a:ext>
            </a:extLst>
          </p:cNvPr>
          <p:cNvSpPr>
            <a:spLocks noGrp="1"/>
          </p:cNvSpPr>
          <p:nvPr>
            <p:ph type="pic" sz="quarter" idx="14"/>
          </p:nvPr>
        </p:nvSpPr>
        <p:spPr>
          <a:xfrm>
            <a:off x="8726528" y="1701802"/>
            <a:ext cx="2889739" cy="4366684"/>
          </a:xfrm>
          <a:prstGeom prst="roundRect">
            <a:avLst>
              <a:gd name="adj" fmla="val 9038"/>
            </a:avLst>
          </a:prstGeom>
          <a:solidFill>
            <a:schemeClr val="tx1">
              <a:lumMod val="20000"/>
              <a:lumOff val="80000"/>
            </a:schemeClr>
          </a:solidFill>
        </p:spPr>
        <p:txBody>
          <a:bodyPr wrap="square" tIns="396000">
            <a:noAutofit/>
          </a:bodyPr>
          <a:lstStyle>
            <a:lvl1pPr marL="0" indent="0" algn="ctr">
              <a:buNone/>
              <a:defRPr/>
            </a:lvl1pPr>
          </a:lstStyle>
          <a:p>
            <a:r>
              <a:rPr lang="en-US"/>
              <a:t>Click icon to add picture</a:t>
            </a:r>
            <a:endParaRPr lang="en-GB"/>
          </a:p>
        </p:txBody>
      </p:sp>
    </p:spTree>
    <p:extLst>
      <p:ext uri="{BB962C8B-B14F-4D97-AF65-F5344CB8AC3E}">
        <p14:creationId xmlns:p14="http://schemas.microsoft.com/office/powerpoint/2010/main" val="313888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itle, object, image right -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0293" y="548219"/>
            <a:ext cx="11035975" cy="1036965"/>
          </a:xfrm>
        </p:spPr>
        <p:txBody>
          <a:bodyPr/>
          <a:lstStyle/>
          <a:p>
            <a:r>
              <a:rPr lang="en-GB"/>
              <a:t>Click to add title</a:t>
            </a:r>
          </a:p>
        </p:txBody>
      </p:sp>
      <p:sp>
        <p:nvSpPr>
          <p:cNvPr id="3" name="Content Placeholder 2"/>
          <p:cNvSpPr>
            <a:spLocks noGrp="1"/>
          </p:cNvSpPr>
          <p:nvPr>
            <p:ph idx="1" hasCustomPrompt="1"/>
          </p:nvPr>
        </p:nvSpPr>
        <p:spPr>
          <a:xfrm>
            <a:off x="580294" y="1701802"/>
            <a:ext cx="5257804" cy="4366684"/>
          </a:xfrm>
        </p:spPr>
        <p:txBody>
          <a:bodyPr/>
          <a:lstStyle/>
          <a:p>
            <a:pPr lvl="0"/>
            <a:r>
              <a:rPr lang="en-GB"/>
              <a:t>Click to add text or object</a:t>
            </a:r>
          </a:p>
          <a:p>
            <a:pPr lvl="1"/>
            <a:r>
              <a:rPr lang="en-GB"/>
              <a:t>Text level 2</a:t>
            </a:r>
          </a:p>
          <a:p>
            <a:pPr lvl="2"/>
            <a:r>
              <a:rPr lang="en-GB"/>
              <a:t>Text level 3</a:t>
            </a:r>
          </a:p>
          <a:p>
            <a:pPr lvl="3"/>
            <a:r>
              <a:rPr lang="en-GB"/>
              <a:t>Text level 4</a:t>
            </a:r>
          </a:p>
          <a:p>
            <a:pPr lvl="4"/>
            <a:r>
              <a:rPr lang="en-GB"/>
              <a:t>Text level 5</a:t>
            </a:r>
          </a:p>
        </p:txBody>
      </p:sp>
      <p:sp>
        <p:nvSpPr>
          <p:cNvPr id="4" name="Date Placeholder 3"/>
          <p:cNvSpPr>
            <a:spLocks noGrp="1"/>
          </p:cNvSpPr>
          <p:nvPr>
            <p:ph type="dt" sz="half" idx="10"/>
          </p:nvPr>
        </p:nvSpPr>
        <p:spPr>
          <a:xfrm>
            <a:off x="10183135" y="6491400"/>
            <a:ext cx="512962" cy="102657"/>
          </a:xfrm>
        </p:spPr>
        <p:txBody>
          <a:bodyPr/>
          <a:lstStyle/>
          <a:p>
            <a:fld id="{3F68062F-C0DC-4488-9863-8E0A6F5AFD45}" type="datetime1">
              <a:rPr lang="en-GB" smtClean="0"/>
              <a:t>18/04/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7" name="Picture Placeholder 6">
            <a:extLst>
              <a:ext uri="{FF2B5EF4-FFF2-40B4-BE49-F238E27FC236}">
                <a16:creationId xmlns:a16="http://schemas.microsoft.com/office/drawing/2014/main" id="{13076E6A-DE89-C4E6-7698-98E6A236A890}"/>
              </a:ext>
            </a:extLst>
          </p:cNvPr>
          <p:cNvSpPr>
            <a:spLocks noGrp="1"/>
          </p:cNvSpPr>
          <p:nvPr>
            <p:ph type="pic" sz="quarter" idx="14"/>
          </p:nvPr>
        </p:nvSpPr>
        <p:spPr>
          <a:xfrm>
            <a:off x="6100559" y="1701802"/>
            <a:ext cx="5515708" cy="4366684"/>
          </a:xfrm>
          <a:prstGeom prst="roundRect">
            <a:avLst>
              <a:gd name="adj" fmla="val 5981"/>
            </a:avLst>
          </a:prstGeom>
          <a:solidFill>
            <a:schemeClr val="tx1">
              <a:lumMod val="20000"/>
              <a:lumOff val="80000"/>
            </a:schemeClr>
          </a:solidFill>
        </p:spPr>
        <p:txBody>
          <a:bodyPr wrap="square" tIns="396000">
            <a:noAutofit/>
          </a:bodyPr>
          <a:lstStyle>
            <a:lvl1pPr marL="0" indent="0" algn="ctr">
              <a:buNone/>
              <a:defRPr/>
            </a:lvl1pPr>
          </a:lstStyle>
          <a:p>
            <a:r>
              <a:rPr lang="en-US"/>
              <a:t>Click icon to add picture</a:t>
            </a:r>
            <a:endParaRPr lang="en-GB"/>
          </a:p>
        </p:txBody>
      </p:sp>
    </p:spTree>
    <p:extLst>
      <p:ext uri="{BB962C8B-B14F-4D97-AF65-F5344CB8AC3E}">
        <p14:creationId xmlns:p14="http://schemas.microsoft.com/office/powerpoint/2010/main" val="701369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object, image right - 3 ">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80291" y="1701802"/>
            <a:ext cx="6338572" cy="4366684"/>
          </a:xfrm>
        </p:spPr>
        <p:txBody>
          <a:bodyPr/>
          <a:lstStyle>
            <a:lvl1pPr>
              <a:defRPr/>
            </a:lvl1pPr>
          </a:lstStyle>
          <a:p>
            <a:pPr lvl="0"/>
            <a:r>
              <a:rPr lang="en-GB"/>
              <a:t>Click to add text or object</a:t>
            </a:r>
          </a:p>
          <a:p>
            <a:pPr lvl="1"/>
            <a:r>
              <a:rPr lang="en-GB"/>
              <a:t>Text level 2</a:t>
            </a:r>
          </a:p>
          <a:p>
            <a:pPr lvl="2"/>
            <a:r>
              <a:rPr lang="en-GB"/>
              <a:t>Text level 3</a:t>
            </a:r>
          </a:p>
          <a:p>
            <a:pPr lvl="3"/>
            <a:r>
              <a:rPr lang="en-GB"/>
              <a:t>Text level 4</a:t>
            </a:r>
          </a:p>
          <a:p>
            <a:pPr lvl="4"/>
            <a:r>
              <a:rPr lang="en-GB"/>
              <a:t>Text level 5</a:t>
            </a:r>
          </a:p>
        </p:txBody>
      </p:sp>
      <p:sp>
        <p:nvSpPr>
          <p:cNvPr id="2" name="Title 1"/>
          <p:cNvSpPr>
            <a:spLocks noGrp="1"/>
          </p:cNvSpPr>
          <p:nvPr>
            <p:ph type="title" hasCustomPrompt="1"/>
          </p:nvPr>
        </p:nvSpPr>
        <p:spPr>
          <a:xfrm>
            <a:off x="580293" y="548219"/>
            <a:ext cx="11035975" cy="1036965"/>
          </a:xfrm>
        </p:spPr>
        <p:txBody>
          <a:bodyPr/>
          <a:lstStyle/>
          <a:p>
            <a:r>
              <a:rPr lang="en-GB"/>
              <a:t>Click to add title</a:t>
            </a:r>
          </a:p>
        </p:txBody>
      </p:sp>
      <p:sp>
        <p:nvSpPr>
          <p:cNvPr id="4" name="Date Placeholder 3"/>
          <p:cNvSpPr>
            <a:spLocks noGrp="1"/>
          </p:cNvSpPr>
          <p:nvPr>
            <p:ph type="dt" sz="half" idx="10"/>
          </p:nvPr>
        </p:nvSpPr>
        <p:spPr>
          <a:xfrm>
            <a:off x="10183135" y="6491400"/>
            <a:ext cx="512962" cy="102657"/>
          </a:xfrm>
        </p:spPr>
        <p:txBody>
          <a:bodyPr/>
          <a:lstStyle/>
          <a:p>
            <a:fld id="{1428D893-E2B4-4E69-8AD4-7DAE50B0647A}" type="datetime1">
              <a:rPr lang="en-GB" smtClean="0"/>
              <a:t>18/04/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7" name="Picture Placeholder 6">
            <a:extLst>
              <a:ext uri="{FF2B5EF4-FFF2-40B4-BE49-F238E27FC236}">
                <a16:creationId xmlns:a16="http://schemas.microsoft.com/office/drawing/2014/main" id="{3F74E199-4F3C-1559-160C-C139F510B3BA}"/>
              </a:ext>
            </a:extLst>
          </p:cNvPr>
          <p:cNvSpPr>
            <a:spLocks noGrp="1" noChangeAspect="1"/>
          </p:cNvSpPr>
          <p:nvPr>
            <p:ph type="pic" sz="quarter" idx="14"/>
          </p:nvPr>
        </p:nvSpPr>
        <p:spPr>
          <a:xfrm>
            <a:off x="7168816" y="1725060"/>
            <a:ext cx="4447451" cy="4343424"/>
          </a:xfrm>
          <a:custGeom>
            <a:avLst/>
            <a:gdLst>
              <a:gd name="connsiteX0" fmla="*/ 1678918 w 3335588"/>
              <a:gd name="connsiteY0" fmla="*/ 0 h 3257568"/>
              <a:gd name="connsiteX1" fmla="*/ 2848595 w 3335588"/>
              <a:gd name="connsiteY1" fmla="*/ 461675 h 3257568"/>
              <a:gd name="connsiteX2" fmla="*/ 3335505 w 3335588"/>
              <a:gd name="connsiteY2" fmla="*/ 1629238 h 3257568"/>
              <a:gd name="connsiteX3" fmla="*/ 3335588 w 3335588"/>
              <a:gd name="connsiteY3" fmla="*/ 1629321 h 3257568"/>
              <a:gd name="connsiteX4" fmla="*/ 2837015 w 3335588"/>
              <a:gd name="connsiteY4" fmla="*/ 2785325 h 3257568"/>
              <a:gd name="connsiteX5" fmla="*/ 1678918 w 3335588"/>
              <a:gd name="connsiteY5" fmla="*/ 3257568 h 3257568"/>
              <a:gd name="connsiteX6" fmla="*/ 519580 w 3335588"/>
              <a:gd name="connsiteY6" fmla="*/ 2786563 h 3257568"/>
              <a:gd name="connsiteX7" fmla="*/ 0 w 3335588"/>
              <a:gd name="connsiteY7" fmla="*/ 1629321 h 3257568"/>
              <a:gd name="connsiteX8" fmla="*/ 528596 w 3335588"/>
              <a:gd name="connsiteY8" fmla="*/ 481077 h 3257568"/>
              <a:gd name="connsiteX9" fmla="*/ 1678918 w 3335588"/>
              <a:gd name="connsiteY9" fmla="*/ 0 h 325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35588" h="3257568">
                <a:moveTo>
                  <a:pt x="1678918" y="0"/>
                </a:moveTo>
                <a:cubicBezTo>
                  <a:pt x="2135722" y="0"/>
                  <a:pt x="2549269" y="162891"/>
                  <a:pt x="2848595" y="461675"/>
                </a:cubicBezTo>
                <a:cubicBezTo>
                  <a:pt x="3147920" y="760460"/>
                  <a:pt x="3335505" y="1173342"/>
                  <a:pt x="3335505" y="1629238"/>
                </a:cubicBezTo>
                <a:lnTo>
                  <a:pt x="3335588" y="1629321"/>
                </a:lnTo>
                <a:cubicBezTo>
                  <a:pt x="3335588" y="2085299"/>
                  <a:pt x="3136423" y="2486541"/>
                  <a:pt x="2837015" y="2785325"/>
                </a:cubicBezTo>
                <a:cubicBezTo>
                  <a:pt x="2537690" y="3084110"/>
                  <a:pt x="2135722" y="3257568"/>
                  <a:pt x="1678918" y="3257568"/>
                </a:cubicBezTo>
                <a:cubicBezTo>
                  <a:pt x="1222114" y="3257568"/>
                  <a:pt x="818906" y="3085348"/>
                  <a:pt x="519580" y="2786563"/>
                </a:cubicBezTo>
                <a:cubicBezTo>
                  <a:pt x="220255" y="2487697"/>
                  <a:pt x="0" y="2085299"/>
                  <a:pt x="0" y="1629321"/>
                </a:cubicBezTo>
                <a:cubicBezTo>
                  <a:pt x="0" y="1173342"/>
                  <a:pt x="229270" y="779861"/>
                  <a:pt x="528596" y="481077"/>
                </a:cubicBezTo>
                <a:cubicBezTo>
                  <a:pt x="827921" y="182292"/>
                  <a:pt x="1222114" y="0"/>
                  <a:pt x="1678918" y="0"/>
                </a:cubicBezTo>
                <a:close/>
              </a:path>
            </a:pathLst>
          </a:custGeom>
          <a:solidFill>
            <a:schemeClr val="tx1">
              <a:lumMod val="20000"/>
              <a:lumOff val="80000"/>
            </a:schemeClr>
          </a:solidFill>
        </p:spPr>
        <p:txBody>
          <a:bodyPr wrap="square" tIns="396000">
            <a:noAutofit/>
          </a:bodyPr>
          <a:lstStyle>
            <a:lvl1pPr marL="0" indent="0" algn="ctr">
              <a:buNone/>
              <a:defRPr/>
            </a:lvl1pPr>
          </a:lstStyle>
          <a:p>
            <a:r>
              <a:rPr lang="en-US"/>
              <a:t>Click icon to add picture</a:t>
            </a:r>
            <a:endParaRPr lang="en-GB"/>
          </a:p>
        </p:txBody>
      </p:sp>
    </p:spTree>
    <p:extLst>
      <p:ext uri="{BB962C8B-B14F-4D97-AF65-F5344CB8AC3E}">
        <p14:creationId xmlns:p14="http://schemas.microsoft.com/office/powerpoint/2010/main" val="2722439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bject, image right - 4 ">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C3F007B-22A5-FE4A-0521-0AF0B1BD41B2}"/>
              </a:ext>
            </a:extLst>
          </p:cNvPr>
          <p:cNvSpPr/>
          <p:nvPr userDrawn="1"/>
        </p:nvSpPr>
        <p:spPr>
          <a:xfrm>
            <a:off x="0" y="2"/>
            <a:ext cx="12192000" cy="6068484"/>
          </a:xfrm>
          <a:prstGeom prst="rect">
            <a:avLst/>
          </a:prstGeom>
          <a:solidFill>
            <a:srgbClr val="EEF3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2000"/>
              </a:lnSpc>
            </a:pPr>
            <a:endParaRPr lang="en-GB" sz="1867"/>
          </a:p>
        </p:txBody>
      </p:sp>
      <p:pic>
        <p:nvPicPr>
          <p:cNvPr id="15" name="Graphic 14">
            <a:extLst>
              <a:ext uri="{FF2B5EF4-FFF2-40B4-BE49-F238E27FC236}">
                <a16:creationId xmlns:a16="http://schemas.microsoft.com/office/drawing/2014/main" id="{B499055B-F162-13F2-1FDB-A6B57233D6A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411195" y="1723200"/>
            <a:ext cx="4205069" cy="4106712"/>
          </a:xfrm>
          <a:prstGeom prst="rect">
            <a:avLst/>
          </a:prstGeom>
        </p:spPr>
      </p:pic>
      <p:sp>
        <p:nvSpPr>
          <p:cNvPr id="2" name="Title 1"/>
          <p:cNvSpPr>
            <a:spLocks noGrp="1"/>
          </p:cNvSpPr>
          <p:nvPr>
            <p:ph type="title" hasCustomPrompt="1"/>
          </p:nvPr>
        </p:nvSpPr>
        <p:spPr>
          <a:xfrm>
            <a:off x="580293" y="548219"/>
            <a:ext cx="11035975" cy="1036965"/>
          </a:xfrm>
        </p:spPr>
        <p:txBody>
          <a:bodyPr/>
          <a:lstStyle/>
          <a:p>
            <a:r>
              <a:rPr lang="en-GB"/>
              <a:t>Click to add title</a:t>
            </a:r>
          </a:p>
        </p:txBody>
      </p:sp>
      <p:sp>
        <p:nvSpPr>
          <p:cNvPr id="3" name="Content Placeholder 2"/>
          <p:cNvSpPr>
            <a:spLocks noGrp="1"/>
          </p:cNvSpPr>
          <p:nvPr>
            <p:ph idx="1" hasCustomPrompt="1"/>
          </p:nvPr>
        </p:nvSpPr>
        <p:spPr>
          <a:xfrm>
            <a:off x="580291" y="1701802"/>
            <a:ext cx="6338572" cy="4366684"/>
          </a:xfrm>
        </p:spPr>
        <p:txBody>
          <a:bodyPr/>
          <a:lstStyle>
            <a:lvl1pPr>
              <a:defRPr/>
            </a:lvl1pPr>
          </a:lstStyle>
          <a:p>
            <a:pPr lvl="0"/>
            <a:r>
              <a:rPr lang="en-GB"/>
              <a:t>Click to add text or object</a:t>
            </a:r>
          </a:p>
          <a:p>
            <a:pPr lvl="1"/>
            <a:r>
              <a:rPr lang="en-GB"/>
              <a:t>Text level 2</a:t>
            </a:r>
          </a:p>
          <a:p>
            <a:pPr lvl="2"/>
            <a:r>
              <a:rPr lang="en-GB"/>
              <a:t>Text level 3</a:t>
            </a:r>
          </a:p>
          <a:p>
            <a:pPr lvl="3"/>
            <a:r>
              <a:rPr lang="en-GB"/>
              <a:t>Text level 4</a:t>
            </a:r>
          </a:p>
          <a:p>
            <a:pPr lvl="4"/>
            <a:r>
              <a:rPr lang="en-GB"/>
              <a:t>Text level 5</a:t>
            </a:r>
          </a:p>
        </p:txBody>
      </p:sp>
      <p:sp>
        <p:nvSpPr>
          <p:cNvPr id="4" name="Date Placeholder 3"/>
          <p:cNvSpPr>
            <a:spLocks noGrp="1"/>
          </p:cNvSpPr>
          <p:nvPr>
            <p:ph type="dt" sz="half" idx="10"/>
          </p:nvPr>
        </p:nvSpPr>
        <p:spPr>
          <a:xfrm>
            <a:off x="10183135" y="6491400"/>
            <a:ext cx="512962" cy="102657"/>
          </a:xfrm>
        </p:spPr>
        <p:txBody>
          <a:bodyPr/>
          <a:lstStyle/>
          <a:p>
            <a:fld id="{6F3AAFF5-E54F-4739-A69F-27FD153790D9}" type="datetime1">
              <a:rPr lang="en-GB" smtClean="0"/>
              <a:t>18/04/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16" name="Picture Placeholder 15">
            <a:extLst>
              <a:ext uri="{FF2B5EF4-FFF2-40B4-BE49-F238E27FC236}">
                <a16:creationId xmlns:a16="http://schemas.microsoft.com/office/drawing/2014/main" id="{865AA58E-D40A-0313-6154-7A140A71FE56}"/>
              </a:ext>
            </a:extLst>
          </p:cNvPr>
          <p:cNvSpPr>
            <a:spLocks noGrp="1" noChangeAspect="1"/>
          </p:cNvSpPr>
          <p:nvPr>
            <p:ph type="pic" sz="quarter" idx="14"/>
          </p:nvPr>
        </p:nvSpPr>
        <p:spPr>
          <a:xfrm>
            <a:off x="7585183" y="1893119"/>
            <a:ext cx="3857095" cy="3766876"/>
          </a:xfrm>
          <a:custGeom>
            <a:avLst/>
            <a:gdLst>
              <a:gd name="connsiteX0" fmla="*/ 1678918 w 3335588"/>
              <a:gd name="connsiteY0" fmla="*/ 0 h 3257568"/>
              <a:gd name="connsiteX1" fmla="*/ 2848595 w 3335588"/>
              <a:gd name="connsiteY1" fmla="*/ 461675 h 3257568"/>
              <a:gd name="connsiteX2" fmla="*/ 3335505 w 3335588"/>
              <a:gd name="connsiteY2" fmla="*/ 1629238 h 3257568"/>
              <a:gd name="connsiteX3" fmla="*/ 3335588 w 3335588"/>
              <a:gd name="connsiteY3" fmla="*/ 1629321 h 3257568"/>
              <a:gd name="connsiteX4" fmla="*/ 2837015 w 3335588"/>
              <a:gd name="connsiteY4" fmla="*/ 2785325 h 3257568"/>
              <a:gd name="connsiteX5" fmla="*/ 1678918 w 3335588"/>
              <a:gd name="connsiteY5" fmla="*/ 3257568 h 3257568"/>
              <a:gd name="connsiteX6" fmla="*/ 519580 w 3335588"/>
              <a:gd name="connsiteY6" fmla="*/ 2786563 h 3257568"/>
              <a:gd name="connsiteX7" fmla="*/ 0 w 3335588"/>
              <a:gd name="connsiteY7" fmla="*/ 1629321 h 3257568"/>
              <a:gd name="connsiteX8" fmla="*/ 528596 w 3335588"/>
              <a:gd name="connsiteY8" fmla="*/ 481077 h 3257568"/>
              <a:gd name="connsiteX9" fmla="*/ 1678918 w 3335588"/>
              <a:gd name="connsiteY9" fmla="*/ 0 h 325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35588" h="3257568">
                <a:moveTo>
                  <a:pt x="1678918" y="0"/>
                </a:moveTo>
                <a:cubicBezTo>
                  <a:pt x="2135722" y="0"/>
                  <a:pt x="2549269" y="162891"/>
                  <a:pt x="2848595" y="461675"/>
                </a:cubicBezTo>
                <a:cubicBezTo>
                  <a:pt x="3147920" y="760460"/>
                  <a:pt x="3335505" y="1173342"/>
                  <a:pt x="3335505" y="1629238"/>
                </a:cubicBezTo>
                <a:lnTo>
                  <a:pt x="3335588" y="1629321"/>
                </a:lnTo>
                <a:cubicBezTo>
                  <a:pt x="3335588" y="2085299"/>
                  <a:pt x="3136423" y="2486541"/>
                  <a:pt x="2837015" y="2785325"/>
                </a:cubicBezTo>
                <a:cubicBezTo>
                  <a:pt x="2537690" y="3084110"/>
                  <a:pt x="2135722" y="3257568"/>
                  <a:pt x="1678918" y="3257568"/>
                </a:cubicBezTo>
                <a:cubicBezTo>
                  <a:pt x="1222114" y="3257568"/>
                  <a:pt x="818906" y="3085348"/>
                  <a:pt x="519580" y="2786563"/>
                </a:cubicBezTo>
                <a:cubicBezTo>
                  <a:pt x="220255" y="2487697"/>
                  <a:pt x="0" y="2085299"/>
                  <a:pt x="0" y="1629321"/>
                </a:cubicBezTo>
                <a:cubicBezTo>
                  <a:pt x="0" y="1173342"/>
                  <a:pt x="229270" y="779861"/>
                  <a:pt x="528596" y="481077"/>
                </a:cubicBezTo>
                <a:cubicBezTo>
                  <a:pt x="827921" y="182292"/>
                  <a:pt x="1222114" y="0"/>
                  <a:pt x="1678918" y="0"/>
                </a:cubicBezTo>
                <a:close/>
              </a:path>
            </a:pathLst>
          </a:custGeom>
          <a:solidFill>
            <a:schemeClr val="tx1">
              <a:lumMod val="20000"/>
              <a:lumOff val="80000"/>
            </a:schemeClr>
          </a:solidFill>
        </p:spPr>
        <p:txBody>
          <a:bodyPr wrap="square" tIns="396000">
            <a:noAutofit/>
          </a:bodyPr>
          <a:lstStyle>
            <a:lvl1pPr marL="0" indent="0" algn="ctr">
              <a:buNone/>
              <a:defRPr/>
            </a:lvl1pPr>
          </a:lstStyle>
          <a:p>
            <a:r>
              <a:rPr lang="en-US"/>
              <a:t>Click icon to add picture</a:t>
            </a:r>
            <a:endParaRPr lang="en-GB"/>
          </a:p>
        </p:txBody>
      </p:sp>
    </p:spTree>
    <p:extLst>
      <p:ext uri="{BB962C8B-B14F-4D97-AF65-F5344CB8AC3E}">
        <p14:creationId xmlns:p14="http://schemas.microsoft.com/office/powerpoint/2010/main" val="241708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bject, image right - 5">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47570C6F-7369-B94A-AC9C-A59C8DF94A07}"/>
              </a:ext>
            </a:extLst>
          </p:cNvPr>
          <p:cNvSpPr>
            <a:spLocks noGrp="1"/>
          </p:cNvSpPr>
          <p:nvPr>
            <p:ph type="pic" sz="quarter" idx="14"/>
          </p:nvPr>
        </p:nvSpPr>
        <p:spPr>
          <a:xfrm>
            <a:off x="7248265" y="1701802"/>
            <a:ext cx="4368000" cy="4366684"/>
          </a:xfrm>
          <a:prstGeom prst="roundRect">
            <a:avLst>
              <a:gd name="adj" fmla="val 5981"/>
            </a:avLst>
          </a:prstGeom>
          <a:solidFill>
            <a:schemeClr val="tx1">
              <a:lumMod val="20000"/>
              <a:lumOff val="80000"/>
            </a:schemeClr>
          </a:solidFill>
        </p:spPr>
        <p:txBody>
          <a:bodyPr wrap="square" tIns="396000">
            <a:noAutofit/>
          </a:bodyPr>
          <a:lstStyle>
            <a:lvl1pPr marL="0" indent="0" algn="ctr">
              <a:buNone/>
              <a:defRPr/>
            </a:lvl1pPr>
          </a:lstStyle>
          <a:p>
            <a:r>
              <a:rPr lang="en-US"/>
              <a:t>Click icon to add picture</a:t>
            </a:r>
            <a:endParaRPr lang="en-GB"/>
          </a:p>
        </p:txBody>
      </p:sp>
      <p:sp>
        <p:nvSpPr>
          <p:cNvPr id="7" name="Text Placeholder 6">
            <a:extLst>
              <a:ext uri="{FF2B5EF4-FFF2-40B4-BE49-F238E27FC236}">
                <a16:creationId xmlns:a16="http://schemas.microsoft.com/office/drawing/2014/main" id="{8D6A2074-4B23-FA44-8A54-9A181E3C48B2}"/>
              </a:ext>
            </a:extLst>
          </p:cNvPr>
          <p:cNvSpPr>
            <a:spLocks noGrp="1"/>
          </p:cNvSpPr>
          <p:nvPr>
            <p:ph type="body" sz="quarter" idx="15"/>
          </p:nvPr>
        </p:nvSpPr>
        <p:spPr>
          <a:xfrm>
            <a:off x="580291" y="2321918"/>
            <a:ext cx="7156560" cy="3536897"/>
          </a:xfrm>
          <a:prstGeom prst="roundRect">
            <a:avLst>
              <a:gd name="adj" fmla="val 7384"/>
            </a:avLst>
          </a:prstGeom>
          <a:solidFill>
            <a:srgbClr val="74BDE9"/>
          </a:solidFill>
        </p:spPr>
        <p:txBody>
          <a:bodyPr vert="horz" lIns="180000" tIns="288000" rIns="180000" bIns="180000" rtlCol="0">
            <a:noAutofit/>
          </a:bodyPr>
          <a:lstStyle>
            <a:lvl1pPr>
              <a:buClrTx/>
              <a:defRPr lang="en-US" dirty="0" smtClean="0">
                <a:solidFill>
                  <a:schemeClr val="bg1"/>
                </a:solidFill>
              </a:defRPr>
            </a:lvl1pPr>
            <a:lvl2pPr>
              <a:buClrTx/>
              <a:defRPr lang="en-US" dirty="0" smtClean="0">
                <a:solidFill>
                  <a:schemeClr val="bg1"/>
                </a:solidFill>
              </a:defRPr>
            </a:lvl2pPr>
            <a:lvl3pPr>
              <a:buClrTx/>
              <a:defRPr lang="en-US" dirty="0" smtClean="0">
                <a:solidFill>
                  <a:schemeClr val="bg1"/>
                </a:solidFill>
              </a:defRPr>
            </a:lvl3pPr>
            <a:lvl4pPr>
              <a:buClrTx/>
              <a:defRPr lang="en-US" dirty="0" smtClean="0">
                <a:solidFill>
                  <a:schemeClr val="bg1"/>
                </a:solidFill>
              </a:defRPr>
            </a:lvl4pPr>
            <a:lvl5pPr>
              <a:buClrTx/>
              <a:defRPr lang="en-GB" dirty="0">
                <a:solidFill>
                  <a:schemeClr val="bg1"/>
                </a:solidFill>
              </a:defRPr>
            </a:lvl5pPr>
          </a:lstStyle>
          <a:p>
            <a:pPr lvl="0">
              <a:buClr>
                <a:schemeClr val="bg1"/>
              </a:buClr>
            </a:pPr>
            <a:r>
              <a:rPr lang="en-US"/>
              <a:t>Click to edit Master text styles</a:t>
            </a:r>
          </a:p>
          <a:p>
            <a:pPr lvl="1">
              <a:buClr>
                <a:schemeClr val="bg1"/>
              </a:buClr>
            </a:pPr>
            <a:r>
              <a:rPr lang="en-US"/>
              <a:t>Second level</a:t>
            </a:r>
          </a:p>
          <a:p>
            <a:pPr lvl="2">
              <a:buClr>
                <a:schemeClr val="bg1"/>
              </a:buClr>
            </a:pPr>
            <a:r>
              <a:rPr lang="en-US"/>
              <a:t>Third level</a:t>
            </a:r>
          </a:p>
          <a:p>
            <a:pPr lvl="3">
              <a:buClr>
                <a:schemeClr val="bg1"/>
              </a:buClr>
            </a:pPr>
            <a:r>
              <a:rPr lang="en-US"/>
              <a:t>Fourth level</a:t>
            </a:r>
          </a:p>
          <a:p>
            <a:pPr lvl="4">
              <a:buClr>
                <a:schemeClr val="bg1"/>
              </a:buClr>
            </a:pPr>
            <a:r>
              <a:rPr lang="en-US"/>
              <a:t>Fifth level</a:t>
            </a:r>
            <a:endParaRPr lang="en-GB"/>
          </a:p>
        </p:txBody>
      </p:sp>
      <p:sp>
        <p:nvSpPr>
          <p:cNvPr id="2" name="Title 1"/>
          <p:cNvSpPr>
            <a:spLocks noGrp="1"/>
          </p:cNvSpPr>
          <p:nvPr>
            <p:ph type="title" hasCustomPrompt="1"/>
          </p:nvPr>
        </p:nvSpPr>
        <p:spPr>
          <a:xfrm>
            <a:off x="580293" y="548219"/>
            <a:ext cx="11035975" cy="1036965"/>
          </a:xfrm>
        </p:spPr>
        <p:txBody>
          <a:bodyPr/>
          <a:lstStyle/>
          <a:p>
            <a:r>
              <a:rPr lang="en-GB"/>
              <a:t>Click to add title</a:t>
            </a:r>
          </a:p>
        </p:txBody>
      </p:sp>
      <p:sp>
        <p:nvSpPr>
          <p:cNvPr id="4" name="Date Placeholder 3"/>
          <p:cNvSpPr>
            <a:spLocks noGrp="1"/>
          </p:cNvSpPr>
          <p:nvPr>
            <p:ph type="dt" sz="half" idx="10"/>
          </p:nvPr>
        </p:nvSpPr>
        <p:spPr>
          <a:xfrm>
            <a:off x="10183135" y="6491400"/>
            <a:ext cx="512962" cy="102657"/>
          </a:xfrm>
        </p:spPr>
        <p:txBody>
          <a:bodyPr/>
          <a:lstStyle/>
          <a:p>
            <a:fld id="{90E32774-EB3B-4F36-8592-CDF237CC3C4A}" type="datetime1">
              <a:rPr lang="en-GB" smtClean="0"/>
              <a:t>18/04/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Tree>
    <p:extLst>
      <p:ext uri="{BB962C8B-B14F-4D97-AF65-F5344CB8AC3E}">
        <p14:creationId xmlns:p14="http://schemas.microsoft.com/office/powerpoint/2010/main" val="3658608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3 images">
    <p:spTree>
      <p:nvGrpSpPr>
        <p:cNvPr id="1" name=""/>
        <p:cNvGrpSpPr/>
        <p:nvPr/>
      </p:nvGrpSpPr>
      <p:grpSpPr>
        <a:xfrm>
          <a:off x="0" y="0"/>
          <a:ext cx="0" cy="0"/>
          <a:chOff x="0" y="0"/>
          <a:chExt cx="0" cy="0"/>
        </a:xfrm>
      </p:grpSpPr>
      <p:sp>
        <p:nvSpPr>
          <p:cNvPr id="10" name="Wave 1">
            <a:extLst>
              <a:ext uri="{FF2B5EF4-FFF2-40B4-BE49-F238E27FC236}">
                <a16:creationId xmlns:a16="http://schemas.microsoft.com/office/drawing/2014/main" id="{CC81F280-5BB5-4FE0-BB05-9A8AB770E0D3}"/>
              </a:ext>
            </a:extLst>
          </p:cNvPr>
          <p:cNvSpPr>
            <a:spLocks noGrp="1"/>
          </p:cNvSpPr>
          <p:nvPr>
            <p:ph type="body" sz="quarter" idx="15" hasCustomPrompt="1"/>
          </p:nvPr>
        </p:nvSpPr>
        <p:spPr>
          <a:xfrm>
            <a:off x="580291" y="5169844"/>
            <a:ext cx="3384000" cy="898641"/>
          </a:xfrm>
          <a:noFill/>
        </p:spPr>
        <p:txBody>
          <a:bodyPr/>
          <a:lstStyle>
            <a:lvl1pPr marL="0" indent="0" algn="ctr">
              <a:spcBef>
                <a:spcPts val="0"/>
              </a:spcBef>
              <a:buNone/>
              <a:defRPr sz="1600">
                <a:solidFill>
                  <a:schemeClr val="tx1"/>
                </a:solidFill>
              </a:defRPr>
            </a:lvl1pPr>
          </a:lstStyle>
          <a:p>
            <a:pPr lvl="0"/>
            <a:r>
              <a:rPr lang="en-GB"/>
              <a:t>Add text (max. 3 lines)</a:t>
            </a:r>
          </a:p>
        </p:txBody>
      </p:sp>
      <p:sp>
        <p:nvSpPr>
          <p:cNvPr id="2" name="Title 1"/>
          <p:cNvSpPr>
            <a:spLocks noGrp="1"/>
          </p:cNvSpPr>
          <p:nvPr>
            <p:ph type="title" hasCustomPrompt="1"/>
          </p:nvPr>
        </p:nvSpPr>
        <p:spPr>
          <a:xfrm>
            <a:off x="580293" y="548219"/>
            <a:ext cx="11035975" cy="1036965"/>
          </a:xfrm>
        </p:spPr>
        <p:txBody>
          <a:bodyPr/>
          <a:lstStyle/>
          <a:p>
            <a:r>
              <a:rPr lang="en-GB"/>
              <a:t>Click to add title</a:t>
            </a:r>
          </a:p>
        </p:txBody>
      </p:sp>
      <p:sp>
        <p:nvSpPr>
          <p:cNvPr id="4" name="Date Placeholder 3"/>
          <p:cNvSpPr>
            <a:spLocks noGrp="1"/>
          </p:cNvSpPr>
          <p:nvPr>
            <p:ph type="dt" sz="half" idx="10"/>
          </p:nvPr>
        </p:nvSpPr>
        <p:spPr>
          <a:xfrm>
            <a:off x="10183135" y="6491400"/>
            <a:ext cx="512962" cy="102657"/>
          </a:xfrm>
        </p:spPr>
        <p:txBody>
          <a:bodyPr/>
          <a:lstStyle/>
          <a:p>
            <a:fld id="{E4FAD7DB-625B-47D2-9345-031691FC4CF4}" type="datetime1">
              <a:rPr lang="en-GB" smtClean="0"/>
              <a:t>18/04/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11" name="Wave 2">
            <a:extLst>
              <a:ext uri="{FF2B5EF4-FFF2-40B4-BE49-F238E27FC236}">
                <a16:creationId xmlns:a16="http://schemas.microsoft.com/office/drawing/2014/main" id="{AC5FEA4A-436F-48A1-9D31-EC97B9710853}"/>
              </a:ext>
            </a:extLst>
          </p:cNvPr>
          <p:cNvSpPr>
            <a:spLocks noGrp="1"/>
          </p:cNvSpPr>
          <p:nvPr>
            <p:ph type="body" sz="quarter" idx="17" hasCustomPrompt="1"/>
          </p:nvPr>
        </p:nvSpPr>
        <p:spPr>
          <a:xfrm flipH="1">
            <a:off x="4406279" y="5169844"/>
            <a:ext cx="3384000" cy="898641"/>
          </a:xfrm>
          <a:noFill/>
        </p:spPr>
        <p:txBody>
          <a:bodyPr/>
          <a:lstStyle>
            <a:lvl1pPr marL="0" indent="0" algn="ctr">
              <a:buNone/>
              <a:defRPr lang="en-GB" sz="1600" kern="1200" dirty="0">
                <a:solidFill>
                  <a:schemeClr val="tx1"/>
                </a:solidFill>
                <a:latin typeface="+mn-lt"/>
                <a:ea typeface="+mn-ea"/>
                <a:cs typeface="+mn-cs"/>
              </a:defRPr>
            </a:lvl1pPr>
          </a:lstStyle>
          <a:p>
            <a:pPr lvl="0"/>
            <a:r>
              <a:rPr lang="en-GB"/>
              <a:t>Add text (max. 3 lines)</a:t>
            </a:r>
          </a:p>
        </p:txBody>
      </p:sp>
      <p:sp>
        <p:nvSpPr>
          <p:cNvPr id="13" name="Wave 3">
            <a:extLst>
              <a:ext uri="{FF2B5EF4-FFF2-40B4-BE49-F238E27FC236}">
                <a16:creationId xmlns:a16="http://schemas.microsoft.com/office/drawing/2014/main" id="{CA1ECD70-AEE2-4AC6-901B-B2547A8DC9E8}"/>
              </a:ext>
            </a:extLst>
          </p:cNvPr>
          <p:cNvSpPr>
            <a:spLocks noGrp="1"/>
          </p:cNvSpPr>
          <p:nvPr>
            <p:ph type="body" sz="quarter" idx="19" hasCustomPrompt="1"/>
          </p:nvPr>
        </p:nvSpPr>
        <p:spPr>
          <a:xfrm>
            <a:off x="8232265" y="5169844"/>
            <a:ext cx="3384000" cy="898641"/>
          </a:xfrm>
          <a:noFill/>
        </p:spPr>
        <p:txBody>
          <a:bodyPr/>
          <a:lstStyle>
            <a:lvl1pPr marL="0" indent="0" algn="ctr">
              <a:buNone/>
              <a:defRPr lang="en-GB" sz="1600" kern="1200" dirty="0">
                <a:solidFill>
                  <a:schemeClr val="tx1"/>
                </a:solidFill>
                <a:latin typeface="+mn-lt"/>
                <a:ea typeface="+mn-ea"/>
                <a:cs typeface="+mn-cs"/>
              </a:defRPr>
            </a:lvl1pPr>
          </a:lstStyle>
          <a:p>
            <a:pPr lvl="0"/>
            <a:r>
              <a:rPr lang="en-GB"/>
              <a:t>Add text (max. 3 lines)</a:t>
            </a:r>
          </a:p>
        </p:txBody>
      </p:sp>
      <p:sp>
        <p:nvSpPr>
          <p:cNvPr id="8" name="Freeform: Shape 1">
            <a:extLst>
              <a:ext uri="{FF2B5EF4-FFF2-40B4-BE49-F238E27FC236}">
                <a16:creationId xmlns:a16="http://schemas.microsoft.com/office/drawing/2014/main" id="{8901BEC5-04A9-386A-5AE3-A90FBAC64C63}"/>
              </a:ext>
            </a:extLst>
          </p:cNvPr>
          <p:cNvSpPr>
            <a:spLocks noGrp="1" noChangeAspect="1"/>
          </p:cNvSpPr>
          <p:nvPr>
            <p:ph type="pic" sz="quarter" idx="14"/>
          </p:nvPr>
        </p:nvSpPr>
        <p:spPr>
          <a:xfrm>
            <a:off x="580291" y="1722099"/>
            <a:ext cx="3384000" cy="3310831"/>
          </a:xfrm>
          <a:custGeom>
            <a:avLst/>
            <a:gdLst>
              <a:gd name="connsiteX0" fmla="*/ 1678918 w 3335588"/>
              <a:gd name="connsiteY0" fmla="*/ 0 h 3257568"/>
              <a:gd name="connsiteX1" fmla="*/ 2848595 w 3335588"/>
              <a:gd name="connsiteY1" fmla="*/ 461675 h 3257568"/>
              <a:gd name="connsiteX2" fmla="*/ 3335505 w 3335588"/>
              <a:gd name="connsiteY2" fmla="*/ 1629238 h 3257568"/>
              <a:gd name="connsiteX3" fmla="*/ 3335588 w 3335588"/>
              <a:gd name="connsiteY3" fmla="*/ 1629321 h 3257568"/>
              <a:gd name="connsiteX4" fmla="*/ 2837015 w 3335588"/>
              <a:gd name="connsiteY4" fmla="*/ 2785325 h 3257568"/>
              <a:gd name="connsiteX5" fmla="*/ 1678918 w 3335588"/>
              <a:gd name="connsiteY5" fmla="*/ 3257568 h 3257568"/>
              <a:gd name="connsiteX6" fmla="*/ 519580 w 3335588"/>
              <a:gd name="connsiteY6" fmla="*/ 2786563 h 3257568"/>
              <a:gd name="connsiteX7" fmla="*/ 0 w 3335588"/>
              <a:gd name="connsiteY7" fmla="*/ 1629321 h 3257568"/>
              <a:gd name="connsiteX8" fmla="*/ 528596 w 3335588"/>
              <a:gd name="connsiteY8" fmla="*/ 481077 h 3257568"/>
              <a:gd name="connsiteX9" fmla="*/ 1678918 w 3335588"/>
              <a:gd name="connsiteY9" fmla="*/ 0 h 325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35588" h="3257568">
                <a:moveTo>
                  <a:pt x="1678918" y="0"/>
                </a:moveTo>
                <a:cubicBezTo>
                  <a:pt x="2135722" y="0"/>
                  <a:pt x="2549269" y="162891"/>
                  <a:pt x="2848595" y="461675"/>
                </a:cubicBezTo>
                <a:cubicBezTo>
                  <a:pt x="3147920" y="760460"/>
                  <a:pt x="3335505" y="1173342"/>
                  <a:pt x="3335505" y="1629238"/>
                </a:cubicBezTo>
                <a:lnTo>
                  <a:pt x="3335588" y="1629321"/>
                </a:lnTo>
                <a:cubicBezTo>
                  <a:pt x="3335588" y="2085299"/>
                  <a:pt x="3136423" y="2486541"/>
                  <a:pt x="2837015" y="2785325"/>
                </a:cubicBezTo>
                <a:cubicBezTo>
                  <a:pt x="2537690" y="3084110"/>
                  <a:pt x="2135722" y="3257568"/>
                  <a:pt x="1678918" y="3257568"/>
                </a:cubicBezTo>
                <a:cubicBezTo>
                  <a:pt x="1222114" y="3257568"/>
                  <a:pt x="818906" y="3085348"/>
                  <a:pt x="519580" y="2786563"/>
                </a:cubicBezTo>
                <a:cubicBezTo>
                  <a:pt x="220255" y="2487697"/>
                  <a:pt x="0" y="2085299"/>
                  <a:pt x="0" y="1629321"/>
                </a:cubicBezTo>
                <a:cubicBezTo>
                  <a:pt x="0" y="1173342"/>
                  <a:pt x="229270" y="779861"/>
                  <a:pt x="528596" y="481077"/>
                </a:cubicBezTo>
                <a:cubicBezTo>
                  <a:pt x="827921" y="182292"/>
                  <a:pt x="1222114" y="0"/>
                  <a:pt x="1678918" y="0"/>
                </a:cubicBezTo>
                <a:close/>
              </a:path>
            </a:pathLst>
          </a:custGeom>
          <a:solidFill>
            <a:schemeClr val="tx1">
              <a:lumMod val="20000"/>
              <a:lumOff val="80000"/>
            </a:schemeClr>
          </a:solidFill>
        </p:spPr>
        <p:txBody>
          <a:bodyPr wrap="square" tIns="396000">
            <a:noAutofit/>
          </a:bodyPr>
          <a:lstStyle>
            <a:lvl1pPr marL="0" indent="0" algn="ctr">
              <a:buNone/>
              <a:defRPr/>
            </a:lvl1pPr>
          </a:lstStyle>
          <a:p>
            <a:r>
              <a:rPr lang="en-US"/>
              <a:t>Click icon to add picture</a:t>
            </a:r>
            <a:endParaRPr lang="en-GB"/>
          </a:p>
        </p:txBody>
      </p:sp>
      <p:sp>
        <p:nvSpPr>
          <p:cNvPr id="9" name="Freeform: Shape 2">
            <a:extLst>
              <a:ext uri="{FF2B5EF4-FFF2-40B4-BE49-F238E27FC236}">
                <a16:creationId xmlns:a16="http://schemas.microsoft.com/office/drawing/2014/main" id="{0EB3E085-63F5-8581-4D7C-91095B99CDF9}"/>
              </a:ext>
            </a:extLst>
          </p:cNvPr>
          <p:cNvSpPr>
            <a:spLocks noGrp="1" noChangeAspect="1"/>
          </p:cNvSpPr>
          <p:nvPr>
            <p:ph type="pic" sz="quarter" idx="20"/>
          </p:nvPr>
        </p:nvSpPr>
        <p:spPr>
          <a:xfrm>
            <a:off x="4406279" y="1722099"/>
            <a:ext cx="3384000" cy="3310831"/>
          </a:xfrm>
          <a:custGeom>
            <a:avLst/>
            <a:gdLst>
              <a:gd name="connsiteX0" fmla="*/ 1678918 w 3335588"/>
              <a:gd name="connsiteY0" fmla="*/ 0 h 3257568"/>
              <a:gd name="connsiteX1" fmla="*/ 2848595 w 3335588"/>
              <a:gd name="connsiteY1" fmla="*/ 461675 h 3257568"/>
              <a:gd name="connsiteX2" fmla="*/ 3335505 w 3335588"/>
              <a:gd name="connsiteY2" fmla="*/ 1629238 h 3257568"/>
              <a:gd name="connsiteX3" fmla="*/ 3335588 w 3335588"/>
              <a:gd name="connsiteY3" fmla="*/ 1629321 h 3257568"/>
              <a:gd name="connsiteX4" fmla="*/ 2837015 w 3335588"/>
              <a:gd name="connsiteY4" fmla="*/ 2785325 h 3257568"/>
              <a:gd name="connsiteX5" fmla="*/ 1678918 w 3335588"/>
              <a:gd name="connsiteY5" fmla="*/ 3257568 h 3257568"/>
              <a:gd name="connsiteX6" fmla="*/ 519580 w 3335588"/>
              <a:gd name="connsiteY6" fmla="*/ 2786563 h 3257568"/>
              <a:gd name="connsiteX7" fmla="*/ 0 w 3335588"/>
              <a:gd name="connsiteY7" fmla="*/ 1629321 h 3257568"/>
              <a:gd name="connsiteX8" fmla="*/ 528596 w 3335588"/>
              <a:gd name="connsiteY8" fmla="*/ 481077 h 3257568"/>
              <a:gd name="connsiteX9" fmla="*/ 1678918 w 3335588"/>
              <a:gd name="connsiteY9" fmla="*/ 0 h 325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35588" h="3257568">
                <a:moveTo>
                  <a:pt x="1678918" y="0"/>
                </a:moveTo>
                <a:cubicBezTo>
                  <a:pt x="2135722" y="0"/>
                  <a:pt x="2549269" y="162891"/>
                  <a:pt x="2848595" y="461675"/>
                </a:cubicBezTo>
                <a:cubicBezTo>
                  <a:pt x="3147920" y="760460"/>
                  <a:pt x="3335505" y="1173342"/>
                  <a:pt x="3335505" y="1629238"/>
                </a:cubicBezTo>
                <a:lnTo>
                  <a:pt x="3335588" y="1629321"/>
                </a:lnTo>
                <a:cubicBezTo>
                  <a:pt x="3335588" y="2085299"/>
                  <a:pt x="3136423" y="2486541"/>
                  <a:pt x="2837015" y="2785325"/>
                </a:cubicBezTo>
                <a:cubicBezTo>
                  <a:pt x="2537690" y="3084110"/>
                  <a:pt x="2135722" y="3257568"/>
                  <a:pt x="1678918" y="3257568"/>
                </a:cubicBezTo>
                <a:cubicBezTo>
                  <a:pt x="1222114" y="3257568"/>
                  <a:pt x="818906" y="3085348"/>
                  <a:pt x="519580" y="2786563"/>
                </a:cubicBezTo>
                <a:cubicBezTo>
                  <a:pt x="220255" y="2487697"/>
                  <a:pt x="0" y="2085299"/>
                  <a:pt x="0" y="1629321"/>
                </a:cubicBezTo>
                <a:cubicBezTo>
                  <a:pt x="0" y="1173342"/>
                  <a:pt x="229270" y="779861"/>
                  <a:pt x="528596" y="481077"/>
                </a:cubicBezTo>
                <a:cubicBezTo>
                  <a:pt x="827921" y="182292"/>
                  <a:pt x="1222114" y="0"/>
                  <a:pt x="1678918" y="0"/>
                </a:cubicBezTo>
                <a:close/>
              </a:path>
            </a:pathLst>
          </a:custGeom>
          <a:solidFill>
            <a:schemeClr val="tx1">
              <a:lumMod val="20000"/>
              <a:lumOff val="80000"/>
            </a:schemeClr>
          </a:solidFill>
        </p:spPr>
        <p:txBody>
          <a:bodyPr wrap="square" tIns="396000">
            <a:noAutofit/>
          </a:bodyPr>
          <a:lstStyle>
            <a:lvl1pPr marL="0" indent="0" algn="ctr">
              <a:buNone/>
              <a:defRPr/>
            </a:lvl1pPr>
          </a:lstStyle>
          <a:p>
            <a:r>
              <a:rPr lang="en-US"/>
              <a:t>Click icon to add picture</a:t>
            </a:r>
            <a:endParaRPr lang="en-GB"/>
          </a:p>
        </p:txBody>
      </p:sp>
      <p:sp>
        <p:nvSpPr>
          <p:cNvPr id="12" name="Freeform: Shape 3">
            <a:extLst>
              <a:ext uri="{FF2B5EF4-FFF2-40B4-BE49-F238E27FC236}">
                <a16:creationId xmlns:a16="http://schemas.microsoft.com/office/drawing/2014/main" id="{DE769A04-C66A-AC6B-270E-0A02FE770725}"/>
              </a:ext>
            </a:extLst>
          </p:cNvPr>
          <p:cNvSpPr>
            <a:spLocks noGrp="1" noChangeAspect="1"/>
          </p:cNvSpPr>
          <p:nvPr>
            <p:ph type="pic" sz="quarter" idx="21"/>
          </p:nvPr>
        </p:nvSpPr>
        <p:spPr>
          <a:xfrm>
            <a:off x="8232265" y="1722099"/>
            <a:ext cx="3384000" cy="3310831"/>
          </a:xfrm>
          <a:custGeom>
            <a:avLst/>
            <a:gdLst>
              <a:gd name="connsiteX0" fmla="*/ 1678918 w 3335588"/>
              <a:gd name="connsiteY0" fmla="*/ 0 h 3257568"/>
              <a:gd name="connsiteX1" fmla="*/ 2848595 w 3335588"/>
              <a:gd name="connsiteY1" fmla="*/ 461675 h 3257568"/>
              <a:gd name="connsiteX2" fmla="*/ 3335505 w 3335588"/>
              <a:gd name="connsiteY2" fmla="*/ 1629238 h 3257568"/>
              <a:gd name="connsiteX3" fmla="*/ 3335588 w 3335588"/>
              <a:gd name="connsiteY3" fmla="*/ 1629321 h 3257568"/>
              <a:gd name="connsiteX4" fmla="*/ 2837015 w 3335588"/>
              <a:gd name="connsiteY4" fmla="*/ 2785325 h 3257568"/>
              <a:gd name="connsiteX5" fmla="*/ 1678918 w 3335588"/>
              <a:gd name="connsiteY5" fmla="*/ 3257568 h 3257568"/>
              <a:gd name="connsiteX6" fmla="*/ 519580 w 3335588"/>
              <a:gd name="connsiteY6" fmla="*/ 2786563 h 3257568"/>
              <a:gd name="connsiteX7" fmla="*/ 0 w 3335588"/>
              <a:gd name="connsiteY7" fmla="*/ 1629321 h 3257568"/>
              <a:gd name="connsiteX8" fmla="*/ 528596 w 3335588"/>
              <a:gd name="connsiteY8" fmla="*/ 481077 h 3257568"/>
              <a:gd name="connsiteX9" fmla="*/ 1678918 w 3335588"/>
              <a:gd name="connsiteY9" fmla="*/ 0 h 325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35588" h="3257568">
                <a:moveTo>
                  <a:pt x="1678918" y="0"/>
                </a:moveTo>
                <a:cubicBezTo>
                  <a:pt x="2135722" y="0"/>
                  <a:pt x="2549269" y="162891"/>
                  <a:pt x="2848595" y="461675"/>
                </a:cubicBezTo>
                <a:cubicBezTo>
                  <a:pt x="3147920" y="760460"/>
                  <a:pt x="3335505" y="1173342"/>
                  <a:pt x="3335505" y="1629238"/>
                </a:cubicBezTo>
                <a:lnTo>
                  <a:pt x="3335588" y="1629321"/>
                </a:lnTo>
                <a:cubicBezTo>
                  <a:pt x="3335588" y="2085299"/>
                  <a:pt x="3136423" y="2486541"/>
                  <a:pt x="2837015" y="2785325"/>
                </a:cubicBezTo>
                <a:cubicBezTo>
                  <a:pt x="2537690" y="3084110"/>
                  <a:pt x="2135722" y="3257568"/>
                  <a:pt x="1678918" y="3257568"/>
                </a:cubicBezTo>
                <a:cubicBezTo>
                  <a:pt x="1222114" y="3257568"/>
                  <a:pt x="818906" y="3085348"/>
                  <a:pt x="519580" y="2786563"/>
                </a:cubicBezTo>
                <a:cubicBezTo>
                  <a:pt x="220255" y="2487697"/>
                  <a:pt x="0" y="2085299"/>
                  <a:pt x="0" y="1629321"/>
                </a:cubicBezTo>
                <a:cubicBezTo>
                  <a:pt x="0" y="1173342"/>
                  <a:pt x="229270" y="779861"/>
                  <a:pt x="528596" y="481077"/>
                </a:cubicBezTo>
                <a:cubicBezTo>
                  <a:pt x="827921" y="182292"/>
                  <a:pt x="1222114" y="0"/>
                  <a:pt x="1678918" y="0"/>
                </a:cubicBezTo>
                <a:close/>
              </a:path>
            </a:pathLst>
          </a:custGeom>
          <a:solidFill>
            <a:schemeClr val="tx1">
              <a:lumMod val="20000"/>
              <a:lumOff val="80000"/>
            </a:schemeClr>
          </a:solidFill>
        </p:spPr>
        <p:txBody>
          <a:bodyPr wrap="square" tIns="396000">
            <a:noAutofit/>
          </a:bodyPr>
          <a:lstStyle>
            <a:lvl1pPr marL="0" indent="0" algn="ctr">
              <a:buNone/>
              <a:defRPr/>
            </a:lvl1pPr>
          </a:lstStyle>
          <a:p>
            <a:r>
              <a:rPr lang="en-US"/>
              <a:t>Click icon to add picture</a:t>
            </a:r>
            <a:endParaRPr lang="en-GB"/>
          </a:p>
        </p:txBody>
      </p:sp>
    </p:spTree>
    <p:extLst>
      <p:ext uri="{BB962C8B-B14F-4D97-AF65-F5344CB8AC3E}">
        <p14:creationId xmlns:p14="http://schemas.microsoft.com/office/powerpoint/2010/main" val="2092744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4 images">
    <p:spTree>
      <p:nvGrpSpPr>
        <p:cNvPr id="1" name=""/>
        <p:cNvGrpSpPr/>
        <p:nvPr/>
      </p:nvGrpSpPr>
      <p:grpSpPr>
        <a:xfrm>
          <a:off x="0" y="0"/>
          <a:ext cx="0" cy="0"/>
          <a:chOff x="0" y="0"/>
          <a:chExt cx="0" cy="0"/>
        </a:xfrm>
      </p:grpSpPr>
      <p:sp>
        <p:nvSpPr>
          <p:cNvPr id="10" name="Wave 1">
            <a:extLst>
              <a:ext uri="{FF2B5EF4-FFF2-40B4-BE49-F238E27FC236}">
                <a16:creationId xmlns:a16="http://schemas.microsoft.com/office/drawing/2014/main" id="{CC81F280-5BB5-4FE0-BB05-9A8AB770E0D3}"/>
              </a:ext>
            </a:extLst>
          </p:cNvPr>
          <p:cNvSpPr>
            <a:spLocks noGrp="1"/>
          </p:cNvSpPr>
          <p:nvPr>
            <p:ph type="body" sz="quarter" idx="15" hasCustomPrompt="1"/>
          </p:nvPr>
        </p:nvSpPr>
        <p:spPr>
          <a:xfrm>
            <a:off x="580291" y="4788406"/>
            <a:ext cx="2515200" cy="807657"/>
          </a:xfrm>
          <a:noFill/>
        </p:spPr>
        <p:txBody>
          <a:bodyPr>
            <a:noAutofit/>
          </a:bodyPr>
          <a:lstStyle>
            <a:lvl1pPr marL="0" indent="0" algn="ctr">
              <a:spcBef>
                <a:spcPts val="0"/>
              </a:spcBef>
              <a:buNone/>
              <a:defRPr sz="1600">
                <a:solidFill>
                  <a:schemeClr val="tx1"/>
                </a:solidFill>
              </a:defRPr>
            </a:lvl1pPr>
          </a:lstStyle>
          <a:p>
            <a:pPr lvl="0"/>
            <a:r>
              <a:rPr lang="en-GB"/>
              <a:t>Add text (max. 3 lines)</a:t>
            </a:r>
          </a:p>
        </p:txBody>
      </p:sp>
      <p:sp>
        <p:nvSpPr>
          <p:cNvPr id="2" name="Title 1"/>
          <p:cNvSpPr>
            <a:spLocks noGrp="1"/>
          </p:cNvSpPr>
          <p:nvPr>
            <p:ph type="title" hasCustomPrompt="1"/>
          </p:nvPr>
        </p:nvSpPr>
        <p:spPr>
          <a:xfrm>
            <a:off x="580293" y="548219"/>
            <a:ext cx="11035975" cy="1036965"/>
          </a:xfrm>
        </p:spPr>
        <p:txBody>
          <a:bodyPr/>
          <a:lstStyle/>
          <a:p>
            <a:r>
              <a:rPr lang="en-GB"/>
              <a:t>Click to add title</a:t>
            </a:r>
          </a:p>
        </p:txBody>
      </p:sp>
      <p:sp>
        <p:nvSpPr>
          <p:cNvPr id="4" name="Date Placeholder 3"/>
          <p:cNvSpPr>
            <a:spLocks noGrp="1"/>
          </p:cNvSpPr>
          <p:nvPr>
            <p:ph type="dt" sz="half" idx="10"/>
          </p:nvPr>
        </p:nvSpPr>
        <p:spPr>
          <a:xfrm>
            <a:off x="10183135" y="6491400"/>
            <a:ext cx="512962" cy="102657"/>
          </a:xfrm>
        </p:spPr>
        <p:txBody>
          <a:bodyPr/>
          <a:lstStyle/>
          <a:p>
            <a:fld id="{675D8150-03F8-416F-83B8-054950B81DD3}" type="datetime1">
              <a:rPr lang="en-GB" smtClean="0"/>
              <a:t>18/04/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11" name="Wave 2">
            <a:extLst>
              <a:ext uri="{FF2B5EF4-FFF2-40B4-BE49-F238E27FC236}">
                <a16:creationId xmlns:a16="http://schemas.microsoft.com/office/drawing/2014/main" id="{AC5FEA4A-436F-48A1-9D31-EC97B9710853}"/>
              </a:ext>
            </a:extLst>
          </p:cNvPr>
          <p:cNvSpPr>
            <a:spLocks noGrp="1"/>
          </p:cNvSpPr>
          <p:nvPr>
            <p:ph type="body" sz="quarter" idx="17" hasCustomPrompt="1"/>
          </p:nvPr>
        </p:nvSpPr>
        <p:spPr>
          <a:xfrm flipH="1">
            <a:off x="3420548" y="4788408"/>
            <a:ext cx="2515200" cy="807657"/>
          </a:xfrm>
          <a:noFill/>
        </p:spPr>
        <p:txBody>
          <a:bodyPr/>
          <a:lstStyle>
            <a:lvl1pPr marL="0" indent="0" algn="ctr">
              <a:spcBef>
                <a:spcPts val="0"/>
              </a:spcBef>
              <a:buNone/>
              <a:defRPr sz="1600">
                <a:solidFill>
                  <a:schemeClr val="tx1"/>
                </a:solidFill>
              </a:defRPr>
            </a:lvl1pPr>
          </a:lstStyle>
          <a:p>
            <a:pPr lvl="0"/>
            <a:r>
              <a:rPr lang="en-GB"/>
              <a:t>Add text (max. 3 lines)</a:t>
            </a:r>
          </a:p>
        </p:txBody>
      </p:sp>
      <p:sp>
        <p:nvSpPr>
          <p:cNvPr id="13" name="Wave 3">
            <a:extLst>
              <a:ext uri="{FF2B5EF4-FFF2-40B4-BE49-F238E27FC236}">
                <a16:creationId xmlns:a16="http://schemas.microsoft.com/office/drawing/2014/main" id="{CA1ECD70-AEE2-4AC6-901B-B2547A8DC9E8}"/>
              </a:ext>
            </a:extLst>
          </p:cNvPr>
          <p:cNvSpPr>
            <a:spLocks noGrp="1"/>
          </p:cNvSpPr>
          <p:nvPr>
            <p:ph type="body" sz="quarter" idx="19" hasCustomPrompt="1"/>
          </p:nvPr>
        </p:nvSpPr>
        <p:spPr>
          <a:xfrm>
            <a:off x="6260805" y="4788408"/>
            <a:ext cx="2515200" cy="807657"/>
          </a:xfrm>
          <a:noFill/>
        </p:spPr>
        <p:txBody>
          <a:bodyPr/>
          <a:lstStyle>
            <a:lvl1pPr marL="0" indent="0" algn="ctr">
              <a:spcBef>
                <a:spcPts val="0"/>
              </a:spcBef>
              <a:buNone/>
              <a:defRPr sz="1600">
                <a:solidFill>
                  <a:schemeClr val="tx1"/>
                </a:solidFill>
              </a:defRPr>
            </a:lvl1pPr>
          </a:lstStyle>
          <a:p>
            <a:pPr lvl="0"/>
            <a:r>
              <a:rPr lang="en-GB"/>
              <a:t>Add text (max. 3 lines)</a:t>
            </a:r>
          </a:p>
        </p:txBody>
      </p:sp>
      <p:sp>
        <p:nvSpPr>
          <p:cNvPr id="15" name="Wave 4">
            <a:extLst>
              <a:ext uri="{FF2B5EF4-FFF2-40B4-BE49-F238E27FC236}">
                <a16:creationId xmlns:a16="http://schemas.microsoft.com/office/drawing/2014/main" id="{6DCD51DF-91DE-4C2A-B445-D652FF68A2B3}"/>
              </a:ext>
            </a:extLst>
          </p:cNvPr>
          <p:cNvSpPr>
            <a:spLocks noGrp="1"/>
          </p:cNvSpPr>
          <p:nvPr>
            <p:ph type="body" sz="quarter" idx="21" hasCustomPrompt="1"/>
          </p:nvPr>
        </p:nvSpPr>
        <p:spPr>
          <a:xfrm>
            <a:off x="9101063" y="4788408"/>
            <a:ext cx="2515200" cy="807657"/>
          </a:xfrm>
          <a:noFill/>
        </p:spPr>
        <p:txBody>
          <a:bodyPr/>
          <a:lstStyle>
            <a:lvl1pPr marL="0" indent="0" algn="ctr">
              <a:spcBef>
                <a:spcPts val="0"/>
              </a:spcBef>
              <a:buNone/>
              <a:defRPr sz="1600">
                <a:solidFill>
                  <a:schemeClr val="tx1"/>
                </a:solidFill>
              </a:defRPr>
            </a:lvl1pPr>
          </a:lstStyle>
          <a:p>
            <a:pPr lvl="0"/>
            <a:r>
              <a:rPr lang="en-GB"/>
              <a:t>Add text (max. 3 lines)</a:t>
            </a:r>
          </a:p>
        </p:txBody>
      </p:sp>
      <p:sp>
        <p:nvSpPr>
          <p:cNvPr id="8" name="Freeform: Shape 1">
            <a:extLst>
              <a:ext uri="{FF2B5EF4-FFF2-40B4-BE49-F238E27FC236}">
                <a16:creationId xmlns:a16="http://schemas.microsoft.com/office/drawing/2014/main" id="{7335118A-F9FC-AD34-DDE7-7CDBCE453E26}"/>
              </a:ext>
            </a:extLst>
          </p:cNvPr>
          <p:cNvSpPr>
            <a:spLocks noGrp="1" noChangeAspect="1"/>
          </p:cNvSpPr>
          <p:nvPr>
            <p:ph type="pic" sz="quarter" idx="14"/>
          </p:nvPr>
        </p:nvSpPr>
        <p:spPr>
          <a:xfrm>
            <a:off x="580293" y="1979486"/>
            <a:ext cx="2587503" cy="2531556"/>
          </a:xfrm>
          <a:custGeom>
            <a:avLst/>
            <a:gdLst>
              <a:gd name="connsiteX0" fmla="*/ 1678918 w 3335588"/>
              <a:gd name="connsiteY0" fmla="*/ 0 h 3257568"/>
              <a:gd name="connsiteX1" fmla="*/ 2848595 w 3335588"/>
              <a:gd name="connsiteY1" fmla="*/ 461675 h 3257568"/>
              <a:gd name="connsiteX2" fmla="*/ 3335505 w 3335588"/>
              <a:gd name="connsiteY2" fmla="*/ 1629238 h 3257568"/>
              <a:gd name="connsiteX3" fmla="*/ 3335588 w 3335588"/>
              <a:gd name="connsiteY3" fmla="*/ 1629321 h 3257568"/>
              <a:gd name="connsiteX4" fmla="*/ 2837015 w 3335588"/>
              <a:gd name="connsiteY4" fmla="*/ 2785325 h 3257568"/>
              <a:gd name="connsiteX5" fmla="*/ 1678918 w 3335588"/>
              <a:gd name="connsiteY5" fmla="*/ 3257568 h 3257568"/>
              <a:gd name="connsiteX6" fmla="*/ 519580 w 3335588"/>
              <a:gd name="connsiteY6" fmla="*/ 2786563 h 3257568"/>
              <a:gd name="connsiteX7" fmla="*/ 0 w 3335588"/>
              <a:gd name="connsiteY7" fmla="*/ 1629321 h 3257568"/>
              <a:gd name="connsiteX8" fmla="*/ 528596 w 3335588"/>
              <a:gd name="connsiteY8" fmla="*/ 481077 h 3257568"/>
              <a:gd name="connsiteX9" fmla="*/ 1678918 w 3335588"/>
              <a:gd name="connsiteY9" fmla="*/ 0 h 325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35588" h="3257568">
                <a:moveTo>
                  <a:pt x="1678918" y="0"/>
                </a:moveTo>
                <a:cubicBezTo>
                  <a:pt x="2135722" y="0"/>
                  <a:pt x="2549269" y="162891"/>
                  <a:pt x="2848595" y="461675"/>
                </a:cubicBezTo>
                <a:cubicBezTo>
                  <a:pt x="3147920" y="760460"/>
                  <a:pt x="3335505" y="1173342"/>
                  <a:pt x="3335505" y="1629238"/>
                </a:cubicBezTo>
                <a:lnTo>
                  <a:pt x="3335588" y="1629321"/>
                </a:lnTo>
                <a:cubicBezTo>
                  <a:pt x="3335588" y="2085299"/>
                  <a:pt x="3136423" y="2486541"/>
                  <a:pt x="2837015" y="2785325"/>
                </a:cubicBezTo>
                <a:cubicBezTo>
                  <a:pt x="2537690" y="3084110"/>
                  <a:pt x="2135722" y="3257568"/>
                  <a:pt x="1678918" y="3257568"/>
                </a:cubicBezTo>
                <a:cubicBezTo>
                  <a:pt x="1222114" y="3257568"/>
                  <a:pt x="818906" y="3085348"/>
                  <a:pt x="519580" y="2786563"/>
                </a:cubicBezTo>
                <a:cubicBezTo>
                  <a:pt x="220255" y="2487697"/>
                  <a:pt x="0" y="2085299"/>
                  <a:pt x="0" y="1629321"/>
                </a:cubicBezTo>
                <a:cubicBezTo>
                  <a:pt x="0" y="1173342"/>
                  <a:pt x="229270" y="779861"/>
                  <a:pt x="528596" y="481077"/>
                </a:cubicBezTo>
                <a:cubicBezTo>
                  <a:pt x="827921" y="182292"/>
                  <a:pt x="1222114" y="0"/>
                  <a:pt x="1678918" y="0"/>
                </a:cubicBezTo>
                <a:close/>
              </a:path>
            </a:pathLst>
          </a:custGeom>
          <a:solidFill>
            <a:schemeClr val="tx1">
              <a:lumMod val="20000"/>
              <a:lumOff val="80000"/>
            </a:schemeClr>
          </a:solidFill>
        </p:spPr>
        <p:txBody>
          <a:bodyPr wrap="square" tIns="396000">
            <a:noAutofit/>
          </a:bodyPr>
          <a:lstStyle>
            <a:lvl1pPr marL="0" indent="0" algn="ctr">
              <a:buNone/>
              <a:defRPr/>
            </a:lvl1pPr>
          </a:lstStyle>
          <a:p>
            <a:r>
              <a:rPr lang="en-US"/>
              <a:t>Click icon to add picture</a:t>
            </a:r>
            <a:endParaRPr lang="en-GB"/>
          </a:p>
        </p:txBody>
      </p:sp>
      <p:sp>
        <p:nvSpPr>
          <p:cNvPr id="9" name="Freeform: Shape 2">
            <a:extLst>
              <a:ext uri="{FF2B5EF4-FFF2-40B4-BE49-F238E27FC236}">
                <a16:creationId xmlns:a16="http://schemas.microsoft.com/office/drawing/2014/main" id="{002349E9-68C7-C291-E256-D2F514A60C15}"/>
              </a:ext>
            </a:extLst>
          </p:cNvPr>
          <p:cNvSpPr>
            <a:spLocks noGrp="1" noChangeAspect="1"/>
          </p:cNvSpPr>
          <p:nvPr>
            <p:ph type="pic" sz="quarter" idx="22"/>
          </p:nvPr>
        </p:nvSpPr>
        <p:spPr>
          <a:xfrm>
            <a:off x="3396450" y="1979486"/>
            <a:ext cx="2587503" cy="2531556"/>
          </a:xfrm>
          <a:custGeom>
            <a:avLst/>
            <a:gdLst>
              <a:gd name="connsiteX0" fmla="*/ 1678918 w 3335588"/>
              <a:gd name="connsiteY0" fmla="*/ 0 h 3257568"/>
              <a:gd name="connsiteX1" fmla="*/ 2848595 w 3335588"/>
              <a:gd name="connsiteY1" fmla="*/ 461675 h 3257568"/>
              <a:gd name="connsiteX2" fmla="*/ 3335505 w 3335588"/>
              <a:gd name="connsiteY2" fmla="*/ 1629238 h 3257568"/>
              <a:gd name="connsiteX3" fmla="*/ 3335588 w 3335588"/>
              <a:gd name="connsiteY3" fmla="*/ 1629321 h 3257568"/>
              <a:gd name="connsiteX4" fmla="*/ 2837015 w 3335588"/>
              <a:gd name="connsiteY4" fmla="*/ 2785325 h 3257568"/>
              <a:gd name="connsiteX5" fmla="*/ 1678918 w 3335588"/>
              <a:gd name="connsiteY5" fmla="*/ 3257568 h 3257568"/>
              <a:gd name="connsiteX6" fmla="*/ 519580 w 3335588"/>
              <a:gd name="connsiteY6" fmla="*/ 2786563 h 3257568"/>
              <a:gd name="connsiteX7" fmla="*/ 0 w 3335588"/>
              <a:gd name="connsiteY7" fmla="*/ 1629321 h 3257568"/>
              <a:gd name="connsiteX8" fmla="*/ 528596 w 3335588"/>
              <a:gd name="connsiteY8" fmla="*/ 481077 h 3257568"/>
              <a:gd name="connsiteX9" fmla="*/ 1678918 w 3335588"/>
              <a:gd name="connsiteY9" fmla="*/ 0 h 325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35588" h="3257568">
                <a:moveTo>
                  <a:pt x="1678918" y="0"/>
                </a:moveTo>
                <a:cubicBezTo>
                  <a:pt x="2135722" y="0"/>
                  <a:pt x="2549269" y="162891"/>
                  <a:pt x="2848595" y="461675"/>
                </a:cubicBezTo>
                <a:cubicBezTo>
                  <a:pt x="3147920" y="760460"/>
                  <a:pt x="3335505" y="1173342"/>
                  <a:pt x="3335505" y="1629238"/>
                </a:cubicBezTo>
                <a:lnTo>
                  <a:pt x="3335588" y="1629321"/>
                </a:lnTo>
                <a:cubicBezTo>
                  <a:pt x="3335588" y="2085299"/>
                  <a:pt x="3136423" y="2486541"/>
                  <a:pt x="2837015" y="2785325"/>
                </a:cubicBezTo>
                <a:cubicBezTo>
                  <a:pt x="2537690" y="3084110"/>
                  <a:pt x="2135722" y="3257568"/>
                  <a:pt x="1678918" y="3257568"/>
                </a:cubicBezTo>
                <a:cubicBezTo>
                  <a:pt x="1222114" y="3257568"/>
                  <a:pt x="818906" y="3085348"/>
                  <a:pt x="519580" y="2786563"/>
                </a:cubicBezTo>
                <a:cubicBezTo>
                  <a:pt x="220255" y="2487697"/>
                  <a:pt x="0" y="2085299"/>
                  <a:pt x="0" y="1629321"/>
                </a:cubicBezTo>
                <a:cubicBezTo>
                  <a:pt x="0" y="1173342"/>
                  <a:pt x="229270" y="779861"/>
                  <a:pt x="528596" y="481077"/>
                </a:cubicBezTo>
                <a:cubicBezTo>
                  <a:pt x="827921" y="182292"/>
                  <a:pt x="1222114" y="0"/>
                  <a:pt x="1678918" y="0"/>
                </a:cubicBezTo>
                <a:close/>
              </a:path>
            </a:pathLst>
          </a:custGeom>
          <a:solidFill>
            <a:schemeClr val="tx1">
              <a:lumMod val="20000"/>
              <a:lumOff val="80000"/>
            </a:schemeClr>
          </a:solidFill>
        </p:spPr>
        <p:txBody>
          <a:bodyPr wrap="square" tIns="396000">
            <a:noAutofit/>
          </a:bodyPr>
          <a:lstStyle>
            <a:lvl1pPr marL="0" indent="0" algn="ctr">
              <a:buNone/>
              <a:defRPr/>
            </a:lvl1pPr>
          </a:lstStyle>
          <a:p>
            <a:r>
              <a:rPr lang="en-US"/>
              <a:t>Click icon to add picture</a:t>
            </a:r>
            <a:endParaRPr lang="en-GB"/>
          </a:p>
        </p:txBody>
      </p:sp>
      <p:sp>
        <p:nvSpPr>
          <p:cNvPr id="12" name="Freeform: Shape 3">
            <a:extLst>
              <a:ext uri="{FF2B5EF4-FFF2-40B4-BE49-F238E27FC236}">
                <a16:creationId xmlns:a16="http://schemas.microsoft.com/office/drawing/2014/main" id="{915C94DC-672E-9DE5-235F-348136AEBBCD}"/>
              </a:ext>
            </a:extLst>
          </p:cNvPr>
          <p:cNvSpPr>
            <a:spLocks noGrp="1" noChangeAspect="1"/>
          </p:cNvSpPr>
          <p:nvPr>
            <p:ph type="pic" sz="quarter" idx="23"/>
          </p:nvPr>
        </p:nvSpPr>
        <p:spPr>
          <a:xfrm>
            <a:off x="6212607" y="1979486"/>
            <a:ext cx="2587503" cy="2531556"/>
          </a:xfrm>
          <a:custGeom>
            <a:avLst/>
            <a:gdLst>
              <a:gd name="connsiteX0" fmla="*/ 1678918 w 3335588"/>
              <a:gd name="connsiteY0" fmla="*/ 0 h 3257568"/>
              <a:gd name="connsiteX1" fmla="*/ 2848595 w 3335588"/>
              <a:gd name="connsiteY1" fmla="*/ 461675 h 3257568"/>
              <a:gd name="connsiteX2" fmla="*/ 3335505 w 3335588"/>
              <a:gd name="connsiteY2" fmla="*/ 1629238 h 3257568"/>
              <a:gd name="connsiteX3" fmla="*/ 3335588 w 3335588"/>
              <a:gd name="connsiteY3" fmla="*/ 1629321 h 3257568"/>
              <a:gd name="connsiteX4" fmla="*/ 2837015 w 3335588"/>
              <a:gd name="connsiteY4" fmla="*/ 2785325 h 3257568"/>
              <a:gd name="connsiteX5" fmla="*/ 1678918 w 3335588"/>
              <a:gd name="connsiteY5" fmla="*/ 3257568 h 3257568"/>
              <a:gd name="connsiteX6" fmla="*/ 519580 w 3335588"/>
              <a:gd name="connsiteY6" fmla="*/ 2786563 h 3257568"/>
              <a:gd name="connsiteX7" fmla="*/ 0 w 3335588"/>
              <a:gd name="connsiteY7" fmla="*/ 1629321 h 3257568"/>
              <a:gd name="connsiteX8" fmla="*/ 528596 w 3335588"/>
              <a:gd name="connsiteY8" fmla="*/ 481077 h 3257568"/>
              <a:gd name="connsiteX9" fmla="*/ 1678918 w 3335588"/>
              <a:gd name="connsiteY9" fmla="*/ 0 h 325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35588" h="3257568">
                <a:moveTo>
                  <a:pt x="1678918" y="0"/>
                </a:moveTo>
                <a:cubicBezTo>
                  <a:pt x="2135722" y="0"/>
                  <a:pt x="2549269" y="162891"/>
                  <a:pt x="2848595" y="461675"/>
                </a:cubicBezTo>
                <a:cubicBezTo>
                  <a:pt x="3147920" y="760460"/>
                  <a:pt x="3335505" y="1173342"/>
                  <a:pt x="3335505" y="1629238"/>
                </a:cubicBezTo>
                <a:lnTo>
                  <a:pt x="3335588" y="1629321"/>
                </a:lnTo>
                <a:cubicBezTo>
                  <a:pt x="3335588" y="2085299"/>
                  <a:pt x="3136423" y="2486541"/>
                  <a:pt x="2837015" y="2785325"/>
                </a:cubicBezTo>
                <a:cubicBezTo>
                  <a:pt x="2537690" y="3084110"/>
                  <a:pt x="2135722" y="3257568"/>
                  <a:pt x="1678918" y="3257568"/>
                </a:cubicBezTo>
                <a:cubicBezTo>
                  <a:pt x="1222114" y="3257568"/>
                  <a:pt x="818906" y="3085348"/>
                  <a:pt x="519580" y="2786563"/>
                </a:cubicBezTo>
                <a:cubicBezTo>
                  <a:pt x="220255" y="2487697"/>
                  <a:pt x="0" y="2085299"/>
                  <a:pt x="0" y="1629321"/>
                </a:cubicBezTo>
                <a:cubicBezTo>
                  <a:pt x="0" y="1173342"/>
                  <a:pt x="229270" y="779861"/>
                  <a:pt x="528596" y="481077"/>
                </a:cubicBezTo>
                <a:cubicBezTo>
                  <a:pt x="827921" y="182292"/>
                  <a:pt x="1222114" y="0"/>
                  <a:pt x="1678918" y="0"/>
                </a:cubicBezTo>
                <a:close/>
              </a:path>
            </a:pathLst>
          </a:custGeom>
          <a:solidFill>
            <a:schemeClr val="tx1">
              <a:lumMod val="20000"/>
              <a:lumOff val="80000"/>
            </a:schemeClr>
          </a:solidFill>
        </p:spPr>
        <p:txBody>
          <a:bodyPr wrap="square" tIns="396000">
            <a:noAutofit/>
          </a:bodyPr>
          <a:lstStyle>
            <a:lvl1pPr marL="0" indent="0" algn="ctr">
              <a:buNone/>
              <a:defRPr/>
            </a:lvl1pPr>
          </a:lstStyle>
          <a:p>
            <a:r>
              <a:rPr lang="en-US"/>
              <a:t>Click icon to add picture</a:t>
            </a:r>
            <a:endParaRPr lang="en-GB"/>
          </a:p>
        </p:txBody>
      </p:sp>
      <p:sp>
        <p:nvSpPr>
          <p:cNvPr id="14" name="Freeform: Shape 4">
            <a:extLst>
              <a:ext uri="{FF2B5EF4-FFF2-40B4-BE49-F238E27FC236}">
                <a16:creationId xmlns:a16="http://schemas.microsoft.com/office/drawing/2014/main" id="{C5E4FFA8-AAC7-EC23-AE1C-EC86DD4123ED}"/>
              </a:ext>
            </a:extLst>
          </p:cNvPr>
          <p:cNvSpPr>
            <a:spLocks noGrp="1" noChangeAspect="1"/>
          </p:cNvSpPr>
          <p:nvPr>
            <p:ph type="pic" sz="quarter" idx="24"/>
          </p:nvPr>
        </p:nvSpPr>
        <p:spPr>
          <a:xfrm>
            <a:off x="9028763" y="1979486"/>
            <a:ext cx="2587503" cy="2531556"/>
          </a:xfrm>
          <a:custGeom>
            <a:avLst/>
            <a:gdLst>
              <a:gd name="connsiteX0" fmla="*/ 1678918 w 3335588"/>
              <a:gd name="connsiteY0" fmla="*/ 0 h 3257568"/>
              <a:gd name="connsiteX1" fmla="*/ 2848595 w 3335588"/>
              <a:gd name="connsiteY1" fmla="*/ 461675 h 3257568"/>
              <a:gd name="connsiteX2" fmla="*/ 3335505 w 3335588"/>
              <a:gd name="connsiteY2" fmla="*/ 1629238 h 3257568"/>
              <a:gd name="connsiteX3" fmla="*/ 3335588 w 3335588"/>
              <a:gd name="connsiteY3" fmla="*/ 1629321 h 3257568"/>
              <a:gd name="connsiteX4" fmla="*/ 2837015 w 3335588"/>
              <a:gd name="connsiteY4" fmla="*/ 2785325 h 3257568"/>
              <a:gd name="connsiteX5" fmla="*/ 1678918 w 3335588"/>
              <a:gd name="connsiteY5" fmla="*/ 3257568 h 3257568"/>
              <a:gd name="connsiteX6" fmla="*/ 519580 w 3335588"/>
              <a:gd name="connsiteY6" fmla="*/ 2786563 h 3257568"/>
              <a:gd name="connsiteX7" fmla="*/ 0 w 3335588"/>
              <a:gd name="connsiteY7" fmla="*/ 1629321 h 3257568"/>
              <a:gd name="connsiteX8" fmla="*/ 528596 w 3335588"/>
              <a:gd name="connsiteY8" fmla="*/ 481077 h 3257568"/>
              <a:gd name="connsiteX9" fmla="*/ 1678918 w 3335588"/>
              <a:gd name="connsiteY9" fmla="*/ 0 h 325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35588" h="3257568">
                <a:moveTo>
                  <a:pt x="1678918" y="0"/>
                </a:moveTo>
                <a:cubicBezTo>
                  <a:pt x="2135722" y="0"/>
                  <a:pt x="2549269" y="162891"/>
                  <a:pt x="2848595" y="461675"/>
                </a:cubicBezTo>
                <a:cubicBezTo>
                  <a:pt x="3147920" y="760460"/>
                  <a:pt x="3335505" y="1173342"/>
                  <a:pt x="3335505" y="1629238"/>
                </a:cubicBezTo>
                <a:lnTo>
                  <a:pt x="3335588" y="1629321"/>
                </a:lnTo>
                <a:cubicBezTo>
                  <a:pt x="3335588" y="2085299"/>
                  <a:pt x="3136423" y="2486541"/>
                  <a:pt x="2837015" y="2785325"/>
                </a:cubicBezTo>
                <a:cubicBezTo>
                  <a:pt x="2537690" y="3084110"/>
                  <a:pt x="2135722" y="3257568"/>
                  <a:pt x="1678918" y="3257568"/>
                </a:cubicBezTo>
                <a:cubicBezTo>
                  <a:pt x="1222114" y="3257568"/>
                  <a:pt x="818906" y="3085348"/>
                  <a:pt x="519580" y="2786563"/>
                </a:cubicBezTo>
                <a:cubicBezTo>
                  <a:pt x="220255" y="2487697"/>
                  <a:pt x="0" y="2085299"/>
                  <a:pt x="0" y="1629321"/>
                </a:cubicBezTo>
                <a:cubicBezTo>
                  <a:pt x="0" y="1173342"/>
                  <a:pt x="229270" y="779861"/>
                  <a:pt x="528596" y="481077"/>
                </a:cubicBezTo>
                <a:cubicBezTo>
                  <a:pt x="827921" y="182292"/>
                  <a:pt x="1222114" y="0"/>
                  <a:pt x="1678918" y="0"/>
                </a:cubicBezTo>
                <a:close/>
              </a:path>
            </a:pathLst>
          </a:custGeom>
          <a:solidFill>
            <a:schemeClr val="tx1">
              <a:lumMod val="20000"/>
              <a:lumOff val="80000"/>
            </a:schemeClr>
          </a:solidFill>
        </p:spPr>
        <p:txBody>
          <a:bodyPr wrap="square" tIns="396000">
            <a:noAutofit/>
          </a:bodyPr>
          <a:lstStyle>
            <a:lvl1pPr marL="0" indent="0" algn="ctr">
              <a:buNone/>
              <a:defRPr/>
            </a:lvl1pPr>
          </a:lstStyle>
          <a:p>
            <a:r>
              <a:rPr lang="en-US"/>
              <a:t>Click icon to add picture</a:t>
            </a:r>
            <a:endParaRPr lang="en-GB"/>
          </a:p>
        </p:txBody>
      </p:sp>
    </p:spTree>
    <p:extLst>
      <p:ext uri="{BB962C8B-B14F-4D97-AF65-F5344CB8AC3E}">
        <p14:creationId xmlns:p14="http://schemas.microsoft.com/office/powerpoint/2010/main" val="1262166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bject, image right - 3 ">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80291" y="1701801"/>
            <a:ext cx="6338572" cy="4366684"/>
          </a:xfrm>
        </p:spPr>
        <p:txBody>
          <a:bodyPr/>
          <a:lstStyle>
            <a:lvl1pPr>
              <a:defRPr/>
            </a:lvl1pPr>
          </a:lstStyle>
          <a:p>
            <a:pPr lvl="0"/>
            <a:r>
              <a:rPr lang="en-GB"/>
              <a:t>Click to add text or object</a:t>
            </a:r>
          </a:p>
          <a:p>
            <a:pPr lvl="1"/>
            <a:r>
              <a:rPr lang="en-GB"/>
              <a:t>Text level 2</a:t>
            </a:r>
          </a:p>
          <a:p>
            <a:pPr lvl="2"/>
            <a:r>
              <a:rPr lang="en-GB"/>
              <a:t>Text level 3</a:t>
            </a:r>
          </a:p>
          <a:p>
            <a:pPr lvl="3"/>
            <a:r>
              <a:rPr lang="en-GB"/>
              <a:t>Text level 4</a:t>
            </a:r>
          </a:p>
          <a:p>
            <a:pPr lvl="4"/>
            <a:r>
              <a:rPr lang="en-GB"/>
              <a:t>Text level 5</a:t>
            </a:r>
          </a:p>
        </p:txBody>
      </p:sp>
      <p:sp>
        <p:nvSpPr>
          <p:cNvPr id="2" name="Title 1"/>
          <p:cNvSpPr>
            <a:spLocks noGrp="1"/>
          </p:cNvSpPr>
          <p:nvPr>
            <p:ph type="title" hasCustomPrompt="1"/>
          </p:nvPr>
        </p:nvSpPr>
        <p:spPr>
          <a:xfrm>
            <a:off x="580291" y="548218"/>
            <a:ext cx="11035975" cy="1036965"/>
          </a:xfrm>
        </p:spPr>
        <p:txBody>
          <a:bodyPr/>
          <a:lstStyle/>
          <a:p>
            <a:r>
              <a:rPr lang="en-GB"/>
              <a:t>Click to add title</a:t>
            </a:r>
          </a:p>
        </p:txBody>
      </p:sp>
      <p:sp>
        <p:nvSpPr>
          <p:cNvPr id="4" name="Date Placeholder 3"/>
          <p:cNvSpPr>
            <a:spLocks noGrp="1"/>
          </p:cNvSpPr>
          <p:nvPr>
            <p:ph type="dt" sz="half" idx="10"/>
          </p:nvPr>
        </p:nvSpPr>
        <p:spPr/>
        <p:txBody>
          <a:bodyPr/>
          <a:lstStyle/>
          <a:p>
            <a:fld id="{1428D893-E2B4-4E69-8AD4-7DAE50B0647A}" type="datetime1">
              <a:rPr lang="en-GB" smtClean="0"/>
              <a:t>18/04/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7" name="Picture Placeholder 6">
            <a:extLst>
              <a:ext uri="{FF2B5EF4-FFF2-40B4-BE49-F238E27FC236}">
                <a16:creationId xmlns:a16="http://schemas.microsoft.com/office/drawing/2014/main" id="{3F74E199-4F3C-1559-160C-C139F510B3BA}"/>
              </a:ext>
            </a:extLst>
          </p:cNvPr>
          <p:cNvSpPr>
            <a:spLocks noGrp="1" noChangeAspect="1"/>
          </p:cNvSpPr>
          <p:nvPr>
            <p:ph type="pic" sz="quarter" idx="14"/>
          </p:nvPr>
        </p:nvSpPr>
        <p:spPr>
          <a:xfrm>
            <a:off x="7168815" y="1725060"/>
            <a:ext cx="4447451" cy="4343424"/>
          </a:xfrm>
          <a:custGeom>
            <a:avLst/>
            <a:gdLst>
              <a:gd name="connsiteX0" fmla="*/ 1678918 w 3335588"/>
              <a:gd name="connsiteY0" fmla="*/ 0 h 3257568"/>
              <a:gd name="connsiteX1" fmla="*/ 2848595 w 3335588"/>
              <a:gd name="connsiteY1" fmla="*/ 461675 h 3257568"/>
              <a:gd name="connsiteX2" fmla="*/ 3335505 w 3335588"/>
              <a:gd name="connsiteY2" fmla="*/ 1629238 h 3257568"/>
              <a:gd name="connsiteX3" fmla="*/ 3335588 w 3335588"/>
              <a:gd name="connsiteY3" fmla="*/ 1629321 h 3257568"/>
              <a:gd name="connsiteX4" fmla="*/ 2837015 w 3335588"/>
              <a:gd name="connsiteY4" fmla="*/ 2785325 h 3257568"/>
              <a:gd name="connsiteX5" fmla="*/ 1678918 w 3335588"/>
              <a:gd name="connsiteY5" fmla="*/ 3257568 h 3257568"/>
              <a:gd name="connsiteX6" fmla="*/ 519580 w 3335588"/>
              <a:gd name="connsiteY6" fmla="*/ 2786563 h 3257568"/>
              <a:gd name="connsiteX7" fmla="*/ 0 w 3335588"/>
              <a:gd name="connsiteY7" fmla="*/ 1629321 h 3257568"/>
              <a:gd name="connsiteX8" fmla="*/ 528596 w 3335588"/>
              <a:gd name="connsiteY8" fmla="*/ 481077 h 3257568"/>
              <a:gd name="connsiteX9" fmla="*/ 1678918 w 3335588"/>
              <a:gd name="connsiteY9" fmla="*/ 0 h 325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35588" h="3257568">
                <a:moveTo>
                  <a:pt x="1678918" y="0"/>
                </a:moveTo>
                <a:cubicBezTo>
                  <a:pt x="2135722" y="0"/>
                  <a:pt x="2549269" y="162891"/>
                  <a:pt x="2848595" y="461675"/>
                </a:cubicBezTo>
                <a:cubicBezTo>
                  <a:pt x="3147920" y="760460"/>
                  <a:pt x="3335505" y="1173342"/>
                  <a:pt x="3335505" y="1629238"/>
                </a:cubicBezTo>
                <a:lnTo>
                  <a:pt x="3335588" y="1629321"/>
                </a:lnTo>
                <a:cubicBezTo>
                  <a:pt x="3335588" y="2085299"/>
                  <a:pt x="3136423" y="2486541"/>
                  <a:pt x="2837015" y="2785325"/>
                </a:cubicBezTo>
                <a:cubicBezTo>
                  <a:pt x="2537690" y="3084110"/>
                  <a:pt x="2135722" y="3257568"/>
                  <a:pt x="1678918" y="3257568"/>
                </a:cubicBezTo>
                <a:cubicBezTo>
                  <a:pt x="1222114" y="3257568"/>
                  <a:pt x="818906" y="3085348"/>
                  <a:pt x="519580" y="2786563"/>
                </a:cubicBezTo>
                <a:cubicBezTo>
                  <a:pt x="220255" y="2487697"/>
                  <a:pt x="0" y="2085299"/>
                  <a:pt x="0" y="1629321"/>
                </a:cubicBezTo>
                <a:cubicBezTo>
                  <a:pt x="0" y="1173342"/>
                  <a:pt x="229270" y="779861"/>
                  <a:pt x="528596" y="481077"/>
                </a:cubicBezTo>
                <a:cubicBezTo>
                  <a:pt x="827921" y="182292"/>
                  <a:pt x="1222114" y="0"/>
                  <a:pt x="1678918" y="0"/>
                </a:cubicBezTo>
                <a:close/>
              </a:path>
            </a:pathLst>
          </a:custGeom>
          <a:solidFill>
            <a:schemeClr val="tx1">
              <a:lumMod val="20000"/>
              <a:lumOff val="80000"/>
            </a:schemeClr>
          </a:solidFill>
        </p:spPr>
        <p:txBody>
          <a:bodyPr wrap="square" tIns="396000">
            <a:noAutofit/>
          </a:bodyPr>
          <a:lstStyle>
            <a:lvl1pPr marL="0" indent="0" algn="ctr">
              <a:buNone/>
              <a:defRPr/>
            </a:lvl1pPr>
          </a:lstStyle>
          <a:p>
            <a:r>
              <a:rPr lang="en-US"/>
              <a:t>Click icon to add picture</a:t>
            </a:r>
            <a:endParaRPr lang="en-GB"/>
          </a:p>
        </p:txBody>
      </p:sp>
    </p:spTree>
    <p:extLst>
      <p:ext uri="{BB962C8B-B14F-4D97-AF65-F5344CB8AC3E}">
        <p14:creationId xmlns:p14="http://schemas.microsoft.com/office/powerpoint/2010/main" val="2676750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text and 3 images">
    <p:spTree>
      <p:nvGrpSpPr>
        <p:cNvPr id="1" name=""/>
        <p:cNvGrpSpPr/>
        <p:nvPr/>
      </p:nvGrpSpPr>
      <p:grpSpPr>
        <a:xfrm>
          <a:off x="0" y="0"/>
          <a:ext cx="0" cy="0"/>
          <a:chOff x="0" y="0"/>
          <a:chExt cx="0" cy="0"/>
        </a:xfrm>
      </p:grpSpPr>
      <p:sp>
        <p:nvSpPr>
          <p:cNvPr id="7" name="Text Placeholder 1">
            <a:extLst>
              <a:ext uri="{FF2B5EF4-FFF2-40B4-BE49-F238E27FC236}">
                <a16:creationId xmlns:a16="http://schemas.microsoft.com/office/drawing/2014/main" id="{91E12531-8EEB-436F-8425-BD99B771F678}"/>
              </a:ext>
            </a:extLst>
          </p:cNvPr>
          <p:cNvSpPr>
            <a:spLocks noGrp="1"/>
          </p:cNvSpPr>
          <p:nvPr>
            <p:ph type="body" sz="quarter" idx="20" hasCustomPrompt="1"/>
          </p:nvPr>
        </p:nvSpPr>
        <p:spPr>
          <a:xfrm>
            <a:off x="579969" y="2363906"/>
            <a:ext cx="3384551" cy="3704580"/>
          </a:xfrm>
          <a:prstGeom prst="roundRect">
            <a:avLst>
              <a:gd name="adj" fmla="val 6547"/>
            </a:avLst>
          </a:prstGeom>
          <a:solidFill>
            <a:srgbClr val="EEF3FB"/>
          </a:solidFill>
        </p:spPr>
        <p:txBody>
          <a:bodyPr lIns="72000" tIns="1080000" rIns="72000" bIns="72000"/>
          <a:lstStyle>
            <a:lvl1pPr>
              <a:defRPr sz="1600"/>
            </a:lvl1pPr>
            <a:lvl2pPr>
              <a:defRPr sz="1600"/>
            </a:lvl2pPr>
            <a:lvl3pPr>
              <a:defRPr sz="1600"/>
            </a:lvl3pPr>
            <a:lvl4pPr>
              <a:defRPr sz="1600"/>
            </a:lvl4pPr>
            <a:lvl5pPr>
              <a:defRPr sz="1600"/>
            </a:lvl5pPr>
          </a:lstStyle>
          <a:p>
            <a:pPr lvl="0"/>
            <a:r>
              <a:rPr lang="en-GB"/>
              <a:t>Add text</a:t>
            </a:r>
          </a:p>
          <a:p>
            <a:pPr lvl="1"/>
            <a:r>
              <a:rPr lang="en-GB"/>
              <a:t>Second level</a:t>
            </a:r>
          </a:p>
          <a:p>
            <a:pPr lvl="2"/>
            <a:r>
              <a:rPr lang="en-GB"/>
              <a:t>Third level</a:t>
            </a:r>
          </a:p>
          <a:p>
            <a:pPr lvl="3"/>
            <a:r>
              <a:rPr lang="en-GB"/>
              <a:t>Fourth level</a:t>
            </a:r>
          </a:p>
          <a:p>
            <a:pPr lvl="4"/>
            <a:r>
              <a:rPr lang="en-GB"/>
              <a:t>Fifth level</a:t>
            </a:r>
          </a:p>
        </p:txBody>
      </p:sp>
      <p:sp>
        <p:nvSpPr>
          <p:cNvPr id="14" name="Text Placeholder 2">
            <a:extLst>
              <a:ext uri="{FF2B5EF4-FFF2-40B4-BE49-F238E27FC236}">
                <a16:creationId xmlns:a16="http://schemas.microsoft.com/office/drawing/2014/main" id="{398351E2-2434-406B-8990-0F0F5A11F2EF}"/>
              </a:ext>
            </a:extLst>
          </p:cNvPr>
          <p:cNvSpPr>
            <a:spLocks noGrp="1"/>
          </p:cNvSpPr>
          <p:nvPr>
            <p:ph type="body" sz="quarter" idx="21" hasCustomPrompt="1"/>
          </p:nvPr>
        </p:nvSpPr>
        <p:spPr>
          <a:xfrm>
            <a:off x="4405843" y="2363906"/>
            <a:ext cx="3384551" cy="3704580"/>
          </a:xfrm>
          <a:prstGeom prst="roundRect">
            <a:avLst>
              <a:gd name="adj" fmla="val 6547"/>
            </a:avLst>
          </a:prstGeom>
          <a:solidFill>
            <a:srgbClr val="EEF3FB"/>
          </a:solidFill>
        </p:spPr>
        <p:txBody>
          <a:bodyPr lIns="72000" tIns="1080000" rIns="72000" bIns="72000"/>
          <a:lstStyle>
            <a:lvl1pPr>
              <a:defRPr sz="1600"/>
            </a:lvl1pPr>
            <a:lvl2pPr>
              <a:defRPr sz="1600"/>
            </a:lvl2pPr>
            <a:lvl3pPr>
              <a:defRPr sz="1600"/>
            </a:lvl3pPr>
            <a:lvl4pPr>
              <a:defRPr sz="1600"/>
            </a:lvl4pPr>
            <a:lvl5pPr>
              <a:defRPr sz="1600"/>
            </a:lvl5pPr>
          </a:lstStyle>
          <a:p>
            <a:pPr lvl="0"/>
            <a:r>
              <a:rPr lang="en-GB"/>
              <a:t>Add text</a:t>
            </a:r>
          </a:p>
          <a:p>
            <a:pPr lvl="1"/>
            <a:r>
              <a:rPr lang="en-GB"/>
              <a:t>Second level</a:t>
            </a:r>
          </a:p>
          <a:p>
            <a:pPr lvl="2"/>
            <a:r>
              <a:rPr lang="en-GB"/>
              <a:t>Third level</a:t>
            </a:r>
          </a:p>
          <a:p>
            <a:pPr lvl="3"/>
            <a:r>
              <a:rPr lang="en-GB"/>
              <a:t>Fourth level</a:t>
            </a:r>
          </a:p>
          <a:p>
            <a:pPr lvl="4"/>
            <a:r>
              <a:rPr lang="en-GB"/>
              <a:t>Fifth level</a:t>
            </a:r>
          </a:p>
        </p:txBody>
      </p:sp>
      <p:sp>
        <p:nvSpPr>
          <p:cNvPr id="15" name="Text Placeholder 3">
            <a:extLst>
              <a:ext uri="{FF2B5EF4-FFF2-40B4-BE49-F238E27FC236}">
                <a16:creationId xmlns:a16="http://schemas.microsoft.com/office/drawing/2014/main" id="{64CA7965-3883-4F71-AB9C-4752D4B21944}"/>
              </a:ext>
            </a:extLst>
          </p:cNvPr>
          <p:cNvSpPr>
            <a:spLocks noGrp="1"/>
          </p:cNvSpPr>
          <p:nvPr>
            <p:ph type="body" sz="quarter" idx="22" hasCustomPrompt="1"/>
          </p:nvPr>
        </p:nvSpPr>
        <p:spPr>
          <a:xfrm>
            <a:off x="8231717" y="2363906"/>
            <a:ext cx="3384551" cy="3704580"/>
          </a:xfrm>
          <a:prstGeom prst="roundRect">
            <a:avLst>
              <a:gd name="adj" fmla="val 6547"/>
            </a:avLst>
          </a:prstGeom>
          <a:solidFill>
            <a:srgbClr val="EEF3FB"/>
          </a:solidFill>
        </p:spPr>
        <p:txBody>
          <a:bodyPr lIns="72000" tIns="1080000" rIns="72000" bIns="72000"/>
          <a:lstStyle>
            <a:lvl1pPr>
              <a:defRPr sz="1600"/>
            </a:lvl1pPr>
            <a:lvl2pPr>
              <a:defRPr sz="1600"/>
            </a:lvl2pPr>
            <a:lvl3pPr>
              <a:defRPr sz="1600"/>
            </a:lvl3pPr>
            <a:lvl4pPr>
              <a:defRPr sz="1600"/>
            </a:lvl4pPr>
            <a:lvl5pPr>
              <a:defRPr sz="1600"/>
            </a:lvl5pPr>
          </a:lstStyle>
          <a:p>
            <a:pPr lvl="0"/>
            <a:r>
              <a:rPr lang="en-GB"/>
              <a:t>Add text</a:t>
            </a:r>
          </a:p>
          <a:p>
            <a:pPr lvl="1"/>
            <a:r>
              <a:rPr lang="en-GB"/>
              <a:t>Second level</a:t>
            </a:r>
          </a:p>
          <a:p>
            <a:pPr lvl="2"/>
            <a:r>
              <a:rPr lang="en-GB"/>
              <a:t>Third level</a:t>
            </a:r>
          </a:p>
          <a:p>
            <a:pPr lvl="3"/>
            <a:r>
              <a:rPr lang="en-GB"/>
              <a:t>Fourth level</a:t>
            </a:r>
          </a:p>
          <a:p>
            <a:pPr lvl="4"/>
            <a:r>
              <a:rPr lang="en-GB"/>
              <a:t>Fifth level</a:t>
            </a:r>
          </a:p>
        </p:txBody>
      </p:sp>
      <p:sp>
        <p:nvSpPr>
          <p:cNvPr id="10" name="Wave 1">
            <a:extLst>
              <a:ext uri="{FF2B5EF4-FFF2-40B4-BE49-F238E27FC236}">
                <a16:creationId xmlns:a16="http://schemas.microsoft.com/office/drawing/2014/main" id="{CC81F280-5BB5-4FE0-BB05-9A8AB770E0D3}"/>
              </a:ext>
            </a:extLst>
          </p:cNvPr>
          <p:cNvSpPr>
            <a:spLocks noGrp="1"/>
          </p:cNvSpPr>
          <p:nvPr>
            <p:ph type="body" sz="quarter" idx="15" hasCustomPrompt="1"/>
          </p:nvPr>
        </p:nvSpPr>
        <p:spPr>
          <a:xfrm flipV="1">
            <a:off x="580291" y="7762900"/>
            <a:ext cx="4800" cy="4800"/>
          </a:xfrm>
          <a:noFill/>
        </p:spPr>
        <p:txBody>
          <a:bodyPr/>
          <a:lstStyle>
            <a:lvl1pPr marL="0" indent="0">
              <a:buNone/>
              <a:defRPr sz="133">
                <a:solidFill>
                  <a:schemeClr val="bg1"/>
                </a:solidFill>
              </a:defRPr>
            </a:lvl1pPr>
          </a:lstStyle>
          <a:p>
            <a:pPr lvl="0"/>
            <a:r>
              <a:rPr lang="en-GB"/>
              <a:t>.</a:t>
            </a:r>
          </a:p>
        </p:txBody>
      </p:sp>
      <p:sp>
        <p:nvSpPr>
          <p:cNvPr id="2" name="Title 1"/>
          <p:cNvSpPr>
            <a:spLocks noGrp="1"/>
          </p:cNvSpPr>
          <p:nvPr>
            <p:ph type="title" hasCustomPrompt="1"/>
          </p:nvPr>
        </p:nvSpPr>
        <p:spPr>
          <a:xfrm>
            <a:off x="580293" y="548219"/>
            <a:ext cx="11035975" cy="1036965"/>
          </a:xfrm>
        </p:spPr>
        <p:txBody>
          <a:bodyPr/>
          <a:lstStyle/>
          <a:p>
            <a:r>
              <a:rPr lang="en-GB"/>
              <a:t>Click to add title</a:t>
            </a:r>
          </a:p>
        </p:txBody>
      </p:sp>
      <p:sp>
        <p:nvSpPr>
          <p:cNvPr id="4" name="Date Placeholder 3"/>
          <p:cNvSpPr>
            <a:spLocks noGrp="1"/>
          </p:cNvSpPr>
          <p:nvPr>
            <p:ph type="dt" sz="half" idx="10"/>
          </p:nvPr>
        </p:nvSpPr>
        <p:spPr>
          <a:xfrm>
            <a:off x="10183135" y="6491400"/>
            <a:ext cx="512962" cy="102657"/>
          </a:xfrm>
        </p:spPr>
        <p:txBody>
          <a:bodyPr/>
          <a:lstStyle/>
          <a:p>
            <a:fld id="{597737E8-6D04-4152-B153-C245025516D8}" type="datetime1">
              <a:rPr lang="en-GB" smtClean="0"/>
              <a:t>18/04/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11" name="Wave 2">
            <a:extLst>
              <a:ext uri="{FF2B5EF4-FFF2-40B4-BE49-F238E27FC236}">
                <a16:creationId xmlns:a16="http://schemas.microsoft.com/office/drawing/2014/main" id="{AC5FEA4A-436F-48A1-9D31-EC97B9710853}"/>
              </a:ext>
            </a:extLst>
          </p:cNvPr>
          <p:cNvSpPr>
            <a:spLocks noGrp="1"/>
          </p:cNvSpPr>
          <p:nvPr>
            <p:ph type="body" sz="quarter" idx="17" hasCustomPrompt="1"/>
          </p:nvPr>
        </p:nvSpPr>
        <p:spPr>
          <a:xfrm flipV="1">
            <a:off x="580291" y="7762900"/>
            <a:ext cx="4800" cy="4800"/>
          </a:xfrm>
          <a:noFill/>
        </p:spPr>
        <p:txBody>
          <a:bodyPr/>
          <a:lstStyle>
            <a:lvl1pPr marL="0" indent="0">
              <a:buNone/>
              <a:defRPr sz="133">
                <a:solidFill>
                  <a:schemeClr val="bg1"/>
                </a:solidFill>
              </a:defRPr>
            </a:lvl1pPr>
          </a:lstStyle>
          <a:p>
            <a:pPr lvl="0"/>
            <a:r>
              <a:rPr lang="en-GB"/>
              <a:t>.</a:t>
            </a:r>
          </a:p>
        </p:txBody>
      </p:sp>
      <p:sp>
        <p:nvSpPr>
          <p:cNvPr id="13" name="Wave 3">
            <a:extLst>
              <a:ext uri="{FF2B5EF4-FFF2-40B4-BE49-F238E27FC236}">
                <a16:creationId xmlns:a16="http://schemas.microsoft.com/office/drawing/2014/main" id="{CA1ECD70-AEE2-4AC6-901B-B2547A8DC9E8}"/>
              </a:ext>
            </a:extLst>
          </p:cNvPr>
          <p:cNvSpPr>
            <a:spLocks noGrp="1"/>
          </p:cNvSpPr>
          <p:nvPr>
            <p:ph type="body" sz="quarter" idx="19" hasCustomPrompt="1"/>
          </p:nvPr>
        </p:nvSpPr>
        <p:spPr>
          <a:xfrm flipV="1">
            <a:off x="580291" y="7762900"/>
            <a:ext cx="4800" cy="4800"/>
          </a:xfrm>
          <a:noFill/>
        </p:spPr>
        <p:txBody>
          <a:bodyPr/>
          <a:lstStyle>
            <a:lvl1pPr marL="0" indent="0">
              <a:buNone/>
              <a:defRPr sz="133">
                <a:solidFill>
                  <a:schemeClr val="bg1"/>
                </a:solidFill>
              </a:defRPr>
            </a:lvl1pPr>
          </a:lstStyle>
          <a:p>
            <a:pPr lvl="0"/>
            <a:r>
              <a:rPr lang="en-GB"/>
              <a:t>.</a:t>
            </a:r>
          </a:p>
        </p:txBody>
      </p:sp>
      <p:sp>
        <p:nvSpPr>
          <p:cNvPr id="3" name="Picture Placeholder 2">
            <a:extLst>
              <a:ext uri="{FF2B5EF4-FFF2-40B4-BE49-F238E27FC236}">
                <a16:creationId xmlns:a16="http://schemas.microsoft.com/office/drawing/2014/main" id="{6D8D5C2B-544B-809A-55DD-6AF9342F4372}"/>
              </a:ext>
            </a:extLst>
          </p:cNvPr>
          <p:cNvSpPr>
            <a:spLocks noGrp="1"/>
          </p:cNvSpPr>
          <p:nvPr>
            <p:ph type="pic" sz="quarter" idx="14"/>
          </p:nvPr>
        </p:nvSpPr>
        <p:spPr>
          <a:xfrm>
            <a:off x="743380" y="1701803"/>
            <a:ext cx="3057725" cy="1975125"/>
          </a:xfrm>
          <a:prstGeom prst="roundRect">
            <a:avLst>
              <a:gd name="adj" fmla="val 5966"/>
            </a:avLst>
          </a:prstGeom>
          <a:solidFill>
            <a:schemeClr val="tx1">
              <a:lumMod val="20000"/>
              <a:lumOff val="80000"/>
            </a:schemeClr>
          </a:solidFill>
        </p:spPr>
        <p:txBody>
          <a:bodyPr wrap="square" tIns="72000">
            <a:noAutofit/>
          </a:bodyPr>
          <a:lstStyle>
            <a:lvl1pPr marL="0" indent="0" algn="ctr">
              <a:buNone/>
              <a:defRPr/>
            </a:lvl1pPr>
          </a:lstStyle>
          <a:p>
            <a:r>
              <a:rPr lang="en-US"/>
              <a:t>Click icon to add picture</a:t>
            </a:r>
            <a:endParaRPr lang="en-GB"/>
          </a:p>
        </p:txBody>
      </p:sp>
      <p:sp>
        <p:nvSpPr>
          <p:cNvPr id="16" name="Picture Placeholder 15">
            <a:extLst>
              <a:ext uri="{FF2B5EF4-FFF2-40B4-BE49-F238E27FC236}">
                <a16:creationId xmlns:a16="http://schemas.microsoft.com/office/drawing/2014/main" id="{7154316A-A05F-B20D-F0D2-FA3B5E1F6FB3}"/>
              </a:ext>
            </a:extLst>
          </p:cNvPr>
          <p:cNvSpPr>
            <a:spLocks noGrp="1"/>
          </p:cNvSpPr>
          <p:nvPr>
            <p:ph type="pic" sz="quarter" idx="23"/>
          </p:nvPr>
        </p:nvSpPr>
        <p:spPr>
          <a:xfrm>
            <a:off x="4569415" y="1701803"/>
            <a:ext cx="3057725" cy="1975125"/>
          </a:xfrm>
          <a:prstGeom prst="roundRect">
            <a:avLst>
              <a:gd name="adj" fmla="val 5966"/>
            </a:avLst>
          </a:prstGeom>
          <a:solidFill>
            <a:schemeClr val="tx1">
              <a:lumMod val="20000"/>
              <a:lumOff val="80000"/>
            </a:schemeClr>
          </a:solidFill>
        </p:spPr>
        <p:txBody>
          <a:bodyPr wrap="square" tIns="72000">
            <a:noAutofit/>
          </a:bodyPr>
          <a:lstStyle>
            <a:lvl1pPr marL="0" indent="0" algn="ctr">
              <a:buNone/>
              <a:defRPr/>
            </a:lvl1pPr>
          </a:lstStyle>
          <a:p>
            <a:r>
              <a:rPr lang="en-US"/>
              <a:t>Click icon to add picture</a:t>
            </a:r>
            <a:endParaRPr lang="en-GB"/>
          </a:p>
        </p:txBody>
      </p:sp>
      <p:sp>
        <p:nvSpPr>
          <p:cNvPr id="17" name="Picture Placeholder 16">
            <a:extLst>
              <a:ext uri="{FF2B5EF4-FFF2-40B4-BE49-F238E27FC236}">
                <a16:creationId xmlns:a16="http://schemas.microsoft.com/office/drawing/2014/main" id="{8A8A5556-FAAB-CEBB-0732-9488DDEB62DF}"/>
              </a:ext>
            </a:extLst>
          </p:cNvPr>
          <p:cNvSpPr>
            <a:spLocks noGrp="1"/>
          </p:cNvSpPr>
          <p:nvPr>
            <p:ph type="pic" sz="quarter" idx="24"/>
          </p:nvPr>
        </p:nvSpPr>
        <p:spPr>
          <a:xfrm>
            <a:off x="8395128" y="1701803"/>
            <a:ext cx="3057725" cy="1975125"/>
          </a:xfrm>
          <a:prstGeom prst="roundRect">
            <a:avLst>
              <a:gd name="adj" fmla="val 5966"/>
            </a:avLst>
          </a:prstGeom>
          <a:solidFill>
            <a:schemeClr val="tx1">
              <a:lumMod val="20000"/>
              <a:lumOff val="80000"/>
            </a:schemeClr>
          </a:solidFill>
        </p:spPr>
        <p:txBody>
          <a:bodyPr wrap="square" tIns="72000">
            <a:noAutofit/>
          </a:bodyPr>
          <a:lstStyle>
            <a:lvl1pPr marL="0" indent="0" algn="ctr">
              <a:buNone/>
              <a:defRPr/>
            </a:lvl1pPr>
          </a:lstStyle>
          <a:p>
            <a:r>
              <a:rPr lang="en-US"/>
              <a:t>Click icon to add picture</a:t>
            </a:r>
            <a:endParaRPr lang="en-GB"/>
          </a:p>
        </p:txBody>
      </p:sp>
    </p:spTree>
    <p:extLst>
      <p:ext uri="{BB962C8B-B14F-4D97-AF65-F5344CB8AC3E}">
        <p14:creationId xmlns:p14="http://schemas.microsoft.com/office/powerpoint/2010/main" val="2530890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text and 4 images">
    <p:spTree>
      <p:nvGrpSpPr>
        <p:cNvPr id="1" name=""/>
        <p:cNvGrpSpPr/>
        <p:nvPr/>
      </p:nvGrpSpPr>
      <p:grpSpPr>
        <a:xfrm>
          <a:off x="0" y="0"/>
          <a:ext cx="0" cy="0"/>
          <a:chOff x="0" y="0"/>
          <a:chExt cx="0" cy="0"/>
        </a:xfrm>
      </p:grpSpPr>
      <p:sp>
        <p:nvSpPr>
          <p:cNvPr id="18" name="Text Placeholder 4">
            <a:extLst>
              <a:ext uri="{FF2B5EF4-FFF2-40B4-BE49-F238E27FC236}">
                <a16:creationId xmlns:a16="http://schemas.microsoft.com/office/drawing/2014/main" id="{A83A907C-E1CE-4205-8149-05872EE5D338}"/>
              </a:ext>
            </a:extLst>
          </p:cNvPr>
          <p:cNvSpPr>
            <a:spLocks noGrp="1"/>
          </p:cNvSpPr>
          <p:nvPr>
            <p:ph type="body" sz="quarter" idx="25" hasCustomPrompt="1"/>
          </p:nvPr>
        </p:nvSpPr>
        <p:spPr>
          <a:xfrm>
            <a:off x="9101065" y="2363906"/>
            <a:ext cx="2515200" cy="3704580"/>
          </a:xfrm>
          <a:prstGeom prst="roundRect">
            <a:avLst>
              <a:gd name="adj" fmla="val 8809"/>
            </a:avLst>
          </a:prstGeom>
          <a:solidFill>
            <a:srgbClr val="EEF3FB"/>
          </a:solidFill>
        </p:spPr>
        <p:txBody>
          <a:bodyPr lIns="72000" tIns="1080000" rIns="72000" bIns="72000"/>
          <a:lstStyle>
            <a:lvl1pPr>
              <a:defRPr sz="1600"/>
            </a:lvl1pPr>
            <a:lvl2pPr>
              <a:defRPr sz="1600"/>
            </a:lvl2pPr>
            <a:lvl3pPr>
              <a:defRPr sz="1600"/>
            </a:lvl3pPr>
            <a:lvl4pPr>
              <a:defRPr sz="1600"/>
            </a:lvl4pPr>
            <a:lvl5pPr>
              <a:defRPr sz="1600"/>
            </a:lvl5pPr>
          </a:lstStyle>
          <a:p>
            <a:pPr lvl="0"/>
            <a:r>
              <a:rPr lang="en-GB"/>
              <a:t>Add text</a:t>
            </a:r>
          </a:p>
          <a:p>
            <a:pPr lvl="1"/>
            <a:r>
              <a:rPr lang="en-GB"/>
              <a:t>Second level</a:t>
            </a:r>
          </a:p>
          <a:p>
            <a:pPr lvl="2"/>
            <a:r>
              <a:rPr lang="en-GB"/>
              <a:t>Third level</a:t>
            </a:r>
          </a:p>
          <a:p>
            <a:pPr lvl="3"/>
            <a:r>
              <a:rPr lang="en-GB"/>
              <a:t>Fourth level</a:t>
            </a:r>
          </a:p>
          <a:p>
            <a:pPr lvl="4"/>
            <a:r>
              <a:rPr lang="en-GB"/>
              <a:t>Fifth level</a:t>
            </a:r>
          </a:p>
        </p:txBody>
      </p:sp>
      <p:sp>
        <p:nvSpPr>
          <p:cNvPr id="21" name="Picture Placeholder 20">
            <a:extLst>
              <a:ext uri="{FF2B5EF4-FFF2-40B4-BE49-F238E27FC236}">
                <a16:creationId xmlns:a16="http://schemas.microsoft.com/office/drawing/2014/main" id="{3E334F0F-6B9B-D4A1-11FE-F9729774788E}"/>
              </a:ext>
            </a:extLst>
          </p:cNvPr>
          <p:cNvSpPr>
            <a:spLocks noGrp="1"/>
          </p:cNvSpPr>
          <p:nvPr>
            <p:ph type="pic" sz="quarter" idx="28"/>
          </p:nvPr>
        </p:nvSpPr>
        <p:spPr>
          <a:xfrm>
            <a:off x="9194817" y="1701803"/>
            <a:ext cx="2327699" cy="1975125"/>
          </a:xfrm>
          <a:prstGeom prst="roundRect">
            <a:avLst>
              <a:gd name="adj" fmla="val 11353"/>
            </a:avLst>
          </a:prstGeom>
          <a:solidFill>
            <a:schemeClr val="tx1">
              <a:lumMod val="20000"/>
              <a:lumOff val="80000"/>
            </a:schemeClr>
          </a:solidFill>
        </p:spPr>
        <p:txBody>
          <a:bodyPr wrap="square" tIns="72000">
            <a:noAutofit/>
          </a:bodyPr>
          <a:lstStyle>
            <a:lvl1pPr marL="0" indent="0" algn="ctr">
              <a:buNone/>
              <a:defRPr/>
            </a:lvl1pPr>
          </a:lstStyle>
          <a:p>
            <a:r>
              <a:rPr lang="en-US"/>
              <a:t>Click icon to add picture</a:t>
            </a:r>
            <a:endParaRPr lang="en-GB"/>
          </a:p>
        </p:txBody>
      </p:sp>
      <p:sp>
        <p:nvSpPr>
          <p:cNvPr id="7" name="Text Placeholder 1">
            <a:extLst>
              <a:ext uri="{FF2B5EF4-FFF2-40B4-BE49-F238E27FC236}">
                <a16:creationId xmlns:a16="http://schemas.microsoft.com/office/drawing/2014/main" id="{91E12531-8EEB-436F-8425-BD99B771F678}"/>
              </a:ext>
            </a:extLst>
          </p:cNvPr>
          <p:cNvSpPr>
            <a:spLocks noGrp="1"/>
          </p:cNvSpPr>
          <p:nvPr>
            <p:ph type="body" sz="quarter" idx="20" hasCustomPrompt="1"/>
          </p:nvPr>
        </p:nvSpPr>
        <p:spPr>
          <a:xfrm>
            <a:off x="579967" y="2363906"/>
            <a:ext cx="2515200" cy="3704580"/>
          </a:xfrm>
          <a:prstGeom prst="roundRect">
            <a:avLst>
              <a:gd name="adj" fmla="val 8809"/>
            </a:avLst>
          </a:prstGeom>
          <a:solidFill>
            <a:srgbClr val="EEF3FB"/>
          </a:solidFill>
        </p:spPr>
        <p:txBody>
          <a:bodyPr lIns="72000" tIns="1080000" rIns="72000" bIns="72000"/>
          <a:lstStyle>
            <a:lvl1pPr>
              <a:defRPr sz="1600"/>
            </a:lvl1pPr>
            <a:lvl2pPr>
              <a:defRPr sz="1600"/>
            </a:lvl2pPr>
            <a:lvl3pPr>
              <a:defRPr sz="1600"/>
            </a:lvl3pPr>
            <a:lvl4pPr>
              <a:defRPr sz="1600"/>
            </a:lvl4pPr>
            <a:lvl5pPr>
              <a:defRPr sz="1600"/>
            </a:lvl5pPr>
          </a:lstStyle>
          <a:p>
            <a:pPr lvl="0"/>
            <a:r>
              <a:rPr lang="en-GB"/>
              <a:t>Add text</a:t>
            </a:r>
          </a:p>
          <a:p>
            <a:pPr lvl="1"/>
            <a:r>
              <a:rPr lang="en-GB"/>
              <a:t>Second level</a:t>
            </a:r>
          </a:p>
          <a:p>
            <a:pPr lvl="2"/>
            <a:r>
              <a:rPr lang="en-GB"/>
              <a:t>Third level</a:t>
            </a:r>
          </a:p>
          <a:p>
            <a:pPr lvl="3"/>
            <a:r>
              <a:rPr lang="en-GB"/>
              <a:t>Fourth level</a:t>
            </a:r>
          </a:p>
          <a:p>
            <a:pPr lvl="4"/>
            <a:r>
              <a:rPr lang="en-GB"/>
              <a:t>Fifth level</a:t>
            </a:r>
          </a:p>
        </p:txBody>
      </p:sp>
      <p:sp>
        <p:nvSpPr>
          <p:cNvPr id="14" name="Text Placeholder 2">
            <a:extLst>
              <a:ext uri="{FF2B5EF4-FFF2-40B4-BE49-F238E27FC236}">
                <a16:creationId xmlns:a16="http://schemas.microsoft.com/office/drawing/2014/main" id="{398351E2-2434-406B-8990-0F0F5A11F2EF}"/>
              </a:ext>
            </a:extLst>
          </p:cNvPr>
          <p:cNvSpPr>
            <a:spLocks noGrp="1"/>
          </p:cNvSpPr>
          <p:nvPr>
            <p:ph type="body" sz="quarter" idx="21" hasCustomPrompt="1"/>
          </p:nvPr>
        </p:nvSpPr>
        <p:spPr>
          <a:xfrm>
            <a:off x="3420333" y="2363906"/>
            <a:ext cx="2515200" cy="3704580"/>
          </a:xfrm>
          <a:prstGeom prst="roundRect">
            <a:avLst>
              <a:gd name="adj" fmla="val 8809"/>
            </a:avLst>
          </a:prstGeom>
          <a:solidFill>
            <a:srgbClr val="EEF3FB"/>
          </a:solidFill>
        </p:spPr>
        <p:txBody>
          <a:bodyPr lIns="72000" tIns="1080000" rIns="72000" bIns="72000"/>
          <a:lstStyle>
            <a:lvl1pPr>
              <a:defRPr sz="1600"/>
            </a:lvl1pPr>
            <a:lvl2pPr>
              <a:defRPr sz="1600"/>
            </a:lvl2pPr>
            <a:lvl3pPr>
              <a:defRPr sz="1600"/>
            </a:lvl3pPr>
            <a:lvl4pPr>
              <a:defRPr sz="1600"/>
            </a:lvl4pPr>
            <a:lvl5pPr>
              <a:defRPr sz="1600"/>
            </a:lvl5pPr>
          </a:lstStyle>
          <a:p>
            <a:pPr lvl="0"/>
            <a:r>
              <a:rPr lang="en-GB"/>
              <a:t>Add text</a:t>
            </a:r>
          </a:p>
          <a:p>
            <a:pPr lvl="1"/>
            <a:r>
              <a:rPr lang="en-GB"/>
              <a:t>Second level</a:t>
            </a:r>
          </a:p>
          <a:p>
            <a:pPr lvl="2"/>
            <a:r>
              <a:rPr lang="en-GB"/>
              <a:t>Third level</a:t>
            </a:r>
          </a:p>
          <a:p>
            <a:pPr lvl="3"/>
            <a:r>
              <a:rPr lang="en-GB"/>
              <a:t>Fourth level</a:t>
            </a:r>
          </a:p>
          <a:p>
            <a:pPr lvl="4"/>
            <a:r>
              <a:rPr lang="en-GB"/>
              <a:t>Fifth level</a:t>
            </a:r>
          </a:p>
        </p:txBody>
      </p:sp>
      <p:sp>
        <p:nvSpPr>
          <p:cNvPr id="15" name="Text Placeholder 4">
            <a:extLst>
              <a:ext uri="{FF2B5EF4-FFF2-40B4-BE49-F238E27FC236}">
                <a16:creationId xmlns:a16="http://schemas.microsoft.com/office/drawing/2014/main" id="{64CA7965-3883-4F71-AB9C-4752D4B21944}"/>
              </a:ext>
            </a:extLst>
          </p:cNvPr>
          <p:cNvSpPr>
            <a:spLocks noGrp="1"/>
          </p:cNvSpPr>
          <p:nvPr>
            <p:ph type="body" sz="quarter" idx="22" hasCustomPrompt="1"/>
          </p:nvPr>
        </p:nvSpPr>
        <p:spPr>
          <a:xfrm>
            <a:off x="6260700" y="2363906"/>
            <a:ext cx="2515200" cy="3704580"/>
          </a:xfrm>
          <a:prstGeom prst="roundRect">
            <a:avLst>
              <a:gd name="adj" fmla="val 8809"/>
            </a:avLst>
          </a:prstGeom>
          <a:solidFill>
            <a:srgbClr val="EEF3FB"/>
          </a:solidFill>
        </p:spPr>
        <p:txBody>
          <a:bodyPr lIns="72000" tIns="1080000" rIns="72000" bIns="72000"/>
          <a:lstStyle>
            <a:lvl1pPr>
              <a:defRPr sz="1600"/>
            </a:lvl1pPr>
            <a:lvl2pPr>
              <a:defRPr sz="1600"/>
            </a:lvl2pPr>
            <a:lvl3pPr>
              <a:defRPr sz="1600"/>
            </a:lvl3pPr>
            <a:lvl4pPr>
              <a:defRPr sz="1600"/>
            </a:lvl4pPr>
            <a:lvl5pPr>
              <a:defRPr sz="1600"/>
            </a:lvl5pPr>
          </a:lstStyle>
          <a:p>
            <a:pPr lvl="0"/>
            <a:r>
              <a:rPr lang="en-GB"/>
              <a:t>Add text</a:t>
            </a:r>
          </a:p>
          <a:p>
            <a:pPr lvl="1"/>
            <a:r>
              <a:rPr lang="en-GB"/>
              <a:t>Second level</a:t>
            </a:r>
          </a:p>
          <a:p>
            <a:pPr lvl="2"/>
            <a:r>
              <a:rPr lang="en-GB"/>
              <a:t>Third level</a:t>
            </a:r>
          </a:p>
          <a:p>
            <a:pPr lvl="3"/>
            <a:r>
              <a:rPr lang="en-GB"/>
              <a:t>Fourth level</a:t>
            </a:r>
          </a:p>
          <a:p>
            <a:pPr lvl="4"/>
            <a:r>
              <a:rPr lang="en-GB"/>
              <a:t>Fifth level</a:t>
            </a:r>
          </a:p>
        </p:txBody>
      </p:sp>
      <p:sp>
        <p:nvSpPr>
          <p:cNvPr id="10" name="Wave 1">
            <a:extLst>
              <a:ext uri="{FF2B5EF4-FFF2-40B4-BE49-F238E27FC236}">
                <a16:creationId xmlns:a16="http://schemas.microsoft.com/office/drawing/2014/main" id="{CC81F280-5BB5-4FE0-BB05-9A8AB770E0D3}"/>
              </a:ext>
            </a:extLst>
          </p:cNvPr>
          <p:cNvSpPr>
            <a:spLocks noGrp="1"/>
          </p:cNvSpPr>
          <p:nvPr>
            <p:ph type="body" sz="quarter" idx="15" hasCustomPrompt="1"/>
          </p:nvPr>
        </p:nvSpPr>
        <p:spPr>
          <a:xfrm>
            <a:off x="580291" y="7003625"/>
            <a:ext cx="4800" cy="4800"/>
          </a:xfrm>
          <a:noFill/>
        </p:spPr>
        <p:txBody>
          <a:bodyPr/>
          <a:lstStyle>
            <a:lvl1pPr marL="0" indent="0">
              <a:buNone/>
              <a:defRPr sz="133">
                <a:solidFill>
                  <a:schemeClr val="bg1"/>
                </a:solidFill>
              </a:defRPr>
            </a:lvl1pPr>
          </a:lstStyle>
          <a:p>
            <a:pPr lvl="0"/>
            <a:r>
              <a:rPr lang="en-GB"/>
              <a:t>.</a:t>
            </a:r>
          </a:p>
        </p:txBody>
      </p:sp>
      <p:sp>
        <p:nvSpPr>
          <p:cNvPr id="2" name="Title 1"/>
          <p:cNvSpPr>
            <a:spLocks noGrp="1"/>
          </p:cNvSpPr>
          <p:nvPr>
            <p:ph type="title" hasCustomPrompt="1"/>
          </p:nvPr>
        </p:nvSpPr>
        <p:spPr>
          <a:xfrm>
            <a:off x="580293" y="548219"/>
            <a:ext cx="11035975" cy="1036965"/>
          </a:xfrm>
        </p:spPr>
        <p:txBody>
          <a:bodyPr/>
          <a:lstStyle/>
          <a:p>
            <a:r>
              <a:rPr lang="en-GB"/>
              <a:t>Click to add title</a:t>
            </a:r>
          </a:p>
        </p:txBody>
      </p:sp>
      <p:sp>
        <p:nvSpPr>
          <p:cNvPr id="4" name="Date Placeholder 3"/>
          <p:cNvSpPr>
            <a:spLocks noGrp="1"/>
          </p:cNvSpPr>
          <p:nvPr>
            <p:ph type="dt" sz="half" idx="10"/>
          </p:nvPr>
        </p:nvSpPr>
        <p:spPr>
          <a:xfrm>
            <a:off x="10183135" y="6491400"/>
            <a:ext cx="512962" cy="102657"/>
          </a:xfrm>
        </p:spPr>
        <p:txBody>
          <a:bodyPr/>
          <a:lstStyle/>
          <a:p>
            <a:fld id="{AA8D5D0C-D9F9-4BD3-BA75-76B5A2D4338E}" type="datetime1">
              <a:rPr lang="en-GB" smtClean="0"/>
              <a:t>18/04/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11" name="Wave 2">
            <a:extLst>
              <a:ext uri="{FF2B5EF4-FFF2-40B4-BE49-F238E27FC236}">
                <a16:creationId xmlns:a16="http://schemas.microsoft.com/office/drawing/2014/main" id="{AC5FEA4A-436F-48A1-9D31-EC97B9710853}"/>
              </a:ext>
            </a:extLst>
          </p:cNvPr>
          <p:cNvSpPr>
            <a:spLocks noGrp="1"/>
          </p:cNvSpPr>
          <p:nvPr>
            <p:ph type="body" sz="quarter" idx="17" hasCustomPrompt="1"/>
          </p:nvPr>
        </p:nvSpPr>
        <p:spPr>
          <a:xfrm>
            <a:off x="580291" y="7003625"/>
            <a:ext cx="4800" cy="4800"/>
          </a:xfrm>
          <a:noFill/>
        </p:spPr>
        <p:txBody>
          <a:bodyPr/>
          <a:lstStyle>
            <a:lvl1pPr marL="0" indent="0">
              <a:buNone/>
              <a:defRPr sz="133">
                <a:solidFill>
                  <a:schemeClr val="bg1"/>
                </a:solidFill>
              </a:defRPr>
            </a:lvl1pPr>
          </a:lstStyle>
          <a:p>
            <a:pPr lvl="0"/>
            <a:r>
              <a:rPr lang="en-GB"/>
              <a:t>.</a:t>
            </a:r>
          </a:p>
        </p:txBody>
      </p:sp>
      <p:sp>
        <p:nvSpPr>
          <p:cNvPr id="13" name="Wave 3">
            <a:extLst>
              <a:ext uri="{FF2B5EF4-FFF2-40B4-BE49-F238E27FC236}">
                <a16:creationId xmlns:a16="http://schemas.microsoft.com/office/drawing/2014/main" id="{CA1ECD70-AEE2-4AC6-901B-B2547A8DC9E8}"/>
              </a:ext>
            </a:extLst>
          </p:cNvPr>
          <p:cNvSpPr>
            <a:spLocks noGrp="1"/>
          </p:cNvSpPr>
          <p:nvPr>
            <p:ph type="body" sz="quarter" idx="19" hasCustomPrompt="1"/>
          </p:nvPr>
        </p:nvSpPr>
        <p:spPr>
          <a:xfrm flipH="1">
            <a:off x="580291" y="7003625"/>
            <a:ext cx="4800" cy="4800"/>
          </a:xfrm>
          <a:noFill/>
        </p:spPr>
        <p:txBody>
          <a:bodyPr/>
          <a:lstStyle>
            <a:lvl1pPr marL="0" indent="0">
              <a:buNone/>
              <a:defRPr sz="133">
                <a:solidFill>
                  <a:schemeClr val="bg1"/>
                </a:solidFill>
              </a:defRPr>
            </a:lvl1pPr>
          </a:lstStyle>
          <a:p>
            <a:pPr lvl="0"/>
            <a:r>
              <a:rPr lang="en-GB"/>
              <a:t>.</a:t>
            </a:r>
          </a:p>
        </p:txBody>
      </p:sp>
      <p:sp>
        <p:nvSpPr>
          <p:cNvPr id="17" name="Wave 4">
            <a:extLst>
              <a:ext uri="{FF2B5EF4-FFF2-40B4-BE49-F238E27FC236}">
                <a16:creationId xmlns:a16="http://schemas.microsoft.com/office/drawing/2014/main" id="{C7D27570-D4DD-4861-9A43-471D0FF8F8B3}"/>
              </a:ext>
            </a:extLst>
          </p:cNvPr>
          <p:cNvSpPr>
            <a:spLocks noGrp="1"/>
          </p:cNvSpPr>
          <p:nvPr>
            <p:ph type="body" sz="quarter" idx="24" hasCustomPrompt="1"/>
          </p:nvPr>
        </p:nvSpPr>
        <p:spPr>
          <a:xfrm flipH="1">
            <a:off x="580291" y="7003625"/>
            <a:ext cx="4800" cy="4800"/>
          </a:xfrm>
          <a:noFill/>
        </p:spPr>
        <p:txBody>
          <a:bodyPr/>
          <a:lstStyle>
            <a:lvl1pPr marL="0" indent="0">
              <a:buNone/>
              <a:defRPr sz="133">
                <a:solidFill>
                  <a:schemeClr val="bg1"/>
                </a:solidFill>
              </a:defRPr>
            </a:lvl1pPr>
          </a:lstStyle>
          <a:p>
            <a:pPr lvl="0"/>
            <a:r>
              <a:rPr lang="en-GB"/>
              <a:t>.</a:t>
            </a:r>
          </a:p>
        </p:txBody>
      </p:sp>
      <p:sp>
        <p:nvSpPr>
          <p:cNvPr id="3" name="Picture Placeholder 2">
            <a:extLst>
              <a:ext uri="{FF2B5EF4-FFF2-40B4-BE49-F238E27FC236}">
                <a16:creationId xmlns:a16="http://schemas.microsoft.com/office/drawing/2014/main" id="{0D02639D-48D8-8650-249D-64FD96BE411C}"/>
              </a:ext>
            </a:extLst>
          </p:cNvPr>
          <p:cNvSpPr>
            <a:spLocks noGrp="1"/>
          </p:cNvSpPr>
          <p:nvPr>
            <p:ph type="pic" sz="quarter" idx="14"/>
          </p:nvPr>
        </p:nvSpPr>
        <p:spPr>
          <a:xfrm>
            <a:off x="673717" y="1701803"/>
            <a:ext cx="2327699" cy="1975125"/>
          </a:xfrm>
          <a:prstGeom prst="roundRect">
            <a:avLst>
              <a:gd name="adj" fmla="val 11353"/>
            </a:avLst>
          </a:prstGeom>
          <a:solidFill>
            <a:schemeClr val="tx1">
              <a:lumMod val="20000"/>
              <a:lumOff val="80000"/>
            </a:schemeClr>
          </a:solidFill>
        </p:spPr>
        <p:txBody>
          <a:bodyPr wrap="square" tIns="72000">
            <a:noAutofit/>
          </a:bodyPr>
          <a:lstStyle>
            <a:lvl1pPr marL="0" indent="0" algn="ctr">
              <a:buNone/>
              <a:defRPr/>
            </a:lvl1pPr>
          </a:lstStyle>
          <a:p>
            <a:r>
              <a:rPr lang="en-US"/>
              <a:t>Click icon to add picture</a:t>
            </a:r>
            <a:endParaRPr lang="en-GB"/>
          </a:p>
        </p:txBody>
      </p:sp>
      <p:sp>
        <p:nvSpPr>
          <p:cNvPr id="19" name="Picture Placeholder 18">
            <a:extLst>
              <a:ext uri="{FF2B5EF4-FFF2-40B4-BE49-F238E27FC236}">
                <a16:creationId xmlns:a16="http://schemas.microsoft.com/office/drawing/2014/main" id="{C5F90B9B-9065-13BC-6A74-C5CA3C4BFE4A}"/>
              </a:ext>
            </a:extLst>
          </p:cNvPr>
          <p:cNvSpPr>
            <a:spLocks noGrp="1"/>
          </p:cNvSpPr>
          <p:nvPr>
            <p:ph type="pic" sz="quarter" idx="26"/>
          </p:nvPr>
        </p:nvSpPr>
        <p:spPr>
          <a:xfrm>
            <a:off x="3514085" y="1701803"/>
            <a:ext cx="2327699" cy="1975125"/>
          </a:xfrm>
          <a:prstGeom prst="roundRect">
            <a:avLst>
              <a:gd name="adj" fmla="val 11353"/>
            </a:avLst>
          </a:prstGeom>
          <a:solidFill>
            <a:schemeClr val="tx1">
              <a:lumMod val="20000"/>
              <a:lumOff val="80000"/>
            </a:schemeClr>
          </a:solidFill>
        </p:spPr>
        <p:txBody>
          <a:bodyPr wrap="square" tIns="72000">
            <a:noAutofit/>
          </a:bodyPr>
          <a:lstStyle>
            <a:lvl1pPr marL="0" indent="0" algn="ctr">
              <a:buNone/>
              <a:defRPr/>
            </a:lvl1pPr>
          </a:lstStyle>
          <a:p>
            <a:r>
              <a:rPr lang="en-US"/>
              <a:t>Click icon to add picture</a:t>
            </a:r>
            <a:endParaRPr lang="en-GB"/>
          </a:p>
        </p:txBody>
      </p:sp>
      <p:sp>
        <p:nvSpPr>
          <p:cNvPr id="20" name="Picture Placeholder 19">
            <a:extLst>
              <a:ext uri="{FF2B5EF4-FFF2-40B4-BE49-F238E27FC236}">
                <a16:creationId xmlns:a16="http://schemas.microsoft.com/office/drawing/2014/main" id="{26F66894-103A-89D0-9F6C-4B064D6FF654}"/>
              </a:ext>
            </a:extLst>
          </p:cNvPr>
          <p:cNvSpPr>
            <a:spLocks noGrp="1"/>
          </p:cNvSpPr>
          <p:nvPr>
            <p:ph type="pic" sz="quarter" idx="27"/>
          </p:nvPr>
        </p:nvSpPr>
        <p:spPr>
          <a:xfrm>
            <a:off x="6354452" y="1701803"/>
            <a:ext cx="2327699" cy="1975125"/>
          </a:xfrm>
          <a:prstGeom prst="roundRect">
            <a:avLst>
              <a:gd name="adj" fmla="val 11353"/>
            </a:avLst>
          </a:prstGeom>
          <a:solidFill>
            <a:schemeClr val="tx1">
              <a:lumMod val="20000"/>
              <a:lumOff val="80000"/>
            </a:schemeClr>
          </a:solidFill>
        </p:spPr>
        <p:txBody>
          <a:bodyPr wrap="square" tIns="72000">
            <a:noAutofit/>
          </a:bodyPr>
          <a:lstStyle>
            <a:lvl1pPr marL="0" indent="0" algn="ctr">
              <a:buNone/>
              <a:defRPr/>
            </a:lvl1pPr>
          </a:lstStyle>
          <a:p>
            <a:r>
              <a:rPr lang="en-US"/>
              <a:t>Click icon to add picture</a:t>
            </a:r>
            <a:endParaRPr lang="en-GB"/>
          </a:p>
        </p:txBody>
      </p:sp>
    </p:spTree>
    <p:extLst>
      <p:ext uri="{BB962C8B-B14F-4D97-AF65-F5344CB8AC3E}">
        <p14:creationId xmlns:p14="http://schemas.microsoft.com/office/powerpoint/2010/main" val="2179709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text and image widescreen ">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A3FA6939-066A-055F-D10A-B1204127D547}"/>
              </a:ext>
            </a:extLst>
          </p:cNvPr>
          <p:cNvSpPr>
            <a:spLocks noGrp="1"/>
          </p:cNvSpPr>
          <p:nvPr>
            <p:ph type="pic" sz="quarter" idx="20"/>
          </p:nvPr>
        </p:nvSpPr>
        <p:spPr>
          <a:xfrm>
            <a:off x="585207" y="557370"/>
            <a:ext cx="11021588" cy="3925012"/>
          </a:xfrm>
          <a:prstGeom prst="roundRect">
            <a:avLst>
              <a:gd name="adj" fmla="val 4041"/>
            </a:avLst>
          </a:prstGeom>
          <a:solidFill>
            <a:schemeClr val="tx1">
              <a:lumMod val="20000"/>
              <a:lumOff val="80000"/>
            </a:schemeClr>
          </a:solidFill>
        </p:spPr>
        <p:txBody>
          <a:bodyPr wrap="square" tIns="396000">
            <a:noAutofit/>
          </a:bodyPr>
          <a:lstStyle>
            <a:lvl1pPr marL="0" indent="0" algn="ctr">
              <a:buNone/>
              <a:defRPr/>
            </a:lvl1pPr>
          </a:lstStyle>
          <a:p>
            <a:r>
              <a:rPr lang="en-US"/>
              <a:t>Click icon to add picture</a:t>
            </a:r>
            <a:endParaRPr lang="en-GB"/>
          </a:p>
        </p:txBody>
      </p:sp>
      <p:sp>
        <p:nvSpPr>
          <p:cNvPr id="8" name="Milkwave">
            <a:extLst>
              <a:ext uri="{FF2B5EF4-FFF2-40B4-BE49-F238E27FC236}">
                <a16:creationId xmlns:a16="http://schemas.microsoft.com/office/drawing/2014/main" id="{E14F8055-96B8-4E6A-9377-41C022A5F457}"/>
              </a:ext>
            </a:extLst>
          </p:cNvPr>
          <p:cNvSpPr>
            <a:spLocks noGrp="1"/>
          </p:cNvSpPr>
          <p:nvPr>
            <p:ph type="body" sz="quarter" idx="14" hasCustomPrompt="1"/>
          </p:nvPr>
        </p:nvSpPr>
        <p:spPr>
          <a:xfrm>
            <a:off x="2020331" y="3069312"/>
            <a:ext cx="9044596" cy="2999173"/>
          </a:xfrm>
          <a:prstGeom prst="roundRect">
            <a:avLst>
              <a:gd name="adj" fmla="val 5289"/>
            </a:avLst>
          </a:prstGeom>
          <a:solidFill>
            <a:schemeClr val="accent1">
              <a:alpha val="70000"/>
            </a:schemeClr>
          </a:solidFill>
        </p:spPr>
        <p:txBody>
          <a:bodyPr wrap="square">
            <a:noAutofit/>
          </a:bodyPr>
          <a:lstStyle>
            <a:lvl1pPr marL="0" indent="0">
              <a:buNone/>
              <a:defRPr sz="133">
                <a:solidFill>
                  <a:schemeClr val="bg1"/>
                </a:solidFill>
              </a:defRPr>
            </a:lvl1pPr>
          </a:lstStyle>
          <a:p>
            <a:pPr lvl="0"/>
            <a:r>
              <a:rPr lang="en-GB"/>
              <a:t>.</a:t>
            </a:r>
          </a:p>
        </p:txBody>
      </p:sp>
      <p:sp>
        <p:nvSpPr>
          <p:cNvPr id="2" name="Title 1">
            <a:extLst>
              <a:ext uri="{FF2B5EF4-FFF2-40B4-BE49-F238E27FC236}">
                <a16:creationId xmlns:a16="http://schemas.microsoft.com/office/drawing/2014/main" id="{132FF2D7-2114-4325-91AC-85537DFE5DCA}"/>
              </a:ext>
            </a:extLst>
          </p:cNvPr>
          <p:cNvSpPr>
            <a:spLocks noGrp="1"/>
          </p:cNvSpPr>
          <p:nvPr>
            <p:ph type="title" hasCustomPrompt="1"/>
          </p:nvPr>
        </p:nvSpPr>
        <p:spPr>
          <a:xfrm>
            <a:off x="2020331" y="3069312"/>
            <a:ext cx="9044596" cy="2999173"/>
          </a:xfrm>
          <a:prstGeom prst="roundRect">
            <a:avLst>
              <a:gd name="adj" fmla="val 5289"/>
            </a:avLst>
          </a:prstGeom>
          <a:solidFill>
            <a:srgbClr val="74BDE9"/>
          </a:solidFill>
        </p:spPr>
        <p:txBody>
          <a:bodyPr wrap="none" lIns="216000" tIns="288000" rIns="216000"/>
          <a:lstStyle>
            <a:lvl1pPr>
              <a:defRPr>
                <a:solidFill>
                  <a:schemeClr val="bg1"/>
                </a:solidFill>
              </a:defRPr>
            </a:lvl1pPr>
          </a:lstStyle>
          <a:p>
            <a:r>
              <a:rPr lang="en-GB"/>
              <a:t>Click to add title (max. 1 line)</a:t>
            </a:r>
          </a:p>
        </p:txBody>
      </p:sp>
      <p:sp>
        <p:nvSpPr>
          <p:cNvPr id="9" name="Date Placeholder 8">
            <a:extLst>
              <a:ext uri="{FF2B5EF4-FFF2-40B4-BE49-F238E27FC236}">
                <a16:creationId xmlns:a16="http://schemas.microsoft.com/office/drawing/2014/main" id="{DC633999-0D2D-4805-A25C-58E62F837679}"/>
              </a:ext>
            </a:extLst>
          </p:cNvPr>
          <p:cNvSpPr>
            <a:spLocks noGrp="1"/>
          </p:cNvSpPr>
          <p:nvPr>
            <p:ph type="dt" sz="half" idx="15"/>
          </p:nvPr>
        </p:nvSpPr>
        <p:spPr>
          <a:xfrm>
            <a:off x="10183135" y="6491400"/>
            <a:ext cx="512962" cy="102657"/>
          </a:xfrm>
        </p:spPr>
        <p:txBody>
          <a:bodyPr/>
          <a:lstStyle/>
          <a:p>
            <a:fld id="{5E59FE55-C83E-4C7C-BC1E-8676E447CE57}" type="datetime1">
              <a:rPr lang="en-GB" smtClean="0"/>
              <a:t>18/04/2025</a:t>
            </a:fld>
            <a:endParaRPr lang="en-GB"/>
          </a:p>
        </p:txBody>
      </p:sp>
      <p:sp>
        <p:nvSpPr>
          <p:cNvPr id="10" name="Footer Placeholder 9">
            <a:extLst>
              <a:ext uri="{FF2B5EF4-FFF2-40B4-BE49-F238E27FC236}">
                <a16:creationId xmlns:a16="http://schemas.microsoft.com/office/drawing/2014/main" id="{D449560D-79FE-45D7-B225-8727D895F7E8}"/>
              </a:ext>
            </a:extLst>
          </p:cNvPr>
          <p:cNvSpPr>
            <a:spLocks noGrp="1"/>
          </p:cNvSpPr>
          <p:nvPr>
            <p:ph type="ftr" sz="quarter" idx="16"/>
          </p:nvPr>
        </p:nvSpPr>
        <p:spPr/>
        <p:txBody>
          <a:bodyPr/>
          <a:lstStyle/>
          <a:p>
            <a:r>
              <a:rPr lang="en-GB"/>
              <a:t>Draft | Internal use only | Confidential</a:t>
            </a:r>
          </a:p>
        </p:txBody>
      </p:sp>
      <p:sp>
        <p:nvSpPr>
          <p:cNvPr id="11" name="Slide Number Placeholder 10">
            <a:extLst>
              <a:ext uri="{FF2B5EF4-FFF2-40B4-BE49-F238E27FC236}">
                <a16:creationId xmlns:a16="http://schemas.microsoft.com/office/drawing/2014/main" id="{97D3D688-1ABC-4F56-B112-D327CB7C11C2}"/>
              </a:ext>
            </a:extLst>
          </p:cNvPr>
          <p:cNvSpPr>
            <a:spLocks noGrp="1"/>
          </p:cNvSpPr>
          <p:nvPr>
            <p:ph type="sldNum" sz="quarter" idx="17"/>
          </p:nvPr>
        </p:nvSpPr>
        <p:spPr/>
        <p:txBody>
          <a:bodyPr/>
          <a:lstStyle/>
          <a:p>
            <a:fld id="{9BE0E23E-9022-4929-B297-EB2777CDBB1F}" type="slidenum">
              <a:rPr lang="en-GB" smtClean="0"/>
              <a:pPr/>
              <a:t>‹#›</a:t>
            </a:fld>
            <a:endParaRPr lang="en-GB"/>
          </a:p>
        </p:txBody>
      </p:sp>
      <p:sp>
        <p:nvSpPr>
          <p:cNvPr id="15" name="FClogo">
            <a:extLst>
              <a:ext uri="{FF2B5EF4-FFF2-40B4-BE49-F238E27FC236}">
                <a16:creationId xmlns:a16="http://schemas.microsoft.com/office/drawing/2014/main" id="{2F88B5D8-C550-40B5-B605-A822C5D64890}"/>
              </a:ext>
            </a:extLst>
          </p:cNvPr>
          <p:cNvSpPr>
            <a:spLocks noGrp="1"/>
          </p:cNvSpPr>
          <p:nvPr>
            <p:ph type="body" sz="quarter" idx="18" hasCustomPrompt="1"/>
          </p:nvPr>
        </p:nvSpPr>
        <p:spPr>
          <a:xfrm>
            <a:off x="12187200" y="6968213"/>
            <a:ext cx="4800" cy="4800"/>
          </a:xfrm>
          <a:noFill/>
        </p:spPr>
        <p:txBody>
          <a:bodyPr/>
          <a:lstStyle>
            <a:lvl1pPr marL="0" indent="0">
              <a:buNone/>
              <a:defRPr sz="133">
                <a:solidFill>
                  <a:schemeClr val="bg1"/>
                </a:solidFill>
              </a:defRPr>
            </a:lvl1pPr>
          </a:lstStyle>
          <a:p>
            <a:pPr lvl="0"/>
            <a:r>
              <a:rPr lang="en-GB"/>
              <a:t>.</a:t>
            </a:r>
          </a:p>
        </p:txBody>
      </p:sp>
      <p:sp>
        <p:nvSpPr>
          <p:cNvPr id="4" name="Text Placeholder 3">
            <a:extLst>
              <a:ext uri="{FF2B5EF4-FFF2-40B4-BE49-F238E27FC236}">
                <a16:creationId xmlns:a16="http://schemas.microsoft.com/office/drawing/2014/main" id="{52EF136C-394A-4F9E-806B-21DB8E39114F}"/>
              </a:ext>
            </a:extLst>
          </p:cNvPr>
          <p:cNvSpPr>
            <a:spLocks noGrp="1"/>
          </p:cNvSpPr>
          <p:nvPr>
            <p:ph type="body" sz="quarter" idx="19" hasCustomPrompt="1"/>
          </p:nvPr>
        </p:nvSpPr>
        <p:spPr>
          <a:xfrm>
            <a:off x="2365854" y="3997538"/>
            <a:ext cx="8353553" cy="1742017"/>
          </a:xfrm>
        </p:spPr>
        <p:txBody>
          <a:bodyPr/>
          <a:lstStyle>
            <a:lvl1pPr>
              <a:buClrTx/>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GB"/>
              <a:t>Click to add text</a:t>
            </a:r>
          </a:p>
          <a:p>
            <a:pPr lvl="1"/>
            <a:r>
              <a:rPr lang="en-GB"/>
              <a:t>Text level 2</a:t>
            </a:r>
          </a:p>
          <a:p>
            <a:pPr lvl="2"/>
            <a:r>
              <a:rPr lang="en-GB"/>
              <a:t>Text level 3</a:t>
            </a:r>
          </a:p>
          <a:p>
            <a:pPr lvl="3"/>
            <a:r>
              <a:rPr lang="en-GB"/>
              <a:t>Text level 4</a:t>
            </a:r>
          </a:p>
          <a:p>
            <a:pPr lvl="4"/>
            <a:r>
              <a:rPr lang="en-GB"/>
              <a:t>Text level 5</a:t>
            </a:r>
          </a:p>
        </p:txBody>
      </p:sp>
    </p:spTree>
    <p:extLst>
      <p:ext uri="{BB962C8B-B14F-4D97-AF65-F5344CB8AC3E}">
        <p14:creationId xmlns:p14="http://schemas.microsoft.com/office/powerpoint/2010/main" val="1035147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4" pos="508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wave, image widescreen -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58EB6CBC-0323-4C01-1DAC-7CDECB6ADE2E}"/>
              </a:ext>
            </a:extLst>
          </p:cNvPr>
          <p:cNvSpPr>
            <a:spLocks noGrp="1"/>
          </p:cNvSpPr>
          <p:nvPr>
            <p:ph type="pic" sz="quarter" idx="19"/>
          </p:nvPr>
        </p:nvSpPr>
        <p:spPr>
          <a:xfrm>
            <a:off x="0" y="0"/>
            <a:ext cx="12192000" cy="6858000"/>
          </a:xfrm>
          <a:prstGeom prst="rect">
            <a:avLst/>
          </a:prstGeom>
          <a:solidFill>
            <a:schemeClr val="tx1">
              <a:lumMod val="20000"/>
              <a:lumOff val="80000"/>
            </a:schemeClr>
          </a:solidFill>
        </p:spPr>
        <p:txBody>
          <a:bodyPr wrap="square" tIns="396000" rIns="0">
            <a:noAutofit/>
          </a:bodyPr>
          <a:lstStyle>
            <a:lvl1pPr marL="0" indent="0" algn="ctr">
              <a:buNone/>
              <a:defRPr/>
            </a:lvl1pPr>
          </a:lstStyle>
          <a:p>
            <a:r>
              <a:rPr lang="en-US"/>
              <a:t>Click icon to add picture</a:t>
            </a:r>
            <a:endParaRPr lang="en-GB"/>
          </a:p>
        </p:txBody>
      </p:sp>
      <p:sp>
        <p:nvSpPr>
          <p:cNvPr id="8" name="Milkwave">
            <a:extLst>
              <a:ext uri="{FF2B5EF4-FFF2-40B4-BE49-F238E27FC236}">
                <a16:creationId xmlns:a16="http://schemas.microsoft.com/office/drawing/2014/main" id="{E14F8055-96B8-4E6A-9377-41C022A5F457}"/>
              </a:ext>
            </a:extLst>
          </p:cNvPr>
          <p:cNvSpPr>
            <a:spLocks noGrp="1"/>
          </p:cNvSpPr>
          <p:nvPr>
            <p:ph type="body" sz="quarter" idx="14" hasCustomPrompt="1"/>
          </p:nvPr>
        </p:nvSpPr>
        <p:spPr>
          <a:xfrm flipV="1">
            <a:off x="0" y="4491666"/>
            <a:ext cx="12167936" cy="2364383"/>
          </a:xfrm>
          <a:custGeom>
            <a:avLst/>
            <a:gdLst>
              <a:gd name="connsiteX0" fmla="*/ 0 w 3991782"/>
              <a:gd name="connsiteY0" fmla="*/ 0 h 2824976"/>
              <a:gd name="connsiteX1" fmla="*/ 3991782 w 3991782"/>
              <a:gd name="connsiteY1" fmla="*/ 0 h 2824976"/>
              <a:gd name="connsiteX2" fmla="*/ 3991782 w 3991782"/>
              <a:gd name="connsiteY2" fmla="*/ 2824976 h 2824976"/>
              <a:gd name="connsiteX3" fmla="*/ 0 w 3991782"/>
              <a:gd name="connsiteY3" fmla="*/ 2824976 h 2824976"/>
            </a:gdLst>
            <a:ahLst/>
            <a:cxnLst>
              <a:cxn ang="0">
                <a:pos x="connsiteX0" y="connsiteY0"/>
              </a:cxn>
              <a:cxn ang="0">
                <a:pos x="connsiteX1" y="connsiteY1"/>
              </a:cxn>
              <a:cxn ang="0">
                <a:pos x="connsiteX2" y="connsiteY2"/>
              </a:cxn>
              <a:cxn ang="0">
                <a:pos x="connsiteX3" y="connsiteY3"/>
              </a:cxn>
            </a:cxnLst>
            <a:rect l="l" t="t" r="r" b="b"/>
            <a:pathLst>
              <a:path w="3991782" h="2824976">
                <a:moveTo>
                  <a:pt x="0" y="0"/>
                </a:moveTo>
                <a:lnTo>
                  <a:pt x="3991782" y="0"/>
                </a:lnTo>
                <a:lnTo>
                  <a:pt x="3991782" y="2824976"/>
                </a:lnTo>
                <a:lnTo>
                  <a:pt x="0" y="2824976"/>
                </a:lnTo>
                <a:close/>
              </a:path>
            </a:pathLst>
          </a:custGeom>
          <a:blipFill dpi="0" rotWithShape="1">
            <a:blip r:embed="rId2">
              <a:extLst>
                <a:ext uri="{28A0092B-C50C-407E-A947-70E740481C1C}">
                  <a14:useLocalDpi xmlns:a14="http://schemas.microsoft.com/office/drawing/2010/main" val="0"/>
                </a:ext>
              </a:extLst>
            </a:blip>
            <a:srcRect/>
            <a:stretch>
              <a:fillRect l="-198" t="-1100"/>
            </a:stretch>
          </a:blipFill>
        </p:spPr>
        <p:txBody>
          <a:bodyPr wrap="square">
            <a:noAutofit/>
          </a:bodyPr>
          <a:lstStyle>
            <a:lvl1pPr marL="0" indent="0">
              <a:buNone/>
              <a:defRPr sz="133">
                <a:solidFill>
                  <a:schemeClr val="bg1"/>
                </a:solidFill>
              </a:defRPr>
            </a:lvl1pPr>
          </a:lstStyle>
          <a:p>
            <a:pPr lvl="0"/>
            <a:r>
              <a:rPr lang="en-GB"/>
              <a:t>.</a:t>
            </a:r>
          </a:p>
        </p:txBody>
      </p:sp>
      <p:sp>
        <p:nvSpPr>
          <p:cNvPr id="2" name="Title 1">
            <a:extLst>
              <a:ext uri="{FF2B5EF4-FFF2-40B4-BE49-F238E27FC236}">
                <a16:creationId xmlns:a16="http://schemas.microsoft.com/office/drawing/2014/main" id="{132FF2D7-2114-4325-91AC-85537DFE5DCA}"/>
              </a:ext>
            </a:extLst>
          </p:cNvPr>
          <p:cNvSpPr>
            <a:spLocks noGrp="1"/>
          </p:cNvSpPr>
          <p:nvPr>
            <p:ph type="title" hasCustomPrompt="1"/>
          </p:nvPr>
        </p:nvSpPr>
        <p:spPr>
          <a:xfrm>
            <a:off x="580294" y="5296137"/>
            <a:ext cx="6463975" cy="979297"/>
          </a:xfrm>
        </p:spPr>
        <p:txBody>
          <a:bodyPr/>
          <a:lstStyle/>
          <a:p>
            <a:r>
              <a:rPr lang="en-GB"/>
              <a:t>Click to add title</a:t>
            </a:r>
          </a:p>
        </p:txBody>
      </p:sp>
      <p:sp>
        <p:nvSpPr>
          <p:cNvPr id="9" name="Date Placeholder 8">
            <a:extLst>
              <a:ext uri="{FF2B5EF4-FFF2-40B4-BE49-F238E27FC236}">
                <a16:creationId xmlns:a16="http://schemas.microsoft.com/office/drawing/2014/main" id="{DC633999-0D2D-4805-A25C-58E62F837679}"/>
              </a:ext>
            </a:extLst>
          </p:cNvPr>
          <p:cNvSpPr>
            <a:spLocks noGrp="1"/>
          </p:cNvSpPr>
          <p:nvPr>
            <p:ph type="dt" sz="half" idx="15"/>
          </p:nvPr>
        </p:nvSpPr>
        <p:spPr>
          <a:xfrm>
            <a:off x="10183135" y="6491400"/>
            <a:ext cx="512962" cy="102657"/>
          </a:xfrm>
        </p:spPr>
        <p:txBody>
          <a:bodyPr/>
          <a:lstStyle/>
          <a:p>
            <a:fld id="{C372D187-16D5-484A-AEA4-23D4CD9DC564}" type="datetime1">
              <a:rPr lang="en-GB" smtClean="0"/>
              <a:t>18/04/2025</a:t>
            </a:fld>
            <a:endParaRPr lang="en-GB"/>
          </a:p>
        </p:txBody>
      </p:sp>
      <p:sp>
        <p:nvSpPr>
          <p:cNvPr id="10" name="Footer Placeholder 9">
            <a:extLst>
              <a:ext uri="{FF2B5EF4-FFF2-40B4-BE49-F238E27FC236}">
                <a16:creationId xmlns:a16="http://schemas.microsoft.com/office/drawing/2014/main" id="{D449560D-79FE-45D7-B225-8727D895F7E8}"/>
              </a:ext>
            </a:extLst>
          </p:cNvPr>
          <p:cNvSpPr>
            <a:spLocks noGrp="1"/>
          </p:cNvSpPr>
          <p:nvPr>
            <p:ph type="ftr" sz="quarter" idx="16"/>
          </p:nvPr>
        </p:nvSpPr>
        <p:spPr/>
        <p:txBody>
          <a:bodyPr/>
          <a:lstStyle/>
          <a:p>
            <a:r>
              <a:rPr lang="en-GB"/>
              <a:t>Draft | Internal use only | Confidential</a:t>
            </a:r>
          </a:p>
        </p:txBody>
      </p:sp>
      <p:sp>
        <p:nvSpPr>
          <p:cNvPr id="11" name="Slide Number Placeholder 10">
            <a:extLst>
              <a:ext uri="{FF2B5EF4-FFF2-40B4-BE49-F238E27FC236}">
                <a16:creationId xmlns:a16="http://schemas.microsoft.com/office/drawing/2014/main" id="{97D3D688-1ABC-4F56-B112-D327CB7C11C2}"/>
              </a:ext>
            </a:extLst>
          </p:cNvPr>
          <p:cNvSpPr>
            <a:spLocks noGrp="1"/>
          </p:cNvSpPr>
          <p:nvPr>
            <p:ph type="sldNum" sz="quarter" idx="17"/>
          </p:nvPr>
        </p:nvSpPr>
        <p:spPr/>
        <p:txBody>
          <a:bodyPr/>
          <a:lstStyle/>
          <a:p>
            <a:fld id="{9BE0E23E-9022-4929-B297-EB2777CDBB1F}" type="slidenum">
              <a:rPr lang="en-GB" smtClean="0"/>
              <a:pPr/>
              <a:t>‹#›</a:t>
            </a:fld>
            <a:endParaRPr lang="en-GB"/>
          </a:p>
        </p:txBody>
      </p:sp>
      <p:sp>
        <p:nvSpPr>
          <p:cNvPr id="15" name="FClogo">
            <a:extLst>
              <a:ext uri="{FF2B5EF4-FFF2-40B4-BE49-F238E27FC236}">
                <a16:creationId xmlns:a16="http://schemas.microsoft.com/office/drawing/2014/main" id="{2F88B5D8-C550-40B5-B605-A822C5D64890}"/>
              </a:ext>
            </a:extLst>
          </p:cNvPr>
          <p:cNvSpPr>
            <a:spLocks noGrp="1"/>
          </p:cNvSpPr>
          <p:nvPr>
            <p:ph type="body" sz="quarter" idx="18" hasCustomPrompt="1"/>
          </p:nvPr>
        </p:nvSpPr>
        <p:spPr>
          <a:xfrm>
            <a:off x="12187200" y="6979859"/>
            <a:ext cx="4800" cy="4800"/>
          </a:xfrm>
          <a:noFill/>
        </p:spPr>
        <p:txBody>
          <a:bodyPr/>
          <a:lstStyle>
            <a:lvl1pPr marL="0" indent="0">
              <a:buNone/>
              <a:defRPr sz="133">
                <a:solidFill>
                  <a:schemeClr val="bg1"/>
                </a:solidFill>
              </a:defRPr>
            </a:lvl1pPr>
          </a:lstStyle>
          <a:p>
            <a:pPr lvl="0"/>
            <a:r>
              <a:rPr lang="en-GB"/>
              <a:t>.</a:t>
            </a:r>
          </a:p>
        </p:txBody>
      </p:sp>
    </p:spTree>
    <p:extLst>
      <p:ext uri="{BB962C8B-B14F-4D97-AF65-F5344CB8AC3E}">
        <p14:creationId xmlns:p14="http://schemas.microsoft.com/office/powerpoint/2010/main" val="2186809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and wave, image widescreen - 2">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A502EA0-D83D-16A4-DB4E-7219EA1EAC0E}"/>
              </a:ext>
            </a:extLst>
          </p:cNvPr>
          <p:cNvSpPr>
            <a:spLocks noGrp="1"/>
          </p:cNvSpPr>
          <p:nvPr>
            <p:ph type="pic" sz="quarter" idx="19"/>
          </p:nvPr>
        </p:nvSpPr>
        <p:spPr>
          <a:xfrm>
            <a:off x="0" y="0"/>
            <a:ext cx="12192000" cy="6858000"/>
          </a:xfrm>
          <a:prstGeom prst="rect">
            <a:avLst/>
          </a:prstGeom>
          <a:solidFill>
            <a:schemeClr val="tx1">
              <a:lumMod val="20000"/>
              <a:lumOff val="80000"/>
            </a:schemeClr>
          </a:solidFill>
        </p:spPr>
        <p:txBody>
          <a:bodyPr wrap="square" lIns="432000" tIns="396000" rIns="0">
            <a:noAutofit/>
          </a:bodyPr>
          <a:lstStyle>
            <a:lvl1pPr marL="0" indent="0" algn="l">
              <a:buNone/>
              <a:defRPr/>
            </a:lvl1pPr>
          </a:lstStyle>
          <a:p>
            <a:r>
              <a:rPr lang="en-US"/>
              <a:t>Click icon to add picture</a:t>
            </a:r>
            <a:endParaRPr lang="en-GB"/>
          </a:p>
        </p:txBody>
      </p:sp>
      <p:sp>
        <p:nvSpPr>
          <p:cNvPr id="7" name="Text Placeholder 20">
            <a:extLst>
              <a:ext uri="{FF2B5EF4-FFF2-40B4-BE49-F238E27FC236}">
                <a16:creationId xmlns:a16="http://schemas.microsoft.com/office/drawing/2014/main" id="{266AE978-B013-4124-936B-004A81FA2DDF}"/>
              </a:ext>
            </a:extLst>
          </p:cNvPr>
          <p:cNvSpPr>
            <a:spLocks noGrp="1"/>
          </p:cNvSpPr>
          <p:nvPr>
            <p:ph type="body" sz="quarter" idx="14" hasCustomPrompt="1"/>
          </p:nvPr>
        </p:nvSpPr>
        <p:spPr>
          <a:xfrm flipH="1">
            <a:off x="3488533" y="0"/>
            <a:ext cx="8703467" cy="2333056"/>
          </a:xfrm>
          <a:custGeom>
            <a:avLst/>
            <a:gdLst>
              <a:gd name="connsiteX0" fmla="*/ 0 w 3991782"/>
              <a:gd name="connsiteY0" fmla="*/ 0 h 2824976"/>
              <a:gd name="connsiteX1" fmla="*/ 3991782 w 3991782"/>
              <a:gd name="connsiteY1" fmla="*/ 0 h 2824976"/>
              <a:gd name="connsiteX2" fmla="*/ 3991782 w 3991782"/>
              <a:gd name="connsiteY2" fmla="*/ 2824976 h 2824976"/>
              <a:gd name="connsiteX3" fmla="*/ 0 w 3991782"/>
              <a:gd name="connsiteY3" fmla="*/ 2824976 h 2824976"/>
            </a:gdLst>
            <a:ahLst/>
            <a:cxnLst>
              <a:cxn ang="0">
                <a:pos x="connsiteX0" y="connsiteY0"/>
              </a:cxn>
              <a:cxn ang="0">
                <a:pos x="connsiteX1" y="connsiteY1"/>
              </a:cxn>
              <a:cxn ang="0">
                <a:pos x="connsiteX2" y="connsiteY2"/>
              </a:cxn>
              <a:cxn ang="0">
                <a:pos x="connsiteX3" y="connsiteY3"/>
              </a:cxn>
            </a:cxnLst>
            <a:rect l="l" t="t" r="r" b="b"/>
            <a:pathLst>
              <a:path w="3991782" h="2824976">
                <a:moveTo>
                  <a:pt x="0" y="0"/>
                </a:moveTo>
                <a:lnTo>
                  <a:pt x="3991782" y="0"/>
                </a:lnTo>
                <a:lnTo>
                  <a:pt x="3991782" y="2824976"/>
                </a:lnTo>
                <a:lnTo>
                  <a:pt x="0" y="2824976"/>
                </a:lnTo>
                <a:close/>
              </a:path>
            </a:pathLst>
          </a:custGeom>
          <a:blipFill dpi="0" rotWithShape="1">
            <a:blip r:embed="rId2">
              <a:extLst>
                <a:ext uri="{28A0092B-C50C-407E-A947-70E740481C1C}">
                  <a14:useLocalDpi xmlns:a14="http://schemas.microsoft.com/office/drawing/2010/main" val="0"/>
                </a:ext>
              </a:extLst>
            </a:blip>
            <a:srcRect/>
            <a:stretch>
              <a:fillRect l="-276" t="-1031" b="1"/>
            </a:stretch>
          </a:blipFill>
        </p:spPr>
        <p:txBody>
          <a:bodyPr wrap="square">
            <a:noAutofit/>
          </a:bodyPr>
          <a:lstStyle>
            <a:lvl1pPr marL="0" indent="0">
              <a:buNone/>
              <a:defRPr sz="133">
                <a:solidFill>
                  <a:schemeClr val="bg1"/>
                </a:solidFill>
              </a:defRPr>
            </a:lvl1pPr>
          </a:lstStyle>
          <a:p>
            <a:pPr lvl="0"/>
            <a:r>
              <a:rPr lang="en-GB"/>
              <a:t>.</a:t>
            </a:r>
          </a:p>
        </p:txBody>
      </p:sp>
      <p:sp>
        <p:nvSpPr>
          <p:cNvPr id="2" name="Title 1">
            <a:extLst>
              <a:ext uri="{FF2B5EF4-FFF2-40B4-BE49-F238E27FC236}">
                <a16:creationId xmlns:a16="http://schemas.microsoft.com/office/drawing/2014/main" id="{ABB7349F-CB96-4DCF-A606-1837C14A752C}"/>
              </a:ext>
            </a:extLst>
          </p:cNvPr>
          <p:cNvSpPr>
            <a:spLocks noGrp="1"/>
          </p:cNvSpPr>
          <p:nvPr>
            <p:ph type="title" hasCustomPrompt="1"/>
          </p:nvPr>
        </p:nvSpPr>
        <p:spPr>
          <a:xfrm>
            <a:off x="7306214" y="548219"/>
            <a:ext cx="4310055" cy="1056215"/>
          </a:xfrm>
        </p:spPr>
        <p:txBody>
          <a:bodyPr/>
          <a:lstStyle>
            <a:lvl1pPr algn="r">
              <a:defRPr/>
            </a:lvl1pPr>
          </a:lstStyle>
          <a:p>
            <a:r>
              <a:rPr lang="en-GB"/>
              <a:t>Click to add a short title</a:t>
            </a:r>
          </a:p>
        </p:txBody>
      </p:sp>
    </p:spTree>
    <p:extLst>
      <p:ext uri="{BB962C8B-B14F-4D97-AF65-F5344CB8AC3E}">
        <p14:creationId xmlns:p14="http://schemas.microsoft.com/office/powerpoint/2010/main" val="2759997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itle, subtitle and objec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a:t>Click to add title</a:t>
            </a:r>
          </a:p>
        </p:txBody>
      </p:sp>
      <p:sp>
        <p:nvSpPr>
          <p:cNvPr id="3" name="Content Placeholder 2"/>
          <p:cNvSpPr>
            <a:spLocks noGrp="1"/>
          </p:cNvSpPr>
          <p:nvPr>
            <p:ph idx="1" hasCustomPrompt="1"/>
          </p:nvPr>
        </p:nvSpPr>
        <p:spPr>
          <a:xfrm>
            <a:off x="580293" y="2077594"/>
            <a:ext cx="11035975" cy="3990892"/>
          </a:xfrm>
        </p:spPr>
        <p:txBody>
          <a:bodyPr/>
          <a:lstStyle/>
          <a:p>
            <a:pPr lvl="0"/>
            <a:r>
              <a:rPr lang="en-GB"/>
              <a:t>Click to add text or object</a:t>
            </a:r>
          </a:p>
          <a:p>
            <a:pPr lvl="1"/>
            <a:r>
              <a:rPr lang="en-GB"/>
              <a:t>Text level 2</a:t>
            </a:r>
          </a:p>
          <a:p>
            <a:pPr lvl="2"/>
            <a:r>
              <a:rPr lang="en-GB"/>
              <a:t>Text level 3</a:t>
            </a:r>
          </a:p>
          <a:p>
            <a:pPr lvl="3"/>
            <a:r>
              <a:rPr lang="en-GB"/>
              <a:t>Text level 4</a:t>
            </a:r>
          </a:p>
          <a:p>
            <a:pPr lvl="4"/>
            <a:r>
              <a:rPr lang="en-GB"/>
              <a:t>Text level 5</a:t>
            </a:r>
          </a:p>
        </p:txBody>
      </p:sp>
      <p:sp>
        <p:nvSpPr>
          <p:cNvPr id="4" name="Date Placeholder 3"/>
          <p:cNvSpPr>
            <a:spLocks noGrp="1"/>
          </p:cNvSpPr>
          <p:nvPr>
            <p:ph type="dt" sz="half" idx="10"/>
          </p:nvPr>
        </p:nvSpPr>
        <p:spPr>
          <a:xfrm>
            <a:off x="10183135" y="6491400"/>
            <a:ext cx="512962" cy="102657"/>
          </a:xfrm>
        </p:spPr>
        <p:txBody>
          <a:bodyPr/>
          <a:lstStyle/>
          <a:p>
            <a:fld id="{0D2601AF-1654-4E18-9CC1-FD024274AAAE}" type="datetime1">
              <a:rPr lang="en-GB" smtClean="0"/>
              <a:t>18/04/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8" name="Tijdelijke aanduiding voor tekst 7">
            <a:extLst>
              <a:ext uri="{FF2B5EF4-FFF2-40B4-BE49-F238E27FC236}">
                <a16:creationId xmlns:a16="http://schemas.microsoft.com/office/drawing/2014/main" id="{F7DBD289-E124-4653-9BF3-FE57FA1AC736}"/>
              </a:ext>
            </a:extLst>
          </p:cNvPr>
          <p:cNvSpPr>
            <a:spLocks noGrp="1"/>
          </p:cNvSpPr>
          <p:nvPr>
            <p:ph type="body" sz="quarter" idx="13" hasCustomPrompt="1"/>
          </p:nvPr>
        </p:nvSpPr>
        <p:spPr>
          <a:xfrm>
            <a:off x="580291" y="1701800"/>
            <a:ext cx="11035200" cy="375792"/>
          </a:xfrm>
        </p:spPr>
        <p:txBody>
          <a:bodyPr wrap="none"/>
          <a:lstStyle>
            <a:lvl1pPr marL="0" indent="0">
              <a:buNone/>
              <a:defRPr>
                <a:solidFill>
                  <a:schemeClr val="accent1"/>
                </a:solidFill>
              </a:defRPr>
            </a:lvl1pPr>
          </a:lstStyle>
          <a:p>
            <a:pPr lvl="0"/>
            <a:r>
              <a:rPr lang="en-GB"/>
              <a:t>Subtitle</a:t>
            </a:r>
          </a:p>
        </p:txBody>
      </p:sp>
    </p:spTree>
    <p:extLst>
      <p:ext uri="{BB962C8B-B14F-4D97-AF65-F5344CB8AC3E}">
        <p14:creationId xmlns:p14="http://schemas.microsoft.com/office/powerpoint/2010/main" val="1633054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Title, subtitle, 2 objec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0293" y="548219"/>
            <a:ext cx="11035975" cy="1036965"/>
          </a:xfrm>
        </p:spPr>
        <p:txBody>
          <a:bodyPr/>
          <a:lstStyle/>
          <a:p>
            <a:r>
              <a:rPr lang="en-GB"/>
              <a:t>Click to add title</a:t>
            </a:r>
          </a:p>
        </p:txBody>
      </p:sp>
      <p:sp>
        <p:nvSpPr>
          <p:cNvPr id="3" name="Content Placeholder 2"/>
          <p:cNvSpPr>
            <a:spLocks noGrp="1"/>
          </p:cNvSpPr>
          <p:nvPr>
            <p:ph sz="half" idx="1" hasCustomPrompt="1"/>
          </p:nvPr>
        </p:nvSpPr>
        <p:spPr>
          <a:xfrm>
            <a:off x="580800" y="2077592"/>
            <a:ext cx="5400000" cy="3994405"/>
          </a:xfrm>
        </p:spPr>
        <p:txBody>
          <a:bodyPr/>
          <a:lstStyle/>
          <a:p>
            <a:pPr lvl="0"/>
            <a:r>
              <a:rPr lang="en-GB"/>
              <a:t>Click to add text or object</a:t>
            </a:r>
          </a:p>
          <a:p>
            <a:pPr lvl="1"/>
            <a:r>
              <a:rPr lang="en-GB"/>
              <a:t>Text level 2</a:t>
            </a:r>
          </a:p>
          <a:p>
            <a:pPr lvl="2"/>
            <a:r>
              <a:rPr lang="en-GB"/>
              <a:t>Text level 3</a:t>
            </a:r>
          </a:p>
          <a:p>
            <a:pPr lvl="3"/>
            <a:r>
              <a:rPr lang="en-GB"/>
              <a:t>Text level 4</a:t>
            </a:r>
          </a:p>
          <a:p>
            <a:pPr lvl="4"/>
            <a:r>
              <a:rPr lang="en-GB"/>
              <a:t>Text level 5</a:t>
            </a:r>
          </a:p>
        </p:txBody>
      </p:sp>
      <p:sp>
        <p:nvSpPr>
          <p:cNvPr id="4" name="Content Placeholder 3"/>
          <p:cNvSpPr>
            <a:spLocks noGrp="1"/>
          </p:cNvSpPr>
          <p:nvPr>
            <p:ph sz="half" idx="2" hasCustomPrompt="1"/>
          </p:nvPr>
        </p:nvSpPr>
        <p:spPr>
          <a:xfrm>
            <a:off x="6216265" y="2077592"/>
            <a:ext cx="5400000" cy="3994405"/>
          </a:xfrm>
        </p:spPr>
        <p:txBody>
          <a:bodyPr/>
          <a:lstStyle/>
          <a:p>
            <a:pPr lvl="0"/>
            <a:r>
              <a:rPr lang="en-GB"/>
              <a:t>Click to add text or object</a:t>
            </a:r>
          </a:p>
          <a:p>
            <a:pPr lvl="1"/>
            <a:r>
              <a:rPr lang="en-GB"/>
              <a:t>Text level 2</a:t>
            </a:r>
          </a:p>
          <a:p>
            <a:pPr lvl="2"/>
            <a:r>
              <a:rPr lang="en-GB"/>
              <a:t>Text level 3</a:t>
            </a:r>
          </a:p>
          <a:p>
            <a:pPr lvl="3"/>
            <a:r>
              <a:rPr lang="en-GB"/>
              <a:t>Text level 4</a:t>
            </a:r>
          </a:p>
          <a:p>
            <a:pPr lvl="4"/>
            <a:r>
              <a:rPr lang="en-GB"/>
              <a:t>Text level 5</a:t>
            </a:r>
          </a:p>
          <a:p>
            <a:pPr lvl="4"/>
            <a:endParaRPr lang="en-GB"/>
          </a:p>
        </p:txBody>
      </p:sp>
      <p:sp>
        <p:nvSpPr>
          <p:cNvPr id="5" name="Date Placeholder 4"/>
          <p:cNvSpPr>
            <a:spLocks noGrp="1"/>
          </p:cNvSpPr>
          <p:nvPr>
            <p:ph type="dt" sz="half" idx="10"/>
          </p:nvPr>
        </p:nvSpPr>
        <p:spPr>
          <a:xfrm>
            <a:off x="10183135" y="6491400"/>
            <a:ext cx="512962" cy="102657"/>
          </a:xfrm>
        </p:spPr>
        <p:txBody>
          <a:bodyPr/>
          <a:lstStyle/>
          <a:p>
            <a:fld id="{0E79A51E-32BD-4051-8CF5-EDA2D0FC3913}" type="datetime1">
              <a:rPr lang="en-GB" smtClean="0"/>
              <a:t>18/04/2025</a:t>
            </a:fld>
            <a:endParaRPr lang="en-GB"/>
          </a:p>
        </p:txBody>
      </p:sp>
      <p:sp>
        <p:nvSpPr>
          <p:cNvPr id="6" name="Footer Placeholder 5"/>
          <p:cNvSpPr>
            <a:spLocks noGrp="1"/>
          </p:cNvSpPr>
          <p:nvPr>
            <p:ph type="ftr" sz="quarter" idx="11"/>
          </p:nvPr>
        </p:nvSpPr>
        <p:spPr/>
        <p:txBody>
          <a:bodyPr/>
          <a:lstStyle/>
          <a:p>
            <a:r>
              <a:rPr lang="en-GB"/>
              <a:t>Draft | Internal use only | Confidential</a:t>
            </a:r>
          </a:p>
        </p:txBody>
      </p:sp>
      <p:sp>
        <p:nvSpPr>
          <p:cNvPr id="7" name="Slide Number Placeholder 6"/>
          <p:cNvSpPr>
            <a:spLocks noGrp="1"/>
          </p:cNvSpPr>
          <p:nvPr>
            <p:ph type="sldNum" sz="quarter" idx="12"/>
          </p:nvPr>
        </p:nvSpPr>
        <p:spPr/>
        <p:txBody>
          <a:bodyPr/>
          <a:lstStyle/>
          <a:p>
            <a:fld id="{9BE0E23E-9022-4929-B297-EB2777CDBB1F}" type="slidenum">
              <a:rPr lang="en-GB" smtClean="0"/>
              <a:t>‹#›</a:t>
            </a:fld>
            <a:endParaRPr lang="en-GB"/>
          </a:p>
        </p:txBody>
      </p:sp>
      <p:sp>
        <p:nvSpPr>
          <p:cNvPr id="9" name="Tijdelijke aanduiding voor tekst 7">
            <a:extLst>
              <a:ext uri="{FF2B5EF4-FFF2-40B4-BE49-F238E27FC236}">
                <a16:creationId xmlns:a16="http://schemas.microsoft.com/office/drawing/2014/main" id="{27508BEF-285C-40D0-8A0C-EE0B84C47D52}"/>
              </a:ext>
            </a:extLst>
          </p:cNvPr>
          <p:cNvSpPr>
            <a:spLocks noGrp="1"/>
          </p:cNvSpPr>
          <p:nvPr>
            <p:ph type="body" sz="quarter" idx="13" hasCustomPrompt="1"/>
          </p:nvPr>
        </p:nvSpPr>
        <p:spPr>
          <a:xfrm>
            <a:off x="580291" y="1701800"/>
            <a:ext cx="5400000" cy="375792"/>
          </a:xfrm>
        </p:spPr>
        <p:txBody>
          <a:bodyPr wrap="none"/>
          <a:lstStyle>
            <a:lvl1pPr marL="0" indent="0">
              <a:buNone/>
              <a:defRPr>
                <a:solidFill>
                  <a:schemeClr val="accent1"/>
                </a:solidFill>
              </a:defRPr>
            </a:lvl1pPr>
          </a:lstStyle>
          <a:p>
            <a:pPr lvl="0"/>
            <a:r>
              <a:rPr lang="en-GB"/>
              <a:t>Subtitle</a:t>
            </a:r>
          </a:p>
        </p:txBody>
      </p:sp>
      <p:sp>
        <p:nvSpPr>
          <p:cNvPr id="10" name="Tijdelijke aanduiding voor tekst 7">
            <a:extLst>
              <a:ext uri="{FF2B5EF4-FFF2-40B4-BE49-F238E27FC236}">
                <a16:creationId xmlns:a16="http://schemas.microsoft.com/office/drawing/2014/main" id="{9913EE84-7DEC-4A2D-AD57-9B4798154DE0}"/>
              </a:ext>
            </a:extLst>
          </p:cNvPr>
          <p:cNvSpPr>
            <a:spLocks noGrp="1"/>
          </p:cNvSpPr>
          <p:nvPr>
            <p:ph type="body" sz="quarter" idx="14" hasCustomPrompt="1"/>
          </p:nvPr>
        </p:nvSpPr>
        <p:spPr>
          <a:xfrm>
            <a:off x="6216264" y="1703997"/>
            <a:ext cx="5400000" cy="375792"/>
          </a:xfrm>
        </p:spPr>
        <p:txBody>
          <a:bodyPr wrap="none"/>
          <a:lstStyle>
            <a:lvl1pPr marL="0" indent="0">
              <a:buNone/>
              <a:defRPr>
                <a:solidFill>
                  <a:schemeClr val="accent1"/>
                </a:solidFill>
              </a:defRPr>
            </a:lvl1pPr>
          </a:lstStyle>
          <a:p>
            <a:pPr lvl="0"/>
            <a:r>
              <a:rPr lang="en-GB"/>
              <a:t>Subtitle</a:t>
            </a:r>
          </a:p>
        </p:txBody>
      </p:sp>
    </p:spTree>
    <p:extLst>
      <p:ext uri="{BB962C8B-B14F-4D97-AF65-F5344CB8AC3E}">
        <p14:creationId xmlns:p14="http://schemas.microsoft.com/office/powerpoint/2010/main" val="1324478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itle, text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0293" y="548219"/>
            <a:ext cx="11035975" cy="1036965"/>
          </a:xfrm>
        </p:spPr>
        <p:txBody>
          <a:bodyPr/>
          <a:lstStyle/>
          <a:p>
            <a:r>
              <a:rPr lang="en-GB"/>
              <a:t>Click to add title</a:t>
            </a:r>
          </a:p>
        </p:txBody>
      </p:sp>
      <p:sp>
        <p:nvSpPr>
          <p:cNvPr id="3" name="Content Placeholder 2"/>
          <p:cNvSpPr>
            <a:spLocks noGrp="1"/>
          </p:cNvSpPr>
          <p:nvPr>
            <p:ph sz="half" idx="1" hasCustomPrompt="1"/>
          </p:nvPr>
        </p:nvSpPr>
        <p:spPr>
          <a:xfrm>
            <a:off x="580800" y="1703997"/>
            <a:ext cx="5400000" cy="4368000"/>
          </a:xfrm>
        </p:spPr>
        <p:txBody>
          <a:bodyPr/>
          <a:lstStyle/>
          <a:p>
            <a:pPr lvl="0"/>
            <a:r>
              <a:rPr lang="en-GB"/>
              <a:t>Click to add text or object</a:t>
            </a:r>
          </a:p>
          <a:p>
            <a:pPr lvl="1"/>
            <a:r>
              <a:rPr lang="en-GB"/>
              <a:t>Text level 2</a:t>
            </a:r>
          </a:p>
          <a:p>
            <a:pPr lvl="2"/>
            <a:r>
              <a:rPr lang="en-GB"/>
              <a:t>Text level 3</a:t>
            </a:r>
          </a:p>
          <a:p>
            <a:pPr lvl="3"/>
            <a:r>
              <a:rPr lang="en-GB"/>
              <a:t>Text level 4</a:t>
            </a:r>
          </a:p>
          <a:p>
            <a:pPr lvl="4"/>
            <a:r>
              <a:rPr lang="en-GB"/>
              <a:t>Text level 5</a:t>
            </a:r>
          </a:p>
          <a:p>
            <a:pPr lvl="4"/>
            <a:endParaRPr lang="en-GB"/>
          </a:p>
        </p:txBody>
      </p:sp>
      <p:sp>
        <p:nvSpPr>
          <p:cNvPr id="5" name="Date Placeholder 4"/>
          <p:cNvSpPr>
            <a:spLocks noGrp="1"/>
          </p:cNvSpPr>
          <p:nvPr>
            <p:ph type="dt" sz="half" idx="10"/>
          </p:nvPr>
        </p:nvSpPr>
        <p:spPr>
          <a:xfrm>
            <a:off x="10183135" y="6491400"/>
            <a:ext cx="512962" cy="102657"/>
          </a:xfrm>
        </p:spPr>
        <p:txBody>
          <a:bodyPr/>
          <a:lstStyle/>
          <a:p>
            <a:fld id="{44E3286E-35D7-426C-96BC-AD57269E167B}" type="datetime1">
              <a:rPr lang="en-GB" smtClean="0"/>
              <a:t>18/04/2025</a:t>
            </a:fld>
            <a:endParaRPr lang="en-GB"/>
          </a:p>
        </p:txBody>
      </p:sp>
      <p:sp>
        <p:nvSpPr>
          <p:cNvPr id="6" name="Footer Placeholder 5"/>
          <p:cNvSpPr>
            <a:spLocks noGrp="1"/>
          </p:cNvSpPr>
          <p:nvPr>
            <p:ph type="ftr" sz="quarter" idx="11"/>
          </p:nvPr>
        </p:nvSpPr>
        <p:spPr/>
        <p:txBody>
          <a:bodyPr/>
          <a:lstStyle/>
          <a:p>
            <a:r>
              <a:rPr lang="en-GB"/>
              <a:t>Draft | Internal use only | Confidential</a:t>
            </a:r>
          </a:p>
        </p:txBody>
      </p:sp>
      <p:sp>
        <p:nvSpPr>
          <p:cNvPr id="7" name="Slide Number Placeholder 6"/>
          <p:cNvSpPr>
            <a:spLocks noGrp="1"/>
          </p:cNvSpPr>
          <p:nvPr>
            <p:ph type="sldNum" sz="quarter" idx="12"/>
          </p:nvPr>
        </p:nvSpPr>
        <p:spPr/>
        <p:txBody>
          <a:bodyPr/>
          <a:lstStyle/>
          <a:p>
            <a:fld id="{9BE0E23E-9022-4929-B297-EB2777CDBB1F}" type="slidenum">
              <a:rPr lang="en-GB" smtClean="0"/>
              <a:t>‹#›</a:t>
            </a:fld>
            <a:endParaRPr lang="en-GB"/>
          </a:p>
        </p:txBody>
      </p:sp>
      <p:sp>
        <p:nvSpPr>
          <p:cNvPr id="10" name="Tijdelijke aanduiding voor tabel 8">
            <a:extLst>
              <a:ext uri="{FF2B5EF4-FFF2-40B4-BE49-F238E27FC236}">
                <a16:creationId xmlns:a16="http://schemas.microsoft.com/office/drawing/2014/main" id="{D2E9F6DD-7E2C-4192-BBC9-125146AEF9DA}"/>
              </a:ext>
            </a:extLst>
          </p:cNvPr>
          <p:cNvSpPr>
            <a:spLocks noGrp="1"/>
          </p:cNvSpPr>
          <p:nvPr>
            <p:ph type="tbl" sz="quarter" idx="13"/>
          </p:nvPr>
        </p:nvSpPr>
        <p:spPr>
          <a:xfrm>
            <a:off x="6216652" y="1701800"/>
            <a:ext cx="5394549" cy="4368800"/>
          </a:xfrm>
        </p:spPr>
        <p:txBody>
          <a:bodyPr/>
          <a:lstStyle/>
          <a:p>
            <a:r>
              <a:rPr lang="en-US"/>
              <a:t>Click icon to add table</a:t>
            </a:r>
            <a:endParaRPr lang="en-GB"/>
          </a:p>
        </p:txBody>
      </p:sp>
    </p:spTree>
    <p:extLst>
      <p:ext uri="{BB962C8B-B14F-4D97-AF65-F5344CB8AC3E}">
        <p14:creationId xmlns:p14="http://schemas.microsoft.com/office/powerpoint/2010/main" val="3222817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a:t>Click to add title</a:t>
            </a:r>
          </a:p>
        </p:txBody>
      </p:sp>
      <p:sp>
        <p:nvSpPr>
          <p:cNvPr id="4" name="Date Placeholder 3"/>
          <p:cNvSpPr>
            <a:spLocks noGrp="1"/>
          </p:cNvSpPr>
          <p:nvPr>
            <p:ph type="dt" sz="half" idx="10"/>
          </p:nvPr>
        </p:nvSpPr>
        <p:spPr>
          <a:xfrm>
            <a:off x="10183135" y="6491400"/>
            <a:ext cx="512962" cy="102657"/>
          </a:xfrm>
        </p:spPr>
        <p:txBody>
          <a:bodyPr/>
          <a:lstStyle/>
          <a:p>
            <a:fld id="{77A61874-5157-4959-8142-8EF8639C6BCD}" type="datetime1">
              <a:rPr lang="en-GB" smtClean="0"/>
              <a:t>18/04/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9" name="Tijdelijke aanduiding voor tabel 7">
            <a:extLst>
              <a:ext uri="{FF2B5EF4-FFF2-40B4-BE49-F238E27FC236}">
                <a16:creationId xmlns:a16="http://schemas.microsoft.com/office/drawing/2014/main" id="{DEED083B-6C6C-41E9-9AEE-A277FCC01CE9}"/>
              </a:ext>
            </a:extLst>
          </p:cNvPr>
          <p:cNvSpPr>
            <a:spLocks noGrp="1"/>
          </p:cNvSpPr>
          <p:nvPr>
            <p:ph type="tbl" sz="quarter" idx="13"/>
          </p:nvPr>
        </p:nvSpPr>
        <p:spPr>
          <a:xfrm>
            <a:off x="575735" y="1701802"/>
            <a:ext cx="11035973" cy="4366684"/>
          </a:xfrm>
        </p:spPr>
        <p:txBody>
          <a:bodyPr/>
          <a:lstStyle/>
          <a:p>
            <a:r>
              <a:rPr lang="en-US"/>
              <a:t>Click icon to add table</a:t>
            </a:r>
            <a:endParaRPr lang="en-GB"/>
          </a:p>
        </p:txBody>
      </p:sp>
    </p:spTree>
    <p:extLst>
      <p:ext uri="{BB962C8B-B14F-4D97-AF65-F5344CB8AC3E}">
        <p14:creationId xmlns:p14="http://schemas.microsoft.com/office/powerpoint/2010/main" val="2448313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4" name="Date Placeholder 3"/>
          <p:cNvSpPr>
            <a:spLocks noGrp="1"/>
          </p:cNvSpPr>
          <p:nvPr>
            <p:ph type="dt" sz="half" idx="10"/>
          </p:nvPr>
        </p:nvSpPr>
        <p:spPr/>
        <p:txBody>
          <a:bodyPr/>
          <a:lstStyle/>
          <a:p>
            <a:fld id="{798EF3E8-7EAE-4FEB-A564-301997680182}" type="datetime1">
              <a:rPr lang="en-US" smtClean="0"/>
              <a:t>4/18/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7" name="Text Placeholder 6">
            <a:extLst>
              <a:ext uri="{FF2B5EF4-FFF2-40B4-BE49-F238E27FC236}">
                <a16:creationId xmlns:a16="http://schemas.microsoft.com/office/drawing/2014/main" id="{318419C3-3C32-4E77-A786-DF17E9568A35}"/>
              </a:ext>
            </a:extLst>
          </p:cNvPr>
          <p:cNvSpPr>
            <a:spLocks noGrp="1"/>
          </p:cNvSpPr>
          <p:nvPr>
            <p:ph type="body" sz="quarter" idx="13"/>
          </p:nvPr>
        </p:nvSpPr>
        <p:spPr>
          <a:xfrm>
            <a:off x="575735" y="1701800"/>
            <a:ext cx="11040533" cy="4176184"/>
          </a:xfrm>
        </p:spPr>
        <p:txBody>
          <a:bodyPr/>
          <a:lstStyle>
            <a:lvl1pPr>
              <a:buClr>
                <a:schemeClr val="accent1"/>
              </a:buClr>
              <a:defRPr sz="1467"/>
            </a:lvl1pPr>
            <a:lvl2pPr>
              <a:buClr>
                <a:schemeClr val="accent1"/>
              </a:buClr>
              <a:defRPr sz="1467"/>
            </a:lvl2pPr>
            <a:lvl3pPr>
              <a:buClr>
                <a:schemeClr val="accent1"/>
              </a:buClr>
              <a:defRPr sz="1467"/>
            </a:lvl3pPr>
            <a:lvl4pPr>
              <a:buClr>
                <a:schemeClr val="accent1"/>
              </a:buClr>
              <a:defRPr sz="1467"/>
            </a:lvl4pPr>
            <a:lvl5pPr>
              <a:buClr>
                <a:schemeClr val="accent1"/>
              </a:buCl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9195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bject, image right - 4 ">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C3F007B-22A5-FE4A-0521-0AF0B1BD41B2}"/>
              </a:ext>
            </a:extLst>
          </p:cNvPr>
          <p:cNvSpPr/>
          <p:nvPr userDrawn="1"/>
        </p:nvSpPr>
        <p:spPr>
          <a:xfrm>
            <a:off x="0" y="1"/>
            <a:ext cx="12192000" cy="6068484"/>
          </a:xfrm>
          <a:prstGeom prst="rect">
            <a:avLst/>
          </a:prstGeom>
          <a:solidFill>
            <a:srgbClr val="EEF3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2000"/>
              </a:lnSpc>
            </a:pPr>
            <a:endParaRPr lang="en-GB" sz="1867"/>
          </a:p>
        </p:txBody>
      </p:sp>
      <p:pic>
        <p:nvPicPr>
          <p:cNvPr id="15" name="Graphic 14">
            <a:extLst>
              <a:ext uri="{FF2B5EF4-FFF2-40B4-BE49-F238E27FC236}">
                <a16:creationId xmlns:a16="http://schemas.microsoft.com/office/drawing/2014/main" id="{B499055B-F162-13F2-1FDB-A6B57233D6A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411195" y="1723200"/>
            <a:ext cx="4205069" cy="4106712"/>
          </a:xfrm>
          <a:prstGeom prst="rect">
            <a:avLst/>
          </a:prstGeom>
        </p:spPr>
      </p:pic>
      <p:sp>
        <p:nvSpPr>
          <p:cNvPr id="2" name="Title 1"/>
          <p:cNvSpPr>
            <a:spLocks noGrp="1"/>
          </p:cNvSpPr>
          <p:nvPr>
            <p:ph type="title" hasCustomPrompt="1"/>
          </p:nvPr>
        </p:nvSpPr>
        <p:spPr>
          <a:xfrm>
            <a:off x="580291" y="548218"/>
            <a:ext cx="11035975" cy="1036965"/>
          </a:xfrm>
        </p:spPr>
        <p:txBody>
          <a:bodyPr/>
          <a:lstStyle/>
          <a:p>
            <a:r>
              <a:rPr lang="en-GB"/>
              <a:t>Click to add title</a:t>
            </a:r>
          </a:p>
        </p:txBody>
      </p:sp>
      <p:sp>
        <p:nvSpPr>
          <p:cNvPr id="3" name="Content Placeholder 2"/>
          <p:cNvSpPr>
            <a:spLocks noGrp="1"/>
          </p:cNvSpPr>
          <p:nvPr>
            <p:ph idx="1" hasCustomPrompt="1"/>
          </p:nvPr>
        </p:nvSpPr>
        <p:spPr>
          <a:xfrm>
            <a:off x="580291" y="1701801"/>
            <a:ext cx="6338572" cy="4366684"/>
          </a:xfrm>
        </p:spPr>
        <p:txBody>
          <a:bodyPr/>
          <a:lstStyle>
            <a:lvl1pPr>
              <a:defRPr/>
            </a:lvl1pPr>
          </a:lstStyle>
          <a:p>
            <a:pPr lvl="0"/>
            <a:r>
              <a:rPr lang="en-GB"/>
              <a:t>Click to add text or object</a:t>
            </a:r>
          </a:p>
          <a:p>
            <a:pPr lvl="1"/>
            <a:r>
              <a:rPr lang="en-GB"/>
              <a:t>Text level 2</a:t>
            </a:r>
          </a:p>
          <a:p>
            <a:pPr lvl="2"/>
            <a:r>
              <a:rPr lang="en-GB"/>
              <a:t>Text level 3</a:t>
            </a:r>
          </a:p>
          <a:p>
            <a:pPr lvl="3"/>
            <a:r>
              <a:rPr lang="en-GB"/>
              <a:t>Text level 4</a:t>
            </a:r>
          </a:p>
          <a:p>
            <a:pPr lvl="4"/>
            <a:r>
              <a:rPr lang="en-GB"/>
              <a:t>Text level 5</a:t>
            </a:r>
          </a:p>
        </p:txBody>
      </p:sp>
      <p:sp>
        <p:nvSpPr>
          <p:cNvPr id="4" name="Date Placeholder 3"/>
          <p:cNvSpPr>
            <a:spLocks noGrp="1"/>
          </p:cNvSpPr>
          <p:nvPr>
            <p:ph type="dt" sz="half" idx="10"/>
          </p:nvPr>
        </p:nvSpPr>
        <p:spPr/>
        <p:txBody>
          <a:bodyPr/>
          <a:lstStyle/>
          <a:p>
            <a:fld id="{6F3AAFF5-E54F-4739-A69F-27FD153790D9}" type="datetime1">
              <a:rPr lang="en-GB" smtClean="0"/>
              <a:t>18/04/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16" name="Picture Placeholder 15">
            <a:extLst>
              <a:ext uri="{FF2B5EF4-FFF2-40B4-BE49-F238E27FC236}">
                <a16:creationId xmlns:a16="http://schemas.microsoft.com/office/drawing/2014/main" id="{865AA58E-D40A-0313-6154-7A140A71FE56}"/>
              </a:ext>
            </a:extLst>
          </p:cNvPr>
          <p:cNvSpPr>
            <a:spLocks noGrp="1" noChangeAspect="1"/>
          </p:cNvSpPr>
          <p:nvPr>
            <p:ph type="pic" sz="quarter" idx="14"/>
          </p:nvPr>
        </p:nvSpPr>
        <p:spPr>
          <a:xfrm>
            <a:off x="7585182" y="1893119"/>
            <a:ext cx="3857095" cy="3766876"/>
          </a:xfrm>
          <a:custGeom>
            <a:avLst/>
            <a:gdLst>
              <a:gd name="connsiteX0" fmla="*/ 1678918 w 3335588"/>
              <a:gd name="connsiteY0" fmla="*/ 0 h 3257568"/>
              <a:gd name="connsiteX1" fmla="*/ 2848595 w 3335588"/>
              <a:gd name="connsiteY1" fmla="*/ 461675 h 3257568"/>
              <a:gd name="connsiteX2" fmla="*/ 3335505 w 3335588"/>
              <a:gd name="connsiteY2" fmla="*/ 1629238 h 3257568"/>
              <a:gd name="connsiteX3" fmla="*/ 3335588 w 3335588"/>
              <a:gd name="connsiteY3" fmla="*/ 1629321 h 3257568"/>
              <a:gd name="connsiteX4" fmla="*/ 2837015 w 3335588"/>
              <a:gd name="connsiteY4" fmla="*/ 2785325 h 3257568"/>
              <a:gd name="connsiteX5" fmla="*/ 1678918 w 3335588"/>
              <a:gd name="connsiteY5" fmla="*/ 3257568 h 3257568"/>
              <a:gd name="connsiteX6" fmla="*/ 519580 w 3335588"/>
              <a:gd name="connsiteY6" fmla="*/ 2786563 h 3257568"/>
              <a:gd name="connsiteX7" fmla="*/ 0 w 3335588"/>
              <a:gd name="connsiteY7" fmla="*/ 1629321 h 3257568"/>
              <a:gd name="connsiteX8" fmla="*/ 528596 w 3335588"/>
              <a:gd name="connsiteY8" fmla="*/ 481077 h 3257568"/>
              <a:gd name="connsiteX9" fmla="*/ 1678918 w 3335588"/>
              <a:gd name="connsiteY9" fmla="*/ 0 h 325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35588" h="3257568">
                <a:moveTo>
                  <a:pt x="1678918" y="0"/>
                </a:moveTo>
                <a:cubicBezTo>
                  <a:pt x="2135722" y="0"/>
                  <a:pt x="2549269" y="162891"/>
                  <a:pt x="2848595" y="461675"/>
                </a:cubicBezTo>
                <a:cubicBezTo>
                  <a:pt x="3147920" y="760460"/>
                  <a:pt x="3335505" y="1173342"/>
                  <a:pt x="3335505" y="1629238"/>
                </a:cubicBezTo>
                <a:lnTo>
                  <a:pt x="3335588" y="1629321"/>
                </a:lnTo>
                <a:cubicBezTo>
                  <a:pt x="3335588" y="2085299"/>
                  <a:pt x="3136423" y="2486541"/>
                  <a:pt x="2837015" y="2785325"/>
                </a:cubicBezTo>
                <a:cubicBezTo>
                  <a:pt x="2537690" y="3084110"/>
                  <a:pt x="2135722" y="3257568"/>
                  <a:pt x="1678918" y="3257568"/>
                </a:cubicBezTo>
                <a:cubicBezTo>
                  <a:pt x="1222114" y="3257568"/>
                  <a:pt x="818906" y="3085348"/>
                  <a:pt x="519580" y="2786563"/>
                </a:cubicBezTo>
                <a:cubicBezTo>
                  <a:pt x="220255" y="2487697"/>
                  <a:pt x="0" y="2085299"/>
                  <a:pt x="0" y="1629321"/>
                </a:cubicBezTo>
                <a:cubicBezTo>
                  <a:pt x="0" y="1173342"/>
                  <a:pt x="229270" y="779861"/>
                  <a:pt x="528596" y="481077"/>
                </a:cubicBezTo>
                <a:cubicBezTo>
                  <a:pt x="827921" y="182292"/>
                  <a:pt x="1222114" y="0"/>
                  <a:pt x="1678918" y="0"/>
                </a:cubicBezTo>
                <a:close/>
              </a:path>
            </a:pathLst>
          </a:custGeom>
          <a:solidFill>
            <a:schemeClr val="tx1">
              <a:lumMod val="20000"/>
              <a:lumOff val="80000"/>
            </a:schemeClr>
          </a:solidFill>
        </p:spPr>
        <p:txBody>
          <a:bodyPr wrap="square" tIns="396000">
            <a:noAutofit/>
          </a:bodyPr>
          <a:lstStyle>
            <a:lvl1pPr marL="0" indent="0" algn="ctr">
              <a:buNone/>
              <a:defRPr/>
            </a:lvl1pPr>
          </a:lstStyle>
          <a:p>
            <a:r>
              <a:rPr lang="en-US"/>
              <a:t>Click icon to add picture</a:t>
            </a:r>
            <a:endParaRPr lang="en-GB"/>
          </a:p>
        </p:txBody>
      </p:sp>
    </p:spTree>
    <p:extLst>
      <p:ext uri="{BB962C8B-B14F-4D97-AF65-F5344CB8AC3E}">
        <p14:creationId xmlns:p14="http://schemas.microsoft.com/office/powerpoint/2010/main" val="1962169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Content slide - photo right 1">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F788B93-7253-56F1-FC9B-9C22B8038C2A}"/>
              </a:ext>
            </a:extLst>
          </p:cNvPr>
          <p:cNvSpPr>
            <a:spLocks noGrp="1"/>
          </p:cNvSpPr>
          <p:nvPr>
            <p:ph type="pic" sz="quarter" idx="13"/>
          </p:nvPr>
        </p:nvSpPr>
        <p:spPr>
          <a:xfrm>
            <a:off x="5068740" y="1"/>
            <a:ext cx="7123261" cy="6868924"/>
          </a:xfrm>
          <a:custGeom>
            <a:avLst/>
            <a:gdLst>
              <a:gd name="connsiteX0" fmla="*/ 0 w 7056437"/>
              <a:gd name="connsiteY0" fmla="*/ 1143023 h 6858000"/>
              <a:gd name="connsiteX1" fmla="*/ 1143023 w 7056437"/>
              <a:gd name="connsiteY1" fmla="*/ 0 h 6858000"/>
              <a:gd name="connsiteX2" fmla="*/ 5913414 w 7056437"/>
              <a:gd name="connsiteY2" fmla="*/ 0 h 6858000"/>
              <a:gd name="connsiteX3" fmla="*/ 7056437 w 7056437"/>
              <a:gd name="connsiteY3" fmla="*/ 1143023 h 6858000"/>
              <a:gd name="connsiteX4" fmla="*/ 7056437 w 7056437"/>
              <a:gd name="connsiteY4" fmla="*/ 5714977 h 6858000"/>
              <a:gd name="connsiteX5" fmla="*/ 5913414 w 7056437"/>
              <a:gd name="connsiteY5" fmla="*/ 6858000 h 6858000"/>
              <a:gd name="connsiteX6" fmla="*/ 1143023 w 7056437"/>
              <a:gd name="connsiteY6" fmla="*/ 6858000 h 6858000"/>
              <a:gd name="connsiteX7" fmla="*/ 0 w 7056437"/>
              <a:gd name="connsiteY7" fmla="*/ 5714977 h 6858000"/>
              <a:gd name="connsiteX8" fmla="*/ 0 w 7056437"/>
              <a:gd name="connsiteY8" fmla="*/ 1143023 h 6858000"/>
              <a:gd name="connsiteX0" fmla="*/ 0 w 7056437"/>
              <a:gd name="connsiteY0" fmla="*/ 1143023 h 6858000"/>
              <a:gd name="connsiteX1" fmla="*/ 1143023 w 7056437"/>
              <a:gd name="connsiteY1" fmla="*/ 0 h 6858000"/>
              <a:gd name="connsiteX2" fmla="*/ 5913414 w 7056437"/>
              <a:gd name="connsiteY2" fmla="*/ 0 h 6858000"/>
              <a:gd name="connsiteX3" fmla="*/ 7047472 w 7056437"/>
              <a:gd name="connsiteY3" fmla="*/ 936835 h 6858000"/>
              <a:gd name="connsiteX4" fmla="*/ 7056437 w 7056437"/>
              <a:gd name="connsiteY4" fmla="*/ 5714977 h 6858000"/>
              <a:gd name="connsiteX5" fmla="*/ 5913414 w 7056437"/>
              <a:gd name="connsiteY5" fmla="*/ 6858000 h 6858000"/>
              <a:gd name="connsiteX6" fmla="*/ 1143023 w 7056437"/>
              <a:gd name="connsiteY6" fmla="*/ 6858000 h 6858000"/>
              <a:gd name="connsiteX7" fmla="*/ 0 w 7056437"/>
              <a:gd name="connsiteY7" fmla="*/ 5714977 h 6858000"/>
              <a:gd name="connsiteX8" fmla="*/ 0 w 7056437"/>
              <a:gd name="connsiteY8" fmla="*/ 1143023 h 6858000"/>
              <a:gd name="connsiteX0" fmla="*/ 0 w 7065401"/>
              <a:gd name="connsiteY0" fmla="*/ 1407091 h 7122068"/>
              <a:gd name="connsiteX1" fmla="*/ 1143023 w 7065401"/>
              <a:gd name="connsiteY1" fmla="*/ 264068 h 7122068"/>
              <a:gd name="connsiteX2" fmla="*/ 5913414 w 7065401"/>
              <a:gd name="connsiteY2" fmla="*/ 264068 h 7122068"/>
              <a:gd name="connsiteX3" fmla="*/ 7065401 w 7065401"/>
              <a:gd name="connsiteY3" fmla="*/ 286503 h 7122068"/>
              <a:gd name="connsiteX4" fmla="*/ 7056437 w 7065401"/>
              <a:gd name="connsiteY4" fmla="*/ 5979045 h 7122068"/>
              <a:gd name="connsiteX5" fmla="*/ 5913414 w 7065401"/>
              <a:gd name="connsiteY5" fmla="*/ 7122068 h 7122068"/>
              <a:gd name="connsiteX6" fmla="*/ 1143023 w 7065401"/>
              <a:gd name="connsiteY6" fmla="*/ 7122068 h 7122068"/>
              <a:gd name="connsiteX7" fmla="*/ 0 w 7065401"/>
              <a:gd name="connsiteY7" fmla="*/ 5979045 h 7122068"/>
              <a:gd name="connsiteX8" fmla="*/ 0 w 7065401"/>
              <a:gd name="connsiteY8" fmla="*/ 1407091 h 7122068"/>
              <a:gd name="connsiteX0" fmla="*/ 0 w 7065401"/>
              <a:gd name="connsiteY0" fmla="*/ 1557348 h 7272325"/>
              <a:gd name="connsiteX1" fmla="*/ 1143023 w 7065401"/>
              <a:gd name="connsiteY1" fmla="*/ 414325 h 7272325"/>
              <a:gd name="connsiteX2" fmla="*/ 5913414 w 7065401"/>
              <a:gd name="connsiteY2" fmla="*/ 414325 h 7272325"/>
              <a:gd name="connsiteX3" fmla="*/ 7065401 w 7065401"/>
              <a:gd name="connsiteY3" fmla="*/ 436760 h 7272325"/>
              <a:gd name="connsiteX4" fmla="*/ 7056437 w 7065401"/>
              <a:gd name="connsiteY4" fmla="*/ 6129302 h 7272325"/>
              <a:gd name="connsiteX5" fmla="*/ 5913414 w 7065401"/>
              <a:gd name="connsiteY5" fmla="*/ 7272325 h 7272325"/>
              <a:gd name="connsiteX6" fmla="*/ 1143023 w 7065401"/>
              <a:gd name="connsiteY6" fmla="*/ 7272325 h 7272325"/>
              <a:gd name="connsiteX7" fmla="*/ 0 w 7065401"/>
              <a:gd name="connsiteY7" fmla="*/ 6129302 h 7272325"/>
              <a:gd name="connsiteX8" fmla="*/ 0 w 7065401"/>
              <a:gd name="connsiteY8" fmla="*/ 1557348 h 7272325"/>
              <a:gd name="connsiteX0" fmla="*/ 0 w 7065401"/>
              <a:gd name="connsiteY0" fmla="*/ 1143023 h 6858000"/>
              <a:gd name="connsiteX1" fmla="*/ 1143023 w 7065401"/>
              <a:gd name="connsiteY1" fmla="*/ 0 h 6858000"/>
              <a:gd name="connsiteX2" fmla="*/ 7065401 w 7065401"/>
              <a:gd name="connsiteY2" fmla="*/ 22435 h 6858000"/>
              <a:gd name="connsiteX3" fmla="*/ 7056437 w 7065401"/>
              <a:gd name="connsiteY3" fmla="*/ 5714977 h 6858000"/>
              <a:gd name="connsiteX4" fmla="*/ 5913414 w 7065401"/>
              <a:gd name="connsiteY4" fmla="*/ 6858000 h 6858000"/>
              <a:gd name="connsiteX5" fmla="*/ 1143023 w 7065401"/>
              <a:gd name="connsiteY5" fmla="*/ 6858000 h 6858000"/>
              <a:gd name="connsiteX6" fmla="*/ 0 w 7065401"/>
              <a:gd name="connsiteY6" fmla="*/ 5714977 h 6858000"/>
              <a:gd name="connsiteX7" fmla="*/ 0 w 7065401"/>
              <a:gd name="connsiteY7" fmla="*/ 1143023 h 6858000"/>
              <a:gd name="connsiteX0" fmla="*/ 0 w 7065401"/>
              <a:gd name="connsiteY0" fmla="*/ 1143023 h 6858000"/>
              <a:gd name="connsiteX1" fmla="*/ 1143023 w 7065401"/>
              <a:gd name="connsiteY1" fmla="*/ 0 h 6858000"/>
              <a:gd name="connsiteX2" fmla="*/ 7065401 w 7065401"/>
              <a:gd name="connsiteY2" fmla="*/ 4506 h 6858000"/>
              <a:gd name="connsiteX3" fmla="*/ 7056437 w 7065401"/>
              <a:gd name="connsiteY3" fmla="*/ 5714977 h 6858000"/>
              <a:gd name="connsiteX4" fmla="*/ 5913414 w 7065401"/>
              <a:gd name="connsiteY4" fmla="*/ 6858000 h 6858000"/>
              <a:gd name="connsiteX5" fmla="*/ 1143023 w 7065401"/>
              <a:gd name="connsiteY5" fmla="*/ 6858000 h 6858000"/>
              <a:gd name="connsiteX6" fmla="*/ 0 w 7065401"/>
              <a:gd name="connsiteY6" fmla="*/ 5714977 h 6858000"/>
              <a:gd name="connsiteX7" fmla="*/ 0 w 7065401"/>
              <a:gd name="connsiteY7" fmla="*/ 1143023 h 6858000"/>
              <a:gd name="connsiteX0" fmla="*/ 0 w 7504095"/>
              <a:gd name="connsiteY0" fmla="*/ 1647683 h 7646533"/>
              <a:gd name="connsiteX1" fmla="*/ 1143023 w 7504095"/>
              <a:gd name="connsiteY1" fmla="*/ 504660 h 7646533"/>
              <a:gd name="connsiteX2" fmla="*/ 7065401 w 7504095"/>
              <a:gd name="connsiteY2" fmla="*/ 509166 h 7646533"/>
              <a:gd name="connsiteX3" fmla="*/ 7065402 w 7504095"/>
              <a:gd name="connsiteY3" fmla="*/ 7367119 h 7646533"/>
              <a:gd name="connsiteX4" fmla="*/ 5913414 w 7504095"/>
              <a:gd name="connsiteY4" fmla="*/ 7362660 h 7646533"/>
              <a:gd name="connsiteX5" fmla="*/ 1143023 w 7504095"/>
              <a:gd name="connsiteY5" fmla="*/ 7362660 h 7646533"/>
              <a:gd name="connsiteX6" fmla="*/ 0 w 7504095"/>
              <a:gd name="connsiteY6" fmla="*/ 6219637 h 7646533"/>
              <a:gd name="connsiteX7" fmla="*/ 0 w 7504095"/>
              <a:gd name="connsiteY7" fmla="*/ 1647683 h 7646533"/>
              <a:gd name="connsiteX0" fmla="*/ 0 w 7504095"/>
              <a:gd name="connsiteY0" fmla="*/ 1647683 h 7646533"/>
              <a:gd name="connsiteX1" fmla="*/ 1143023 w 7504095"/>
              <a:gd name="connsiteY1" fmla="*/ 504660 h 7646533"/>
              <a:gd name="connsiteX2" fmla="*/ 7065401 w 7504095"/>
              <a:gd name="connsiteY2" fmla="*/ 509166 h 7646533"/>
              <a:gd name="connsiteX3" fmla="*/ 7065402 w 7504095"/>
              <a:gd name="connsiteY3" fmla="*/ 7367119 h 7646533"/>
              <a:gd name="connsiteX4" fmla="*/ 5913414 w 7504095"/>
              <a:gd name="connsiteY4" fmla="*/ 7362660 h 7646533"/>
              <a:gd name="connsiteX5" fmla="*/ 1143023 w 7504095"/>
              <a:gd name="connsiteY5" fmla="*/ 7362660 h 7646533"/>
              <a:gd name="connsiteX6" fmla="*/ 0 w 7504095"/>
              <a:gd name="connsiteY6" fmla="*/ 6219637 h 7646533"/>
              <a:gd name="connsiteX7" fmla="*/ 0 w 7504095"/>
              <a:gd name="connsiteY7" fmla="*/ 1647683 h 7646533"/>
              <a:gd name="connsiteX0" fmla="*/ 0 w 7805698"/>
              <a:gd name="connsiteY0" fmla="*/ 1647683 h 7918689"/>
              <a:gd name="connsiteX1" fmla="*/ 1143023 w 7805698"/>
              <a:gd name="connsiteY1" fmla="*/ 504660 h 7918689"/>
              <a:gd name="connsiteX2" fmla="*/ 7065401 w 7805698"/>
              <a:gd name="connsiteY2" fmla="*/ 509166 h 7918689"/>
              <a:gd name="connsiteX3" fmla="*/ 7065402 w 7805698"/>
              <a:gd name="connsiteY3" fmla="*/ 7367119 h 7918689"/>
              <a:gd name="connsiteX4" fmla="*/ 1143023 w 7805698"/>
              <a:gd name="connsiteY4" fmla="*/ 7362660 h 7918689"/>
              <a:gd name="connsiteX5" fmla="*/ 0 w 7805698"/>
              <a:gd name="connsiteY5" fmla="*/ 6219637 h 7918689"/>
              <a:gd name="connsiteX6" fmla="*/ 0 w 7805698"/>
              <a:gd name="connsiteY6" fmla="*/ 1647683 h 7918689"/>
              <a:gd name="connsiteX0" fmla="*/ 0 w 7805698"/>
              <a:gd name="connsiteY0" fmla="*/ 1647683 h 7918689"/>
              <a:gd name="connsiteX1" fmla="*/ 1143023 w 7805698"/>
              <a:gd name="connsiteY1" fmla="*/ 504660 h 7918689"/>
              <a:gd name="connsiteX2" fmla="*/ 7065401 w 7805698"/>
              <a:gd name="connsiteY2" fmla="*/ 509166 h 7918689"/>
              <a:gd name="connsiteX3" fmla="*/ 7065402 w 7805698"/>
              <a:gd name="connsiteY3" fmla="*/ 7367119 h 7918689"/>
              <a:gd name="connsiteX4" fmla="*/ 1143023 w 7805698"/>
              <a:gd name="connsiteY4" fmla="*/ 7362660 h 7918689"/>
              <a:gd name="connsiteX5" fmla="*/ 0 w 7805698"/>
              <a:gd name="connsiteY5" fmla="*/ 6219637 h 7918689"/>
              <a:gd name="connsiteX6" fmla="*/ 0 w 7805698"/>
              <a:gd name="connsiteY6" fmla="*/ 1647683 h 7918689"/>
              <a:gd name="connsiteX0" fmla="*/ 0 w 7502319"/>
              <a:gd name="connsiteY0" fmla="*/ 1647683 h 8081329"/>
              <a:gd name="connsiteX1" fmla="*/ 1143023 w 7502319"/>
              <a:gd name="connsiteY1" fmla="*/ 504660 h 8081329"/>
              <a:gd name="connsiteX2" fmla="*/ 7065401 w 7502319"/>
              <a:gd name="connsiteY2" fmla="*/ 509166 h 8081329"/>
              <a:gd name="connsiteX3" fmla="*/ 7065402 w 7502319"/>
              <a:gd name="connsiteY3" fmla="*/ 7367119 h 8081329"/>
              <a:gd name="connsiteX4" fmla="*/ 1143023 w 7502319"/>
              <a:gd name="connsiteY4" fmla="*/ 7362660 h 8081329"/>
              <a:gd name="connsiteX5" fmla="*/ 0 w 7502319"/>
              <a:gd name="connsiteY5" fmla="*/ 6219637 h 8081329"/>
              <a:gd name="connsiteX6" fmla="*/ 0 w 7502319"/>
              <a:gd name="connsiteY6" fmla="*/ 1647683 h 8081329"/>
              <a:gd name="connsiteX0" fmla="*/ 0 w 7502319"/>
              <a:gd name="connsiteY0" fmla="*/ 1647683 h 8081329"/>
              <a:gd name="connsiteX1" fmla="*/ 1143023 w 7502319"/>
              <a:gd name="connsiteY1" fmla="*/ 504660 h 8081329"/>
              <a:gd name="connsiteX2" fmla="*/ 7065401 w 7502319"/>
              <a:gd name="connsiteY2" fmla="*/ 509166 h 8081329"/>
              <a:gd name="connsiteX3" fmla="*/ 7065402 w 7502319"/>
              <a:gd name="connsiteY3" fmla="*/ 7367119 h 8081329"/>
              <a:gd name="connsiteX4" fmla="*/ 1143023 w 7502319"/>
              <a:gd name="connsiteY4" fmla="*/ 7362660 h 8081329"/>
              <a:gd name="connsiteX5" fmla="*/ 0 w 7502319"/>
              <a:gd name="connsiteY5" fmla="*/ 6219637 h 8081329"/>
              <a:gd name="connsiteX6" fmla="*/ 0 w 7502319"/>
              <a:gd name="connsiteY6" fmla="*/ 1647683 h 8081329"/>
              <a:gd name="connsiteX0" fmla="*/ 0 w 7502319"/>
              <a:gd name="connsiteY0" fmla="*/ 1143023 h 7576669"/>
              <a:gd name="connsiteX1" fmla="*/ 1143023 w 7502319"/>
              <a:gd name="connsiteY1" fmla="*/ 0 h 7576669"/>
              <a:gd name="connsiteX2" fmla="*/ 7065401 w 7502319"/>
              <a:gd name="connsiteY2" fmla="*/ 4506 h 7576669"/>
              <a:gd name="connsiteX3" fmla="*/ 7065402 w 7502319"/>
              <a:gd name="connsiteY3" fmla="*/ 6862459 h 7576669"/>
              <a:gd name="connsiteX4" fmla="*/ 1143023 w 7502319"/>
              <a:gd name="connsiteY4" fmla="*/ 6858000 h 7576669"/>
              <a:gd name="connsiteX5" fmla="*/ 0 w 7502319"/>
              <a:gd name="connsiteY5" fmla="*/ 5714977 h 7576669"/>
              <a:gd name="connsiteX6" fmla="*/ 0 w 7502319"/>
              <a:gd name="connsiteY6" fmla="*/ 1143023 h 7576669"/>
              <a:gd name="connsiteX0" fmla="*/ 0 w 7065417"/>
              <a:gd name="connsiteY0" fmla="*/ 1143023 h 7576669"/>
              <a:gd name="connsiteX1" fmla="*/ 1143023 w 7065417"/>
              <a:gd name="connsiteY1" fmla="*/ 0 h 7576669"/>
              <a:gd name="connsiteX2" fmla="*/ 7065401 w 7065417"/>
              <a:gd name="connsiteY2" fmla="*/ 4506 h 7576669"/>
              <a:gd name="connsiteX3" fmla="*/ 7065402 w 7065417"/>
              <a:gd name="connsiteY3" fmla="*/ 6862459 h 7576669"/>
              <a:gd name="connsiteX4" fmla="*/ 1143023 w 7065417"/>
              <a:gd name="connsiteY4" fmla="*/ 6858000 h 7576669"/>
              <a:gd name="connsiteX5" fmla="*/ 0 w 7065417"/>
              <a:gd name="connsiteY5" fmla="*/ 5714977 h 7576669"/>
              <a:gd name="connsiteX6" fmla="*/ 0 w 7065417"/>
              <a:gd name="connsiteY6" fmla="*/ 1143023 h 7576669"/>
              <a:gd name="connsiteX0" fmla="*/ 0 w 7065401"/>
              <a:gd name="connsiteY0" fmla="*/ 1143023 h 7574409"/>
              <a:gd name="connsiteX1" fmla="*/ 1143023 w 7065401"/>
              <a:gd name="connsiteY1" fmla="*/ 0 h 7574409"/>
              <a:gd name="connsiteX2" fmla="*/ 7065401 w 7065401"/>
              <a:gd name="connsiteY2" fmla="*/ 4506 h 7574409"/>
              <a:gd name="connsiteX3" fmla="*/ 7059052 w 7065401"/>
              <a:gd name="connsiteY3" fmla="*/ 6859284 h 7574409"/>
              <a:gd name="connsiteX4" fmla="*/ 1143023 w 7065401"/>
              <a:gd name="connsiteY4" fmla="*/ 6858000 h 7574409"/>
              <a:gd name="connsiteX5" fmla="*/ 0 w 7065401"/>
              <a:gd name="connsiteY5" fmla="*/ 5714977 h 7574409"/>
              <a:gd name="connsiteX6" fmla="*/ 0 w 7065401"/>
              <a:gd name="connsiteY6" fmla="*/ 1143023 h 7574409"/>
              <a:gd name="connsiteX0" fmla="*/ 0 w 7217371"/>
              <a:gd name="connsiteY0" fmla="*/ 1143023 h 7314230"/>
              <a:gd name="connsiteX1" fmla="*/ 1143023 w 7217371"/>
              <a:gd name="connsiteY1" fmla="*/ 0 h 7314230"/>
              <a:gd name="connsiteX2" fmla="*/ 7065401 w 7217371"/>
              <a:gd name="connsiteY2" fmla="*/ 4506 h 7314230"/>
              <a:gd name="connsiteX3" fmla="*/ 7059052 w 7217371"/>
              <a:gd name="connsiteY3" fmla="*/ 6859284 h 7314230"/>
              <a:gd name="connsiteX4" fmla="*/ 1143023 w 7217371"/>
              <a:gd name="connsiteY4" fmla="*/ 6858000 h 7314230"/>
              <a:gd name="connsiteX5" fmla="*/ 0 w 7217371"/>
              <a:gd name="connsiteY5" fmla="*/ 5714977 h 7314230"/>
              <a:gd name="connsiteX6" fmla="*/ 0 w 7217371"/>
              <a:gd name="connsiteY6" fmla="*/ 1143023 h 7314230"/>
              <a:gd name="connsiteX0" fmla="*/ 0 w 7065401"/>
              <a:gd name="connsiteY0" fmla="*/ 1143023 h 6943441"/>
              <a:gd name="connsiteX1" fmla="*/ 1143023 w 7065401"/>
              <a:gd name="connsiteY1" fmla="*/ 0 h 6943441"/>
              <a:gd name="connsiteX2" fmla="*/ 7065401 w 7065401"/>
              <a:gd name="connsiteY2" fmla="*/ 4506 h 6943441"/>
              <a:gd name="connsiteX3" fmla="*/ 7059052 w 7065401"/>
              <a:gd name="connsiteY3" fmla="*/ 6859284 h 6943441"/>
              <a:gd name="connsiteX4" fmla="*/ 1143023 w 7065401"/>
              <a:gd name="connsiteY4" fmla="*/ 6858000 h 6943441"/>
              <a:gd name="connsiteX5" fmla="*/ 0 w 7065401"/>
              <a:gd name="connsiteY5" fmla="*/ 5714977 h 6943441"/>
              <a:gd name="connsiteX6" fmla="*/ 0 w 7065401"/>
              <a:gd name="connsiteY6" fmla="*/ 1143023 h 6943441"/>
              <a:gd name="connsiteX0" fmla="*/ 0 w 7065401"/>
              <a:gd name="connsiteY0" fmla="*/ 1143023 h 6859409"/>
              <a:gd name="connsiteX1" fmla="*/ 1143023 w 7065401"/>
              <a:gd name="connsiteY1" fmla="*/ 0 h 6859409"/>
              <a:gd name="connsiteX2" fmla="*/ 7065401 w 7065401"/>
              <a:gd name="connsiteY2" fmla="*/ 4506 h 6859409"/>
              <a:gd name="connsiteX3" fmla="*/ 7059052 w 7065401"/>
              <a:gd name="connsiteY3" fmla="*/ 6859284 h 6859409"/>
              <a:gd name="connsiteX4" fmla="*/ 1143023 w 7065401"/>
              <a:gd name="connsiteY4" fmla="*/ 6858000 h 6859409"/>
              <a:gd name="connsiteX5" fmla="*/ 0 w 7065401"/>
              <a:gd name="connsiteY5" fmla="*/ 5714977 h 6859409"/>
              <a:gd name="connsiteX6" fmla="*/ 0 w 7065401"/>
              <a:gd name="connsiteY6" fmla="*/ 1143023 h 6859409"/>
              <a:gd name="connsiteX0" fmla="*/ 276225 w 7341626"/>
              <a:gd name="connsiteY0" fmla="*/ 1143023 h 6859409"/>
              <a:gd name="connsiteX1" fmla="*/ 1419248 w 7341626"/>
              <a:gd name="connsiteY1" fmla="*/ 0 h 6859409"/>
              <a:gd name="connsiteX2" fmla="*/ 7341626 w 7341626"/>
              <a:gd name="connsiteY2" fmla="*/ 4506 h 6859409"/>
              <a:gd name="connsiteX3" fmla="*/ 7335277 w 7341626"/>
              <a:gd name="connsiteY3" fmla="*/ 6859284 h 6859409"/>
              <a:gd name="connsiteX4" fmla="*/ 1419248 w 7341626"/>
              <a:gd name="connsiteY4" fmla="*/ 6858000 h 6859409"/>
              <a:gd name="connsiteX5" fmla="*/ 0 w 7341626"/>
              <a:gd name="connsiteY5" fmla="*/ 5149827 h 6859409"/>
              <a:gd name="connsiteX6" fmla="*/ 276225 w 7341626"/>
              <a:gd name="connsiteY6" fmla="*/ 1143023 h 6859409"/>
              <a:gd name="connsiteX0" fmla="*/ 316962 w 7382363"/>
              <a:gd name="connsiteY0" fmla="*/ 1143023 h 6859409"/>
              <a:gd name="connsiteX1" fmla="*/ 1459985 w 7382363"/>
              <a:gd name="connsiteY1" fmla="*/ 0 h 6859409"/>
              <a:gd name="connsiteX2" fmla="*/ 7382363 w 7382363"/>
              <a:gd name="connsiteY2" fmla="*/ 4506 h 6859409"/>
              <a:gd name="connsiteX3" fmla="*/ 7376014 w 7382363"/>
              <a:gd name="connsiteY3" fmla="*/ 6859284 h 6859409"/>
              <a:gd name="connsiteX4" fmla="*/ 1459985 w 7382363"/>
              <a:gd name="connsiteY4" fmla="*/ 6858000 h 6859409"/>
              <a:gd name="connsiteX5" fmla="*/ 40737 w 7382363"/>
              <a:gd name="connsiteY5" fmla="*/ 5149827 h 6859409"/>
              <a:gd name="connsiteX6" fmla="*/ 316962 w 7382363"/>
              <a:gd name="connsiteY6" fmla="*/ 1143023 h 6859409"/>
              <a:gd name="connsiteX0" fmla="*/ 316962 w 7382363"/>
              <a:gd name="connsiteY0" fmla="*/ 1143023 h 6859409"/>
              <a:gd name="connsiteX1" fmla="*/ 1459985 w 7382363"/>
              <a:gd name="connsiteY1" fmla="*/ 0 h 6859409"/>
              <a:gd name="connsiteX2" fmla="*/ 7382363 w 7382363"/>
              <a:gd name="connsiteY2" fmla="*/ 4506 h 6859409"/>
              <a:gd name="connsiteX3" fmla="*/ 7376014 w 7382363"/>
              <a:gd name="connsiteY3" fmla="*/ 6859284 h 6859409"/>
              <a:gd name="connsiteX4" fmla="*/ 1459985 w 7382363"/>
              <a:gd name="connsiteY4" fmla="*/ 6858000 h 6859409"/>
              <a:gd name="connsiteX5" fmla="*/ 40737 w 7382363"/>
              <a:gd name="connsiteY5" fmla="*/ 5149827 h 6859409"/>
              <a:gd name="connsiteX6" fmla="*/ 316962 w 7382363"/>
              <a:gd name="connsiteY6" fmla="*/ 1143023 h 6859409"/>
              <a:gd name="connsiteX0" fmla="*/ 40737 w 7382363"/>
              <a:gd name="connsiteY0" fmla="*/ 5149827 h 6859409"/>
              <a:gd name="connsiteX1" fmla="*/ 1459985 w 7382363"/>
              <a:gd name="connsiteY1" fmla="*/ 0 h 6859409"/>
              <a:gd name="connsiteX2" fmla="*/ 7382363 w 7382363"/>
              <a:gd name="connsiteY2" fmla="*/ 4506 h 6859409"/>
              <a:gd name="connsiteX3" fmla="*/ 7376014 w 7382363"/>
              <a:gd name="connsiteY3" fmla="*/ 6859284 h 6859409"/>
              <a:gd name="connsiteX4" fmla="*/ 1459985 w 7382363"/>
              <a:gd name="connsiteY4" fmla="*/ 6858000 h 6859409"/>
              <a:gd name="connsiteX5" fmla="*/ 40737 w 7382363"/>
              <a:gd name="connsiteY5" fmla="*/ 5149827 h 6859409"/>
              <a:gd name="connsiteX0" fmla="*/ 40737 w 7382363"/>
              <a:gd name="connsiteY0" fmla="*/ 5149827 h 6859409"/>
              <a:gd name="connsiteX1" fmla="*/ 1834635 w 7382363"/>
              <a:gd name="connsiteY1" fmla="*/ 0 h 6859409"/>
              <a:gd name="connsiteX2" fmla="*/ 7382363 w 7382363"/>
              <a:gd name="connsiteY2" fmla="*/ 4506 h 6859409"/>
              <a:gd name="connsiteX3" fmla="*/ 7376014 w 7382363"/>
              <a:gd name="connsiteY3" fmla="*/ 6859284 h 6859409"/>
              <a:gd name="connsiteX4" fmla="*/ 1459985 w 7382363"/>
              <a:gd name="connsiteY4" fmla="*/ 6858000 h 6859409"/>
              <a:gd name="connsiteX5" fmla="*/ 40737 w 7382363"/>
              <a:gd name="connsiteY5" fmla="*/ 5149827 h 6859409"/>
              <a:gd name="connsiteX0" fmla="*/ 40737 w 7382363"/>
              <a:gd name="connsiteY0" fmla="*/ 5149827 h 6859409"/>
              <a:gd name="connsiteX1" fmla="*/ 1834635 w 7382363"/>
              <a:gd name="connsiteY1" fmla="*/ 0 h 6859409"/>
              <a:gd name="connsiteX2" fmla="*/ 7382363 w 7382363"/>
              <a:gd name="connsiteY2" fmla="*/ 4506 h 6859409"/>
              <a:gd name="connsiteX3" fmla="*/ 7376014 w 7382363"/>
              <a:gd name="connsiteY3" fmla="*/ 6859284 h 6859409"/>
              <a:gd name="connsiteX4" fmla="*/ 1459985 w 7382363"/>
              <a:gd name="connsiteY4" fmla="*/ 6858000 h 6859409"/>
              <a:gd name="connsiteX5" fmla="*/ 40737 w 7382363"/>
              <a:gd name="connsiteY5" fmla="*/ 5149827 h 6859409"/>
              <a:gd name="connsiteX0" fmla="*/ 40737 w 7382363"/>
              <a:gd name="connsiteY0" fmla="*/ 5149827 h 6859409"/>
              <a:gd name="connsiteX1" fmla="*/ 1834635 w 7382363"/>
              <a:gd name="connsiteY1" fmla="*/ 0 h 6859409"/>
              <a:gd name="connsiteX2" fmla="*/ 7382363 w 7382363"/>
              <a:gd name="connsiteY2" fmla="*/ 4506 h 6859409"/>
              <a:gd name="connsiteX3" fmla="*/ 7376014 w 7382363"/>
              <a:gd name="connsiteY3" fmla="*/ 6859284 h 6859409"/>
              <a:gd name="connsiteX4" fmla="*/ 1459985 w 7382363"/>
              <a:gd name="connsiteY4" fmla="*/ 6858000 h 6859409"/>
              <a:gd name="connsiteX5" fmla="*/ 40737 w 7382363"/>
              <a:gd name="connsiteY5" fmla="*/ 5149827 h 6859409"/>
              <a:gd name="connsiteX0" fmla="*/ 44251 w 7825612"/>
              <a:gd name="connsiteY0" fmla="*/ 5149827 h 7367842"/>
              <a:gd name="connsiteX1" fmla="*/ 1838149 w 7825612"/>
              <a:gd name="connsiteY1" fmla="*/ 0 h 7367842"/>
              <a:gd name="connsiteX2" fmla="*/ 7385877 w 7825612"/>
              <a:gd name="connsiteY2" fmla="*/ 4506 h 7367842"/>
              <a:gd name="connsiteX3" fmla="*/ 7379528 w 7825612"/>
              <a:gd name="connsiteY3" fmla="*/ 6859284 h 7367842"/>
              <a:gd name="connsiteX4" fmla="*/ 1361899 w 7825612"/>
              <a:gd name="connsiteY4" fmla="*/ 6861175 h 7367842"/>
              <a:gd name="connsiteX5" fmla="*/ 44251 w 7825612"/>
              <a:gd name="connsiteY5" fmla="*/ 5149827 h 7367842"/>
              <a:gd name="connsiteX0" fmla="*/ 87576 w 7868937"/>
              <a:gd name="connsiteY0" fmla="*/ 5149827 h 7367842"/>
              <a:gd name="connsiteX1" fmla="*/ 1881474 w 7868937"/>
              <a:gd name="connsiteY1" fmla="*/ 0 h 7367842"/>
              <a:gd name="connsiteX2" fmla="*/ 7429202 w 7868937"/>
              <a:gd name="connsiteY2" fmla="*/ 4506 h 7367842"/>
              <a:gd name="connsiteX3" fmla="*/ 7422853 w 7868937"/>
              <a:gd name="connsiteY3" fmla="*/ 6859284 h 7367842"/>
              <a:gd name="connsiteX4" fmla="*/ 1405224 w 7868937"/>
              <a:gd name="connsiteY4" fmla="*/ 6861175 h 7367842"/>
              <a:gd name="connsiteX5" fmla="*/ 87576 w 7868937"/>
              <a:gd name="connsiteY5" fmla="*/ 5149827 h 7367842"/>
              <a:gd name="connsiteX0" fmla="*/ 108097 w 7889458"/>
              <a:gd name="connsiteY0" fmla="*/ 5149827 h 7367842"/>
              <a:gd name="connsiteX1" fmla="*/ 1901995 w 7889458"/>
              <a:gd name="connsiteY1" fmla="*/ 0 h 7367842"/>
              <a:gd name="connsiteX2" fmla="*/ 7449723 w 7889458"/>
              <a:gd name="connsiteY2" fmla="*/ 4506 h 7367842"/>
              <a:gd name="connsiteX3" fmla="*/ 7443374 w 7889458"/>
              <a:gd name="connsiteY3" fmla="*/ 6859284 h 7367842"/>
              <a:gd name="connsiteX4" fmla="*/ 1425745 w 7889458"/>
              <a:gd name="connsiteY4" fmla="*/ 6861175 h 7367842"/>
              <a:gd name="connsiteX5" fmla="*/ 108097 w 7889458"/>
              <a:gd name="connsiteY5" fmla="*/ 5149827 h 7367842"/>
              <a:gd name="connsiteX0" fmla="*/ 106214 w 7887575"/>
              <a:gd name="connsiteY0" fmla="*/ 5149827 h 7367842"/>
              <a:gd name="connsiteX1" fmla="*/ 1900112 w 7887575"/>
              <a:gd name="connsiteY1" fmla="*/ 0 h 7367842"/>
              <a:gd name="connsiteX2" fmla="*/ 7447840 w 7887575"/>
              <a:gd name="connsiteY2" fmla="*/ 4506 h 7367842"/>
              <a:gd name="connsiteX3" fmla="*/ 7441491 w 7887575"/>
              <a:gd name="connsiteY3" fmla="*/ 6859284 h 7367842"/>
              <a:gd name="connsiteX4" fmla="*/ 1423862 w 7887575"/>
              <a:gd name="connsiteY4" fmla="*/ 6861175 h 7367842"/>
              <a:gd name="connsiteX5" fmla="*/ 106214 w 7887575"/>
              <a:gd name="connsiteY5" fmla="*/ 5149827 h 7367842"/>
              <a:gd name="connsiteX0" fmla="*/ 106214 w 7447840"/>
              <a:gd name="connsiteY0" fmla="*/ 5149827 h 7367842"/>
              <a:gd name="connsiteX1" fmla="*/ 1900112 w 7447840"/>
              <a:gd name="connsiteY1" fmla="*/ 0 h 7367842"/>
              <a:gd name="connsiteX2" fmla="*/ 7447840 w 7447840"/>
              <a:gd name="connsiteY2" fmla="*/ 4506 h 7367842"/>
              <a:gd name="connsiteX3" fmla="*/ 7441491 w 7447840"/>
              <a:gd name="connsiteY3" fmla="*/ 6859284 h 7367842"/>
              <a:gd name="connsiteX4" fmla="*/ 1423862 w 7447840"/>
              <a:gd name="connsiteY4" fmla="*/ 6861175 h 7367842"/>
              <a:gd name="connsiteX5" fmla="*/ 106214 w 7447840"/>
              <a:gd name="connsiteY5" fmla="*/ 5149827 h 7367842"/>
              <a:gd name="connsiteX0" fmla="*/ 106214 w 7447840"/>
              <a:gd name="connsiteY0" fmla="*/ 5149827 h 6861239"/>
              <a:gd name="connsiteX1" fmla="*/ 1900112 w 7447840"/>
              <a:gd name="connsiteY1" fmla="*/ 0 h 6861239"/>
              <a:gd name="connsiteX2" fmla="*/ 7447840 w 7447840"/>
              <a:gd name="connsiteY2" fmla="*/ 4506 h 6861239"/>
              <a:gd name="connsiteX3" fmla="*/ 7441491 w 7447840"/>
              <a:gd name="connsiteY3" fmla="*/ 6859284 h 6861239"/>
              <a:gd name="connsiteX4" fmla="*/ 1423862 w 7447840"/>
              <a:gd name="connsiteY4" fmla="*/ 6861175 h 6861239"/>
              <a:gd name="connsiteX5" fmla="*/ 106214 w 7447840"/>
              <a:gd name="connsiteY5" fmla="*/ 5149827 h 6861239"/>
              <a:gd name="connsiteX0" fmla="*/ 106214 w 7442074"/>
              <a:gd name="connsiteY0" fmla="*/ 5149827 h 6861239"/>
              <a:gd name="connsiteX1" fmla="*/ 1900112 w 7442074"/>
              <a:gd name="connsiteY1" fmla="*/ 0 h 6861239"/>
              <a:gd name="connsiteX2" fmla="*/ 7441490 w 7442074"/>
              <a:gd name="connsiteY2" fmla="*/ 1331 h 6861239"/>
              <a:gd name="connsiteX3" fmla="*/ 7441491 w 7442074"/>
              <a:gd name="connsiteY3" fmla="*/ 6859284 h 6861239"/>
              <a:gd name="connsiteX4" fmla="*/ 1423862 w 7442074"/>
              <a:gd name="connsiteY4" fmla="*/ 6861175 h 6861239"/>
              <a:gd name="connsiteX5" fmla="*/ 106214 w 7442074"/>
              <a:gd name="connsiteY5" fmla="*/ 5149827 h 6861239"/>
              <a:gd name="connsiteX0" fmla="*/ 192909 w 7528769"/>
              <a:gd name="connsiteY0" fmla="*/ 5149827 h 6874642"/>
              <a:gd name="connsiteX1" fmla="*/ 1986807 w 7528769"/>
              <a:gd name="connsiteY1" fmla="*/ 0 h 6874642"/>
              <a:gd name="connsiteX2" fmla="*/ 7528185 w 7528769"/>
              <a:gd name="connsiteY2" fmla="*/ 1331 h 6874642"/>
              <a:gd name="connsiteX3" fmla="*/ 7528186 w 7528769"/>
              <a:gd name="connsiteY3" fmla="*/ 6859284 h 6874642"/>
              <a:gd name="connsiteX4" fmla="*/ 1080251 w 7528769"/>
              <a:gd name="connsiteY4" fmla="*/ 6874622 h 6874642"/>
              <a:gd name="connsiteX5" fmla="*/ 192909 w 7528769"/>
              <a:gd name="connsiteY5" fmla="*/ 5149827 h 6874642"/>
              <a:gd name="connsiteX0" fmla="*/ 167873 w 7503733"/>
              <a:gd name="connsiteY0" fmla="*/ 5149827 h 6874642"/>
              <a:gd name="connsiteX1" fmla="*/ 1961771 w 7503733"/>
              <a:gd name="connsiteY1" fmla="*/ 0 h 6874642"/>
              <a:gd name="connsiteX2" fmla="*/ 7503149 w 7503733"/>
              <a:gd name="connsiteY2" fmla="*/ 1331 h 6874642"/>
              <a:gd name="connsiteX3" fmla="*/ 7503150 w 7503733"/>
              <a:gd name="connsiteY3" fmla="*/ 6859284 h 6874642"/>
              <a:gd name="connsiteX4" fmla="*/ 1055215 w 7503733"/>
              <a:gd name="connsiteY4" fmla="*/ 6874622 h 6874642"/>
              <a:gd name="connsiteX5" fmla="*/ 167873 w 7503733"/>
              <a:gd name="connsiteY5" fmla="*/ 5149827 h 6874642"/>
              <a:gd name="connsiteX0" fmla="*/ 167873 w 7503733"/>
              <a:gd name="connsiteY0" fmla="*/ 5153002 h 6877817"/>
              <a:gd name="connsiteX1" fmla="*/ 2060196 w 7503733"/>
              <a:gd name="connsiteY1" fmla="*/ 0 h 6877817"/>
              <a:gd name="connsiteX2" fmla="*/ 7503149 w 7503733"/>
              <a:gd name="connsiteY2" fmla="*/ 4506 h 6877817"/>
              <a:gd name="connsiteX3" fmla="*/ 7503150 w 7503733"/>
              <a:gd name="connsiteY3" fmla="*/ 6862459 h 6877817"/>
              <a:gd name="connsiteX4" fmla="*/ 1055215 w 7503733"/>
              <a:gd name="connsiteY4" fmla="*/ 6877797 h 6877817"/>
              <a:gd name="connsiteX5" fmla="*/ 167873 w 7503733"/>
              <a:gd name="connsiteY5" fmla="*/ 5153002 h 6877817"/>
              <a:gd name="connsiteX0" fmla="*/ 167873 w 7503733"/>
              <a:gd name="connsiteY0" fmla="*/ 5153002 h 6877817"/>
              <a:gd name="connsiteX1" fmla="*/ 2060196 w 7503733"/>
              <a:gd name="connsiteY1" fmla="*/ 0 h 6877817"/>
              <a:gd name="connsiteX2" fmla="*/ 7503149 w 7503733"/>
              <a:gd name="connsiteY2" fmla="*/ 4506 h 6877817"/>
              <a:gd name="connsiteX3" fmla="*/ 7503150 w 7503733"/>
              <a:gd name="connsiteY3" fmla="*/ 6862459 h 6877817"/>
              <a:gd name="connsiteX4" fmla="*/ 1055215 w 7503733"/>
              <a:gd name="connsiteY4" fmla="*/ 6877797 h 6877817"/>
              <a:gd name="connsiteX5" fmla="*/ 167873 w 7503733"/>
              <a:gd name="connsiteY5" fmla="*/ 5153002 h 6877817"/>
              <a:gd name="connsiteX0" fmla="*/ 316504 w 7242789"/>
              <a:gd name="connsiteY0" fmla="*/ 4260827 h 6877817"/>
              <a:gd name="connsiteX1" fmla="*/ 1799252 w 7242789"/>
              <a:gd name="connsiteY1" fmla="*/ 0 h 6877817"/>
              <a:gd name="connsiteX2" fmla="*/ 7242205 w 7242789"/>
              <a:gd name="connsiteY2" fmla="*/ 4506 h 6877817"/>
              <a:gd name="connsiteX3" fmla="*/ 7242206 w 7242789"/>
              <a:gd name="connsiteY3" fmla="*/ 6862459 h 6877817"/>
              <a:gd name="connsiteX4" fmla="*/ 794271 w 7242789"/>
              <a:gd name="connsiteY4" fmla="*/ 6877797 h 6877817"/>
              <a:gd name="connsiteX5" fmla="*/ 316504 w 7242789"/>
              <a:gd name="connsiteY5" fmla="*/ 4260827 h 6877817"/>
              <a:gd name="connsiteX0" fmla="*/ 316504 w 7242789"/>
              <a:gd name="connsiteY0" fmla="*/ 4260827 h 6877817"/>
              <a:gd name="connsiteX1" fmla="*/ 1799252 w 7242789"/>
              <a:gd name="connsiteY1" fmla="*/ 0 h 6877817"/>
              <a:gd name="connsiteX2" fmla="*/ 7242205 w 7242789"/>
              <a:gd name="connsiteY2" fmla="*/ 4506 h 6877817"/>
              <a:gd name="connsiteX3" fmla="*/ 7242206 w 7242789"/>
              <a:gd name="connsiteY3" fmla="*/ 6862459 h 6877817"/>
              <a:gd name="connsiteX4" fmla="*/ 794271 w 7242789"/>
              <a:gd name="connsiteY4" fmla="*/ 6877797 h 6877817"/>
              <a:gd name="connsiteX5" fmla="*/ 316504 w 7242789"/>
              <a:gd name="connsiteY5" fmla="*/ 4260827 h 6877817"/>
              <a:gd name="connsiteX0" fmla="*/ 264457 w 7190742"/>
              <a:gd name="connsiteY0" fmla="*/ 4260827 h 6862459"/>
              <a:gd name="connsiteX1" fmla="*/ 1747205 w 7190742"/>
              <a:gd name="connsiteY1" fmla="*/ 0 h 6862459"/>
              <a:gd name="connsiteX2" fmla="*/ 7190158 w 7190742"/>
              <a:gd name="connsiteY2" fmla="*/ 4506 h 6862459"/>
              <a:gd name="connsiteX3" fmla="*/ 7190159 w 7190742"/>
              <a:gd name="connsiteY3" fmla="*/ 6862459 h 6862459"/>
              <a:gd name="connsiteX4" fmla="*/ 859699 w 7190742"/>
              <a:gd name="connsiteY4" fmla="*/ 6093572 h 6862459"/>
              <a:gd name="connsiteX5" fmla="*/ 264457 w 7190742"/>
              <a:gd name="connsiteY5" fmla="*/ 4260827 h 6862459"/>
              <a:gd name="connsiteX0" fmla="*/ 264457 w 7190742"/>
              <a:gd name="connsiteY0" fmla="*/ 4260827 h 6862459"/>
              <a:gd name="connsiteX1" fmla="*/ 1747205 w 7190742"/>
              <a:gd name="connsiteY1" fmla="*/ 0 h 6862459"/>
              <a:gd name="connsiteX2" fmla="*/ 7190158 w 7190742"/>
              <a:gd name="connsiteY2" fmla="*/ 4506 h 6862459"/>
              <a:gd name="connsiteX3" fmla="*/ 7190159 w 7190742"/>
              <a:gd name="connsiteY3" fmla="*/ 6862459 h 6862459"/>
              <a:gd name="connsiteX4" fmla="*/ 859699 w 7190742"/>
              <a:gd name="connsiteY4" fmla="*/ 6093572 h 6862459"/>
              <a:gd name="connsiteX5" fmla="*/ 264457 w 7190742"/>
              <a:gd name="connsiteY5" fmla="*/ 4260827 h 6862459"/>
              <a:gd name="connsiteX0" fmla="*/ 236370 w 7162655"/>
              <a:gd name="connsiteY0" fmla="*/ 4260827 h 6862459"/>
              <a:gd name="connsiteX1" fmla="*/ 1719118 w 7162655"/>
              <a:gd name="connsiteY1" fmla="*/ 0 h 6862459"/>
              <a:gd name="connsiteX2" fmla="*/ 7162071 w 7162655"/>
              <a:gd name="connsiteY2" fmla="*/ 4506 h 6862459"/>
              <a:gd name="connsiteX3" fmla="*/ 7162072 w 7162655"/>
              <a:gd name="connsiteY3" fmla="*/ 6862459 h 6862459"/>
              <a:gd name="connsiteX4" fmla="*/ 831612 w 7162655"/>
              <a:gd name="connsiteY4" fmla="*/ 6093572 h 6862459"/>
              <a:gd name="connsiteX5" fmla="*/ 236370 w 7162655"/>
              <a:gd name="connsiteY5" fmla="*/ 4260827 h 6862459"/>
              <a:gd name="connsiteX0" fmla="*/ 236370 w 7162655"/>
              <a:gd name="connsiteY0" fmla="*/ 4260827 h 6862459"/>
              <a:gd name="connsiteX1" fmla="*/ 1719118 w 7162655"/>
              <a:gd name="connsiteY1" fmla="*/ 0 h 6862459"/>
              <a:gd name="connsiteX2" fmla="*/ 7162071 w 7162655"/>
              <a:gd name="connsiteY2" fmla="*/ 4506 h 6862459"/>
              <a:gd name="connsiteX3" fmla="*/ 7162072 w 7162655"/>
              <a:gd name="connsiteY3" fmla="*/ 6862459 h 6862459"/>
              <a:gd name="connsiteX4" fmla="*/ 831612 w 7162655"/>
              <a:gd name="connsiteY4" fmla="*/ 6093572 h 6862459"/>
              <a:gd name="connsiteX5" fmla="*/ 236370 w 7162655"/>
              <a:gd name="connsiteY5" fmla="*/ 4260827 h 6862459"/>
              <a:gd name="connsiteX0" fmla="*/ 236370 w 7162655"/>
              <a:gd name="connsiteY0" fmla="*/ 4260827 h 6862459"/>
              <a:gd name="connsiteX1" fmla="*/ 1719118 w 7162655"/>
              <a:gd name="connsiteY1" fmla="*/ 0 h 6862459"/>
              <a:gd name="connsiteX2" fmla="*/ 7162071 w 7162655"/>
              <a:gd name="connsiteY2" fmla="*/ 4506 h 6862459"/>
              <a:gd name="connsiteX3" fmla="*/ 7162072 w 7162655"/>
              <a:gd name="connsiteY3" fmla="*/ 6862459 h 6862459"/>
              <a:gd name="connsiteX4" fmla="*/ 831612 w 7162655"/>
              <a:gd name="connsiteY4" fmla="*/ 6093572 h 6862459"/>
              <a:gd name="connsiteX5" fmla="*/ 236370 w 7162655"/>
              <a:gd name="connsiteY5" fmla="*/ 4260827 h 6862459"/>
              <a:gd name="connsiteX0" fmla="*/ 219299 w 7145584"/>
              <a:gd name="connsiteY0" fmla="*/ 4260827 h 6862459"/>
              <a:gd name="connsiteX1" fmla="*/ 1702047 w 7145584"/>
              <a:gd name="connsiteY1" fmla="*/ 0 h 6862459"/>
              <a:gd name="connsiteX2" fmla="*/ 7145000 w 7145584"/>
              <a:gd name="connsiteY2" fmla="*/ 4506 h 6862459"/>
              <a:gd name="connsiteX3" fmla="*/ 7145001 w 7145584"/>
              <a:gd name="connsiteY3" fmla="*/ 6862459 h 6862459"/>
              <a:gd name="connsiteX4" fmla="*/ 814541 w 7145584"/>
              <a:gd name="connsiteY4" fmla="*/ 6093572 h 6862459"/>
              <a:gd name="connsiteX5" fmla="*/ 219299 w 7145584"/>
              <a:gd name="connsiteY5" fmla="*/ 4260827 h 6862459"/>
              <a:gd name="connsiteX0" fmla="*/ 219299 w 7145584"/>
              <a:gd name="connsiteY0" fmla="*/ 4260827 h 7227265"/>
              <a:gd name="connsiteX1" fmla="*/ 1702047 w 7145584"/>
              <a:gd name="connsiteY1" fmla="*/ 0 h 7227265"/>
              <a:gd name="connsiteX2" fmla="*/ 7145000 w 7145584"/>
              <a:gd name="connsiteY2" fmla="*/ 4506 h 7227265"/>
              <a:gd name="connsiteX3" fmla="*/ 7145001 w 7145584"/>
              <a:gd name="connsiteY3" fmla="*/ 6862459 h 7227265"/>
              <a:gd name="connsiteX4" fmla="*/ 1509366 w 7145584"/>
              <a:gd name="connsiteY4" fmla="*/ 6264490 h 7227265"/>
              <a:gd name="connsiteX5" fmla="*/ 814541 w 7145584"/>
              <a:gd name="connsiteY5" fmla="*/ 6093572 h 7227265"/>
              <a:gd name="connsiteX6" fmla="*/ 219299 w 7145584"/>
              <a:gd name="connsiteY6" fmla="*/ 4260827 h 7227265"/>
              <a:gd name="connsiteX0" fmla="*/ 103578 w 7029863"/>
              <a:gd name="connsiteY0" fmla="*/ 4260827 h 7357842"/>
              <a:gd name="connsiteX1" fmla="*/ 1586326 w 7029863"/>
              <a:gd name="connsiteY1" fmla="*/ 0 h 7357842"/>
              <a:gd name="connsiteX2" fmla="*/ 7029279 w 7029863"/>
              <a:gd name="connsiteY2" fmla="*/ 4506 h 7357842"/>
              <a:gd name="connsiteX3" fmla="*/ 7029280 w 7029863"/>
              <a:gd name="connsiteY3" fmla="*/ 6862459 h 7357842"/>
              <a:gd name="connsiteX4" fmla="*/ 2865984 w 7029863"/>
              <a:gd name="connsiteY4" fmla="*/ 6868924 h 7357842"/>
              <a:gd name="connsiteX5" fmla="*/ 698820 w 7029863"/>
              <a:gd name="connsiteY5" fmla="*/ 6093572 h 7357842"/>
              <a:gd name="connsiteX6" fmla="*/ 103578 w 7029863"/>
              <a:gd name="connsiteY6" fmla="*/ 4260827 h 7357842"/>
              <a:gd name="connsiteX0" fmla="*/ 103578 w 7029863"/>
              <a:gd name="connsiteY0" fmla="*/ 4260827 h 7357842"/>
              <a:gd name="connsiteX1" fmla="*/ 1586326 w 7029863"/>
              <a:gd name="connsiteY1" fmla="*/ 0 h 7357842"/>
              <a:gd name="connsiteX2" fmla="*/ 7029279 w 7029863"/>
              <a:gd name="connsiteY2" fmla="*/ 4506 h 7357842"/>
              <a:gd name="connsiteX3" fmla="*/ 7029280 w 7029863"/>
              <a:gd name="connsiteY3" fmla="*/ 6862459 h 7357842"/>
              <a:gd name="connsiteX4" fmla="*/ 2865984 w 7029863"/>
              <a:gd name="connsiteY4" fmla="*/ 6868924 h 7357842"/>
              <a:gd name="connsiteX5" fmla="*/ 698820 w 7029863"/>
              <a:gd name="connsiteY5" fmla="*/ 6093572 h 7357842"/>
              <a:gd name="connsiteX6" fmla="*/ 103578 w 7029863"/>
              <a:gd name="connsiteY6" fmla="*/ 4260827 h 7357842"/>
              <a:gd name="connsiteX0" fmla="*/ 103578 w 7029863"/>
              <a:gd name="connsiteY0" fmla="*/ 4260827 h 6936849"/>
              <a:gd name="connsiteX1" fmla="*/ 1586326 w 7029863"/>
              <a:gd name="connsiteY1" fmla="*/ 0 h 6936849"/>
              <a:gd name="connsiteX2" fmla="*/ 7029279 w 7029863"/>
              <a:gd name="connsiteY2" fmla="*/ 4506 h 6936849"/>
              <a:gd name="connsiteX3" fmla="*/ 7029280 w 7029863"/>
              <a:gd name="connsiteY3" fmla="*/ 6862459 h 6936849"/>
              <a:gd name="connsiteX4" fmla="*/ 2865984 w 7029863"/>
              <a:gd name="connsiteY4" fmla="*/ 6868924 h 6936849"/>
              <a:gd name="connsiteX5" fmla="*/ 698820 w 7029863"/>
              <a:gd name="connsiteY5" fmla="*/ 6093572 h 6936849"/>
              <a:gd name="connsiteX6" fmla="*/ 103578 w 7029863"/>
              <a:gd name="connsiteY6" fmla="*/ 4260827 h 6936849"/>
              <a:gd name="connsiteX0" fmla="*/ 138867 w 7065152"/>
              <a:gd name="connsiteY0" fmla="*/ 4260827 h 6936849"/>
              <a:gd name="connsiteX1" fmla="*/ 1621615 w 7065152"/>
              <a:gd name="connsiteY1" fmla="*/ 0 h 6936849"/>
              <a:gd name="connsiteX2" fmla="*/ 7064568 w 7065152"/>
              <a:gd name="connsiteY2" fmla="*/ 4506 h 6936849"/>
              <a:gd name="connsiteX3" fmla="*/ 7064569 w 7065152"/>
              <a:gd name="connsiteY3" fmla="*/ 6862459 h 6936849"/>
              <a:gd name="connsiteX4" fmla="*/ 2901273 w 7065152"/>
              <a:gd name="connsiteY4" fmla="*/ 6868924 h 6936849"/>
              <a:gd name="connsiteX5" fmla="*/ 734109 w 7065152"/>
              <a:gd name="connsiteY5" fmla="*/ 6093572 h 6936849"/>
              <a:gd name="connsiteX6" fmla="*/ 138867 w 7065152"/>
              <a:gd name="connsiteY6" fmla="*/ 4260827 h 6936849"/>
              <a:gd name="connsiteX0" fmla="*/ 137090 w 7063375"/>
              <a:gd name="connsiteY0" fmla="*/ 4260827 h 6936849"/>
              <a:gd name="connsiteX1" fmla="*/ 1619838 w 7063375"/>
              <a:gd name="connsiteY1" fmla="*/ 0 h 6936849"/>
              <a:gd name="connsiteX2" fmla="*/ 7062791 w 7063375"/>
              <a:gd name="connsiteY2" fmla="*/ 4506 h 6936849"/>
              <a:gd name="connsiteX3" fmla="*/ 7062792 w 7063375"/>
              <a:gd name="connsiteY3" fmla="*/ 6862459 h 6936849"/>
              <a:gd name="connsiteX4" fmla="*/ 2899496 w 7063375"/>
              <a:gd name="connsiteY4" fmla="*/ 6868924 h 6936849"/>
              <a:gd name="connsiteX5" fmla="*/ 732332 w 7063375"/>
              <a:gd name="connsiteY5" fmla="*/ 6093572 h 6936849"/>
              <a:gd name="connsiteX6" fmla="*/ 137090 w 7063375"/>
              <a:gd name="connsiteY6" fmla="*/ 4260827 h 6936849"/>
              <a:gd name="connsiteX0" fmla="*/ 183803 w 7110088"/>
              <a:gd name="connsiteY0" fmla="*/ 4260827 h 6936849"/>
              <a:gd name="connsiteX1" fmla="*/ 1666551 w 7110088"/>
              <a:gd name="connsiteY1" fmla="*/ 0 h 6936849"/>
              <a:gd name="connsiteX2" fmla="*/ 7109504 w 7110088"/>
              <a:gd name="connsiteY2" fmla="*/ 4506 h 6936849"/>
              <a:gd name="connsiteX3" fmla="*/ 7109505 w 7110088"/>
              <a:gd name="connsiteY3" fmla="*/ 6862459 h 6936849"/>
              <a:gd name="connsiteX4" fmla="*/ 2946209 w 7110088"/>
              <a:gd name="connsiteY4" fmla="*/ 6868924 h 6936849"/>
              <a:gd name="connsiteX5" fmla="*/ 779045 w 7110088"/>
              <a:gd name="connsiteY5" fmla="*/ 6093572 h 6936849"/>
              <a:gd name="connsiteX6" fmla="*/ 183803 w 7110088"/>
              <a:gd name="connsiteY6" fmla="*/ 4260827 h 6936849"/>
              <a:gd name="connsiteX0" fmla="*/ 220282 w 7146567"/>
              <a:gd name="connsiteY0" fmla="*/ 4260827 h 6936849"/>
              <a:gd name="connsiteX1" fmla="*/ 1703030 w 7146567"/>
              <a:gd name="connsiteY1" fmla="*/ 0 h 6936849"/>
              <a:gd name="connsiteX2" fmla="*/ 7145983 w 7146567"/>
              <a:gd name="connsiteY2" fmla="*/ 4506 h 6936849"/>
              <a:gd name="connsiteX3" fmla="*/ 7145984 w 7146567"/>
              <a:gd name="connsiteY3" fmla="*/ 6862459 h 6936849"/>
              <a:gd name="connsiteX4" fmla="*/ 2982688 w 7146567"/>
              <a:gd name="connsiteY4" fmla="*/ 6868924 h 6936849"/>
              <a:gd name="connsiteX5" fmla="*/ 815524 w 7146567"/>
              <a:gd name="connsiteY5" fmla="*/ 6093572 h 6936849"/>
              <a:gd name="connsiteX6" fmla="*/ 220282 w 7146567"/>
              <a:gd name="connsiteY6" fmla="*/ 4260827 h 6936849"/>
              <a:gd name="connsiteX0" fmla="*/ 266185 w 7192470"/>
              <a:gd name="connsiteY0" fmla="*/ 4260827 h 6936849"/>
              <a:gd name="connsiteX1" fmla="*/ 1748933 w 7192470"/>
              <a:gd name="connsiteY1" fmla="*/ 0 h 6936849"/>
              <a:gd name="connsiteX2" fmla="*/ 7191886 w 7192470"/>
              <a:gd name="connsiteY2" fmla="*/ 4506 h 6936849"/>
              <a:gd name="connsiteX3" fmla="*/ 7191887 w 7192470"/>
              <a:gd name="connsiteY3" fmla="*/ 6862459 h 6936849"/>
              <a:gd name="connsiteX4" fmla="*/ 3028591 w 7192470"/>
              <a:gd name="connsiteY4" fmla="*/ 6868924 h 6936849"/>
              <a:gd name="connsiteX5" fmla="*/ 861427 w 7192470"/>
              <a:gd name="connsiteY5" fmla="*/ 6093572 h 6936849"/>
              <a:gd name="connsiteX6" fmla="*/ 266185 w 7192470"/>
              <a:gd name="connsiteY6" fmla="*/ 4260827 h 6936849"/>
              <a:gd name="connsiteX0" fmla="*/ 221223 w 7147508"/>
              <a:gd name="connsiteY0" fmla="*/ 4260827 h 6936849"/>
              <a:gd name="connsiteX1" fmla="*/ 1703971 w 7147508"/>
              <a:gd name="connsiteY1" fmla="*/ 0 h 6936849"/>
              <a:gd name="connsiteX2" fmla="*/ 7146924 w 7147508"/>
              <a:gd name="connsiteY2" fmla="*/ 4506 h 6936849"/>
              <a:gd name="connsiteX3" fmla="*/ 7146925 w 7147508"/>
              <a:gd name="connsiteY3" fmla="*/ 6862459 h 6936849"/>
              <a:gd name="connsiteX4" fmla="*/ 2983629 w 7147508"/>
              <a:gd name="connsiteY4" fmla="*/ 6868924 h 6936849"/>
              <a:gd name="connsiteX5" fmla="*/ 816465 w 7147508"/>
              <a:gd name="connsiteY5" fmla="*/ 6093572 h 6936849"/>
              <a:gd name="connsiteX6" fmla="*/ 221223 w 7147508"/>
              <a:gd name="connsiteY6" fmla="*/ 4260827 h 6936849"/>
              <a:gd name="connsiteX0" fmla="*/ 194558 w 7120843"/>
              <a:gd name="connsiteY0" fmla="*/ 4260827 h 6936849"/>
              <a:gd name="connsiteX1" fmla="*/ 1677306 w 7120843"/>
              <a:gd name="connsiteY1" fmla="*/ 0 h 6936849"/>
              <a:gd name="connsiteX2" fmla="*/ 7120259 w 7120843"/>
              <a:gd name="connsiteY2" fmla="*/ 4506 h 6936849"/>
              <a:gd name="connsiteX3" fmla="*/ 7120260 w 7120843"/>
              <a:gd name="connsiteY3" fmla="*/ 6862459 h 6936849"/>
              <a:gd name="connsiteX4" fmla="*/ 2956964 w 7120843"/>
              <a:gd name="connsiteY4" fmla="*/ 6868924 h 6936849"/>
              <a:gd name="connsiteX5" fmla="*/ 789800 w 7120843"/>
              <a:gd name="connsiteY5" fmla="*/ 6093572 h 6936849"/>
              <a:gd name="connsiteX6" fmla="*/ 194558 w 7120843"/>
              <a:gd name="connsiteY6" fmla="*/ 4260827 h 6936849"/>
              <a:gd name="connsiteX0" fmla="*/ 196976 w 7123261"/>
              <a:gd name="connsiteY0" fmla="*/ 4260827 h 6936849"/>
              <a:gd name="connsiteX1" fmla="*/ 1679724 w 7123261"/>
              <a:gd name="connsiteY1" fmla="*/ 0 h 6936849"/>
              <a:gd name="connsiteX2" fmla="*/ 7122677 w 7123261"/>
              <a:gd name="connsiteY2" fmla="*/ 4506 h 6936849"/>
              <a:gd name="connsiteX3" fmla="*/ 7122678 w 7123261"/>
              <a:gd name="connsiteY3" fmla="*/ 6862459 h 6936849"/>
              <a:gd name="connsiteX4" fmla="*/ 2959382 w 7123261"/>
              <a:gd name="connsiteY4" fmla="*/ 6868924 h 6936849"/>
              <a:gd name="connsiteX5" fmla="*/ 792218 w 7123261"/>
              <a:gd name="connsiteY5" fmla="*/ 6093572 h 6936849"/>
              <a:gd name="connsiteX6" fmla="*/ 196976 w 7123261"/>
              <a:gd name="connsiteY6" fmla="*/ 4260827 h 6936849"/>
              <a:gd name="connsiteX0" fmla="*/ 196976 w 7123261"/>
              <a:gd name="connsiteY0" fmla="*/ 4260827 h 6890977"/>
              <a:gd name="connsiteX1" fmla="*/ 1679724 w 7123261"/>
              <a:gd name="connsiteY1" fmla="*/ 0 h 6890977"/>
              <a:gd name="connsiteX2" fmla="*/ 7122677 w 7123261"/>
              <a:gd name="connsiteY2" fmla="*/ 4506 h 6890977"/>
              <a:gd name="connsiteX3" fmla="*/ 7122678 w 7123261"/>
              <a:gd name="connsiteY3" fmla="*/ 6862459 h 6890977"/>
              <a:gd name="connsiteX4" fmla="*/ 2959382 w 7123261"/>
              <a:gd name="connsiteY4" fmla="*/ 6868924 h 6890977"/>
              <a:gd name="connsiteX5" fmla="*/ 792218 w 7123261"/>
              <a:gd name="connsiteY5" fmla="*/ 6093572 h 6890977"/>
              <a:gd name="connsiteX6" fmla="*/ 196976 w 7123261"/>
              <a:gd name="connsiteY6" fmla="*/ 4260827 h 6890977"/>
              <a:gd name="connsiteX0" fmla="*/ 196976 w 7123261"/>
              <a:gd name="connsiteY0" fmla="*/ 4260827 h 6868924"/>
              <a:gd name="connsiteX1" fmla="*/ 1679724 w 7123261"/>
              <a:gd name="connsiteY1" fmla="*/ 0 h 6868924"/>
              <a:gd name="connsiteX2" fmla="*/ 7122677 w 7123261"/>
              <a:gd name="connsiteY2" fmla="*/ 4506 h 6868924"/>
              <a:gd name="connsiteX3" fmla="*/ 7122678 w 7123261"/>
              <a:gd name="connsiteY3" fmla="*/ 6862459 h 6868924"/>
              <a:gd name="connsiteX4" fmla="*/ 2959382 w 7123261"/>
              <a:gd name="connsiteY4" fmla="*/ 6868924 h 6868924"/>
              <a:gd name="connsiteX5" fmla="*/ 792218 w 7123261"/>
              <a:gd name="connsiteY5" fmla="*/ 6093572 h 6868924"/>
              <a:gd name="connsiteX6" fmla="*/ 196976 w 7123261"/>
              <a:gd name="connsiteY6" fmla="*/ 4260827 h 6868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23261" h="6868924">
                <a:moveTo>
                  <a:pt x="196976" y="4260827"/>
                </a:moveTo>
                <a:cubicBezTo>
                  <a:pt x="532475" y="3317860"/>
                  <a:pt x="1077525" y="1733542"/>
                  <a:pt x="1679724" y="0"/>
                </a:cubicBezTo>
                <a:lnTo>
                  <a:pt x="7122677" y="4506"/>
                </a:lnTo>
                <a:cubicBezTo>
                  <a:pt x="7114657" y="9731"/>
                  <a:pt x="7125852" y="3435070"/>
                  <a:pt x="7122678" y="6862459"/>
                </a:cubicBezTo>
                <a:lnTo>
                  <a:pt x="2959382" y="6868924"/>
                </a:lnTo>
                <a:cubicBezTo>
                  <a:pt x="1935302" y="6461807"/>
                  <a:pt x="1693944" y="6417130"/>
                  <a:pt x="792218" y="6093572"/>
                </a:cubicBezTo>
                <a:cubicBezTo>
                  <a:pt x="-109508" y="5770014"/>
                  <a:pt x="-138523" y="5203794"/>
                  <a:pt x="196976" y="4260827"/>
                </a:cubicBezTo>
                <a:close/>
              </a:path>
            </a:pathLst>
          </a:custGeom>
          <a:solidFill>
            <a:schemeClr val="bg1">
              <a:lumMod val="95000"/>
            </a:schemeClr>
          </a:solidFill>
          <a:effectLst>
            <a:outerShdw blurRad="101600" sx="101000" sy="101000" algn="tr" rotWithShape="0">
              <a:schemeClr val="accent3">
                <a:alpha val="10000"/>
              </a:schemeClr>
            </a:outerShdw>
          </a:effectLst>
        </p:spPr>
        <p:txBody>
          <a:bodyPr/>
          <a:lstStyle>
            <a:lvl1pPr marL="0" indent="0" algn="r">
              <a:buFont typeface="+mj-lt"/>
              <a:buNone/>
              <a:defRPr/>
            </a:lvl1pPr>
          </a:lstStyle>
          <a:p>
            <a:r>
              <a:rPr lang="en-US"/>
              <a:t>Click icon to add picture</a:t>
            </a:r>
            <a:endParaRPr lang="en-NL"/>
          </a:p>
        </p:txBody>
      </p:sp>
      <p:sp>
        <p:nvSpPr>
          <p:cNvPr id="2" name="Title 1">
            <a:extLst>
              <a:ext uri="{FF2B5EF4-FFF2-40B4-BE49-F238E27FC236}">
                <a16:creationId xmlns:a16="http://schemas.microsoft.com/office/drawing/2014/main" id="{47164DFF-9FD3-374A-A61B-48D36DF5BA69}"/>
              </a:ext>
            </a:extLst>
          </p:cNvPr>
          <p:cNvSpPr>
            <a:spLocks noGrp="1"/>
          </p:cNvSpPr>
          <p:nvPr>
            <p:ph type="title"/>
          </p:nvPr>
        </p:nvSpPr>
        <p:spPr>
          <a:xfrm>
            <a:off x="575733" y="548219"/>
            <a:ext cx="5393267" cy="1036965"/>
          </a:xfrm>
        </p:spPr>
        <p:txBody>
          <a:bodyPr/>
          <a:lstStyle>
            <a:lvl1pPr>
              <a:defRPr>
                <a:solidFill>
                  <a:schemeClr val="accent1"/>
                </a:solidFill>
              </a:defRPr>
            </a:lvl1pPr>
          </a:lstStyle>
          <a:p>
            <a:r>
              <a:rPr lang="en-US"/>
              <a:t>Click to edit Master title style</a:t>
            </a:r>
            <a:endParaRPr lang="en-NL"/>
          </a:p>
        </p:txBody>
      </p:sp>
      <p:sp>
        <p:nvSpPr>
          <p:cNvPr id="3" name="Footer Placeholder 2">
            <a:extLst>
              <a:ext uri="{FF2B5EF4-FFF2-40B4-BE49-F238E27FC236}">
                <a16:creationId xmlns:a16="http://schemas.microsoft.com/office/drawing/2014/main" id="{0AD5A861-25FE-EA46-A552-8BEDCA2DAFA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a:ln>
                  <a:noFill/>
                </a:ln>
                <a:solidFill>
                  <a:srgbClr val="3F4043">
                    <a:tint val="75000"/>
                  </a:srgbClr>
                </a:solidFill>
                <a:effectLst/>
                <a:uLnTx/>
                <a:uFillTx/>
                <a:latin typeface="Verdana"/>
                <a:ea typeface="+mn-ea"/>
                <a:cs typeface="+mn-cs"/>
              </a:rPr>
              <a:t>Draft | Internal use only | Confidential</a:t>
            </a:r>
          </a:p>
        </p:txBody>
      </p:sp>
      <p:sp>
        <p:nvSpPr>
          <p:cNvPr id="4" name="Slide Number Placeholder 3">
            <a:extLst>
              <a:ext uri="{FF2B5EF4-FFF2-40B4-BE49-F238E27FC236}">
                <a16:creationId xmlns:a16="http://schemas.microsoft.com/office/drawing/2014/main" id="{49FAE7C5-EDD8-AA47-9110-4F1AE78CFFAA}"/>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BE0E23E-9022-4929-B297-EB2777CDBB1F}" type="slidenum">
              <a:rPr kumimoji="0" lang="en-US" sz="667" b="0" i="0" u="none" strike="noStrike" kern="1200" cap="none" spc="0" normalizeH="0" baseline="0" noProof="0" smtClean="0">
                <a:ln>
                  <a:noFill/>
                </a:ln>
                <a:solidFill>
                  <a:srgbClr val="3F4043">
                    <a:tint val="75000"/>
                  </a:srgbClr>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667" b="0" i="0" u="none" strike="noStrike" kern="1200" cap="none" spc="0" normalizeH="0" baseline="0" noProof="0">
              <a:ln>
                <a:noFill/>
              </a:ln>
              <a:solidFill>
                <a:srgbClr val="3F4043">
                  <a:tint val="75000"/>
                </a:srgbClr>
              </a:solidFill>
              <a:effectLst/>
              <a:uLnTx/>
              <a:uFillTx/>
              <a:latin typeface="Verdana"/>
              <a:ea typeface="+mn-ea"/>
              <a:cs typeface="+mn-cs"/>
            </a:endParaRPr>
          </a:p>
        </p:txBody>
      </p:sp>
      <p:sp>
        <p:nvSpPr>
          <p:cNvPr id="12" name="Content Placeholder 2">
            <a:extLst>
              <a:ext uri="{FF2B5EF4-FFF2-40B4-BE49-F238E27FC236}">
                <a16:creationId xmlns:a16="http://schemas.microsoft.com/office/drawing/2014/main" id="{82E9C768-380D-B847-A9E8-B2C6C00FE727}"/>
              </a:ext>
            </a:extLst>
          </p:cNvPr>
          <p:cNvSpPr>
            <a:spLocks noGrp="1"/>
          </p:cNvSpPr>
          <p:nvPr>
            <p:ph idx="1" hasCustomPrompt="1"/>
          </p:nvPr>
        </p:nvSpPr>
        <p:spPr>
          <a:xfrm>
            <a:off x="580293" y="1701801"/>
            <a:ext cx="4296511" cy="41761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3931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userDrawn="1">
  <p:cSld name="Content slide - logo upper left">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1115F00C-7B7D-B1CB-CB9C-BCFF703F6C3B}"/>
              </a:ext>
            </a:extLst>
          </p:cNvPr>
          <p:cNvSpPr>
            <a:spLocks noGrp="1"/>
          </p:cNvSpPr>
          <p:nvPr>
            <p:ph type="pic" sz="quarter" idx="10"/>
          </p:nvPr>
        </p:nvSpPr>
        <p:spPr>
          <a:xfrm flipH="1">
            <a:off x="7345957" y="-15694"/>
            <a:ext cx="4846043" cy="5575923"/>
          </a:xfrm>
          <a:custGeom>
            <a:avLst/>
            <a:gdLst>
              <a:gd name="connsiteX0" fmla="*/ 0 w 4803247"/>
              <a:gd name="connsiteY0" fmla="*/ 800557 h 6400800"/>
              <a:gd name="connsiteX1" fmla="*/ 800557 w 4803247"/>
              <a:gd name="connsiteY1" fmla="*/ 0 h 6400800"/>
              <a:gd name="connsiteX2" fmla="*/ 4002690 w 4803247"/>
              <a:gd name="connsiteY2" fmla="*/ 0 h 6400800"/>
              <a:gd name="connsiteX3" fmla="*/ 4803247 w 4803247"/>
              <a:gd name="connsiteY3" fmla="*/ 800557 h 6400800"/>
              <a:gd name="connsiteX4" fmla="*/ 4803247 w 4803247"/>
              <a:gd name="connsiteY4" fmla="*/ 5600243 h 6400800"/>
              <a:gd name="connsiteX5" fmla="*/ 4002690 w 4803247"/>
              <a:gd name="connsiteY5" fmla="*/ 6400800 h 6400800"/>
              <a:gd name="connsiteX6" fmla="*/ 800557 w 4803247"/>
              <a:gd name="connsiteY6" fmla="*/ 6400800 h 6400800"/>
              <a:gd name="connsiteX7" fmla="*/ 0 w 4803247"/>
              <a:gd name="connsiteY7" fmla="*/ 5600243 h 6400800"/>
              <a:gd name="connsiteX8" fmla="*/ 0 w 4803247"/>
              <a:gd name="connsiteY8" fmla="*/ 800557 h 6400800"/>
              <a:gd name="connsiteX0" fmla="*/ 0 w 4990064"/>
              <a:gd name="connsiteY0" fmla="*/ 813257 h 6413500"/>
              <a:gd name="connsiteX1" fmla="*/ 800557 w 4990064"/>
              <a:gd name="connsiteY1" fmla="*/ 12700 h 6413500"/>
              <a:gd name="connsiteX2" fmla="*/ 4790090 w 4990064"/>
              <a:gd name="connsiteY2" fmla="*/ 0 h 6413500"/>
              <a:gd name="connsiteX3" fmla="*/ 4803247 w 4990064"/>
              <a:gd name="connsiteY3" fmla="*/ 813257 h 6413500"/>
              <a:gd name="connsiteX4" fmla="*/ 4803247 w 4990064"/>
              <a:gd name="connsiteY4" fmla="*/ 5612943 h 6413500"/>
              <a:gd name="connsiteX5" fmla="*/ 4002690 w 4990064"/>
              <a:gd name="connsiteY5" fmla="*/ 6413500 h 6413500"/>
              <a:gd name="connsiteX6" fmla="*/ 800557 w 4990064"/>
              <a:gd name="connsiteY6" fmla="*/ 6413500 h 6413500"/>
              <a:gd name="connsiteX7" fmla="*/ 0 w 4990064"/>
              <a:gd name="connsiteY7" fmla="*/ 5612943 h 6413500"/>
              <a:gd name="connsiteX8" fmla="*/ 0 w 4990064"/>
              <a:gd name="connsiteY8" fmla="*/ 813257 h 6413500"/>
              <a:gd name="connsiteX0" fmla="*/ 0 w 5122031"/>
              <a:gd name="connsiteY0" fmla="*/ 813257 h 6413500"/>
              <a:gd name="connsiteX1" fmla="*/ 800557 w 5122031"/>
              <a:gd name="connsiteY1" fmla="*/ 12700 h 6413500"/>
              <a:gd name="connsiteX2" fmla="*/ 4790090 w 5122031"/>
              <a:gd name="connsiteY2" fmla="*/ 0 h 6413500"/>
              <a:gd name="connsiteX3" fmla="*/ 4803247 w 5122031"/>
              <a:gd name="connsiteY3" fmla="*/ 5612943 h 6413500"/>
              <a:gd name="connsiteX4" fmla="*/ 4002690 w 5122031"/>
              <a:gd name="connsiteY4" fmla="*/ 6413500 h 6413500"/>
              <a:gd name="connsiteX5" fmla="*/ 800557 w 5122031"/>
              <a:gd name="connsiteY5" fmla="*/ 6413500 h 6413500"/>
              <a:gd name="connsiteX6" fmla="*/ 0 w 5122031"/>
              <a:gd name="connsiteY6" fmla="*/ 5612943 h 6413500"/>
              <a:gd name="connsiteX7" fmla="*/ 0 w 5122031"/>
              <a:gd name="connsiteY7" fmla="*/ 813257 h 6413500"/>
              <a:gd name="connsiteX0" fmla="*/ 0 w 4903385"/>
              <a:gd name="connsiteY0" fmla="*/ 813257 h 6413500"/>
              <a:gd name="connsiteX1" fmla="*/ 800557 w 4903385"/>
              <a:gd name="connsiteY1" fmla="*/ 12700 h 6413500"/>
              <a:gd name="connsiteX2" fmla="*/ 4790090 w 4903385"/>
              <a:gd name="connsiteY2" fmla="*/ 0 h 6413500"/>
              <a:gd name="connsiteX3" fmla="*/ 2834747 w 4903385"/>
              <a:gd name="connsiteY3" fmla="*/ 5739943 h 6413500"/>
              <a:gd name="connsiteX4" fmla="*/ 4002690 w 4903385"/>
              <a:gd name="connsiteY4" fmla="*/ 6413500 h 6413500"/>
              <a:gd name="connsiteX5" fmla="*/ 800557 w 4903385"/>
              <a:gd name="connsiteY5" fmla="*/ 6413500 h 6413500"/>
              <a:gd name="connsiteX6" fmla="*/ 0 w 4903385"/>
              <a:gd name="connsiteY6" fmla="*/ 5612943 h 6413500"/>
              <a:gd name="connsiteX7" fmla="*/ 0 w 4903385"/>
              <a:gd name="connsiteY7" fmla="*/ 813257 h 6413500"/>
              <a:gd name="connsiteX0" fmla="*/ 0 w 4912398"/>
              <a:gd name="connsiteY0" fmla="*/ 813257 h 6413500"/>
              <a:gd name="connsiteX1" fmla="*/ 800557 w 4912398"/>
              <a:gd name="connsiteY1" fmla="*/ 12700 h 6413500"/>
              <a:gd name="connsiteX2" fmla="*/ 4790090 w 4912398"/>
              <a:gd name="connsiteY2" fmla="*/ 0 h 6413500"/>
              <a:gd name="connsiteX3" fmla="*/ 2834747 w 4912398"/>
              <a:gd name="connsiteY3" fmla="*/ 5739943 h 6413500"/>
              <a:gd name="connsiteX4" fmla="*/ 4002690 w 4912398"/>
              <a:gd name="connsiteY4" fmla="*/ 6413500 h 6413500"/>
              <a:gd name="connsiteX5" fmla="*/ 800557 w 4912398"/>
              <a:gd name="connsiteY5" fmla="*/ 6413500 h 6413500"/>
              <a:gd name="connsiteX6" fmla="*/ 0 w 4912398"/>
              <a:gd name="connsiteY6" fmla="*/ 5612943 h 6413500"/>
              <a:gd name="connsiteX7" fmla="*/ 0 w 4912398"/>
              <a:gd name="connsiteY7" fmla="*/ 813257 h 6413500"/>
              <a:gd name="connsiteX0" fmla="*/ 0 w 4912398"/>
              <a:gd name="connsiteY0" fmla="*/ 813257 h 6413500"/>
              <a:gd name="connsiteX1" fmla="*/ 800557 w 4912398"/>
              <a:gd name="connsiteY1" fmla="*/ 12700 h 6413500"/>
              <a:gd name="connsiteX2" fmla="*/ 4790090 w 4912398"/>
              <a:gd name="connsiteY2" fmla="*/ 0 h 6413500"/>
              <a:gd name="connsiteX3" fmla="*/ 2834747 w 4912398"/>
              <a:gd name="connsiteY3" fmla="*/ 5739943 h 6413500"/>
              <a:gd name="connsiteX4" fmla="*/ 1297590 w 4912398"/>
              <a:gd name="connsiteY4" fmla="*/ 6324600 h 6413500"/>
              <a:gd name="connsiteX5" fmla="*/ 800557 w 4912398"/>
              <a:gd name="connsiteY5" fmla="*/ 6413500 h 6413500"/>
              <a:gd name="connsiteX6" fmla="*/ 0 w 4912398"/>
              <a:gd name="connsiteY6" fmla="*/ 5612943 h 6413500"/>
              <a:gd name="connsiteX7" fmla="*/ 0 w 4912398"/>
              <a:gd name="connsiteY7" fmla="*/ 813257 h 6413500"/>
              <a:gd name="connsiteX0" fmla="*/ 0 w 4912398"/>
              <a:gd name="connsiteY0" fmla="*/ 813257 h 6324600"/>
              <a:gd name="connsiteX1" fmla="*/ 800557 w 4912398"/>
              <a:gd name="connsiteY1" fmla="*/ 12700 h 6324600"/>
              <a:gd name="connsiteX2" fmla="*/ 4790090 w 4912398"/>
              <a:gd name="connsiteY2" fmla="*/ 0 h 6324600"/>
              <a:gd name="connsiteX3" fmla="*/ 2834747 w 4912398"/>
              <a:gd name="connsiteY3" fmla="*/ 5739943 h 6324600"/>
              <a:gd name="connsiteX4" fmla="*/ 1297590 w 4912398"/>
              <a:gd name="connsiteY4" fmla="*/ 6324600 h 6324600"/>
              <a:gd name="connsiteX5" fmla="*/ 0 w 4912398"/>
              <a:gd name="connsiteY5" fmla="*/ 5612943 h 6324600"/>
              <a:gd name="connsiteX6" fmla="*/ 0 w 4912398"/>
              <a:gd name="connsiteY6" fmla="*/ 813257 h 6324600"/>
              <a:gd name="connsiteX0" fmla="*/ 0 w 4912398"/>
              <a:gd name="connsiteY0" fmla="*/ 813257 h 6324600"/>
              <a:gd name="connsiteX1" fmla="*/ 800557 w 4912398"/>
              <a:gd name="connsiteY1" fmla="*/ 12700 h 6324600"/>
              <a:gd name="connsiteX2" fmla="*/ 4790090 w 4912398"/>
              <a:gd name="connsiteY2" fmla="*/ 0 h 6324600"/>
              <a:gd name="connsiteX3" fmla="*/ 2834747 w 4912398"/>
              <a:gd name="connsiteY3" fmla="*/ 5739943 h 6324600"/>
              <a:gd name="connsiteX4" fmla="*/ 1297590 w 4912398"/>
              <a:gd name="connsiteY4" fmla="*/ 6324600 h 6324600"/>
              <a:gd name="connsiteX5" fmla="*/ 0 w 4912398"/>
              <a:gd name="connsiteY5" fmla="*/ 5841543 h 6324600"/>
              <a:gd name="connsiteX6" fmla="*/ 0 w 4912398"/>
              <a:gd name="connsiteY6" fmla="*/ 813257 h 6324600"/>
              <a:gd name="connsiteX0" fmla="*/ 0 w 4912398"/>
              <a:gd name="connsiteY0" fmla="*/ 813257 h 6356095"/>
              <a:gd name="connsiteX1" fmla="*/ 800557 w 4912398"/>
              <a:gd name="connsiteY1" fmla="*/ 12700 h 6356095"/>
              <a:gd name="connsiteX2" fmla="*/ 4790090 w 4912398"/>
              <a:gd name="connsiteY2" fmla="*/ 0 h 6356095"/>
              <a:gd name="connsiteX3" fmla="*/ 2834747 w 4912398"/>
              <a:gd name="connsiteY3" fmla="*/ 5739943 h 6356095"/>
              <a:gd name="connsiteX4" fmla="*/ 1297590 w 4912398"/>
              <a:gd name="connsiteY4" fmla="*/ 6324600 h 6356095"/>
              <a:gd name="connsiteX5" fmla="*/ 0 w 4912398"/>
              <a:gd name="connsiteY5" fmla="*/ 5841543 h 6356095"/>
              <a:gd name="connsiteX6" fmla="*/ 0 w 4912398"/>
              <a:gd name="connsiteY6" fmla="*/ 813257 h 6356095"/>
              <a:gd name="connsiteX0" fmla="*/ 0 w 4909104"/>
              <a:gd name="connsiteY0" fmla="*/ 813257 h 6370894"/>
              <a:gd name="connsiteX1" fmla="*/ 800557 w 4909104"/>
              <a:gd name="connsiteY1" fmla="*/ 12700 h 6370894"/>
              <a:gd name="connsiteX2" fmla="*/ 4790090 w 4909104"/>
              <a:gd name="connsiteY2" fmla="*/ 0 h 6370894"/>
              <a:gd name="connsiteX3" fmla="*/ 2758547 w 4909104"/>
              <a:gd name="connsiteY3" fmla="*/ 5879643 h 6370894"/>
              <a:gd name="connsiteX4" fmla="*/ 1297590 w 4909104"/>
              <a:gd name="connsiteY4" fmla="*/ 6324600 h 6370894"/>
              <a:gd name="connsiteX5" fmla="*/ 0 w 4909104"/>
              <a:gd name="connsiteY5" fmla="*/ 5841543 h 6370894"/>
              <a:gd name="connsiteX6" fmla="*/ 0 w 4909104"/>
              <a:gd name="connsiteY6" fmla="*/ 813257 h 6370894"/>
              <a:gd name="connsiteX0" fmla="*/ 0 w 4909104"/>
              <a:gd name="connsiteY0" fmla="*/ 813257 h 6389752"/>
              <a:gd name="connsiteX1" fmla="*/ 800557 w 4909104"/>
              <a:gd name="connsiteY1" fmla="*/ 12700 h 6389752"/>
              <a:gd name="connsiteX2" fmla="*/ 4790090 w 4909104"/>
              <a:gd name="connsiteY2" fmla="*/ 0 h 6389752"/>
              <a:gd name="connsiteX3" fmla="*/ 2758547 w 4909104"/>
              <a:gd name="connsiteY3" fmla="*/ 5879643 h 6389752"/>
              <a:gd name="connsiteX4" fmla="*/ 1297590 w 4909104"/>
              <a:gd name="connsiteY4" fmla="*/ 6324600 h 6389752"/>
              <a:gd name="connsiteX5" fmla="*/ 0 w 4909104"/>
              <a:gd name="connsiteY5" fmla="*/ 5841543 h 6389752"/>
              <a:gd name="connsiteX6" fmla="*/ 0 w 4909104"/>
              <a:gd name="connsiteY6" fmla="*/ 813257 h 6389752"/>
              <a:gd name="connsiteX0" fmla="*/ 0 w 4909104"/>
              <a:gd name="connsiteY0" fmla="*/ 813257 h 6413145"/>
              <a:gd name="connsiteX1" fmla="*/ 800557 w 4909104"/>
              <a:gd name="connsiteY1" fmla="*/ 12700 h 6413145"/>
              <a:gd name="connsiteX2" fmla="*/ 4790090 w 4909104"/>
              <a:gd name="connsiteY2" fmla="*/ 0 h 6413145"/>
              <a:gd name="connsiteX3" fmla="*/ 2758547 w 4909104"/>
              <a:gd name="connsiteY3" fmla="*/ 5879643 h 6413145"/>
              <a:gd name="connsiteX4" fmla="*/ 1297590 w 4909104"/>
              <a:gd name="connsiteY4" fmla="*/ 6324600 h 6413145"/>
              <a:gd name="connsiteX5" fmla="*/ 0 w 4909104"/>
              <a:gd name="connsiteY5" fmla="*/ 5841543 h 6413145"/>
              <a:gd name="connsiteX6" fmla="*/ 0 w 4909104"/>
              <a:gd name="connsiteY6" fmla="*/ 813257 h 6413145"/>
              <a:gd name="connsiteX0" fmla="*/ 0 w 4790090"/>
              <a:gd name="connsiteY0" fmla="*/ 813257 h 6413145"/>
              <a:gd name="connsiteX1" fmla="*/ 800557 w 4790090"/>
              <a:gd name="connsiteY1" fmla="*/ 12700 h 6413145"/>
              <a:gd name="connsiteX2" fmla="*/ 4790090 w 4790090"/>
              <a:gd name="connsiteY2" fmla="*/ 0 h 6413145"/>
              <a:gd name="connsiteX3" fmla="*/ 2758547 w 4790090"/>
              <a:gd name="connsiteY3" fmla="*/ 5879643 h 6413145"/>
              <a:gd name="connsiteX4" fmla="*/ 1297590 w 4790090"/>
              <a:gd name="connsiteY4" fmla="*/ 6324600 h 6413145"/>
              <a:gd name="connsiteX5" fmla="*/ 0 w 4790090"/>
              <a:gd name="connsiteY5" fmla="*/ 5841543 h 6413145"/>
              <a:gd name="connsiteX6" fmla="*/ 0 w 4790090"/>
              <a:gd name="connsiteY6" fmla="*/ 813257 h 6413145"/>
              <a:gd name="connsiteX0" fmla="*/ 0 w 4802790"/>
              <a:gd name="connsiteY0" fmla="*/ 800557 h 6400445"/>
              <a:gd name="connsiteX1" fmla="*/ 800557 w 4802790"/>
              <a:gd name="connsiteY1" fmla="*/ 0 h 6400445"/>
              <a:gd name="connsiteX2" fmla="*/ 4802790 w 4802790"/>
              <a:gd name="connsiteY2" fmla="*/ 0 h 6400445"/>
              <a:gd name="connsiteX3" fmla="*/ 2758547 w 4802790"/>
              <a:gd name="connsiteY3" fmla="*/ 5866943 h 6400445"/>
              <a:gd name="connsiteX4" fmla="*/ 1297590 w 4802790"/>
              <a:gd name="connsiteY4" fmla="*/ 6311900 h 6400445"/>
              <a:gd name="connsiteX5" fmla="*/ 0 w 4802790"/>
              <a:gd name="connsiteY5" fmla="*/ 5828843 h 6400445"/>
              <a:gd name="connsiteX6" fmla="*/ 0 w 4802790"/>
              <a:gd name="connsiteY6" fmla="*/ 800557 h 6400445"/>
              <a:gd name="connsiteX0" fmla="*/ 0 w 4802790"/>
              <a:gd name="connsiteY0" fmla="*/ 199974 h 6587262"/>
              <a:gd name="connsiteX1" fmla="*/ 800557 w 4802790"/>
              <a:gd name="connsiteY1" fmla="*/ 186817 h 6587262"/>
              <a:gd name="connsiteX2" fmla="*/ 4802790 w 4802790"/>
              <a:gd name="connsiteY2" fmla="*/ 186817 h 6587262"/>
              <a:gd name="connsiteX3" fmla="*/ 2758547 w 4802790"/>
              <a:gd name="connsiteY3" fmla="*/ 6053760 h 6587262"/>
              <a:gd name="connsiteX4" fmla="*/ 1297590 w 4802790"/>
              <a:gd name="connsiteY4" fmla="*/ 6498717 h 6587262"/>
              <a:gd name="connsiteX5" fmla="*/ 0 w 4802790"/>
              <a:gd name="connsiteY5" fmla="*/ 6015660 h 6587262"/>
              <a:gd name="connsiteX6" fmla="*/ 0 w 4802790"/>
              <a:gd name="connsiteY6" fmla="*/ 199974 h 6587262"/>
              <a:gd name="connsiteX0" fmla="*/ 0 w 4802790"/>
              <a:gd name="connsiteY0" fmla="*/ 736787 h 7124075"/>
              <a:gd name="connsiteX1" fmla="*/ 4802790 w 4802790"/>
              <a:gd name="connsiteY1" fmla="*/ 723630 h 7124075"/>
              <a:gd name="connsiteX2" fmla="*/ 2758547 w 4802790"/>
              <a:gd name="connsiteY2" fmla="*/ 6590573 h 7124075"/>
              <a:gd name="connsiteX3" fmla="*/ 1297590 w 4802790"/>
              <a:gd name="connsiteY3" fmla="*/ 7035530 h 7124075"/>
              <a:gd name="connsiteX4" fmla="*/ 0 w 4802790"/>
              <a:gd name="connsiteY4" fmla="*/ 6552473 h 7124075"/>
              <a:gd name="connsiteX5" fmla="*/ 0 w 4802790"/>
              <a:gd name="connsiteY5" fmla="*/ 736787 h 7124075"/>
              <a:gd name="connsiteX0" fmla="*/ 0 w 4802790"/>
              <a:gd name="connsiteY0" fmla="*/ 444765 h 6832053"/>
              <a:gd name="connsiteX1" fmla="*/ 4802790 w 4802790"/>
              <a:gd name="connsiteY1" fmla="*/ 431608 h 6832053"/>
              <a:gd name="connsiteX2" fmla="*/ 2758547 w 4802790"/>
              <a:gd name="connsiteY2" fmla="*/ 6298551 h 6832053"/>
              <a:gd name="connsiteX3" fmla="*/ 1297590 w 4802790"/>
              <a:gd name="connsiteY3" fmla="*/ 6743508 h 6832053"/>
              <a:gd name="connsiteX4" fmla="*/ 0 w 4802790"/>
              <a:gd name="connsiteY4" fmla="*/ 6260451 h 6832053"/>
              <a:gd name="connsiteX5" fmla="*/ 0 w 4802790"/>
              <a:gd name="connsiteY5" fmla="*/ 444765 h 6832053"/>
              <a:gd name="connsiteX0" fmla="*/ 0 w 4802790"/>
              <a:gd name="connsiteY0" fmla="*/ 13157 h 6400445"/>
              <a:gd name="connsiteX1" fmla="*/ 4802790 w 4802790"/>
              <a:gd name="connsiteY1" fmla="*/ 0 h 6400445"/>
              <a:gd name="connsiteX2" fmla="*/ 2758547 w 4802790"/>
              <a:gd name="connsiteY2" fmla="*/ 5866943 h 6400445"/>
              <a:gd name="connsiteX3" fmla="*/ 1297590 w 4802790"/>
              <a:gd name="connsiteY3" fmla="*/ 6311900 h 6400445"/>
              <a:gd name="connsiteX4" fmla="*/ 0 w 4802790"/>
              <a:gd name="connsiteY4" fmla="*/ 5828843 h 6400445"/>
              <a:gd name="connsiteX5" fmla="*/ 0 w 4802790"/>
              <a:gd name="connsiteY5" fmla="*/ 13157 h 6400445"/>
              <a:gd name="connsiteX0" fmla="*/ 12700 w 4802790"/>
              <a:gd name="connsiteY0" fmla="*/ 0 h 6406338"/>
              <a:gd name="connsiteX1" fmla="*/ 4802790 w 4802790"/>
              <a:gd name="connsiteY1" fmla="*/ 5893 h 6406338"/>
              <a:gd name="connsiteX2" fmla="*/ 2758547 w 4802790"/>
              <a:gd name="connsiteY2" fmla="*/ 5872836 h 6406338"/>
              <a:gd name="connsiteX3" fmla="*/ 1297590 w 4802790"/>
              <a:gd name="connsiteY3" fmla="*/ 6317793 h 6406338"/>
              <a:gd name="connsiteX4" fmla="*/ 0 w 4802790"/>
              <a:gd name="connsiteY4" fmla="*/ 5834736 h 6406338"/>
              <a:gd name="connsiteX5" fmla="*/ 12700 w 4802790"/>
              <a:gd name="connsiteY5" fmla="*/ 0 h 6406338"/>
              <a:gd name="connsiteX0" fmla="*/ 12700 w 4802790"/>
              <a:gd name="connsiteY0" fmla="*/ 0 h 6406338"/>
              <a:gd name="connsiteX1" fmla="*/ 4802790 w 4802790"/>
              <a:gd name="connsiteY1" fmla="*/ 5893 h 6406338"/>
              <a:gd name="connsiteX2" fmla="*/ 2758547 w 4802790"/>
              <a:gd name="connsiteY2" fmla="*/ 5872836 h 6406338"/>
              <a:gd name="connsiteX3" fmla="*/ 1297590 w 4802790"/>
              <a:gd name="connsiteY3" fmla="*/ 6317793 h 6406338"/>
              <a:gd name="connsiteX4" fmla="*/ 0 w 4802790"/>
              <a:gd name="connsiteY4" fmla="*/ 5834736 h 6406338"/>
              <a:gd name="connsiteX5" fmla="*/ 12700 w 4802790"/>
              <a:gd name="connsiteY5" fmla="*/ 0 h 6406338"/>
              <a:gd name="connsiteX0" fmla="*/ 12700 w 4809140"/>
              <a:gd name="connsiteY0" fmla="*/ 457 h 6406795"/>
              <a:gd name="connsiteX1" fmla="*/ 4809140 w 4809140"/>
              <a:gd name="connsiteY1" fmla="*/ 0 h 6406795"/>
              <a:gd name="connsiteX2" fmla="*/ 2758547 w 4809140"/>
              <a:gd name="connsiteY2" fmla="*/ 5873293 h 6406795"/>
              <a:gd name="connsiteX3" fmla="*/ 1297590 w 4809140"/>
              <a:gd name="connsiteY3" fmla="*/ 6318250 h 6406795"/>
              <a:gd name="connsiteX4" fmla="*/ 0 w 4809140"/>
              <a:gd name="connsiteY4" fmla="*/ 5835193 h 6406795"/>
              <a:gd name="connsiteX5" fmla="*/ 12700 w 4809140"/>
              <a:gd name="connsiteY5" fmla="*/ 457 h 6406795"/>
              <a:gd name="connsiteX0" fmla="*/ 12700 w 4809140"/>
              <a:gd name="connsiteY0" fmla="*/ 457 h 6406795"/>
              <a:gd name="connsiteX1" fmla="*/ 4809140 w 4809140"/>
              <a:gd name="connsiteY1" fmla="*/ 0 h 6406795"/>
              <a:gd name="connsiteX2" fmla="*/ 2758547 w 4809140"/>
              <a:gd name="connsiteY2" fmla="*/ 5873293 h 6406795"/>
              <a:gd name="connsiteX3" fmla="*/ 1297590 w 4809140"/>
              <a:gd name="connsiteY3" fmla="*/ 6318250 h 6406795"/>
              <a:gd name="connsiteX4" fmla="*/ 0 w 4809140"/>
              <a:gd name="connsiteY4" fmla="*/ 5835193 h 6406795"/>
              <a:gd name="connsiteX5" fmla="*/ 12700 w 4809140"/>
              <a:gd name="connsiteY5" fmla="*/ 457 h 6406795"/>
              <a:gd name="connsiteX0" fmla="*/ 12700 w 4809140"/>
              <a:gd name="connsiteY0" fmla="*/ 457 h 6355261"/>
              <a:gd name="connsiteX1" fmla="*/ 4809140 w 4809140"/>
              <a:gd name="connsiteY1" fmla="*/ 0 h 6355261"/>
              <a:gd name="connsiteX2" fmla="*/ 2815697 w 4809140"/>
              <a:gd name="connsiteY2" fmla="*/ 5597068 h 6355261"/>
              <a:gd name="connsiteX3" fmla="*/ 1297590 w 4809140"/>
              <a:gd name="connsiteY3" fmla="*/ 6318250 h 6355261"/>
              <a:gd name="connsiteX4" fmla="*/ 0 w 4809140"/>
              <a:gd name="connsiteY4" fmla="*/ 5835193 h 6355261"/>
              <a:gd name="connsiteX5" fmla="*/ 12700 w 4809140"/>
              <a:gd name="connsiteY5" fmla="*/ 457 h 6355261"/>
              <a:gd name="connsiteX0" fmla="*/ 12700 w 4809140"/>
              <a:gd name="connsiteY0" fmla="*/ 457 h 6356838"/>
              <a:gd name="connsiteX1" fmla="*/ 4809140 w 4809140"/>
              <a:gd name="connsiteY1" fmla="*/ 0 h 6356838"/>
              <a:gd name="connsiteX2" fmla="*/ 2850622 w 4809140"/>
              <a:gd name="connsiteY2" fmla="*/ 5612943 h 6356838"/>
              <a:gd name="connsiteX3" fmla="*/ 1297590 w 4809140"/>
              <a:gd name="connsiteY3" fmla="*/ 6318250 h 6356838"/>
              <a:gd name="connsiteX4" fmla="*/ 0 w 4809140"/>
              <a:gd name="connsiteY4" fmla="*/ 5835193 h 6356838"/>
              <a:gd name="connsiteX5" fmla="*/ 12700 w 4809140"/>
              <a:gd name="connsiteY5" fmla="*/ 457 h 6356838"/>
              <a:gd name="connsiteX0" fmla="*/ 12700 w 4809140"/>
              <a:gd name="connsiteY0" fmla="*/ 457 h 6356838"/>
              <a:gd name="connsiteX1" fmla="*/ 4809140 w 4809140"/>
              <a:gd name="connsiteY1" fmla="*/ 0 h 6356838"/>
              <a:gd name="connsiteX2" fmla="*/ 2850622 w 4809140"/>
              <a:gd name="connsiteY2" fmla="*/ 5612943 h 6356838"/>
              <a:gd name="connsiteX3" fmla="*/ 1297590 w 4809140"/>
              <a:gd name="connsiteY3" fmla="*/ 6318250 h 6356838"/>
              <a:gd name="connsiteX4" fmla="*/ 0 w 4809140"/>
              <a:gd name="connsiteY4" fmla="*/ 5835193 h 6356838"/>
              <a:gd name="connsiteX5" fmla="*/ 12700 w 4809140"/>
              <a:gd name="connsiteY5" fmla="*/ 457 h 6356838"/>
              <a:gd name="connsiteX0" fmla="*/ 12700 w 4809140"/>
              <a:gd name="connsiteY0" fmla="*/ 457 h 6367619"/>
              <a:gd name="connsiteX1" fmla="*/ 4809140 w 4809140"/>
              <a:gd name="connsiteY1" fmla="*/ 0 h 6367619"/>
              <a:gd name="connsiteX2" fmla="*/ 2850622 w 4809140"/>
              <a:gd name="connsiteY2" fmla="*/ 5612943 h 6367619"/>
              <a:gd name="connsiteX3" fmla="*/ 1297590 w 4809140"/>
              <a:gd name="connsiteY3" fmla="*/ 6318250 h 6367619"/>
              <a:gd name="connsiteX4" fmla="*/ 0 w 4809140"/>
              <a:gd name="connsiteY4" fmla="*/ 5835193 h 6367619"/>
              <a:gd name="connsiteX5" fmla="*/ 12700 w 4809140"/>
              <a:gd name="connsiteY5" fmla="*/ 457 h 6367619"/>
              <a:gd name="connsiteX0" fmla="*/ 12700 w 4878067"/>
              <a:gd name="connsiteY0" fmla="*/ 457 h 6367619"/>
              <a:gd name="connsiteX1" fmla="*/ 4809140 w 4878067"/>
              <a:gd name="connsiteY1" fmla="*/ 0 h 6367619"/>
              <a:gd name="connsiteX2" fmla="*/ 2850622 w 4878067"/>
              <a:gd name="connsiteY2" fmla="*/ 5612943 h 6367619"/>
              <a:gd name="connsiteX3" fmla="*/ 1297590 w 4878067"/>
              <a:gd name="connsiteY3" fmla="*/ 6318250 h 6367619"/>
              <a:gd name="connsiteX4" fmla="*/ 0 w 4878067"/>
              <a:gd name="connsiteY4" fmla="*/ 5835193 h 6367619"/>
              <a:gd name="connsiteX5" fmla="*/ 12700 w 4878067"/>
              <a:gd name="connsiteY5" fmla="*/ 457 h 6367619"/>
              <a:gd name="connsiteX0" fmla="*/ 12700 w 4876798"/>
              <a:gd name="connsiteY0" fmla="*/ 457 h 6375970"/>
              <a:gd name="connsiteX1" fmla="*/ 4809140 w 4876798"/>
              <a:gd name="connsiteY1" fmla="*/ 0 h 6375970"/>
              <a:gd name="connsiteX2" fmla="*/ 2850622 w 4876798"/>
              <a:gd name="connsiteY2" fmla="*/ 5612943 h 6375970"/>
              <a:gd name="connsiteX3" fmla="*/ 1297590 w 4876798"/>
              <a:gd name="connsiteY3" fmla="*/ 6318250 h 6375970"/>
              <a:gd name="connsiteX4" fmla="*/ 0 w 4876798"/>
              <a:gd name="connsiteY4" fmla="*/ 5835193 h 6375970"/>
              <a:gd name="connsiteX5" fmla="*/ 12700 w 4876798"/>
              <a:gd name="connsiteY5" fmla="*/ 457 h 6375970"/>
              <a:gd name="connsiteX0" fmla="*/ 12700 w 4877724"/>
              <a:gd name="connsiteY0" fmla="*/ 457 h 6396710"/>
              <a:gd name="connsiteX1" fmla="*/ 4809140 w 4877724"/>
              <a:gd name="connsiteY1" fmla="*/ 0 h 6396710"/>
              <a:gd name="connsiteX2" fmla="*/ 2850622 w 4877724"/>
              <a:gd name="connsiteY2" fmla="*/ 5612943 h 6396710"/>
              <a:gd name="connsiteX3" fmla="*/ 1297590 w 4877724"/>
              <a:gd name="connsiteY3" fmla="*/ 6318250 h 6396710"/>
              <a:gd name="connsiteX4" fmla="*/ 0 w 4877724"/>
              <a:gd name="connsiteY4" fmla="*/ 5835193 h 6396710"/>
              <a:gd name="connsiteX5" fmla="*/ 12700 w 4877724"/>
              <a:gd name="connsiteY5" fmla="*/ 457 h 6396710"/>
              <a:gd name="connsiteX0" fmla="*/ 12700 w 4885782"/>
              <a:gd name="connsiteY0" fmla="*/ 457 h 6421766"/>
              <a:gd name="connsiteX1" fmla="*/ 4809140 w 4885782"/>
              <a:gd name="connsiteY1" fmla="*/ 0 h 6421766"/>
              <a:gd name="connsiteX2" fmla="*/ 2850622 w 4885782"/>
              <a:gd name="connsiteY2" fmla="*/ 5612943 h 6421766"/>
              <a:gd name="connsiteX3" fmla="*/ 1303940 w 4885782"/>
              <a:gd name="connsiteY3" fmla="*/ 6308725 h 6421766"/>
              <a:gd name="connsiteX4" fmla="*/ 0 w 4885782"/>
              <a:gd name="connsiteY4" fmla="*/ 5835193 h 6421766"/>
              <a:gd name="connsiteX5" fmla="*/ 12700 w 4885782"/>
              <a:gd name="connsiteY5" fmla="*/ 457 h 6421766"/>
              <a:gd name="connsiteX0" fmla="*/ 12700 w 4885782"/>
              <a:gd name="connsiteY0" fmla="*/ 457 h 6407919"/>
              <a:gd name="connsiteX1" fmla="*/ 4809140 w 4885782"/>
              <a:gd name="connsiteY1" fmla="*/ 0 h 6407919"/>
              <a:gd name="connsiteX2" fmla="*/ 2850622 w 4885782"/>
              <a:gd name="connsiteY2" fmla="*/ 5612943 h 6407919"/>
              <a:gd name="connsiteX3" fmla="*/ 1303940 w 4885782"/>
              <a:gd name="connsiteY3" fmla="*/ 6308725 h 6407919"/>
              <a:gd name="connsiteX4" fmla="*/ 0 w 4885782"/>
              <a:gd name="connsiteY4" fmla="*/ 5835193 h 6407919"/>
              <a:gd name="connsiteX5" fmla="*/ 12700 w 4885782"/>
              <a:gd name="connsiteY5" fmla="*/ 457 h 6407919"/>
              <a:gd name="connsiteX0" fmla="*/ 12700 w 4879831"/>
              <a:gd name="connsiteY0" fmla="*/ 457 h 6423439"/>
              <a:gd name="connsiteX1" fmla="*/ 4809140 w 4879831"/>
              <a:gd name="connsiteY1" fmla="*/ 0 h 6423439"/>
              <a:gd name="connsiteX2" fmla="*/ 2850622 w 4879831"/>
              <a:gd name="connsiteY2" fmla="*/ 5612943 h 6423439"/>
              <a:gd name="connsiteX3" fmla="*/ 1303940 w 4879831"/>
              <a:gd name="connsiteY3" fmla="*/ 6308725 h 6423439"/>
              <a:gd name="connsiteX4" fmla="*/ 0 w 4879831"/>
              <a:gd name="connsiteY4" fmla="*/ 5835193 h 6423439"/>
              <a:gd name="connsiteX5" fmla="*/ 12700 w 4879831"/>
              <a:gd name="connsiteY5" fmla="*/ 457 h 6423439"/>
              <a:gd name="connsiteX0" fmla="*/ 12700 w 4809140"/>
              <a:gd name="connsiteY0" fmla="*/ 457 h 6423439"/>
              <a:gd name="connsiteX1" fmla="*/ 4809140 w 4809140"/>
              <a:gd name="connsiteY1" fmla="*/ 0 h 6423439"/>
              <a:gd name="connsiteX2" fmla="*/ 2850622 w 4809140"/>
              <a:gd name="connsiteY2" fmla="*/ 5612943 h 6423439"/>
              <a:gd name="connsiteX3" fmla="*/ 1303940 w 4809140"/>
              <a:gd name="connsiteY3" fmla="*/ 6308725 h 6423439"/>
              <a:gd name="connsiteX4" fmla="*/ 0 w 4809140"/>
              <a:gd name="connsiteY4" fmla="*/ 5835193 h 6423439"/>
              <a:gd name="connsiteX5" fmla="*/ 12700 w 4809140"/>
              <a:gd name="connsiteY5" fmla="*/ 457 h 6423439"/>
              <a:gd name="connsiteX0" fmla="*/ 12700 w 4809140"/>
              <a:gd name="connsiteY0" fmla="*/ 457 h 6405669"/>
              <a:gd name="connsiteX1" fmla="*/ 4809140 w 4809140"/>
              <a:gd name="connsiteY1" fmla="*/ 0 h 6405669"/>
              <a:gd name="connsiteX2" fmla="*/ 2850622 w 4809140"/>
              <a:gd name="connsiteY2" fmla="*/ 5612943 h 6405669"/>
              <a:gd name="connsiteX3" fmla="*/ 1272190 w 4809140"/>
              <a:gd name="connsiteY3" fmla="*/ 6305550 h 6405669"/>
              <a:gd name="connsiteX4" fmla="*/ 0 w 4809140"/>
              <a:gd name="connsiteY4" fmla="*/ 5835193 h 6405669"/>
              <a:gd name="connsiteX5" fmla="*/ 12700 w 4809140"/>
              <a:gd name="connsiteY5" fmla="*/ 457 h 6405669"/>
              <a:gd name="connsiteX0" fmla="*/ 12700 w 4809140"/>
              <a:gd name="connsiteY0" fmla="*/ 457 h 6401189"/>
              <a:gd name="connsiteX1" fmla="*/ 4809140 w 4809140"/>
              <a:gd name="connsiteY1" fmla="*/ 0 h 6401189"/>
              <a:gd name="connsiteX2" fmla="*/ 2850622 w 4809140"/>
              <a:gd name="connsiteY2" fmla="*/ 5612943 h 6401189"/>
              <a:gd name="connsiteX3" fmla="*/ 1275365 w 4809140"/>
              <a:gd name="connsiteY3" fmla="*/ 6299200 h 6401189"/>
              <a:gd name="connsiteX4" fmla="*/ 0 w 4809140"/>
              <a:gd name="connsiteY4" fmla="*/ 5835193 h 6401189"/>
              <a:gd name="connsiteX5" fmla="*/ 12700 w 4809140"/>
              <a:gd name="connsiteY5" fmla="*/ 457 h 6401189"/>
              <a:gd name="connsiteX0" fmla="*/ 12700 w 4809140"/>
              <a:gd name="connsiteY0" fmla="*/ 457 h 6415998"/>
              <a:gd name="connsiteX1" fmla="*/ 4809140 w 4809140"/>
              <a:gd name="connsiteY1" fmla="*/ 0 h 6415998"/>
              <a:gd name="connsiteX2" fmla="*/ 2850622 w 4809140"/>
              <a:gd name="connsiteY2" fmla="*/ 5612943 h 6415998"/>
              <a:gd name="connsiteX3" fmla="*/ 1275365 w 4809140"/>
              <a:gd name="connsiteY3" fmla="*/ 6299200 h 6415998"/>
              <a:gd name="connsiteX4" fmla="*/ 0 w 4809140"/>
              <a:gd name="connsiteY4" fmla="*/ 5835193 h 6415998"/>
              <a:gd name="connsiteX5" fmla="*/ 12700 w 4809140"/>
              <a:gd name="connsiteY5" fmla="*/ 457 h 6415998"/>
              <a:gd name="connsiteX0" fmla="*/ 12700 w 4809140"/>
              <a:gd name="connsiteY0" fmla="*/ 457 h 6386521"/>
              <a:gd name="connsiteX1" fmla="*/ 4809140 w 4809140"/>
              <a:gd name="connsiteY1" fmla="*/ 0 h 6386521"/>
              <a:gd name="connsiteX2" fmla="*/ 2850622 w 4809140"/>
              <a:gd name="connsiteY2" fmla="*/ 5612943 h 6386521"/>
              <a:gd name="connsiteX3" fmla="*/ 1275365 w 4809140"/>
              <a:gd name="connsiteY3" fmla="*/ 6299200 h 6386521"/>
              <a:gd name="connsiteX4" fmla="*/ 0 w 4809140"/>
              <a:gd name="connsiteY4" fmla="*/ 5835193 h 6386521"/>
              <a:gd name="connsiteX5" fmla="*/ 12700 w 4809140"/>
              <a:gd name="connsiteY5" fmla="*/ 457 h 6386521"/>
              <a:gd name="connsiteX0" fmla="*/ 12700 w 4809140"/>
              <a:gd name="connsiteY0" fmla="*/ 457 h 6385696"/>
              <a:gd name="connsiteX1" fmla="*/ 4809140 w 4809140"/>
              <a:gd name="connsiteY1" fmla="*/ 0 h 6385696"/>
              <a:gd name="connsiteX2" fmla="*/ 2850622 w 4809140"/>
              <a:gd name="connsiteY2" fmla="*/ 5612943 h 6385696"/>
              <a:gd name="connsiteX3" fmla="*/ 1275365 w 4809140"/>
              <a:gd name="connsiteY3" fmla="*/ 6299200 h 6385696"/>
              <a:gd name="connsiteX4" fmla="*/ 0 w 4809140"/>
              <a:gd name="connsiteY4" fmla="*/ 5835193 h 6385696"/>
              <a:gd name="connsiteX5" fmla="*/ 12700 w 4809140"/>
              <a:gd name="connsiteY5" fmla="*/ 457 h 6385696"/>
              <a:gd name="connsiteX0" fmla="*/ 943 w 4797383"/>
              <a:gd name="connsiteY0" fmla="*/ 457 h 6385696"/>
              <a:gd name="connsiteX1" fmla="*/ 4797383 w 4797383"/>
              <a:gd name="connsiteY1" fmla="*/ 0 h 6385696"/>
              <a:gd name="connsiteX2" fmla="*/ 2838865 w 4797383"/>
              <a:gd name="connsiteY2" fmla="*/ 5612943 h 6385696"/>
              <a:gd name="connsiteX3" fmla="*/ 1263608 w 4797383"/>
              <a:gd name="connsiteY3" fmla="*/ 6299200 h 6385696"/>
              <a:gd name="connsiteX4" fmla="*/ 4118 w 4797383"/>
              <a:gd name="connsiteY4" fmla="*/ 5841543 h 6385696"/>
              <a:gd name="connsiteX5" fmla="*/ 943 w 4797383"/>
              <a:gd name="connsiteY5" fmla="*/ 457 h 6385696"/>
              <a:gd name="connsiteX0" fmla="*/ 1595 w 4798035"/>
              <a:gd name="connsiteY0" fmla="*/ 457 h 6385696"/>
              <a:gd name="connsiteX1" fmla="*/ 4798035 w 4798035"/>
              <a:gd name="connsiteY1" fmla="*/ 0 h 6385696"/>
              <a:gd name="connsiteX2" fmla="*/ 2839517 w 4798035"/>
              <a:gd name="connsiteY2" fmla="*/ 5612943 h 6385696"/>
              <a:gd name="connsiteX3" fmla="*/ 1264260 w 4798035"/>
              <a:gd name="connsiteY3" fmla="*/ 6299200 h 6385696"/>
              <a:gd name="connsiteX4" fmla="*/ 4770 w 4798035"/>
              <a:gd name="connsiteY4" fmla="*/ 5841543 h 6385696"/>
              <a:gd name="connsiteX5" fmla="*/ 1595 w 4798035"/>
              <a:gd name="connsiteY5" fmla="*/ 457 h 6385696"/>
              <a:gd name="connsiteX0" fmla="*/ 1595 w 4798035"/>
              <a:gd name="connsiteY0" fmla="*/ 1598900 h 6385696"/>
              <a:gd name="connsiteX1" fmla="*/ 4798035 w 4798035"/>
              <a:gd name="connsiteY1" fmla="*/ 0 h 6385696"/>
              <a:gd name="connsiteX2" fmla="*/ 2839517 w 4798035"/>
              <a:gd name="connsiteY2" fmla="*/ 5612943 h 6385696"/>
              <a:gd name="connsiteX3" fmla="*/ 1264260 w 4798035"/>
              <a:gd name="connsiteY3" fmla="*/ 6299200 h 6385696"/>
              <a:gd name="connsiteX4" fmla="*/ 4770 w 4798035"/>
              <a:gd name="connsiteY4" fmla="*/ 5841543 h 6385696"/>
              <a:gd name="connsiteX5" fmla="*/ 1595 w 4798035"/>
              <a:gd name="connsiteY5" fmla="*/ 1598900 h 6385696"/>
              <a:gd name="connsiteX0" fmla="*/ 1595 w 4798035"/>
              <a:gd name="connsiteY0" fmla="*/ 1444736 h 6385696"/>
              <a:gd name="connsiteX1" fmla="*/ 4798035 w 4798035"/>
              <a:gd name="connsiteY1" fmla="*/ 0 h 6385696"/>
              <a:gd name="connsiteX2" fmla="*/ 2839517 w 4798035"/>
              <a:gd name="connsiteY2" fmla="*/ 5612943 h 6385696"/>
              <a:gd name="connsiteX3" fmla="*/ 1264260 w 4798035"/>
              <a:gd name="connsiteY3" fmla="*/ 6299200 h 6385696"/>
              <a:gd name="connsiteX4" fmla="*/ 4770 w 4798035"/>
              <a:gd name="connsiteY4" fmla="*/ 5841543 h 6385696"/>
              <a:gd name="connsiteX5" fmla="*/ 1595 w 4798035"/>
              <a:gd name="connsiteY5" fmla="*/ 1444736 h 6385696"/>
              <a:gd name="connsiteX0" fmla="*/ 1595 w 4300134"/>
              <a:gd name="connsiteY0" fmla="*/ 6358 h 4908230"/>
              <a:gd name="connsiteX1" fmla="*/ 4300134 w 4300134"/>
              <a:gd name="connsiteY1" fmla="*/ 0 h 4908230"/>
              <a:gd name="connsiteX2" fmla="*/ 2839517 w 4300134"/>
              <a:gd name="connsiteY2" fmla="*/ 4174565 h 4908230"/>
              <a:gd name="connsiteX3" fmla="*/ 1264260 w 4300134"/>
              <a:gd name="connsiteY3" fmla="*/ 4860822 h 4908230"/>
              <a:gd name="connsiteX4" fmla="*/ 4770 w 4300134"/>
              <a:gd name="connsiteY4" fmla="*/ 4403165 h 4908230"/>
              <a:gd name="connsiteX5" fmla="*/ 1595 w 4300134"/>
              <a:gd name="connsiteY5" fmla="*/ 6358 h 4908230"/>
              <a:gd name="connsiteX0" fmla="*/ 1595 w 4300134"/>
              <a:gd name="connsiteY0" fmla="*/ 6358 h 4908230"/>
              <a:gd name="connsiteX1" fmla="*/ 4300134 w 4300134"/>
              <a:gd name="connsiteY1" fmla="*/ 0 h 4908230"/>
              <a:gd name="connsiteX2" fmla="*/ 2839517 w 4300134"/>
              <a:gd name="connsiteY2" fmla="*/ 4174565 h 4908230"/>
              <a:gd name="connsiteX3" fmla="*/ 1264260 w 4300134"/>
              <a:gd name="connsiteY3" fmla="*/ 4860822 h 4908230"/>
              <a:gd name="connsiteX4" fmla="*/ 4770 w 4300134"/>
              <a:gd name="connsiteY4" fmla="*/ 4403165 h 4908230"/>
              <a:gd name="connsiteX5" fmla="*/ 1595 w 4300134"/>
              <a:gd name="connsiteY5" fmla="*/ 6358 h 4908230"/>
              <a:gd name="connsiteX0" fmla="*/ 1595 w 4300134"/>
              <a:gd name="connsiteY0" fmla="*/ 6358 h 4908230"/>
              <a:gd name="connsiteX1" fmla="*/ 4300134 w 4300134"/>
              <a:gd name="connsiteY1" fmla="*/ 0 h 4908230"/>
              <a:gd name="connsiteX2" fmla="*/ 2839517 w 4300134"/>
              <a:gd name="connsiteY2" fmla="*/ 4174565 h 4908230"/>
              <a:gd name="connsiteX3" fmla="*/ 1264260 w 4300134"/>
              <a:gd name="connsiteY3" fmla="*/ 4860822 h 4908230"/>
              <a:gd name="connsiteX4" fmla="*/ 4770 w 4300134"/>
              <a:gd name="connsiteY4" fmla="*/ 4403165 h 4908230"/>
              <a:gd name="connsiteX5" fmla="*/ 1595 w 4300134"/>
              <a:gd name="connsiteY5" fmla="*/ 6358 h 4908230"/>
              <a:gd name="connsiteX0" fmla="*/ 1595 w 4300134"/>
              <a:gd name="connsiteY0" fmla="*/ 6358 h 4925798"/>
              <a:gd name="connsiteX1" fmla="*/ 4300134 w 4300134"/>
              <a:gd name="connsiteY1" fmla="*/ 0 h 4925798"/>
              <a:gd name="connsiteX2" fmla="*/ 2839517 w 4300134"/>
              <a:gd name="connsiteY2" fmla="*/ 4174565 h 4925798"/>
              <a:gd name="connsiteX3" fmla="*/ 1264260 w 4300134"/>
              <a:gd name="connsiteY3" fmla="*/ 4860822 h 4925798"/>
              <a:gd name="connsiteX4" fmla="*/ 4770 w 4300134"/>
              <a:gd name="connsiteY4" fmla="*/ 4403165 h 4925798"/>
              <a:gd name="connsiteX5" fmla="*/ 1595 w 4300134"/>
              <a:gd name="connsiteY5" fmla="*/ 6358 h 4925798"/>
              <a:gd name="connsiteX0" fmla="*/ 1595 w 4300134"/>
              <a:gd name="connsiteY0" fmla="*/ 6358 h 4920037"/>
              <a:gd name="connsiteX1" fmla="*/ 4300134 w 4300134"/>
              <a:gd name="connsiteY1" fmla="*/ 0 h 4920037"/>
              <a:gd name="connsiteX2" fmla="*/ 2839517 w 4300134"/>
              <a:gd name="connsiteY2" fmla="*/ 4174565 h 4920037"/>
              <a:gd name="connsiteX3" fmla="*/ 1264260 w 4300134"/>
              <a:gd name="connsiteY3" fmla="*/ 4860822 h 4920037"/>
              <a:gd name="connsiteX4" fmla="*/ 4770 w 4300134"/>
              <a:gd name="connsiteY4" fmla="*/ 4403165 h 4920037"/>
              <a:gd name="connsiteX5" fmla="*/ 1595 w 4300134"/>
              <a:gd name="connsiteY5" fmla="*/ 6358 h 4920037"/>
              <a:gd name="connsiteX0" fmla="*/ 1595 w 4300134"/>
              <a:gd name="connsiteY0" fmla="*/ 6358 h 4920037"/>
              <a:gd name="connsiteX1" fmla="*/ 4300134 w 4300134"/>
              <a:gd name="connsiteY1" fmla="*/ 0 h 4920037"/>
              <a:gd name="connsiteX2" fmla="*/ 2839517 w 4300134"/>
              <a:gd name="connsiteY2" fmla="*/ 4174565 h 4920037"/>
              <a:gd name="connsiteX3" fmla="*/ 1264260 w 4300134"/>
              <a:gd name="connsiteY3" fmla="*/ 4860822 h 4920037"/>
              <a:gd name="connsiteX4" fmla="*/ 4770 w 4300134"/>
              <a:gd name="connsiteY4" fmla="*/ 4403165 h 4920037"/>
              <a:gd name="connsiteX5" fmla="*/ 1595 w 4300134"/>
              <a:gd name="connsiteY5" fmla="*/ 6358 h 4920037"/>
              <a:gd name="connsiteX0" fmla="*/ 1595 w 4300134"/>
              <a:gd name="connsiteY0" fmla="*/ 6358 h 4947792"/>
              <a:gd name="connsiteX1" fmla="*/ 4300134 w 4300134"/>
              <a:gd name="connsiteY1" fmla="*/ 0 h 4947792"/>
              <a:gd name="connsiteX2" fmla="*/ 2839517 w 4300134"/>
              <a:gd name="connsiteY2" fmla="*/ 4174565 h 4947792"/>
              <a:gd name="connsiteX3" fmla="*/ 1264260 w 4300134"/>
              <a:gd name="connsiteY3" fmla="*/ 4860822 h 4947792"/>
              <a:gd name="connsiteX4" fmla="*/ 4770 w 4300134"/>
              <a:gd name="connsiteY4" fmla="*/ 4403165 h 4947792"/>
              <a:gd name="connsiteX5" fmla="*/ 1595 w 4300134"/>
              <a:gd name="connsiteY5" fmla="*/ 6358 h 4947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00134" h="4947792">
                <a:moveTo>
                  <a:pt x="1595" y="6358"/>
                </a:moveTo>
                <a:lnTo>
                  <a:pt x="4300134" y="0"/>
                </a:lnTo>
                <a:cubicBezTo>
                  <a:pt x="3895170" y="1138743"/>
                  <a:pt x="3225630" y="3180021"/>
                  <a:pt x="2839517" y="4174565"/>
                </a:cubicBezTo>
                <a:cubicBezTo>
                  <a:pt x="2453404" y="5169109"/>
                  <a:pt x="1595270" y="4956072"/>
                  <a:pt x="1264260" y="4860822"/>
                </a:cubicBezTo>
                <a:lnTo>
                  <a:pt x="4770" y="4403165"/>
                </a:lnTo>
                <a:cubicBezTo>
                  <a:pt x="2653" y="2467778"/>
                  <a:pt x="-2638" y="1951270"/>
                  <a:pt x="1595" y="6358"/>
                </a:cubicBezTo>
                <a:close/>
              </a:path>
            </a:pathLst>
          </a:custGeom>
          <a:solidFill>
            <a:schemeClr val="bg1">
              <a:lumMod val="95000"/>
            </a:schemeClr>
          </a:solidFill>
          <a:effectLst>
            <a:outerShdw blurRad="101600" sx="101000" sy="101000" algn="tr" rotWithShape="0">
              <a:schemeClr val="accent3">
                <a:alpha val="10000"/>
              </a:schemeClr>
            </a:outerShdw>
          </a:effectLst>
        </p:spPr>
        <p:txBody>
          <a:bodyPr/>
          <a:lstStyle>
            <a:lvl1pPr algn="r">
              <a:defRPr/>
            </a:lvl1pPr>
          </a:lstStyle>
          <a:p>
            <a:r>
              <a:rPr lang="en-US"/>
              <a:t>Click icon to add picture</a:t>
            </a:r>
            <a:endParaRPr lang="en-NL"/>
          </a:p>
        </p:txBody>
      </p:sp>
      <p:pic>
        <p:nvPicPr>
          <p:cNvPr id="11" name="Picture 10">
            <a:extLst>
              <a:ext uri="{FF2B5EF4-FFF2-40B4-BE49-F238E27FC236}">
                <a16:creationId xmlns:a16="http://schemas.microsoft.com/office/drawing/2014/main" id="{2426FFDF-7279-7936-4413-D0B67C2D8C0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21821" y="5850963"/>
            <a:ext cx="1514811" cy="728259"/>
          </a:xfrm>
          <a:prstGeom prst="rect">
            <a:avLst/>
          </a:prstGeom>
        </p:spPr>
      </p:pic>
      <p:sp>
        <p:nvSpPr>
          <p:cNvPr id="3" name="Title 1">
            <a:extLst>
              <a:ext uri="{FF2B5EF4-FFF2-40B4-BE49-F238E27FC236}">
                <a16:creationId xmlns:a16="http://schemas.microsoft.com/office/drawing/2014/main" id="{D317ADA0-7F94-C499-4537-61B446B73847}"/>
              </a:ext>
            </a:extLst>
          </p:cNvPr>
          <p:cNvSpPr>
            <a:spLocks noGrp="1"/>
          </p:cNvSpPr>
          <p:nvPr>
            <p:ph type="title" hasCustomPrompt="1"/>
          </p:nvPr>
        </p:nvSpPr>
        <p:spPr>
          <a:xfrm>
            <a:off x="1790484" y="548219"/>
            <a:ext cx="5305261" cy="1036965"/>
          </a:xfrm>
        </p:spPr>
        <p:txBody>
          <a:bodyPr/>
          <a:lstStyle>
            <a:lvl1pPr>
              <a:defRPr>
                <a:solidFill>
                  <a:schemeClr val="accent1"/>
                </a:solidFill>
              </a:defRPr>
            </a:lvl1pPr>
          </a:lstStyle>
          <a:p>
            <a:r>
              <a:rPr lang="en-US"/>
              <a:t>Click to edit Master title style</a:t>
            </a:r>
          </a:p>
        </p:txBody>
      </p:sp>
      <p:sp>
        <p:nvSpPr>
          <p:cNvPr id="4" name="Content Placeholder 2">
            <a:extLst>
              <a:ext uri="{FF2B5EF4-FFF2-40B4-BE49-F238E27FC236}">
                <a16:creationId xmlns:a16="http://schemas.microsoft.com/office/drawing/2014/main" id="{080FA356-E8E9-2D00-9E55-E42863900C3E}"/>
              </a:ext>
            </a:extLst>
          </p:cNvPr>
          <p:cNvSpPr>
            <a:spLocks noGrp="1"/>
          </p:cNvSpPr>
          <p:nvPr>
            <p:ph idx="1" hasCustomPrompt="1"/>
          </p:nvPr>
        </p:nvSpPr>
        <p:spPr>
          <a:xfrm>
            <a:off x="580292" y="1701801"/>
            <a:ext cx="6515453" cy="41761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5013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3">
          <p15:clr>
            <a:srgbClr val="5ACBF0"/>
          </p15:clr>
        </p15:guide>
        <p15:guide id="2" pos="476">
          <p15:clr>
            <a:srgbClr val="5ACBF0"/>
          </p15:clr>
        </p15:guide>
        <p15:guide id="3" orient="horz" pos="2346">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4275848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3" name="Picture Placeholder 2">
            <a:extLst>
              <a:ext uri="{FF2B5EF4-FFF2-40B4-BE49-F238E27FC236}">
                <a16:creationId xmlns:a16="http://schemas.microsoft.com/office/drawing/2014/main" id="{D15AAC60-772A-6DD0-92DE-0ED24BB531A8}"/>
              </a:ext>
            </a:extLst>
          </p:cNvPr>
          <p:cNvPicPr>
            <a:picLocks noChangeAspect="1"/>
          </p:cNvPicPr>
          <p:nvPr userDrawn="1"/>
        </p:nvPicPr>
        <p:blipFill rotWithShape="1">
          <a:blip r:embed="rId9" cstate="print">
            <a:extLst>
              <a:ext uri="{28A0092B-C50C-407E-A947-70E740481C1C}">
                <a14:useLocalDpi xmlns:a14="http://schemas.microsoft.com/office/drawing/2010/main" val="0"/>
              </a:ext>
            </a:extLst>
          </a:blip>
          <a:srcRect/>
          <a:stretch/>
        </p:blipFill>
        <p:spPr bwMode="ltGray">
          <a:xfrm>
            <a:off x="0" y="0"/>
            <a:ext cx="12192000" cy="68580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mn-lt"/>
              <a:ea typeface="+mn-ea"/>
              <a:cs typeface="+mn-cs"/>
              <a:sym typeface="Arial" panose="020B0604020202020204" pitchFamily="34" charset="0"/>
            </a:endParaRPr>
          </a:p>
        </p:txBody>
      </p:sp>
      <p:sp>
        <p:nvSpPr>
          <p:cNvPr id="9" name="Tijdelijke aanduiding voor tekst 1">
            <a:extLst>
              <a:ext uri="{FF2B5EF4-FFF2-40B4-BE49-F238E27FC236}">
                <a16:creationId xmlns:a16="http://schemas.microsoft.com/office/drawing/2014/main" id="{E9CE7FC5-8E74-3860-30E8-6A4312CB61F7}"/>
              </a:ext>
            </a:extLst>
          </p:cNvPr>
          <p:cNvSpPr txBox="1">
            <a:spLocks/>
          </p:cNvSpPr>
          <p:nvPr userDrawn="1"/>
        </p:nvSpPr>
        <p:spPr bwMode="ltGray">
          <a:xfrm>
            <a:off x="336551" y="1"/>
            <a:ext cx="4430183" cy="4652433"/>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vert="horz" wrap="square" lIns="504000" tIns="1440000" rIns="180000" bIns="756000" rtlCol="0" anchor="b" anchorCtr="0">
            <a:noAutofit/>
          </a:bodyPr>
          <a:lstStyle>
            <a:lvl1pPr marL="0" indent="0" algn="l" defTabSz="914377" rtl="0" eaLnBrk="1" latinLnBrk="0" hangingPunct="1">
              <a:lnSpc>
                <a:spcPct val="113000"/>
              </a:lnSpc>
              <a:spcBef>
                <a:spcPts val="0"/>
              </a:spcBef>
              <a:buClr>
                <a:schemeClr val="tx1"/>
              </a:buClr>
              <a:buFont typeface="Arial" panose="020B0604020202020204" pitchFamily="34" charset="0"/>
              <a:buNone/>
              <a:defRPr sz="3200" kern="1200">
                <a:solidFill>
                  <a:schemeClr val="accent1"/>
                </a:solidFill>
                <a:latin typeface="+mn-lt"/>
                <a:ea typeface="+mn-ea"/>
                <a:cs typeface="+mn-cs"/>
              </a:defRPr>
            </a:lvl1pPr>
            <a:lvl2pPr marL="480472" indent="-228594" algn="l" defTabSz="914377"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2pPr>
            <a:lvl3pPr marL="715415" indent="-228594" algn="l" defTabSz="914377"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3pPr>
            <a:lvl4pPr marL="960943" indent="-228594" algn="l" defTabSz="914377"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4pPr>
            <a:lvl5pPr marL="1195887" indent="-228594" algn="l" defTabSz="914377"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13000"/>
              </a:lnSpc>
              <a:spcBef>
                <a:spcPts val="0"/>
              </a:spcBef>
              <a:spcAft>
                <a:spcPts val="0"/>
              </a:spcAft>
              <a:buClr>
                <a:srgbClr val="3F4043"/>
              </a:buClr>
              <a:buSzTx/>
              <a:buFont typeface="Arial" panose="020B0604020202020204" pitchFamily="34" charset="0"/>
              <a:buNone/>
              <a:tabLst/>
              <a:defRPr/>
            </a:pPr>
            <a:endParaRPr kumimoji="0" lang="en-GB" sz="3200" b="0" i="0" u="none" strike="noStrike" kern="1200" cap="none" spc="0" normalizeH="0" baseline="0" noProof="0">
              <a:ln>
                <a:noFill/>
              </a:ln>
              <a:solidFill>
                <a:srgbClr val="0094D9"/>
              </a:solidFill>
              <a:effectLst/>
              <a:uLnTx/>
              <a:uFillTx/>
              <a:latin typeface="+mn-lt"/>
              <a:ea typeface="+mn-ea"/>
              <a:cs typeface="+mn-cs"/>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bwMode="ltGray">
          <a:xfrm>
            <a:off x="545423" y="4060588"/>
            <a:ext cx="4012439" cy="18466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1200" dirty="0">
                <a:latin typeface="+mn-lt"/>
                <a:ea typeface="+mn-ea"/>
                <a:cs typeface="+mn-cs"/>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bwMode="ltGray">
          <a:xfrm>
            <a:off x="545423" y="3522477"/>
            <a:ext cx="4012439" cy="4308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1400" dirty="0">
                <a:latin typeface="+mn-lt"/>
                <a:ea typeface="+mn-ea"/>
                <a:cs typeface="+mn-cs"/>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bwMode="ltGray">
          <a:xfrm>
            <a:off x="545423" y="1937925"/>
            <a:ext cx="4012439" cy="147732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3200" dirty="0">
                <a:latin typeface="+mj-lt"/>
                <a:ea typeface="+mj-ea"/>
                <a:cs typeface="+mj-cs"/>
              </a:defRPr>
            </a:lvl1pPr>
          </a:lstStyle>
          <a:p>
            <a:pPr lvl="0"/>
            <a:r>
              <a:rPr lang="en-US"/>
              <a:t>Click to edit Master title style</a:t>
            </a:r>
          </a:p>
        </p:txBody>
      </p:sp>
      <p:pic>
        <p:nvPicPr>
          <p:cNvPr id="23" name="Picture 4" descr="Vitafoods Asia | 17 - 19 Sept 2025 | Nutraceutical Trade Show">
            <a:extLst>
              <a:ext uri="{FF2B5EF4-FFF2-40B4-BE49-F238E27FC236}">
                <a16:creationId xmlns:a16="http://schemas.microsoft.com/office/drawing/2014/main" id="{FA4A7A76-7D00-853C-4D2A-3E75C0AA1ED4}"/>
              </a:ext>
            </a:extLst>
          </p:cNvPr>
          <p:cNvPicPr>
            <a:picLocks noChangeAspect="1" noChangeArrowheads="1"/>
          </p:cNvPicPr>
          <p:nvPr userDrawn="1"/>
        </p:nvPicPr>
        <p:blipFill rotWithShape="1">
          <a:blip r:embed="rId10" cstate="print">
            <a:extLst>
              <a:ext uri="{28A0092B-C50C-407E-A947-70E740481C1C}">
                <a14:useLocalDpi xmlns:a14="http://schemas.microsoft.com/office/drawing/2010/main" val="0"/>
              </a:ext>
            </a:extLst>
          </a:blip>
          <a:srcRect l="10354" t="12333" r="10254" b="23240"/>
          <a:stretch/>
        </p:blipFill>
        <p:spPr bwMode="ltGray">
          <a:xfrm>
            <a:off x="545423" y="374400"/>
            <a:ext cx="1731550" cy="9095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075443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190332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5" y="637721"/>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atin typeface="+mn-lt"/>
                <a:ea typeface="+mn-ea"/>
                <a:cs typeface="+mn-cs"/>
              </a:defRPr>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554736" y="6498754"/>
            <a:ext cx="325501" cy="138499"/>
          </a:xfrm>
          <a:prstGeom prst="rect">
            <a:avLst/>
          </a:prstGeom>
          <a:noFill/>
          <a:ln w="9525" algn="ctr">
            <a:noFill/>
            <a:miter lim="800000"/>
            <a:headEnd/>
            <a:tailEnd/>
          </a:ln>
          <a:effectLst/>
        </p:spPr>
        <p:txBody>
          <a:bodyPr wrap="square" lIns="0" tIns="0" rIns="0" bIns="0" anchor="b">
            <a:spAutoFit/>
          </a:bodyPr>
          <a:lstStyle/>
          <a:p>
            <a:pPr algn="l" defTabSz="610744" rtl="0" fontAlgn="auto">
              <a:spcBef>
                <a:spcPts val="0"/>
              </a:spcBef>
              <a:spcAft>
                <a:spcPts val="0"/>
              </a:spcAft>
              <a:defRPr/>
            </a:pPr>
            <a:fld id="{4ABDCABE-3F10-B64C-92F1-862014417034}" type="slidenum">
              <a:rPr lang="en-US" sz="900" b="0" smtClean="0">
                <a:solidFill>
                  <a:srgbClr val="929293"/>
                </a:solidFill>
                <a:latin typeface="+mn-lt"/>
                <a:ea typeface="+mn-ea"/>
                <a:cs typeface="+mn-cs"/>
              </a:rPr>
              <a:pPr algn="l" defTabSz="610744" rtl="0" fontAlgn="auto">
                <a:spcBef>
                  <a:spcPts val="0"/>
                </a:spcBef>
                <a:spcAft>
                  <a:spcPts val="0"/>
                </a:spcAft>
                <a:defRPr/>
              </a:pPr>
              <a:t>‹#›</a:t>
            </a:fld>
            <a:endParaRPr lang="en-US" sz="900" b="0">
              <a:solidFill>
                <a:srgbClr val="929293"/>
              </a:solidFill>
              <a:latin typeface="+mn-lt"/>
              <a:ea typeface="+mn-ea"/>
              <a:cs typeface="+mn-cs"/>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880237" y="650644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latin typeface="+mn-lt"/>
                <a:ea typeface="+mn-ea"/>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dirty="0">
                <a:solidFill>
                  <a:schemeClr val="accent1"/>
                </a:solidFill>
                <a:latin typeface="+mj-lt"/>
                <a:ea typeface="+mj-ea"/>
                <a:cs typeface="+mj-cs"/>
              </a:defRPr>
            </a:lvl1pPr>
          </a:lstStyle>
          <a:p>
            <a:pPr lvl="0"/>
            <a:r>
              <a:rPr lang="en-US"/>
              <a:t>Click to edit Master title style</a:t>
            </a:r>
          </a:p>
        </p:txBody>
      </p:sp>
    </p:spTree>
    <p:extLst>
      <p:ext uri="{BB962C8B-B14F-4D97-AF65-F5344CB8AC3E}">
        <p14:creationId xmlns:p14="http://schemas.microsoft.com/office/powerpoint/2010/main" val="158284261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line + Subtitl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938332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bwMode="gray">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99" name="Sticker" hidden="1">
            <a:extLst>
              <a:ext uri="{FF2B5EF4-FFF2-40B4-BE49-F238E27FC236}">
                <a16:creationId xmlns:a16="http://schemas.microsoft.com/office/drawing/2014/main" id="{64F3132B-1605-45D5-B06F-B703D774997D}"/>
              </a:ext>
            </a:extLst>
          </p:cNvPr>
          <p:cNvSpPr txBox="1"/>
          <p:nvPr userDrawn="1"/>
        </p:nvSpPr>
        <p:spPr bwMode="gray">
          <a:xfrm>
            <a:off x="558489" y="1401800"/>
            <a:ext cx="501740"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a:latin typeface="+mn-lt"/>
                <a:ea typeface="+mn-ea"/>
                <a:cs typeface="+mn-cs"/>
              </a:rPr>
              <a:t>STICKER</a:t>
            </a:r>
          </a:p>
        </p:txBody>
      </p:sp>
      <p:sp>
        <p:nvSpPr>
          <p:cNvPr id="14" name="3. Subtitle">
            <a:extLst>
              <a:ext uri="{FF2B5EF4-FFF2-40B4-BE49-F238E27FC236}">
                <a16:creationId xmlns:a16="http://schemas.microsoft.com/office/drawing/2014/main" id="{D4D36123-678D-4B6C-A648-186F85BE34AE}"/>
              </a:ext>
            </a:extLst>
          </p:cNvPr>
          <p:cNvSpPr>
            <a:spLocks noGrp="1"/>
          </p:cNvSpPr>
          <p:nvPr userDrawn="1">
            <p:ph type="subTitle" idx="1"/>
            <p:custDataLst>
              <p:tags r:id="rId3"/>
            </p:custDataLst>
          </p:nvPr>
        </p:nvSpPr>
        <p:spPr bwMode="gray">
          <a:xfrm>
            <a:off x="554736" y="1022441"/>
            <a:ext cx="11082528" cy="246221"/>
          </a:xfrm>
          <a:prstGeom prst="rect">
            <a:avLst/>
          </a:prstGeom>
        </p:spPr>
        <p:txBody>
          <a:bodyPr wrap="square">
            <a:noAutofit/>
          </a:bodyPr>
          <a:lstStyle>
            <a:lvl1pPr marL="0" indent="0" algn="l" rtl="0">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bwMode="gray">
          <a:xfrm>
            <a:off x="880237" y="650644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mn-lt"/>
                <a:ea typeface="+mn-ea"/>
                <a:cs typeface="+mn-cs"/>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userDrawn="1">
            <p:ph type="body" sz="quarter" idx="10" hasCustomPrompt="1"/>
            <p:custDataLst>
              <p:tags r:id="rId5"/>
            </p:custDataLst>
          </p:nvPr>
        </p:nvSpPr>
        <p:spPr bwMode="gray">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userDrawn="1">
            <p:ph type="title" hasCustomPrompt="1"/>
            <p:custDataLst>
              <p:tags r:id="rId6"/>
            </p:custDataLst>
          </p:nvPr>
        </p:nvSpPr>
        <p:spPr bwMode="gray">
          <a:xfrm>
            <a:off x="554736" y="172212"/>
            <a:ext cx="11082528" cy="769441"/>
          </a:xfrm>
          <a:prstGeom prst="rect">
            <a:avLst/>
          </a:prstGeom>
        </p:spPr>
        <p:txBody>
          <a:bodyPr vert="horz" wrap="square" lIns="0" tIns="0" rIns="0" bIns="0" rtlCol="0" anchor="t" anchorCtr="0">
            <a:noAutofit/>
          </a:bodyPr>
          <a:lstStyle>
            <a:lvl1pPr>
              <a:defRPr>
                <a:latin typeface="+mj-lt"/>
                <a:ea typeface="+mj-ea"/>
                <a:cs typeface="+mj-cs"/>
              </a:defRPr>
            </a:lvl1pPr>
          </a:lstStyle>
          <a:p>
            <a:r>
              <a:rPr lang="en-US"/>
              <a:t>Click to edit Master title style</a:t>
            </a:r>
            <a:br>
              <a:rPr lang="en-US"/>
            </a:br>
            <a:endParaRPr lang="en-US"/>
          </a:p>
        </p:txBody>
      </p:sp>
      <p:sp>
        <p:nvSpPr>
          <p:cNvPr id="2" name="Slide Number">
            <a:extLst>
              <a:ext uri="{FF2B5EF4-FFF2-40B4-BE49-F238E27FC236}">
                <a16:creationId xmlns:a16="http://schemas.microsoft.com/office/drawing/2014/main" id="{CE41BB1C-4C37-D370-B495-B369B1C49240}"/>
              </a:ext>
            </a:extLst>
          </p:cNvPr>
          <p:cNvSpPr>
            <a:spLocks noChangeArrowheads="1"/>
          </p:cNvSpPr>
          <p:nvPr userDrawn="1">
            <p:custDataLst>
              <p:tags r:id="rId7"/>
            </p:custDataLst>
          </p:nvPr>
        </p:nvSpPr>
        <p:spPr bwMode="black">
          <a:xfrm>
            <a:off x="554736" y="6498754"/>
            <a:ext cx="325501" cy="138499"/>
          </a:xfrm>
          <a:prstGeom prst="rect">
            <a:avLst/>
          </a:prstGeom>
          <a:noFill/>
          <a:ln w="9525" algn="ctr">
            <a:noFill/>
            <a:miter lim="800000"/>
            <a:headEnd/>
            <a:tailEnd/>
          </a:ln>
          <a:effectLst/>
        </p:spPr>
        <p:txBody>
          <a:bodyPr wrap="square" lIns="0" tIns="0" rIns="0" bIns="0" anchor="b">
            <a:spAutoFit/>
          </a:bodyPr>
          <a:lstStyle/>
          <a:p>
            <a:pPr algn="l" defTabSz="610744" rtl="0" fontAlgn="auto">
              <a:spcBef>
                <a:spcPts val="0"/>
              </a:spcBef>
              <a:spcAft>
                <a:spcPts val="0"/>
              </a:spcAft>
              <a:defRPr/>
            </a:pPr>
            <a:fld id="{4ABDCABE-3F10-B64C-92F1-862014417034}" type="slidenum">
              <a:rPr lang="en-US" sz="900" b="0" smtClean="0">
                <a:solidFill>
                  <a:srgbClr val="929293"/>
                </a:solidFill>
                <a:latin typeface="+mn-lt"/>
                <a:ea typeface="+mn-ea"/>
                <a:cs typeface="+mn-cs"/>
              </a:rPr>
              <a:pPr algn="l" defTabSz="610744" rtl="0" fontAlgn="auto">
                <a:spcBef>
                  <a:spcPts val="0"/>
                </a:spcBef>
                <a:spcAft>
                  <a:spcPts val="0"/>
                </a:spcAft>
                <a:defRPr/>
              </a:pPr>
              <a:t>‹#›</a:t>
            </a:fld>
            <a:endParaRPr lang="en-US" sz="900" b="0">
              <a:solidFill>
                <a:srgbClr val="929293"/>
              </a:solidFill>
              <a:latin typeface="+mn-lt"/>
              <a:ea typeface="+mn-ea"/>
              <a:cs typeface="+mn-cs"/>
            </a:endParaRPr>
          </a:p>
        </p:txBody>
      </p:sp>
    </p:spTree>
    <p:extLst>
      <p:ext uri="{BB962C8B-B14F-4D97-AF65-F5344CB8AC3E}">
        <p14:creationId xmlns:p14="http://schemas.microsoft.com/office/powerpoint/2010/main" val="187197728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4285775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408557"/>
            <a:ext cx="3813048" cy="769441"/>
          </a:xfrm>
          <a:prstGeom prst="rect">
            <a:avLst/>
          </a:prstGeom>
        </p:spPr>
        <p:txBody>
          <a:bodyPr vert="horz" anchor="t">
            <a:noAutofit/>
          </a:bodyPr>
          <a:lstStyle>
            <a:lvl1pPr rtl="0">
              <a:lnSpc>
                <a:spcPct val="100000"/>
              </a:lnSpc>
              <a:defRPr>
                <a:ln w="6350" cap="flat">
                  <a:noFill/>
                  <a:miter lim="800000"/>
                </a:ln>
                <a:latin typeface="+mj-lt"/>
                <a:ea typeface="+mj-ea"/>
                <a:cs typeface="+mj-cs"/>
              </a:defRPr>
            </a:lvl1pPr>
          </a:lstStyle>
          <a:p>
            <a:r>
              <a:rPr lang="en-US"/>
              <a:t>Click to edit Master title style</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880237" y="650644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mn-lt"/>
                <a:ea typeface="+mn-ea"/>
                <a:cs typeface="+mn-cs"/>
              </a:rPr>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
        <p:nvSpPr>
          <p:cNvPr id="2" name="Slide Number">
            <a:extLst>
              <a:ext uri="{FF2B5EF4-FFF2-40B4-BE49-F238E27FC236}">
                <a16:creationId xmlns:a16="http://schemas.microsoft.com/office/drawing/2014/main" id="{E9C0C8A0-7C30-B848-FBC9-6CA9F5E96A34}"/>
              </a:ext>
            </a:extLst>
          </p:cNvPr>
          <p:cNvSpPr>
            <a:spLocks noChangeArrowheads="1"/>
          </p:cNvSpPr>
          <p:nvPr userDrawn="1">
            <p:custDataLst>
              <p:tags r:id="rId6"/>
            </p:custDataLst>
          </p:nvPr>
        </p:nvSpPr>
        <p:spPr bwMode="black">
          <a:xfrm>
            <a:off x="554736" y="6498754"/>
            <a:ext cx="325501" cy="138499"/>
          </a:xfrm>
          <a:prstGeom prst="rect">
            <a:avLst/>
          </a:prstGeom>
          <a:noFill/>
          <a:ln w="9525" algn="ctr">
            <a:noFill/>
            <a:miter lim="800000"/>
            <a:headEnd/>
            <a:tailEnd/>
          </a:ln>
          <a:effectLst/>
        </p:spPr>
        <p:txBody>
          <a:bodyPr wrap="square" lIns="0" tIns="0" rIns="0" bIns="0" anchor="b">
            <a:spAutoFit/>
          </a:bodyPr>
          <a:lstStyle/>
          <a:p>
            <a:pPr algn="l" defTabSz="610744" rtl="0" fontAlgn="auto">
              <a:spcBef>
                <a:spcPts val="0"/>
              </a:spcBef>
              <a:spcAft>
                <a:spcPts val="0"/>
              </a:spcAft>
              <a:defRPr/>
            </a:pPr>
            <a:fld id="{4ABDCABE-3F10-B64C-92F1-862014417034}" type="slidenum">
              <a:rPr lang="en-US" sz="900" b="0" smtClean="0">
                <a:solidFill>
                  <a:srgbClr val="929293"/>
                </a:solidFill>
                <a:latin typeface="+mn-lt"/>
                <a:ea typeface="+mn-ea"/>
                <a:cs typeface="+mn-cs"/>
              </a:rPr>
              <a:pPr algn="l" defTabSz="610744" rtl="0" fontAlgn="auto">
                <a:spcBef>
                  <a:spcPts val="0"/>
                </a:spcBef>
                <a:spcAft>
                  <a:spcPts val="0"/>
                </a:spcAft>
                <a:defRPr/>
              </a:pPr>
              <a:t>‹#›</a:t>
            </a:fld>
            <a:endParaRPr lang="en-US" sz="900" b="0">
              <a:solidFill>
                <a:srgbClr val="929293"/>
              </a:solidFill>
              <a:latin typeface="+mn-lt"/>
              <a:ea typeface="+mn-ea"/>
              <a:cs typeface="+mn-cs"/>
            </a:endParaRPr>
          </a:p>
        </p:txBody>
      </p:sp>
    </p:spTree>
    <p:extLst>
      <p:ext uri="{BB962C8B-B14F-4D97-AF65-F5344CB8AC3E}">
        <p14:creationId xmlns:p14="http://schemas.microsoft.com/office/powerpoint/2010/main" val="278829018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2444526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latin typeface="+mj-lt"/>
                <a:ea typeface="+mj-ea"/>
                <a:cs typeface="+mj-cs"/>
              </a:defRPr>
            </a:lvl1pPr>
          </a:lstStyle>
          <a:p>
            <a:r>
              <a:rPr lang="en-US"/>
              <a:t>Click to edit Master title style</a:t>
            </a: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880237" y="650644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mn-lt"/>
                <a:ea typeface="+mn-ea"/>
                <a:cs typeface="+mn-cs"/>
              </a:rPr>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
        <p:nvSpPr>
          <p:cNvPr id="5" name="Slide Number">
            <a:extLst>
              <a:ext uri="{FF2B5EF4-FFF2-40B4-BE49-F238E27FC236}">
                <a16:creationId xmlns:a16="http://schemas.microsoft.com/office/drawing/2014/main" id="{57209B8B-EC54-2F23-A604-A0CDC19D1FD4}"/>
              </a:ext>
            </a:extLst>
          </p:cNvPr>
          <p:cNvSpPr>
            <a:spLocks noChangeArrowheads="1"/>
          </p:cNvSpPr>
          <p:nvPr userDrawn="1">
            <p:custDataLst>
              <p:tags r:id="rId6"/>
            </p:custDataLst>
          </p:nvPr>
        </p:nvSpPr>
        <p:spPr bwMode="black">
          <a:xfrm>
            <a:off x="554736" y="6498754"/>
            <a:ext cx="325501" cy="138499"/>
          </a:xfrm>
          <a:prstGeom prst="rect">
            <a:avLst/>
          </a:prstGeom>
          <a:noFill/>
          <a:ln w="9525" algn="ctr">
            <a:noFill/>
            <a:miter lim="800000"/>
            <a:headEnd/>
            <a:tailEnd/>
          </a:ln>
          <a:effectLst/>
        </p:spPr>
        <p:txBody>
          <a:bodyPr wrap="square" lIns="0" tIns="0" rIns="0" bIns="0" anchor="b">
            <a:spAutoFit/>
          </a:bodyPr>
          <a:lstStyle/>
          <a:p>
            <a:pPr algn="l" defTabSz="610744" rtl="0" fontAlgn="auto">
              <a:spcBef>
                <a:spcPts val="0"/>
              </a:spcBef>
              <a:spcAft>
                <a:spcPts val="0"/>
              </a:spcAft>
              <a:defRPr/>
            </a:pPr>
            <a:fld id="{4ABDCABE-3F10-B64C-92F1-862014417034}" type="slidenum">
              <a:rPr lang="en-US" sz="900" b="0" smtClean="0">
                <a:solidFill>
                  <a:srgbClr val="929293"/>
                </a:solidFill>
                <a:latin typeface="+mn-lt"/>
                <a:ea typeface="+mn-ea"/>
                <a:cs typeface="+mn-cs"/>
              </a:rPr>
              <a:pPr algn="l" defTabSz="610744" rtl="0" fontAlgn="auto">
                <a:spcBef>
                  <a:spcPts val="0"/>
                </a:spcBef>
                <a:spcAft>
                  <a:spcPts val="0"/>
                </a:spcAft>
                <a:defRPr/>
              </a:pPr>
              <a:t>‹#›</a:t>
            </a:fld>
            <a:endParaRPr lang="en-US" sz="900" b="0">
              <a:solidFill>
                <a:srgbClr val="929293"/>
              </a:solidFill>
              <a:latin typeface="+mn-lt"/>
              <a:ea typeface="+mn-ea"/>
              <a:cs typeface="+mn-cs"/>
            </a:endParaRPr>
          </a:p>
        </p:txBody>
      </p:sp>
    </p:spTree>
    <p:extLst>
      <p:ext uri="{BB962C8B-B14F-4D97-AF65-F5344CB8AC3E}">
        <p14:creationId xmlns:p14="http://schemas.microsoft.com/office/powerpoint/2010/main" val="381564310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743978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4" name="Picture Placeholder 12">
            <a:extLst>
              <a:ext uri="{FF2B5EF4-FFF2-40B4-BE49-F238E27FC236}">
                <a16:creationId xmlns:a16="http://schemas.microsoft.com/office/drawing/2014/main" id="{475AC62F-8F55-72E9-7046-18896CF44CAD}"/>
              </a:ext>
            </a:extLst>
          </p:cNvPr>
          <p:cNvPicPr>
            <a:picLocks noChangeAspect="1"/>
          </p:cNvPicPr>
          <p:nvPr userDrawn="1"/>
        </p:nvPicPr>
        <p:blipFill>
          <a:blip r:embed="rId10" cstate="print">
            <a:extLst>
              <a:ext uri="{28A0092B-C50C-407E-A947-70E740481C1C}">
                <a14:useLocalDpi xmlns:a14="http://schemas.microsoft.com/office/drawing/2010/main" val="0"/>
              </a:ext>
            </a:extLst>
          </a:blip>
          <a:srcRect/>
          <a:stretch>
            <a:fillRect/>
          </a:stretch>
        </p:blipFill>
        <p:spPr bwMode="ltGray">
          <a:xfrm>
            <a:off x="0" y="0"/>
            <a:ext cx="12192000" cy="6858000"/>
          </a:xfrm>
          <a:prstGeom prst="rect">
            <a:avLst/>
          </a:prstGeom>
        </p:spPr>
      </p:pic>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mn-lt"/>
              <a:ea typeface="+mn-ea"/>
              <a:cs typeface="+mn-cs"/>
              <a:sym typeface="Arial" panose="020B0604020202020204" pitchFamily="34" charset="0"/>
            </a:endParaRP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3"/>
            </p:custDataLst>
          </p:nvPr>
        </p:nvSpPr>
        <p:spPr bwMode="ltGray">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
        <p:nvSpPr>
          <p:cNvPr id="12" name="Text Placeholder 2">
            <a:extLst>
              <a:ext uri="{FF2B5EF4-FFF2-40B4-BE49-F238E27FC236}">
                <a16:creationId xmlns:a16="http://schemas.microsoft.com/office/drawing/2014/main" id="{E60DAECD-E522-E636-6936-B9DBB2C909D8}"/>
              </a:ext>
            </a:extLst>
          </p:cNvPr>
          <p:cNvSpPr txBox="1">
            <a:spLocks/>
          </p:cNvSpPr>
          <p:nvPr userDrawn="1"/>
        </p:nvSpPr>
        <p:spPr bwMode="ltGray">
          <a:xfrm>
            <a:off x="336552" y="3070800"/>
            <a:ext cx="3839632" cy="3787200"/>
          </a:xfrm>
          <a:prstGeom prst="round1Rect">
            <a:avLst/>
          </a:prstGeom>
          <a:solidFill>
            <a:srgbClr val="FFFFFF">
              <a:alpha val="85098"/>
            </a:srgbClr>
          </a:solidFill>
        </p:spPr>
        <p:txBody>
          <a:bodyPr vert="horz" wrap="square" lIns="288000" tIns="468000" rIns="72000" bIns="252000" rtlCol="0">
            <a:noAutofit/>
          </a:bodyPr>
          <a:lstStyle>
            <a:lvl1pPr marL="0" indent="0" algn="l" defTabSz="914377" rtl="0" eaLnBrk="1" latinLnBrk="0" hangingPunct="1">
              <a:lnSpc>
                <a:spcPct val="113000"/>
              </a:lnSpc>
              <a:spcBef>
                <a:spcPts val="0"/>
              </a:spcBef>
              <a:buClr>
                <a:schemeClr val="tx1"/>
              </a:buClr>
              <a:buFont typeface="Arial" panose="020B0604020202020204" pitchFamily="34" charset="0"/>
              <a:buNone/>
              <a:defRPr sz="3200" kern="1200">
                <a:solidFill>
                  <a:schemeClr val="accent1"/>
                </a:solidFill>
                <a:latin typeface="+mn-lt"/>
                <a:ea typeface="+mn-ea"/>
                <a:cs typeface="+mn-cs"/>
              </a:defRPr>
            </a:lvl1pPr>
            <a:lvl2pPr marL="480472" indent="-228594" algn="l" defTabSz="914377"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2pPr>
            <a:lvl3pPr marL="715415" indent="-228594" algn="l" defTabSz="914377"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3pPr>
            <a:lvl4pPr marL="960943" indent="-228594" algn="l" defTabSz="914377"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4pPr>
            <a:lvl5pPr marL="1195887" indent="-228594" algn="l" defTabSz="914377"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13000"/>
              </a:lnSpc>
              <a:spcBef>
                <a:spcPts val="0"/>
              </a:spcBef>
              <a:spcAft>
                <a:spcPts val="0"/>
              </a:spcAft>
              <a:buClr>
                <a:srgbClr val="3F4043"/>
              </a:buClr>
              <a:buSzTx/>
              <a:buFont typeface="Arial" panose="020B0604020202020204" pitchFamily="34" charset="0"/>
              <a:buNone/>
              <a:tabLst/>
              <a:defRPr/>
            </a:pPr>
            <a:endParaRPr kumimoji="0" lang="en-GB" sz="3200" b="0" i="0" u="none" strike="noStrike" kern="1200" cap="none" spc="0" normalizeH="0" baseline="0" noProof="0">
              <a:ln>
                <a:noFill/>
              </a:ln>
              <a:solidFill>
                <a:srgbClr val="0094D9"/>
              </a:solidFill>
              <a:effectLst/>
              <a:uLnTx/>
              <a:uFillTx/>
              <a:latin typeface="+mn-lt"/>
              <a:ea typeface="+mn-ea"/>
              <a:cs typeface="+mn-cs"/>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bwMode="ltGray">
          <a:xfrm>
            <a:off x="547879" y="3582248"/>
            <a:ext cx="3416977" cy="984885"/>
          </a:xfrm>
        </p:spPr>
        <p:txBody>
          <a:bodyPr vert="horz" wrap="square" anchor="t">
            <a:spAutoFit/>
          </a:bodyPr>
          <a:lstStyle>
            <a:lvl1pPr rtl="0">
              <a:lnSpc>
                <a:spcPct val="100000"/>
              </a:lnSpc>
              <a:defRPr sz="3200">
                <a:latin typeface="+mj-lt"/>
                <a:ea typeface="+mj-ea"/>
                <a:cs typeface="+mj-cs"/>
              </a:defRPr>
            </a:lvl1pPr>
          </a:lstStyle>
          <a:p>
            <a:r>
              <a:rPr lang="en-US"/>
              <a:t>Click to edit Master title style</a:t>
            </a:r>
          </a:p>
        </p:txBody>
      </p:sp>
      <p:sp>
        <p:nvSpPr>
          <p:cNvPr id="21" name="Slide Number">
            <a:extLst>
              <a:ext uri="{FF2B5EF4-FFF2-40B4-BE49-F238E27FC236}">
                <a16:creationId xmlns:a16="http://schemas.microsoft.com/office/drawing/2014/main" id="{AA4D5B41-2A27-D45D-9B88-2AEF198DA443}"/>
              </a:ext>
            </a:extLst>
          </p:cNvPr>
          <p:cNvSpPr>
            <a:spLocks noChangeArrowheads="1"/>
          </p:cNvSpPr>
          <p:nvPr userDrawn="1">
            <p:custDataLst>
              <p:tags r:id="rId5"/>
            </p:custDataLst>
          </p:nvPr>
        </p:nvSpPr>
        <p:spPr bwMode="ltGray">
          <a:xfrm>
            <a:off x="554736" y="6498754"/>
            <a:ext cx="325501" cy="138499"/>
          </a:xfrm>
          <a:prstGeom prst="rect">
            <a:avLst/>
          </a:prstGeom>
          <a:noFill/>
          <a:ln w="9525" algn="ctr">
            <a:noFill/>
            <a:miter lim="800000"/>
            <a:headEnd/>
            <a:tailEnd/>
          </a:ln>
          <a:effectLst/>
        </p:spPr>
        <p:txBody>
          <a:bodyPr wrap="square" lIns="0" tIns="0" rIns="0" bIns="0" anchor="b">
            <a:spAutoFit/>
          </a:bodyPr>
          <a:lstStyle/>
          <a:p>
            <a:pPr algn="l" defTabSz="610744" rtl="0" fontAlgn="auto">
              <a:spcBef>
                <a:spcPts val="0"/>
              </a:spcBef>
              <a:spcAft>
                <a:spcPts val="0"/>
              </a:spcAft>
              <a:defRPr/>
            </a:pPr>
            <a:fld id="{4ABDCABE-3F10-B64C-92F1-862014417034}" type="slidenum">
              <a:rPr lang="en-US" sz="900" b="0" smtClean="0">
                <a:solidFill>
                  <a:srgbClr val="929293"/>
                </a:solidFill>
                <a:latin typeface="+mn-lt"/>
                <a:ea typeface="+mn-ea"/>
                <a:cs typeface="+mn-cs"/>
              </a:rPr>
              <a:pPr algn="l" defTabSz="610744" rtl="0" fontAlgn="auto">
                <a:spcBef>
                  <a:spcPts val="0"/>
                </a:spcBef>
                <a:spcAft>
                  <a:spcPts val="0"/>
                </a:spcAft>
                <a:defRPr/>
              </a:pPr>
              <a:t>‹#›</a:t>
            </a:fld>
            <a:endParaRPr lang="en-US" sz="900" b="0">
              <a:solidFill>
                <a:srgbClr val="929293"/>
              </a:solidFill>
              <a:latin typeface="+mn-lt"/>
              <a:ea typeface="+mn-ea"/>
              <a:cs typeface="+mn-cs"/>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880237" y="650644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mn-lt"/>
                <a:ea typeface="+mn-ea"/>
                <a:cs typeface="+mn-cs"/>
              </a:rPr>
              <a:t>Source: …</a:t>
            </a:r>
          </a:p>
        </p:txBody>
      </p:sp>
    </p:spTree>
    <p:extLst>
      <p:ext uri="{BB962C8B-B14F-4D97-AF65-F5344CB8AC3E}">
        <p14:creationId xmlns:p14="http://schemas.microsoft.com/office/powerpoint/2010/main" val="72929555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1837323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mn-lt"/>
              <a:ea typeface="+mn-ea"/>
              <a:cs typeface="+mn-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77004"/>
            <a:ext cx="9180576" cy="502445"/>
          </a:xfrm>
          <a:prstGeom prst="rect">
            <a:avLst/>
          </a:prstGeom>
        </p:spPr>
        <p:txBody>
          <a:bodyPr vert="horz" anchor="b">
            <a:spAutoFit/>
          </a:bodyPr>
          <a:lstStyle>
            <a:lvl1pPr rtl="0">
              <a:lnSpc>
                <a:spcPct val="105000"/>
              </a:lnSpc>
              <a:defRPr sz="3400">
                <a:latin typeface="+mj-lt"/>
                <a:ea typeface="+mj-ea"/>
                <a:cs typeface="+mj-cs"/>
              </a:defRPr>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880237" y="650644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mn-lt"/>
                <a:ea typeface="+mn-ea"/>
                <a:cs typeface="+mn-cs"/>
              </a:rPr>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
        <p:nvSpPr>
          <p:cNvPr id="4" name="Slide Number">
            <a:extLst>
              <a:ext uri="{FF2B5EF4-FFF2-40B4-BE49-F238E27FC236}">
                <a16:creationId xmlns:a16="http://schemas.microsoft.com/office/drawing/2014/main" id="{7503BDDD-9ACD-AD75-0EF4-3261E8A5F033}"/>
              </a:ext>
            </a:extLst>
          </p:cNvPr>
          <p:cNvSpPr>
            <a:spLocks noChangeArrowheads="1"/>
          </p:cNvSpPr>
          <p:nvPr userDrawn="1">
            <p:custDataLst>
              <p:tags r:id="rId7"/>
            </p:custDataLst>
          </p:nvPr>
        </p:nvSpPr>
        <p:spPr bwMode="black">
          <a:xfrm>
            <a:off x="554736" y="6498754"/>
            <a:ext cx="325501" cy="138499"/>
          </a:xfrm>
          <a:prstGeom prst="rect">
            <a:avLst/>
          </a:prstGeom>
          <a:noFill/>
          <a:ln w="9525" algn="ctr">
            <a:noFill/>
            <a:miter lim="800000"/>
            <a:headEnd/>
            <a:tailEnd/>
          </a:ln>
          <a:effectLst/>
        </p:spPr>
        <p:txBody>
          <a:bodyPr wrap="square" lIns="0" tIns="0" rIns="0" bIns="0" anchor="b">
            <a:spAutoFit/>
          </a:bodyPr>
          <a:lstStyle/>
          <a:p>
            <a:pPr algn="l" defTabSz="610744" rtl="0" fontAlgn="auto">
              <a:spcBef>
                <a:spcPts val="0"/>
              </a:spcBef>
              <a:spcAft>
                <a:spcPts val="0"/>
              </a:spcAft>
              <a:defRPr/>
            </a:pPr>
            <a:fld id="{4ABDCABE-3F10-B64C-92F1-862014417034}" type="slidenum">
              <a:rPr lang="en-US" sz="900" b="0" smtClean="0">
                <a:solidFill>
                  <a:srgbClr val="929293"/>
                </a:solidFill>
                <a:latin typeface="+mn-lt"/>
                <a:ea typeface="+mn-ea"/>
                <a:cs typeface="+mn-cs"/>
              </a:rPr>
              <a:pPr algn="l" defTabSz="610744" rtl="0" fontAlgn="auto">
                <a:spcBef>
                  <a:spcPts val="0"/>
                </a:spcBef>
                <a:spcAft>
                  <a:spcPts val="0"/>
                </a:spcAft>
                <a:defRPr/>
              </a:pPr>
              <a:t>‹#›</a:t>
            </a:fld>
            <a:endParaRPr lang="en-US" sz="900" b="0">
              <a:solidFill>
                <a:srgbClr val="929293"/>
              </a:solidFill>
              <a:latin typeface="+mn-lt"/>
              <a:ea typeface="+mn-ea"/>
              <a:cs typeface="+mn-cs"/>
            </a:endParaRPr>
          </a:p>
        </p:txBody>
      </p:sp>
    </p:spTree>
    <p:extLst>
      <p:ext uri="{BB962C8B-B14F-4D97-AF65-F5344CB8AC3E}">
        <p14:creationId xmlns:p14="http://schemas.microsoft.com/office/powerpoint/2010/main" val="15150134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190726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1F5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mn-lt"/>
              <a:ea typeface="+mn-ea"/>
              <a:cs typeface="+mn-cs"/>
            </a:endParaRP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4"/>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5"/>
            </p:custDataLst>
          </p:nvPr>
        </p:nvSpPr>
        <p:spPr>
          <a:xfrm>
            <a:off x="880237" y="650644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mn-lt"/>
                <a:ea typeface="+mn-ea"/>
                <a:cs typeface="+mn-cs"/>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BD1E8CEA-59CA-420E-955C-4C9FBA24773C}"/>
              </a:ext>
            </a:extLst>
          </p:cNvPr>
          <p:cNvSpPr>
            <a:spLocks noGrp="1"/>
          </p:cNvSpPr>
          <p:nvPr>
            <p:ph type="title"/>
            <p:custDataLst>
              <p:tags r:id="rId7"/>
            </p:custDataLst>
          </p:nvPr>
        </p:nvSpPr>
        <p:spPr>
          <a:xfrm>
            <a:off x="554736" y="2744369"/>
            <a:ext cx="2514600" cy="769441"/>
          </a:xfrm>
          <a:prstGeom prst="rect">
            <a:avLst/>
          </a:prstGeom>
        </p:spPr>
        <p:txBody>
          <a:bodyPr vert="horz" wrap="square" lIns="0" tIns="0" rIns="0" bIns="0" rtlCol="0" anchor="b" anchorCtr="0">
            <a:noAutofit/>
          </a:bodyPr>
          <a:lstStyle>
            <a:lvl1pPr>
              <a:defRPr>
                <a:latin typeface="+mj-lt"/>
                <a:ea typeface="+mj-ea"/>
                <a:cs typeface="+mj-cs"/>
              </a:defRPr>
            </a:lvl1pPr>
          </a:lstStyle>
          <a:p>
            <a:pPr lvl="0"/>
            <a:r>
              <a:rPr lang="en-US"/>
              <a:t>Click to edit Master title style</a:t>
            </a:r>
          </a:p>
        </p:txBody>
      </p:sp>
      <p:sp>
        <p:nvSpPr>
          <p:cNvPr id="2" name="Slide Number">
            <a:extLst>
              <a:ext uri="{FF2B5EF4-FFF2-40B4-BE49-F238E27FC236}">
                <a16:creationId xmlns:a16="http://schemas.microsoft.com/office/drawing/2014/main" id="{4356BC67-BAB6-419D-81B7-EE889B0646AB}"/>
              </a:ext>
            </a:extLst>
          </p:cNvPr>
          <p:cNvSpPr>
            <a:spLocks noChangeArrowheads="1"/>
          </p:cNvSpPr>
          <p:nvPr userDrawn="1">
            <p:custDataLst>
              <p:tags r:id="rId8"/>
            </p:custDataLst>
          </p:nvPr>
        </p:nvSpPr>
        <p:spPr bwMode="black">
          <a:xfrm>
            <a:off x="554736" y="6498754"/>
            <a:ext cx="325501" cy="138499"/>
          </a:xfrm>
          <a:prstGeom prst="rect">
            <a:avLst/>
          </a:prstGeom>
          <a:noFill/>
          <a:ln w="9525" algn="ctr">
            <a:noFill/>
            <a:miter lim="800000"/>
            <a:headEnd/>
            <a:tailEnd/>
          </a:ln>
          <a:effectLst/>
        </p:spPr>
        <p:txBody>
          <a:bodyPr wrap="square" lIns="0" tIns="0" rIns="0" bIns="0" anchor="b">
            <a:spAutoFit/>
          </a:bodyPr>
          <a:lstStyle/>
          <a:p>
            <a:pPr algn="l" defTabSz="610744" rtl="0" fontAlgn="auto">
              <a:spcBef>
                <a:spcPts val="0"/>
              </a:spcBef>
              <a:spcAft>
                <a:spcPts val="0"/>
              </a:spcAft>
              <a:defRPr/>
            </a:pPr>
            <a:fld id="{4ABDCABE-3F10-B64C-92F1-862014417034}" type="slidenum">
              <a:rPr lang="en-US" sz="900" b="0" smtClean="0">
                <a:solidFill>
                  <a:srgbClr val="929293"/>
                </a:solidFill>
                <a:latin typeface="+mn-lt"/>
                <a:ea typeface="+mn-ea"/>
                <a:cs typeface="+mn-cs"/>
              </a:rPr>
              <a:pPr algn="l" defTabSz="610744" rtl="0" fontAlgn="auto">
                <a:spcBef>
                  <a:spcPts val="0"/>
                </a:spcBef>
                <a:spcAft>
                  <a:spcPts val="0"/>
                </a:spcAft>
                <a:defRPr/>
              </a:pPr>
              <a:t>‹#›</a:t>
            </a:fld>
            <a:endParaRPr lang="en-US" sz="900" b="0">
              <a:solidFill>
                <a:srgbClr val="929293"/>
              </a:solidFill>
              <a:latin typeface="+mn-lt"/>
              <a:ea typeface="+mn-ea"/>
              <a:cs typeface="+mn-cs"/>
            </a:endParaRPr>
          </a:p>
        </p:txBody>
      </p:sp>
      <p:pic>
        <p:nvPicPr>
          <p:cNvPr id="5" name="Picture 4" descr="Vitafoods Asia | 17 - 19 Sept 2025 | Nutraceutical Trade Show">
            <a:extLst>
              <a:ext uri="{FF2B5EF4-FFF2-40B4-BE49-F238E27FC236}">
                <a16:creationId xmlns:a16="http://schemas.microsoft.com/office/drawing/2014/main" id="{18E2E866-110A-BE90-E185-C950CE7BEC5E}"/>
              </a:ext>
            </a:extLst>
          </p:cNvPr>
          <p:cNvPicPr>
            <a:picLocks noChangeAspect="1" noChangeArrowheads="1"/>
          </p:cNvPicPr>
          <p:nvPr userDrawn="1"/>
        </p:nvPicPr>
        <p:blipFill rotWithShape="1">
          <a:blip r:embed="rId12" cstate="print">
            <a:extLst>
              <a:ext uri="{28A0092B-C50C-407E-A947-70E740481C1C}">
                <a14:useLocalDpi xmlns:a14="http://schemas.microsoft.com/office/drawing/2010/main" val="0"/>
              </a:ext>
            </a:extLst>
          </a:blip>
          <a:srcRect l="10354" t="12333" r="10254" b="23240"/>
          <a:stretch/>
        </p:blipFill>
        <p:spPr bwMode="ltGray">
          <a:xfrm>
            <a:off x="10878885" y="6310312"/>
            <a:ext cx="758380" cy="3983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60026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bject, image right - 5">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47570C6F-7369-B94A-AC9C-A59C8DF94A07}"/>
              </a:ext>
            </a:extLst>
          </p:cNvPr>
          <p:cNvSpPr>
            <a:spLocks noGrp="1"/>
          </p:cNvSpPr>
          <p:nvPr>
            <p:ph type="pic" sz="quarter" idx="14"/>
          </p:nvPr>
        </p:nvSpPr>
        <p:spPr>
          <a:xfrm>
            <a:off x="7248265" y="1701801"/>
            <a:ext cx="4368000" cy="4366684"/>
          </a:xfrm>
          <a:prstGeom prst="roundRect">
            <a:avLst>
              <a:gd name="adj" fmla="val 5981"/>
            </a:avLst>
          </a:prstGeom>
          <a:solidFill>
            <a:schemeClr val="tx1">
              <a:lumMod val="20000"/>
              <a:lumOff val="80000"/>
            </a:schemeClr>
          </a:solidFill>
        </p:spPr>
        <p:txBody>
          <a:bodyPr wrap="square" tIns="396000">
            <a:noAutofit/>
          </a:bodyPr>
          <a:lstStyle>
            <a:lvl1pPr marL="0" indent="0" algn="ctr">
              <a:buNone/>
              <a:defRPr/>
            </a:lvl1pPr>
          </a:lstStyle>
          <a:p>
            <a:r>
              <a:rPr lang="en-US"/>
              <a:t>Click icon to add picture</a:t>
            </a:r>
            <a:endParaRPr lang="en-GB"/>
          </a:p>
        </p:txBody>
      </p:sp>
      <p:sp>
        <p:nvSpPr>
          <p:cNvPr id="7" name="Text Placeholder 6">
            <a:extLst>
              <a:ext uri="{FF2B5EF4-FFF2-40B4-BE49-F238E27FC236}">
                <a16:creationId xmlns:a16="http://schemas.microsoft.com/office/drawing/2014/main" id="{8D6A2074-4B23-FA44-8A54-9A181E3C48B2}"/>
              </a:ext>
            </a:extLst>
          </p:cNvPr>
          <p:cNvSpPr>
            <a:spLocks noGrp="1"/>
          </p:cNvSpPr>
          <p:nvPr>
            <p:ph type="body" sz="quarter" idx="15"/>
          </p:nvPr>
        </p:nvSpPr>
        <p:spPr>
          <a:xfrm>
            <a:off x="580291" y="2321917"/>
            <a:ext cx="7156560" cy="3536897"/>
          </a:xfrm>
          <a:prstGeom prst="roundRect">
            <a:avLst>
              <a:gd name="adj" fmla="val 7384"/>
            </a:avLst>
          </a:prstGeom>
          <a:solidFill>
            <a:srgbClr val="74BDE9"/>
          </a:solidFill>
        </p:spPr>
        <p:txBody>
          <a:bodyPr vert="horz" lIns="180000" tIns="288000" rIns="180000" bIns="180000" rtlCol="0">
            <a:noAutofit/>
          </a:bodyPr>
          <a:lstStyle>
            <a:lvl1pPr>
              <a:buClrTx/>
              <a:defRPr lang="en-US" dirty="0" smtClean="0">
                <a:solidFill>
                  <a:schemeClr val="bg1"/>
                </a:solidFill>
              </a:defRPr>
            </a:lvl1pPr>
            <a:lvl2pPr>
              <a:buClrTx/>
              <a:defRPr lang="en-US" dirty="0" smtClean="0">
                <a:solidFill>
                  <a:schemeClr val="bg1"/>
                </a:solidFill>
              </a:defRPr>
            </a:lvl2pPr>
            <a:lvl3pPr>
              <a:buClrTx/>
              <a:defRPr lang="en-US" dirty="0" smtClean="0">
                <a:solidFill>
                  <a:schemeClr val="bg1"/>
                </a:solidFill>
              </a:defRPr>
            </a:lvl3pPr>
            <a:lvl4pPr>
              <a:buClrTx/>
              <a:defRPr lang="en-US" dirty="0" smtClean="0">
                <a:solidFill>
                  <a:schemeClr val="bg1"/>
                </a:solidFill>
              </a:defRPr>
            </a:lvl4pPr>
            <a:lvl5pPr>
              <a:buClrTx/>
              <a:defRPr lang="en-GB" dirty="0">
                <a:solidFill>
                  <a:schemeClr val="bg1"/>
                </a:solidFill>
              </a:defRPr>
            </a:lvl5pPr>
          </a:lstStyle>
          <a:p>
            <a:pPr lvl="0">
              <a:buClr>
                <a:schemeClr val="bg1"/>
              </a:buClr>
            </a:pPr>
            <a:r>
              <a:rPr lang="en-US"/>
              <a:t>Click to edit Master text styles</a:t>
            </a:r>
          </a:p>
          <a:p>
            <a:pPr lvl="1">
              <a:buClr>
                <a:schemeClr val="bg1"/>
              </a:buClr>
            </a:pPr>
            <a:r>
              <a:rPr lang="en-US"/>
              <a:t>Second level</a:t>
            </a:r>
          </a:p>
          <a:p>
            <a:pPr lvl="2">
              <a:buClr>
                <a:schemeClr val="bg1"/>
              </a:buClr>
            </a:pPr>
            <a:r>
              <a:rPr lang="en-US"/>
              <a:t>Third level</a:t>
            </a:r>
          </a:p>
          <a:p>
            <a:pPr lvl="3">
              <a:buClr>
                <a:schemeClr val="bg1"/>
              </a:buClr>
            </a:pPr>
            <a:r>
              <a:rPr lang="en-US"/>
              <a:t>Fourth level</a:t>
            </a:r>
          </a:p>
          <a:p>
            <a:pPr lvl="4">
              <a:buClr>
                <a:schemeClr val="bg1"/>
              </a:buClr>
            </a:pPr>
            <a:r>
              <a:rPr lang="en-US"/>
              <a:t>Fifth level</a:t>
            </a:r>
            <a:endParaRPr lang="en-GB"/>
          </a:p>
        </p:txBody>
      </p:sp>
      <p:sp>
        <p:nvSpPr>
          <p:cNvPr id="2" name="Title 1"/>
          <p:cNvSpPr>
            <a:spLocks noGrp="1"/>
          </p:cNvSpPr>
          <p:nvPr>
            <p:ph type="title" hasCustomPrompt="1"/>
          </p:nvPr>
        </p:nvSpPr>
        <p:spPr>
          <a:xfrm>
            <a:off x="580291" y="548218"/>
            <a:ext cx="11035975" cy="1036965"/>
          </a:xfrm>
        </p:spPr>
        <p:txBody>
          <a:bodyPr/>
          <a:lstStyle/>
          <a:p>
            <a:r>
              <a:rPr lang="en-GB"/>
              <a:t>Click to add title</a:t>
            </a:r>
          </a:p>
        </p:txBody>
      </p:sp>
      <p:sp>
        <p:nvSpPr>
          <p:cNvPr id="4" name="Date Placeholder 3"/>
          <p:cNvSpPr>
            <a:spLocks noGrp="1"/>
          </p:cNvSpPr>
          <p:nvPr>
            <p:ph type="dt" sz="half" idx="10"/>
          </p:nvPr>
        </p:nvSpPr>
        <p:spPr/>
        <p:txBody>
          <a:bodyPr/>
          <a:lstStyle/>
          <a:p>
            <a:fld id="{90E32774-EB3B-4F36-8592-CDF237CC3C4A}" type="datetime1">
              <a:rPr lang="en-GB" smtClean="0"/>
              <a:t>18/04/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Tree>
    <p:extLst>
      <p:ext uri="{BB962C8B-B14F-4D97-AF65-F5344CB8AC3E}">
        <p14:creationId xmlns:p14="http://schemas.microsoft.com/office/powerpoint/2010/main" val="2725113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771453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1F5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mn-lt"/>
              <a:ea typeface="+mn-ea"/>
              <a:cs typeface="+mn-cs"/>
            </a:endParaRP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4"/>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5"/>
            </p:custDataLst>
          </p:nvPr>
        </p:nvSpPr>
        <p:spPr>
          <a:xfrm>
            <a:off x="880237" y="650644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mn-lt"/>
                <a:ea typeface="+mn-ea"/>
                <a:cs typeface="+mn-cs"/>
              </a:rPr>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B064DA18-FA54-43C0-B981-F306F40179F4}"/>
              </a:ext>
            </a:extLst>
          </p:cNvPr>
          <p:cNvSpPr>
            <a:spLocks noGrp="1"/>
          </p:cNvSpPr>
          <p:nvPr>
            <p:ph type="title"/>
            <p:custDataLst>
              <p:tags r:id="rId7"/>
            </p:custDataLst>
          </p:nvPr>
        </p:nvSpPr>
        <p:spPr>
          <a:xfrm>
            <a:off x="554736" y="2744369"/>
            <a:ext cx="3465574" cy="769441"/>
          </a:xfrm>
          <a:prstGeom prst="rect">
            <a:avLst/>
          </a:prstGeom>
        </p:spPr>
        <p:txBody>
          <a:bodyPr vert="horz" wrap="square" lIns="0" tIns="0" rIns="0" bIns="0" rtlCol="0" anchor="b" anchorCtr="0">
            <a:noAutofit/>
          </a:bodyPr>
          <a:lstStyle>
            <a:lvl1pPr>
              <a:defRPr>
                <a:latin typeface="+mj-lt"/>
                <a:ea typeface="+mj-ea"/>
                <a:cs typeface="+mj-cs"/>
              </a:defRPr>
            </a:lvl1pPr>
          </a:lstStyle>
          <a:p>
            <a:pPr lvl="0"/>
            <a:r>
              <a:rPr lang="en-US"/>
              <a:t>Click to edit Master title style</a:t>
            </a:r>
          </a:p>
        </p:txBody>
      </p:sp>
      <p:sp>
        <p:nvSpPr>
          <p:cNvPr id="2" name="Slide Number">
            <a:extLst>
              <a:ext uri="{FF2B5EF4-FFF2-40B4-BE49-F238E27FC236}">
                <a16:creationId xmlns:a16="http://schemas.microsoft.com/office/drawing/2014/main" id="{1BB7A6B3-E466-3039-29B7-23881FD2A6DA}"/>
              </a:ext>
            </a:extLst>
          </p:cNvPr>
          <p:cNvSpPr>
            <a:spLocks noChangeArrowheads="1"/>
          </p:cNvSpPr>
          <p:nvPr userDrawn="1">
            <p:custDataLst>
              <p:tags r:id="rId8"/>
            </p:custDataLst>
          </p:nvPr>
        </p:nvSpPr>
        <p:spPr bwMode="black">
          <a:xfrm>
            <a:off x="554736" y="6498754"/>
            <a:ext cx="325501" cy="138499"/>
          </a:xfrm>
          <a:prstGeom prst="rect">
            <a:avLst/>
          </a:prstGeom>
          <a:noFill/>
          <a:ln w="9525" algn="ctr">
            <a:noFill/>
            <a:miter lim="800000"/>
            <a:headEnd/>
            <a:tailEnd/>
          </a:ln>
          <a:effectLst/>
        </p:spPr>
        <p:txBody>
          <a:bodyPr wrap="square" lIns="0" tIns="0" rIns="0" bIns="0" anchor="b">
            <a:spAutoFit/>
          </a:bodyPr>
          <a:lstStyle/>
          <a:p>
            <a:pPr algn="l" defTabSz="610744" rtl="0" fontAlgn="auto">
              <a:spcBef>
                <a:spcPts val="0"/>
              </a:spcBef>
              <a:spcAft>
                <a:spcPts val="0"/>
              </a:spcAft>
              <a:defRPr/>
            </a:pPr>
            <a:fld id="{4ABDCABE-3F10-B64C-92F1-862014417034}" type="slidenum">
              <a:rPr lang="en-US" sz="900" b="0" smtClean="0">
                <a:solidFill>
                  <a:srgbClr val="929293"/>
                </a:solidFill>
                <a:latin typeface="+mn-lt"/>
                <a:ea typeface="+mn-ea"/>
                <a:cs typeface="+mn-cs"/>
              </a:rPr>
              <a:pPr algn="l" defTabSz="610744" rtl="0" fontAlgn="auto">
                <a:spcBef>
                  <a:spcPts val="0"/>
                </a:spcBef>
                <a:spcAft>
                  <a:spcPts val="0"/>
                </a:spcAft>
                <a:defRPr/>
              </a:pPr>
              <a:t>‹#›</a:t>
            </a:fld>
            <a:endParaRPr lang="en-US" sz="900" b="0">
              <a:solidFill>
                <a:srgbClr val="929293"/>
              </a:solidFill>
              <a:latin typeface="+mn-lt"/>
              <a:ea typeface="+mn-ea"/>
              <a:cs typeface="+mn-cs"/>
            </a:endParaRPr>
          </a:p>
        </p:txBody>
      </p:sp>
      <p:pic>
        <p:nvPicPr>
          <p:cNvPr id="5" name="Picture 4" descr="Vitafoods Asia | 17 - 19 Sept 2025 | Nutraceutical Trade Show">
            <a:extLst>
              <a:ext uri="{FF2B5EF4-FFF2-40B4-BE49-F238E27FC236}">
                <a16:creationId xmlns:a16="http://schemas.microsoft.com/office/drawing/2014/main" id="{35BE6037-6FCA-C331-A276-7FCDB087F70B}"/>
              </a:ext>
            </a:extLst>
          </p:cNvPr>
          <p:cNvPicPr>
            <a:picLocks noChangeAspect="1" noChangeArrowheads="1"/>
          </p:cNvPicPr>
          <p:nvPr userDrawn="1"/>
        </p:nvPicPr>
        <p:blipFill rotWithShape="1">
          <a:blip r:embed="rId12" cstate="print">
            <a:extLst>
              <a:ext uri="{28A0092B-C50C-407E-A947-70E740481C1C}">
                <a14:useLocalDpi xmlns:a14="http://schemas.microsoft.com/office/drawing/2010/main" val="0"/>
              </a:ext>
            </a:extLst>
          </a:blip>
          <a:srcRect l="10354" t="12333" r="10254" b="23240"/>
          <a:stretch/>
        </p:blipFill>
        <p:spPr bwMode="ltGray">
          <a:xfrm>
            <a:off x="10878885" y="6310312"/>
            <a:ext cx="758380" cy="3983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445337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79608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1F5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mn-lt"/>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5065776" cy="384721"/>
          </a:xfrm>
        </p:spPr>
        <p:txBody>
          <a:bodyPr vert="horz">
            <a:spAutoFit/>
          </a:bodyPr>
          <a:lstStyle>
            <a:lvl1pPr rtl="0">
              <a:defRPr>
                <a:latin typeface="+mj-lt"/>
                <a:ea typeface="+mj-ea"/>
                <a:cs typeface="+mj-cs"/>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5" y="637721"/>
            <a:ext cx="5065776" cy="246221"/>
          </a:xfrm>
          <a:prstGeom prst="rect">
            <a:avLst/>
          </a:prstGeom>
        </p:spPr>
        <p:txBody>
          <a:bodyPr wrap="square">
            <a:spAutoFit/>
          </a:bodyPr>
          <a:lstStyle>
            <a:lvl1pPr marL="0" indent="0" algn="l" rtl="0">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880237" y="650644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mn-lt"/>
                <a:ea typeface="+mn-ea"/>
                <a:cs typeface="+mn-cs"/>
              </a:rPr>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
        <p:nvSpPr>
          <p:cNvPr id="2" name="Slide Number">
            <a:extLst>
              <a:ext uri="{FF2B5EF4-FFF2-40B4-BE49-F238E27FC236}">
                <a16:creationId xmlns:a16="http://schemas.microsoft.com/office/drawing/2014/main" id="{A9D2F1F4-B69D-93BE-D64E-3DA4804BEABB}"/>
              </a:ext>
            </a:extLst>
          </p:cNvPr>
          <p:cNvSpPr>
            <a:spLocks noChangeArrowheads="1"/>
          </p:cNvSpPr>
          <p:nvPr userDrawn="1">
            <p:custDataLst>
              <p:tags r:id="rId8"/>
            </p:custDataLst>
          </p:nvPr>
        </p:nvSpPr>
        <p:spPr bwMode="black">
          <a:xfrm>
            <a:off x="554736" y="6498754"/>
            <a:ext cx="325501" cy="138499"/>
          </a:xfrm>
          <a:prstGeom prst="rect">
            <a:avLst/>
          </a:prstGeom>
          <a:noFill/>
          <a:ln w="9525" algn="ctr">
            <a:noFill/>
            <a:miter lim="800000"/>
            <a:headEnd/>
            <a:tailEnd/>
          </a:ln>
          <a:effectLst/>
        </p:spPr>
        <p:txBody>
          <a:bodyPr wrap="square" lIns="0" tIns="0" rIns="0" bIns="0" anchor="b">
            <a:spAutoFit/>
          </a:bodyPr>
          <a:lstStyle/>
          <a:p>
            <a:pPr algn="l" defTabSz="610744" rtl="0" fontAlgn="auto">
              <a:spcBef>
                <a:spcPts val="0"/>
              </a:spcBef>
              <a:spcAft>
                <a:spcPts val="0"/>
              </a:spcAft>
              <a:defRPr/>
            </a:pPr>
            <a:fld id="{4ABDCABE-3F10-B64C-92F1-862014417034}" type="slidenum">
              <a:rPr lang="en-US" sz="900" b="0" smtClean="0">
                <a:solidFill>
                  <a:srgbClr val="929293"/>
                </a:solidFill>
                <a:latin typeface="+mn-lt"/>
                <a:ea typeface="+mn-ea"/>
                <a:cs typeface="+mn-cs"/>
              </a:rPr>
              <a:pPr algn="l" defTabSz="610744" rtl="0" fontAlgn="auto">
                <a:spcBef>
                  <a:spcPts val="0"/>
                </a:spcBef>
                <a:spcAft>
                  <a:spcPts val="0"/>
                </a:spcAft>
                <a:defRPr/>
              </a:pPr>
              <a:t>‹#›</a:t>
            </a:fld>
            <a:endParaRPr lang="en-US" sz="900" b="0">
              <a:solidFill>
                <a:srgbClr val="929293"/>
              </a:solidFill>
              <a:latin typeface="+mn-lt"/>
              <a:ea typeface="+mn-ea"/>
              <a:cs typeface="+mn-cs"/>
            </a:endParaRPr>
          </a:p>
        </p:txBody>
      </p:sp>
      <p:pic>
        <p:nvPicPr>
          <p:cNvPr id="5" name="Picture 4" descr="Vitafoods Asia | 17 - 19 Sept 2025 | Nutraceutical Trade Show">
            <a:extLst>
              <a:ext uri="{FF2B5EF4-FFF2-40B4-BE49-F238E27FC236}">
                <a16:creationId xmlns:a16="http://schemas.microsoft.com/office/drawing/2014/main" id="{DFEC241E-F788-9704-42CA-BAD1613020ED}"/>
              </a:ext>
            </a:extLst>
          </p:cNvPr>
          <p:cNvPicPr>
            <a:picLocks noChangeAspect="1" noChangeArrowheads="1"/>
          </p:cNvPicPr>
          <p:nvPr userDrawn="1"/>
        </p:nvPicPr>
        <p:blipFill rotWithShape="1">
          <a:blip r:embed="rId12" cstate="print">
            <a:extLst>
              <a:ext uri="{28A0092B-C50C-407E-A947-70E740481C1C}">
                <a14:useLocalDpi xmlns:a14="http://schemas.microsoft.com/office/drawing/2010/main" val="0"/>
              </a:ext>
            </a:extLst>
          </a:blip>
          <a:srcRect l="10354" t="12333" r="10254" b="23240"/>
          <a:stretch/>
        </p:blipFill>
        <p:spPr bwMode="ltGray">
          <a:xfrm>
            <a:off x="10878885" y="6310312"/>
            <a:ext cx="758380" cy="3983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618363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56866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384721"/>
          </a:xfrm>
        </p:spPr>
        <p:txBody>
          <a:bodyPr vert="horz">
            <a:spAutoFit/>
          </a:bodyPr>
          <a:lstStyle>
            <a:lvl1pPr rtl="0">
              <a:defRPr>
                <a:latin typeface="+mj-lt"/>
                <a:ea typeface="+mj-ea"/>
                <a:cs typeface="+mj-cs"/>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1F5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mn-lt"/>
              <a:ea typeface="+mn-ea"/>
              <a:cs typeface="+mn-cs"/>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5" y="637721"/>
            <a:ext cx="6967728" cy="246221"/>
          </a:xfrm>
          <a:prstGeom prst="rect">
            <a:avLst/>
          </a:prstGeom>
        </p:spPr>
        <p:txBody>
          <a:bodyPr wrap="square">
            <a:spAutoFit/>
          </a:bodyPr>
          <a:lstStyle>
            <a:lvl1pPr marL="0" indent="0" algn="l" rtl="0">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880237" y="6506448"/>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latin typeface="+mn-lt"/>
                <a:ea typeface="+mn-ea"/>
                <a:cs typeface="+mn-cs"/>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
        <p:nvSpPr>
          <p:cNvPr id="2" name="Slide Number">
            <a:extLst>
              <a:ext uri="{FF2B5EF4-FFF2-40B4-BE49-F238E27FC236}">
                <a16:creationId xmlns:a16="http://schemas.microsoft.com/office/drawing/2014/main" id="{6AD28D16-4591-95DB-9191-5447404A13E3}"/>
              </a:ext>
            </a:extLst>
          </p:cNvPr>
          <p:cNvSpPr>
            <a:spLocks noChangeArrowheads="1"/>
          </p:cNvSpPr>
          <p:nvPr userDrawn="1">
            <p:custDataLst>
              <p:tags r:id="rId8"/>
            </p:custDataLst>
          </p:nvPr>
        </p:nvSpPr>
        <p:spPr bwMode="black">
          <a:xfrm>
            <a:off x="554736" y="6498754"/>
            <a:ext cx="325501" cy="138499"/>
          </a:xfrm>
          <a:prstGeom prst="rect">
            <a:avLst/>
          </a:prstGeom>
          <a:noFill/>
          <a:ln w="9525" algn="ctr">
            <a:noFill/>
            <a:miter lim="800000"/>
            <a:headEnd/>
            <a:tailEnd/>
          </a:ln>
          <a:effectLst/>
        </p:spPr>
        <p:txBody>
          <a:bodyPr wrap="square" lIns="0" tIns="0" rIns="0" bIns="0" anchor="b">
            <a:spAutoFit/>
          </a:bodyPr>
          <a:lstStyle/>
          <a:p>
            <a:pPr algn="l" defTabSz="610744" rtl="0" fontAlgn="auto">
              <a:spcBef>
                <a:spcPts val="0"/>
              </a:spcBef>
              <a:spcAft>
                <a:spcPts val="0"/>
              </a:spcAft>
              <a:defRPr/>
            </a:pPr>
            <a:fld id="{4ABDCABE-3F10-B64C-92F1-862014417034}" type="slidenum">
              <a:rPr lang="en-US" sz="900" b="0" smtClean="0">
                <a:solidFill>
                  <a:srgbClr val="929293"/>
                </a:solidFill>
                <a:latin typeface="+mn-lt"/>
                <a:ea typeface="+mn-ea"/>
                <a:cs typeface="+mn-cs"/>
              </a:rPr>
              <a:pPr algn="l" defTabSz="610744" rtl="0" fontAlgn="auto">
                <a:spcBef>
                  <a:spcPts val="0"/>
                </a:spcBef>
                <a:spcAft>
                  <a:spcPts val="0"/>
                </a:spcAft>
                <a:defRPr/>
              </a:pPr>
              <a:t>‹#›</a:t>
            </a:fld>
            <a:endParaRPr lang="en-US" sz="900" b="0">
              <a:solidFill>
                <a:srgbClr val="929293"/>
              </a:solidFill>
              <a:latin typeface="+mn-lt"/>
              <a:ea typeface="+mn-ea"/>
              <a:cs typeface="+mn-cs"/>
            </a:endParaRPr>
          </a:p>
        </p:txBody>
      </p:sp>
      <p:pic>
        <p:nvPicPr>
          <p:cNvPr id="5" name="Picture 4" descr="Vitafoods Asia | 17 - 19 Sept 2025 | Nutraceutical Trade Show">
            <a:extLst>
              <a:ext uri="{FF2B5EF4-FFF2-40B4-BE49-F238E27FC236}">
                <a16:creationId xmlns:a16="http://schemas.microsoft.com/office/drawing/2014/main" id="{52116454-7297-E823-C191-99709A9D1A45}"/>
              </a:ext>
            </a:extLst>
          </p:cNvPr>
          <p:cNvPicPr>
            <a:picLocks noChangeAspect="1" noChangeArrowheads="1"/>
          </p:cNvPicPr>
          <p:nvPr userDrawn="1"/>
        </p:nvPicPr>
        <p:blipFill rotWithShape="1">
          <a:blip r:embed="rId12" cstate="print">
            <a:extLst>
              <a:ext uri="{28A0092B-C50C-407E-A947-70E740481C1C}">
                <a14:useLocalDpi xmlns:a14="http://schemas.microsoft.com/office/drawing/2010/main" val="0"/>
              </a:ext>
            </a:extLst>
          </a:blip>
          <a:srcRect l="10354" t="12333" r="10254" b="23240"/>
          <a:stretch/>
        </p:blipFill>
        <p:spPr bwMode="ltGray">
          <a:xfrm>
            <a:off x="10878885" y="6310312"/>
            <a:ext cx="758380" cy="3983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4834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66573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1F5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mn-lt"/>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7918704" cy="384721"/>
          </a:xfrm>
        </p:spPr>
        <p:txBody>
          <a:bodyPr vert="horz">
            <a:spAutoFit/>
          </a:bodyPr>
          <a:lstStyle>
            <a:lvl1pPr rtl="0">
              <a:defRPr>
                <a:latin typeface="+mj-lt"/>
                <a:ea typeface="+mj-ea"/>
                <a:cs typeface="+mj-cs"/>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5" y="637721"/>
            <a:ext cx="7918704" cy="246221"/>
          </a:xfrm>
          <a:prstGeom prst="rect">
            <a:avLst/>
          </a:prstGeom>
        </p:spPr>
        <p:txBody>
          <a:bodyPr wrap="square">
            <a:spAutoFit/>
          </a:bodyPr>
          <a:lstStyle>
            <a:lvl1pPr marL="0" indent="0" algn="l" rtl="0">
              <a:buNone/>
              <a:defRPr sz="1600" b="0" u="none"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880237" y="650644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mn-cs"/>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
        <p:nvSpPr>
          <p:cNvPr id="2" name="Slide Number">
            <a:extLst>
              <a:ext uri="{FF2B5EF4-FFF2-40B4-BE49-F238E27FC236}">
                <a16:creationId xmlns:a16="http://schemas.microsoft.com/office/drawing/2014/main" id="{7C32D2A0-292E-D28F-41F2-09F2B03988D5}"/>
              </a:ext>
            </a:extLst>
          </p:cNvPr>
          <p:cNvSpPr>
            <a:spLocks noChangeArrowheads="1"/>
          </p:cNvSpPr>
          <p:nvPr userDrawn="1">
            <p:custDataLst>
              <p:tags r:id="rId8"/>
            </p:custDataLst>
          </p:nvPr>
        </p:nvSpPr>
        <p:spPr bwMode="black">
          <a:xfrm>
            <a:off x="554736" y="6498754"/>
            <a:ext cx="325501" cy="138499"/>
          </a:xfrm>
          <a:prstGeom prst="rect">
            <a:avLst/>
          </a:prstGeom>
          <a:noFill/>
          <a:ln w="9525" algn="ctr">
            <a:noFill/>
            <a:miter lim="800000"/>
            <a:headEnd/>
            <a:tailEnd/>
          </a:ln>
          <a:effectLst/>
        </p:spPr>
        <p:txBody>
          <a:bodyPr wrap="square" lIns="0" tIns="0" rIns="0" bIns="0" anchor="b">
            <a:spAutoFit/>
          </a:bodyPr>
          <a:lstStyle/>
          <a:p>
            <a:pPr algn="l" defTabSz="610744" rtl="0" fontAlgn="auto">
              <a:spcBef>
                <a:spcPts val="0"/>
              </a:spcBef>
              <a:spcAft>
                <a:spcPts val="0"/>
              </a:spcAft>
              <a:defRPr/>
            </a:pPr>
            <a:fld id="{4ABDCABE-3F10-B64C-92F1-862014417034}" type="slidenum">
              <a:rPr lang="en-US" sz="900" b="0" smtClean="0">
                <a:solidFill>
                  <a:srgbClr val="929293"/>
                </a:solidFill>
                <a:latin typeface="+mn-lt"/>
                <a:ea typeface="+mn-ea"/>
                <a:cs typeface="+mn-cs"/>
              </a:rPr>
              <a:pPr algn="l" defTabSz="610744" rtl="0" fontAlgn="auto">
                <a:spcBef>
                  <a:spcPts val="0"/>
                </a:spcBef>
                <a:spcAft>
                  <a:spcPts val="0"/>
                </a:spcAft>
                <a:defRPr/>
              </a:pPr>
              <a:t>‹#›</a:t>
            </a:fld>
            <a:endParaRPr lang="en-US" sz="900" b="0">
              <a:solidFill>
                <a:srgbClr val="929293"/>
              </a:solidFill>
              <a:latin typeface="+mn-lt"/>
              <a:ea typeface="+mn-ea"/>
              <a:cs typeface="+mn-cs"/>
            </a:endParaRPr>
          </a:p>
        </p:txBody>
      </p:sp>
      <p:pic>
        <p:nvPicPr>
          <p:cNvPr id="5" name="Picture 4" descr="Vitafoods Asia | 17 - 19 Sept 2025 | Nutraceutical Trade Show">
            <a:extLst>
              <a:ext uri="{FF2B5EF4-FFF2-40B4-BE49-F238E27FC236}">
                <a16:creationId xmlns:a16="http://schemas.microsoft.com/office/drawing/2014/main" id="{A9772E56-DCBD-FB48-7F82-6F6E60174BD1}"/>
              </a:ext>
            </a:extLst>
          </p:cNvPr>
          <p:cNvPicPr>
            <a:picLocks noChangeAspect="1" noChangeArrowheads="1"/>
          </p:cNvPicPr>
          <p:nvPr userDrawn="1"/>
        </p:nvPicPr>
        <p:blipFill rotWithShape="1">
          <a:blip r:embed="rId12" cstate="print">
            <a:extLst>
              <a:ext uri="{28A0092B-C50C-407E-A947-70E740481C1C}">
                <a14:useLocalDpi xmlns:a14="http://schemas.microsoft.com/office/drawing/2010/main" val="0"/>
              </a:ext>
            </a:extLst>
          </a:blip>
          <a:srcRect l="10354" t="12333" r="10254" b="23240"/>
          <a:stretch/>
        </p:blipFill>
        <p:spPr bwMode="ltGray">
          <a:xfrm>
            <a:off x="10878885" y="6310312"/>
            <a:ext cx="758380" cy="3983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446404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140960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hasCustomPrompt="1"/>
            <p:custDataLst>
              <p:tags r:id="rId3"/>
            </p:custDataLst>
          </p:nvPr>
        </p:nvSpPr>
        <p:spPr>
          <a:xfrm>
            <a:off x="554736" y="172212"/>
            <a:ext cx="11082528" cy="1154162"/>
          </a:xfrm>
        </p:spPr>
        <p:txBody>
          <a:bodyPr vert="horz">
            <a:spAutoFit/>
          </a:bodyPr>
          <a:lstStyle>
            <a:lvl1pPr rtl="0">
              <a:defRPr>
                <a:latin typeface="+mj-lt"/>
                <a:ea typeface="+mj-ea"/>
                <a:cs typeface="+mj-cs"/>
              </a:defRPr>
            </a:lvl1pPr>
          </a:lstStyle>
          <a:p>
            <a:r>
              <a:rPr lang="en-US"/>
              <a:t>Click to edit Master title style</a:t>
            </a:r>
            <a:br>
              <a:rPr lang="en-US"/>
            </a:br>
            <a:br>
              <a:rPr lang="en-US"/>
            </a:br>
            <a:endParaRPr lang="en-US"/>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880237" y="650644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mn-lt"/>
                <a:ea typeface="+mn-ea"/>
                <a:cs typeface="+mn-cs"/>
              </a:rPr>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
        <p:nvSpPr>
          <p:cNvPr id="9" name="Sticker" hidden="1">
            <a:extLst>
              <a:ext uri="{FF2B5EF4-FFF2-40B4-BE49-F238E27FC236}">
                <a16:creationId xmlns:a16="http://schemas.microsoft.com/office/drawing/2014/main" id="{2B5F1846-DB86-4338-8AFA-F2C1B534B900}"/>
              </a:ext>
            </a:extLst>
          </p:cNvPr>
          <p:cNvSpPr txBox="1"/>
          <p:nvPr userDrawn="1"/>
        </p:nvSpPr>
        <p:spPr>
          <a:xfrm>
            <a:off x="558489" y="1401800"/>
            <a:ext cx="501740"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a:latin typeface="+mn-lt"/>
                <a:ea typeface="+mn-ea"/>
                <a:cs typeface="+mn-cs"/>
              </a:rPr>
              <a:t>STICKER</a:t>
            </a:r>
          </a:p>
        </p:txBody>
      </p:sp>
      <p:sp>
        <p:nvSpPr>
          <p:cNvPr id="5" name="Slide Number">
            <a:extLst>
              <a:ext uri="{FF2B5EF4-FFF2-40B4-BE49-F238E27FC236}">
                <a16:creationId xmlns:a16="http://schemas.microsoft.com/office/drawing/2014/main" id="{1C71D334-BDF4-1478-4A1C-B6E9B6C10666}"/>
              </a:ext>
            </a:extLst>
          </p:cNvPr>
          <p:cNvSpPr>
            <a:spLocks noChangeArrowheads="1"/>
          </p:cNvSpPr>
          <p:nvPr userDrawn="1">
            <p:custDataLst>
              <p:tags r:id="rId6"/>
            </p:custDataLst>
          </p:nvPr>
        </p:nvSpPr>
        <p:spPr bwMode="black">
          <a:xfrm>
            <a:off x="554736" y="6498754"/>
            <a:ext cx="325501" cy="138499"/>
          </a:xfrm>
          <a:prstGeom prst="rect">
            <a:avLst/>
          </a:prstGeom>
          <a:noFill/>
          <a:ln w="9525" algn="ctr">
            <a:noFill/>
            <a:miter lim="800000"/>
            <a:headEnd/>
            <a:tailEnd/>
          </a:ln>
          <a:effectLst/>
        </p:spPr>
        <p:txBody>
          <a:bodyPr wrap="square" lIns="0" tIns="0" rIns="0" bIns="0" anchor="b">
            <a:spAutoFit/>
          </a:bodyPr>
          <a:lstStyle/>
          <a:p>
            <a:pPr algn="l" defTabSz="610744" rtl="0" fontAlgn="auto">
              <a:spcBef>
                <a:spcPts val="0"/>
              </a:spcBef>
              <a:spcAft>
                <a:spcPts val="0"/>
              </a:spcAft>
              <a:defRPr/>
            </a:pPr>
            <a:fld id="{4ABDCABE-3F10-B64C-92F1-862014417034}" type="slidenum">
              <a:rPr lang="en-US" sz="900" b="0" smtClean="0">
                <a:solidFill>
                  <a:srgbClr val="929293"/>
                </a:solidFill>
                <a:latin typeface="+mn-lt"/>
                <a:ea typeface="+mn-ea"/>
                <a:cs typeface="+mn-cs"/>
              </a:rPr>
              <a:pPr algn="l" defTabSz="610744" rtl="0" fontAlgn="auto">
                <a:spcBef>
                  <a:spcPts val="0"/>
                </a:spcBef>
                <a:spcAft>
                  <a:spcPts val="0"/>
                </a:spcAft>
                <a:defRPr/>
              </a:pPr>
              <a:t>‹#›</a:t>
            </a:fld>
            <a:endParaRPr lang="en-US" sz="900" b="0">
              <a:solidFill>
                <a:srgbClr val="929293"/>
              </a:solidFill>
              <a:latin typeface="+mn-lt"/>
              <a:ea typeface="+mn-ea"/>
              <a:cs typeface="+mn-cs"/>
            </a:endParaRPr>
          </a:p>
        </p:txBody>
      </p:sp>
      <p:pic>
        <p:nvPicPr>
          <p:cNvPr id="6" name="Picture 4" descr="Vitafoods Asia | 17 - 19 Sept 2025 | Nutraceutical Trade Show">
            <a:extLst>
              <a:ext uri="{FF2B5EF4-FFF2-40B4-BE49-F238E27FC236}">
                <a16:creationId xmlns:a16="http://schemas.microsoft.com/office/drawing/2014/main" id="{B6DB2AFA-6E37-15CE-41AA-95EA4FCEE4A2}"/>
              </a:ext>
            </a:extLst>
          </p:cNvPr>
          <p:cNvPicPr>
            <a:picLocks noChangeAspect="1" noChangeArrowheads="1"/>
          </p:cNvPicPr>
          <p:nvPr userDrawn="1"/>
        </p:nvPicPr>
        <p:blipFill rotWithShape="1">
          <a:blip r:embed="rId10" cstate="print">
            <a:extLst>
              <a:ext uri="{28A0092B-C50C-407E-A947-70E740481C1C}">
                <a14:useLocalDpi xmlns:a14="http://schemas.microsoft.com/office/drawing/2010/main" val="0"/>
              </a:ext>
            </a:extLst>
          </a:blip>
          <a:srcRect l="10354" t="12333" r="10254" b="23240"/>
          <a:stretch/>
        </p:blipFill>
        <p:spPr bwMode="ltGray">
          <a:xfrm>
            <a:off x="10878885" y="6310312"/>
            <a:ext cx="758380" cy="3983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847539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614020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880237" y="650644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mn-lt"/>
                <a:ea typeface="+mn-ea"/>
                <a:cs typeface="+mn-cs"/>
              </a:rPr>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
        <p:nvSpPr>
          <p:cNvPr id="3" name="Slide Number">
            <a:extLst>
              <a:ext uri="{FF2B5EF4-FFF2-40B4-BE49-F238E27FC236}">
                <a16:creationId xmlns:a16="http://schemas.microsoft.com/office/drawing/2014/main" id="{254F0463-5C32-5FD9-AA14-FB1D246E60F7}"/>
              </a:ext>
            </a:extLst>
          </p:cNvPr>
          <p:cNvSpPr>
            <a:spLocks noChangeArrowheads="1"/>
          </p:cNvSpPr>
          <p:nvPr userDrawn="1">
            <p:custDataLst>
              <p:tags r:id="rId4"/>
            </p:custDataLst>
          </p:nvPr>
        </p:nvSpPr>
        <p:spPr bwMode="black">
          <a:xfrm>
            <a:off x="554736" y="6498754"/>
            <a:ext cx="325501" cy="138499"/>
          </a:xfrm>
          <a:prstGeom prst="rect">
            <a:avLst/>
          </a:prstGeom>
          <a:noFill/>
          <a:ln w="9525" algn="ctr">
            <a:noFill/>
            <a:miter lim="800000"/>
            <a:headEnd/>
            <a:tailEnd/>
          </a:ln>
          <a:effectLst/>
        </p:spPr>
        <p:txBody>
          <a:bodyPr wrap="square" lIns="0" tIns="0" rIns="0" bIns="0" anchor="b">
            <a:spAutoFit/>
          </a:bodyPr>
          <a:lstStyle/>
          <a:p>
            <a:pPr algn="l" defTabSz="610744" rtl="0" fontAlgn="auto">
              <a:spcBef>
                <a:spcPts val="0"/>
              </a:spcBef>
              <a:spcAft>
                <a:spcPts val="0"/>
              </a:spcAft>
              <a:defRPr/>
            </a:pPr>
            <a:fld id="{4ABDCABE-3F10-B64C-92F1-862014417034}" type="slidenum">
              <a:rPr lang="en-US" sz="900" b="0" smtClean="0">
                <a:solidFill>
                  <a:srgbClr val="929293"/>
                </a:solidFill>
                <a:latin typeface="+mn-lt"/>
                <a:ea typeface="+mn-ea"/>
                <a:cs typeface="+mn-cs"/>
              </a:rPr>
              <a:pPr algn="l" defTabSz="610744" rtl="0" fontAlgn="auto">
                <a:spcBef>
                  <a:spcPts val="0"/>
                </a:spcBef>
                <a:spcAft>
                  <a:spcPts val="0"/>
                </a:spcAft>
                <a:defRPr/>
              </a:pPr>
              <a:t>‹#›</a:t>
            </a:fld>
            <a:endParaRPr lang="en-US" sz="900" b="0">
              <a:solidFill>
                <a:srgbClr val="929293"/>
              </a:solidFill>
              <a:latin typeface="+mn-lt"/>
              <a:ea typeface="+mn-ea"/>
              <a:cs typeface="+mn-cs"/>
            </a:endParaRPr>
          </a:p>
        </p:txBody>
      </p:sp>
      <p:pic>
        <p:nvPicPr>
          <p:cNvPr id="4" name="Picture 4" descr="Vitafoods Asia | 17 - 19 Sept 2025 | Nutraceutical Trade Show">
            <a:extLst>
              <a:ext uri="{FF2B5EF4-FFF2-40B4-BE49-F238E27FC236}">
                <a16:creationId xmlns:a16="http://schemas.microsoft.com/office/drawing/2014/main" id="{A6DA296F-0F39-7DEA-B7D9-F2A4E7100C4B}"/>
              </a:ext>
            </a:extLst>
          </p:cNvPr>
          <p:cNvPicPr>
            <a:picLocks noChangeAspect="1" noChangeArrowheads="1"/>
          </p:cNvPicPr>
          <p:nvPr userDrawn="1"/>
        </p:nvPicPr>
        <p:blipFill rotWithShape="1">
          <a:blip r:embed="rId8" cstate="print">
            <a:extLst>
              <a:ext uri="{28A0092B-C50C-407E-A947-70E740481C1C}">
                <a14:useLocalDpi xmlns:a14="http://schemas.microsoft.com/office/drawing/2010/main" val="0"/>
              </a:ext>
            </a:extLst>
          </a:blip>
          <a:srcRect l="10354" t="12333" r="10254" b="23240"/>
          <a:stretch/>
        </p:blipFill>
        <p:spPr bwMode="ltGray">
          <a:xfrm>
            <a:off x="10878885" y="6310312"/>
            <a:ext cx="758380" cy="3983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227695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2595483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mn-lt"/>
                <a:ea typeface="+mn-ea"/>
                <a:cs typeface="+mn-cs"/>
              </a:rPr>
              <a:t>Source: …</a:t>
            </a:r>
          </a:p>
        </p:txBody>
      </p:sp>
      <p:pic>
        <p:nvPicPr>
          <p:cNvPr id="3" name="Picture 4" descr="Vitafoods Asia | 17 - 19 Sept 2025 | Nutraceutical Trade Show">
            <a:extLst>
              <a:ext uri="{FF2B5EF4-FFF2-40B4-BE49-F238E27FC236}">
                <a16:creationId xmlns:a16="http://schemas.microsoft.com/office/drawing/2014/main" id="{D3628F16-1823-A1DA-476B-F7A46A696AE4}"/>
              </a:ext>
            </a:extLst>
          </p:cNvPr>
          <p:cNvPicPr>
            <a:picLocks noChangeAspect="1" noChangeArrowheads="1"/>
          </p:cNvPicPr>
          <p:nvPr userDrawn="1"/>
        </p:nvPicPr>
        <p:blipFill rotWithShape="1">
          <a:blip r:embed="rId6" cstate="print">
            <a:extLst>
              <a:ext uri="{28A0092B-C50C-407E-A947-70E740481C1C}">
                <a14:useLocalDpi xmlns:a14="http://schemas.microsoft.com/office/drawing/2010/main" val="0"/>
              </a:ext>
            </a:extLst>
          </a:blip>
          <a:srcRect l="10354" t="12333" r="10254" b="23240"/>
          <a:stretch/>
        </p:blipFill>
        <p:spPr bwMode="ltGray">
          <a:xfrm>
            <a:off x="4305300" y="2488344"/>
            <a:ext cx="3581400" cy="18813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904555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userDrawn="1">
  <p:cSld name="Title slide - 2">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B897661-EE8F-F500-41FA-F08770A0E336}"/>
              </a:ext>
            </a:extLst>
          </p:cNvPr>
          <p:cNvGraphicFramePr>
            <a:graphicFrameLocks noChangeAspect="1"/>
          </p:cNvGraphicFramePr>
          <p:nvPr userDrawn="1">
            <p:custDataLst>
              <p:tags r:id="rId1"/>
            </p:custDataLst>
            <p:extLst>
              <p:ext uri="{D42A27DB-BD31-4B8C-83A1-F6EECF244321}">
                <p14:modId xmlns:p14="http://schemas.microsoft.com/office/powerpoint/2010/main" val="1593022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DB897661-EE8F-F500-41FA-F08770A0E3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60F2F5BE-C297-1D62-E1A3-700EAD2051EC}"/>
              </a:ext>
            </a:extLst>
          </p:cNvPr>
          <p:cNvSpPr>
            <a:spLocks noGrp="1"/>
          </p:cNvSpPr>
          <p:nvPr>
            <p:ph type="pic" sz="quarter" idx="14"/>
          </p:nvPr>
        </p:nvSpPr>
        <p:spPr>
          <a:xfrm>
            <a:off x="768352" y="1701801"/>
            <a:ext cx="10847915" cy="3233615"/>
          </a:xfrm>
          <a:prstGeom prst="roundRect">
            <a:avLst>
              <a:gd name="adj" fmla="val 5981"/>
            </a:avLst>
          </a:prstGeom>
          <a:solidFill>
            <a:schemeClr val="tx1">
              <a:lumMod val="20000"/>
              <a:lumOff val="80000"/>
            </a:schemeClr>
          </a:solidFill>
        </p:spPr>
        <p:txBody>
          <a:bodyPr wrap="square" tIns="396000">
            <a:noAutofit/>
          </a:bodyPr>
          <a:lstStyle>
            <a:lvl1pPr marL="0" indent="0" algn="ctr">
              <a:buNone/>
              <a:defRPr>
                <a:latin typeface="+mn-lt"/>
                <a:ea typeface="+mn-ea"/>
                <a:cs typeface="+mn-cs"/>
              </a:defRPr>
            </a:lvl1pPr>
          </a:lstStyle>
          <a:p>
            <a:r>
              <a:rPr lang="en-US"/>
              <a:t>Click icon to add picture</a:t>
            </a:r>
            <a:endParaRPr lang="en-GB"/>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768352" y="6536947"/>
            <a:ext cx="1356140"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3 </a:t>
            </a:r>
            <a:r>
              <a:rPr lang="en-GB" sz="800" kern="1200" err="1">
                <a:solidFill>
                  <a:schemeClr val="tx1">
                    <a:tint val="75000"/>
                  </a:schemeClr>
                </a:solidFill>
                <a:latin typeface="+mn-lt"/>
                <a:ea typeface="+mn-ea"/>
                <a:cs typeface="+mn-cs"/>
              </a:rPr>
              <a:t>FrieslandCampina</a:t>
            </a:r>
            <a:endParaRPr lang="en-GB" sz="800" kern="1200">
              <a:solidFill>
                <a:schemeClr val="tx1">
                  <a:tint val="75000"/>
                </a:schemeClr>
              </a:solidFill>
              <a:latin typeface="+mn-lt"/>
              <a:ea typeface="+mn-ea"/>
              <a:cs typeface="+mn-cs"/>
            </a:endParaRPr>
          </a:p>
        </p:txBody>
      </p:sp>
      <p:pic>
        <p:nvPicPr>
          <p:cNvPr id="6" name="Picture 2" descr="G:\Corporate Communication\Logo's\FrieslandCampina\Nourishing by Nature tagline\Nbn_tag_with_FC_final.png">
            <a:extLst>
              <a:ext uri="{FF2B5EF4-FFF2-40B4-BE49-F238E27FC236}">
                <a16:creationId xmlns:a16="http://schemas.microsoft.com/office/drawing/2014/main" id="{6F6D29C9-0B5C-1B7C-2F68-596284469566}"/>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313972" y="305786"/>
            <a:ext cx="2332873" cy="123665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4039891" y="4463513"/>
            <a:ext cx="6625794" cy="1058341"/>
          </a:xfrm>
          <a:prstGeom prst="roundRect">
            <a:avLst>
              <a:gd name="adj" fmla="val 16414"/>
            </a:avLst>
          </a:prstGeom>
          <a:solidFill>
            <a:srgbClr val="004A6D"/>
          </a:solidFill>
        </p:spPr>
        <p:txBody>
          <a:bodyPr vert="horz" wrap="none" lIns="180000" tIns="288000" rIns="180000" bIns="180000" anchor="t" anchorCtr="0"/>
          <a:lstStyle>
            <a:lvl1pPr algn="l">
              <a:defRPr sz="3200">
                <a:solidFill>
                  <a:schemeClr val="bg1"/>
                </a:solidFill>
                <a:latin typeface="+mj-lt"/>
                <a:ea typeface="+mj-ea"/>
                <a:cs typeface="+mj-cs"/>
              </a:defRPr>
            </a:lvl1pPr>
          </a:lstStyle>
          <a:p>
            <a:r>
              <a:rPr lang="en-GB"/>
              <a:t>Click to add title (max. 1 line)</a:t>
            </a:r>
          </a:p>
        </p:txBody>
      </p:sp>
      <p:sp>
        <p:nvSpPr>
          <p:cNvPr id="3" name="Subtitle 2"/>
          <p:cNvSpPr>
            <a:spLocks noGrp="1"/>
          </p:cNvSpPr>
          <p:nvPr>
            <p:ph type="subTitle" idx="1" hasCustomPrompt="1"/>
          </p:nvPr>
        </p:nvSpPr>
        <p:spPr>
          <a:xfrm>
            <a:off x="4338320" y="5382299"/>
            <a:ext cx="6915413" cy="314920"/>
          </a:xfrm>
        </p:spPr>
        <p:txBody>
          <a:bodyPr wrap="none" lIns="0" rIns="0">
            <a:noAutofit/>
          </a:bodyPr>
          <a:lstStyle>
            <a:lvl1pPr marL="0" indent="0" algn="l">
              <a:buNone/>
              <a:defRPr sz="1867">
                <a:solidFill>
                  <a:schemeClr val="bg1"/>
                </a:solidFill>
                <a:latin typeface="+mn-lt"/>
                <a:ea typeface="+mn-ea"/>
                <a:cs typeface="+mn-cs"/>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Subtitle</a:t>
            </a:r>
          </a:p>
        </p:txBody>
      </p:sp>
      <p:grpSp>
        <p:nvGrpSpPr>
          <p:cNvPr id="9" name="Groep 4">
            <a:extLst>
              <a:ext uri="{FF2B5EF4-FFF2-40B4-BE49-F238E27FC236}">
                <a16:creationId xmlns:a16="http://schemas.microsoft.com/office/drawing/2014/main" id="{57F33125-D565-69D4-AA31-CD844E250D93}"/>
              </a:ext>
            </a:extLst>
          </p:cNvPr>
          <p:cNvGrpSpPr/>
          <p:nvPr userDrawn="1"/>
        </p:nvGrpSpPr>
        <p:grpSpPr>
          <a:xfrm>
            <a:off x="12262861" y="1863585"/>
            <a:ext cx="1130143" cy="757167"/>
            <a:chOff x="9197145" y="1199569"/>
            <a:chExt cx="847607" cy="567875"/>
          </a:xfrm>
        </p:grpSpPr>
        <p:sp>
          <p:nvSpPr>
            <p:cNvPr id="10" name="Freeform 20">
              <a:extLst>
                <a:ext uri="{FF2B5EF4-FFF2-40B4-BE49-F238E27FC236}">
                  <a16:creationId xmlns:a16="http://schemas.microsoft.com/office/drawing/2014/main" id="{A1C8F0C8-4A57-492D-0C5F-544101B7A775}"/>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rgbClr val="760E12"/>
            </a:solidFill>
            <a:ln>
              <a:noFill/>
            </a:ln>
          </p:spPr>
          <p:txBody>
            <a:bodyPr vert="horz" wrap="square" lIns="91440" tIns="45720" rIns="91440" bIns="45720" numCol="1" anchor="t" anchorCtr="0" compatLnSpc="1">
              <a:prstTxWarp prst="textNoShape">
                <a:avLst/>
              </a:prstTxWarp>
            </a:bodyPr>
            <a:lstStyle/>
            <a:p>
              <a:endParaRPr lang="en-GB" sz="2400">
                <a:latin typeface="+mn-lt"/>
                <a:ea typeface="+mn-ea"/>
                <a:cs typeface="+mn-cs"/>
              </a:endParaRPr>
            </a:p>
          </p:txBody>
        </p:sp>
        <p:sp>
          <p:nvSpPr>
            <p:cNvPr id="11" name="Tekstvak 3">
              <a:extLst>
                <a:ext uri="{FF2B5EF4-FFF2-40B4-BE49-F238E27FC236}">
                  <a16:creationId xmlns:a16="http://schemas.microsoft.com/office/drawing/2014/main" id="{BE829BF5-6BCC-6613-DB8F-739170722A3A}"/>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latin typeface="+mn-lt"/>
                  <a:ea typeface="+mn-ea"/>
                  <a:cs typeface="+mn-cs"/>
                </a:rPr>
                <a:t>Delete the stamps</a:t>
              </a:r>
              <a:br>
                <a:rPr lang="en-GB" sz="933" b="0">
                  <a:latin typeface="+mn-lt"/>
                  <a:ea typeface="+mn-ea"/>
                  <a:cs typeface="+mn-cs"/>
                </a:rPr>
              </a:br>
              <a:r>
                <a:rPr lang="en-GB" sz="933" b="0">
                  <a:latin typeface="+mn-lt"/>
                  <a:ea typeface="+mn-ea"/>
                  <a:cs typeface="+mn-cs"/>
                </a:rPr>
                <a:t>you don’t use and align the correct one on top.</a:t>
              </a:r>
            </a:p>
          </p:txBody>
        </p:sp>
      </p:grpSp>
    </p:spTree>
    <p:extLst>
      <p:ext uri="{BB962C8B-B14F-4D97-AF65-F5344CB8AC3E}">
        <p14:creationId xmlns:p14="http://schemas.microsoft.com/office/powerpoint/2010/main" val="1868664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3">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542257-616B-AEAC-6C81-6454EB905E8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76595CF9-E7D1-3D8B-E569-11F168319A3A}"/>
              </a:ext>
            </a:extLst>
          </p:cNvPr>
          <p:cNvSpPr>
            <a:spLocks noGrp="1"/>
          </p:cNvSpPr>
          <p:nvPr>
            <p:ph type="dt" sz="half" idx="10"/>
          </p:nvPr>
        </p:nvSpPr>
        <p:spPr>
          <a:xfrm>
            <a:off x="10183135" y="6491400"/>
            <a:ext cx="512962" cy="102657"/>
          </a:xfrm>
        </p:spPr>
        <p:txBody>
          <a:bodyPr/>
          <a:lstStyle/>
          <a:p>
            <a:fld id="{B35C4BB1-CFC5-4361-A14F-59B1242D4020}" type="datetime1">
              <a:rPr lang="en-GB" smtClean="0"/>
              <a:t>18/04/2025</a:t>
            </a:fld>
            <a:endParaRPr lang="en-GB"/>
          </a:p>
        </p:txBody>
      </p:sp>
      <p:sp>
        <p:nvSpPr>
          <p:cNvPr id="4" name="Footer Placeholder 3">
            <a:extLst>
              <a:ext uri="{FF2B5EF4-FFF2-40B4-BE49-F238E27FC236}">
                <a16:creationId xmlns:a16="http://schemas.microsoft.com/office/drawing/2014/main" id="{5EB161A5-4766-0F90-DDE3-20E728165797}"/>
              </a:ext>
            </a:extLst>
          </p:cNvPr>
          <p:cNvSpPr>
            <a:spLocks noGrp="1"/>
          </p:cNvSpPr>
          <p:nvPr>
            <p:ph type="ftr" sz="quarter" idx="11"/>
          </p:nvPr>
        </p:nvSpPr>
        <p:spPr/>
        <p:txBody>
          <a:bodyPr/>
          <a:lstStyle/>
          <a:p>
            <a:r>
              <a:rPr lang="en-GB"/>
              <a:t>Draft | Internal use only | Confidential</a:t>
            </a:r>
          </a:p>
        </p:txBody>
      </p:sp>
      <p:sp>
        <p:nvSpPr>
          <p:cNvPr id="5" name="Slide Number Placeholder 4">
            <a:extLst>
              <a:ext uri="{FF2B5EF4-FFF2-40B4-BE49-F238E27FC236}">
                <a16:creationId xmlns:a16="http://schemas.microsoft.com/office/drawing/2014/main" id="{FA37ECBE-4F9C-B186-1D4E-1A29D86D2EE8}"/>
              </a:ext>
            </a:extLst>
          </p:cNvPr>
          <p:cNvSpPr>
            <a:spLocks noGrp="1"/>
          </p:cNvSpPr>
          <p:nvPr>
            <p:ph type="sldNum" sz="quarter" idx="12"/>
          </p:nvPr>
        </p:nvSpPr>
        <p:spPr/>
        <p:txBody>
          <a:bodyPr/>
          <a:lstStyle/>
          <a:p>
            <a:fld id="{9BE0E23E-9022-4929-B297-EB2777CDBB1F}" type="slidenum">
              <a:rPr lang="en-GB" smtClean="0"/>
              <a:pPr/>
              <a:t>‹#›</a:t>
            </a:fld>
            <a:endParaRPr lang="en-GB"/>
          </a:p>
        </p:txBody>
      </p:sp>
    </p:spTree>
    <p:extLst>
      <p:ext uri="{BB962C8B-B14F-4D97-AF65-F5344CB8AC3E}">
        <p14:creationId xmlns:p14="http://schemas.microsoft.com/office/powerpoint/2010/main" val="3012935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slide - Picture">
    <p:spTree>
      <p:nvGrpSpPr>
        <p:cNvPr id="1" name=""/>
        <p:cNvGrpSpPr/>
        <p:nvPr/>
      </p:nvGrpSpPr>
      <p:grpSpPr>
        <a:xfrm>
          <a:off x="0" y="0"/>
          <a:ext cx="0" cy="0"/>
          <a:chOff x="0" y="0"/>
          <a:chExt cx="0" cy="0"/>
        </a:xfrm>
      </p:grpSpPr>
      <p:sp>
        <p:nvSpPr>
          <p:cNvPr id="10" name="Tijdelijke aanduiding voor afbeelding 7">
            <a:extLst>
              <a:ext uri="{FF2B5EF4-FFF2-40B4-BE49-F238E27FC236}">
                <a16:creationId xmlns:a16="http://schemas.microsoft.com/office/drawing/2014/main" id="{4DAEAD04-C1FD-4924-B727-1FF08B2835E8}"/>
              </a:ext>
            </a:extLst>
          </p:cNvPr>
          <p:cNvSpPr>
            <a:spLocks noGrp="1"/>
          </p:cNvSpPr>
          <p:nvPr>
            <p:ph type="pic" sz="quarter" idx="13" hasCustomPrompt="1"/>
          </p:nvPr>
        </p:nvSpPr>
        <p:spPr>
          <a:xfrm>
            <a:off x="0" y="0"/>
            <a:ext cx="12192000" cy="6858000"/>
          </a:xfrm>
          <a:solidFill>
            <a:schemeClr val="tx1">
              <a:lumMod val="20000"/>
              <a:lumOff val="80000"/>
            </a:schemeClr>
          </a:solidFill>
        </p:spPr>
        <p:txBody>
          <a:bodyPr/>
          <a:lstStyle>
            <a:lvl1pPr marL="0" indent="0" algn="ctr">
              <a:buNone/>
              <a:defRPr>
                <a:solidFill>
                  <a:schemeClr val="accent1"/>
                </a:solidFill>
              </a:defRPr>
            </a:lvl1pPr>
          </a:lstStyle>
          <a:p>
            <a:r>
              <a:rPr lang="en-GB"/>
              <a:t>Image</a:t>
            </a:r>
          </a:p>
        </p:txBody>
      </p:sp>
      <p:sp>
        <p:nvSpPr>
          <p:cNvPr id="15" name="Tijdelijke aanduiding voor tekst 17">
            <a:extLst>
              <a:ext uri="{FF2B5EF4-FFF2-40B4-BE49-F238E27FC236}">
                <a16:creationId xmlns:a16="http://schemas.microsoft.com/office/drawing/2014/main" id="{30D87D28-D257-424B-AB30-F929E1A73AE4}"/>
              </a:ext>
            </a:extLst>
          </p:cNvPr>
          <p:cNvSpPr>
            <a:spLocks noGrp="1"/>
          </p:cNvSpPr>
          <p:nvPr>
            <p:ph type="body" sz="quarter" idx="18" hasCustomPrompt="1"/>
          </p:nvPr>
        </p:nvSpPr>
        <p:spPr>
          <a:xfrm>
            <a:off x="336554" y="1"/>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2"/>
            <a:ext cx="3168651"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Subtitle</a:t>
            </a:r>
          </a:p>
        </p:txBody>
      </p:sp>
      <p:sp>
        <p:nvSpPr>
          <p:cNvPr id="22" name="Tijdelijke aanduiding voor tekst 21">
            <a:extLst>
              <a:ext uri="{FF2B5EF4-FFF2-40B4-BE49-F238E27FC236}">
                <a16:creationId xmlns:a16="http://schemas.microsoft.com/office/drawing/2014/main" id="{FB8EC1E8-CA61-4781-B9FD-8B2A398367C1}"/>
              </a:ext>
            </a:extLst>
          </p:cNvPr>
          <p:cNvSpPr>
            <a:spLocks noGrp="1"/>
          </p:cNvSpPr>
          <p:nvPr>
            <p:ph type="body" sz="quarter" idx="19" hasCustomPrompt="1"/>
          </p:nvPr>
        </p:nvSpPr>
        <p:spPr>
          <a:xfrm>
            <a:off x="662400" y="374400"/>
            <a:ext cx="1737600" cy="1046400"/>
          </a:xfrm>
          <a:blipFill>
            <a:blip r:embed="rId2" cstate="print">
              <a:extLst>
                <a:ext uri="{28A0092B-C50C-407E-A947-70E740481C1C}">
                  <a14:useLocalDpi xmlns:a14="http://schemas.microsoft.com/office/drawing/2010/main" val="0"/>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en-GB"/>
              <a:t>.</a:t>
            </a:r>
          </a:p>
        </p:txBody>
      </p:sp>
      <p:grpSp>
        <p:nvGrpSpPr>
          <p:cNvPr id="11" name="Groep 10">
            <a:extLst>
              <a:ext uri="{FF2B5EF4-FFF2-40B4-BE49-F238E27FC236}">
                <a16:creationId xmlns:a16="http://schemas.microsoft.com/office/drawing/2014/main" id="{00535BFA-E28A-45B6-9D3C-16EA9D769715}"/>
              </a:ext>
            </a:extLst>
          </p:cNvPr>
          <p:cNvGrpSpPr/>
          <p:nvPr userDrawn="1"/>
        </p:nvGrpSpPr>
        <p:grpSpPr>
          <a:xfrm>
            <a:off x="12262862" y="575999"/>
            <a:ext cx="1130143" cy="757167"/>
            <a:chOff x="9197145" y="1199569"/>
            <a:chExt cx="847607" cy="567875"/>
          </a:xfrm>
        </p:grpSpPr>
        <p:sp>
          <p:nvSpPr>
            <p:cNvPr id="12" name="Freeform 20">
              <a:extLst>
                <a:ext uri="{FF2B5EF4-FFF2-40B4-BE49-F238E27FC236}">
                  <a16:creationId xmlns:a16="http://schemas.microsoft.com/office/drawing/2014/main" id="{873BFFE2-A199-4561-84F5-D9D0C64EAFC0}"/>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4" name="Tekstvak 13">
              <a:extLst>
                <a:ext uri="{FF2B5EF4-FFF2-40B4-BE49-F238E27FC236}">
                  <a16:creationId xmlns:a16="http://schemas.microsoft.com/office/drawing/2014/main" id="{B4D24D63-913D-4B46-A3FA-1CF82CD08E8D}"/>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994568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3 images">
    <p:spTree>
      <p:nvGrpSpPr>
        <p:cNvPr id="1" name=""/>
        <p:cNvGrpSpPr/>
        <p:nvPr/>
      </p:nvGrpSpPr>
      <p:grpSpPr>
        <a:xfrm>
          <a:off x="0" y="0"/>
          <a:ext cx="0" cy="0"/>
          <a:chOff x="0" y="0"/>
          <a:chExt cx="0" cy="0"/>
        </a:xfrm>
      </p:grpSpPr>
      <p:sp>
        <p:nvSpPr>
          <p:cNvPr id="10" name="Wave 1">
            <a:extLst>
              <a:ext uri="{FF2B5EF4-FFF2-40B4-BE49-F238E27FC236}">
                <a16:creationId xmlns:a16="http://schemas.microsoft.com/office/drawing/2014/main" id="{CC81F280-5BB5-4FE0-BB05-9A8AB770E0D3}"/>
              </a:ext>
            </a:extLst>
          </p:cNvPr>
          <p:cNvSpPr>
            <a:spLocks noGrp="1"/>
          </p:cNvSpPr>
          <p:nvPr>
            <p:ph type="body" sz="quarter" idx="15" hasCustomPrompt="1"/>
          </p:nvPr>
        </p:nvSpPr>
        <p:spPr>
          <a:xfrm>
            <a:off x="580291" y="5169842"/>
            <a:ext cx="3384000" cy="898641"/>
          </a:xfrm>
          <a:noFill/>
        </p:spPr>
        <p:txBody>
          <a:bodyPr/>
          <a:lstStyle>
            <a:lvl1pPr marL="0" indent="0" algn="ctr">
              <a:spcBef>
                <a:spcPts val="0"/>
              </a:spcBef>
              <a:buNone/>
              <a:defRPr sz="1600">
                <a:solidFill>
                  <a:schemeClr val="tx1"/>
                </a:solidFill>
              </a:defRPr>
            </a:lvl1pPr>
          </a:lstStyle>
          <a:p>
            <a:pPr lvl="0"/>
            <a:r>
              <a:rPr lang="en-GB"/>
              <a:t>Add text (max. 3 lines)</a:t>
            </a:r>
          </a:p>
        </p:txBody>
      </p:sp>
      <p:sp>
        <p:nvSpPr>
          <p:cNvPr id="2" name="Title 1"/>
          <p:cNvSpPr>
            <a:spLocks noGrp="1"/>
          </p:cNvSpPr>
          <p:nvPr>
            <p:ph type="title" hasCustomPrompt="1"/>
          </p:nvPr>
        </p:nvSpPr>
        <p:spPr>
          <a:xfrm>
            <a:off x="580291" y="548218"/>
            <a:ext cx="11035975" cy="1036965"/>
          </a:xfrm>
        </p:spPr>
        <p:txBody>
          <a:bodyPr/>
          <a:lstStyle/>
          <a:p>
            <a:r>
              <a:rPr lang="en-GB"/>
              <a:t>Click to add title</a:t>
            </a:r>
          </a:p>
        </p:txBody>
      </p:sp>
      <p:sp>
        <p:nvSpPr>
          <p:cNvPr id="4" name="Date Placeholder 3"/>
          <p:cNvSpPr>
            <a:spLocks noGrp="1"/>
          </p:cNvSpPr>
          <p:nvPr>
            <p:ph type="dt" sz="half" idx="10"/>
          </p:nvPr>
        </p:nvSpPr>
        <p:spPr/>
        <p:txBody>
          <a:bodyPr/>
          <a:lstStyle/>
          <a:p>
            <a:fld id="{E4FAD7DB-625B-47D2-9345-031691FC4CF4}" type="datetime1">
              <a:rPr lang="en-GB" smtClean="0"/>
              <a:t>18/04/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11" name="Wave 2">
            <a:extLst>
              <a:ext uri="{FF2B5EF4-FFF2-40B4-BE49-F238E27FC236}">
                <a16:creationId xmlns:a16="http://schemas.microsoft.com/office/drawing/2014/main" id="{AC5FEA4A-436F-48A1-9D31-EC97B9710853}"/>
              </a:ext>
            </a:extLst>
          </p:cNvPr>
          <p:cNvSpPr>
            <a:spLocks noGrp="1"/>
          </p:cNvSpPr>
          <p:nvPr>
            <p:ph type="body" sz="quarter" idx="17" hasCustomPrompt="1"/>
          </p:nvPr>
        </p:nvSpPr>
        <p:spPr>
          <a:xfrm flipH="1">
            <a:off x="4406279" y="5169842"/>
            <a:ext cx="3384000" cy="898641"/>
          </a:xfrm>
          <a:noFill/>
        </p:spPr>
        <p:txBody>
          <a:bodyPr/>
          <a:lstStyle>
            <a:lvl1pPr marL="0" indent="0" algn="ctr">
              <a:buNone/>
              <a:defRPr lang="en-GB" sz="1600" kern="1200" dirty="0">
                <a:solidFill>
                  <a:schemeClr val="tx1"/>
                </a:solidFill>
                <a:latin typeface="+mn-lt"/>
                <a:ea typeface="+mn-ea"/>
                <a:cs typeface="+mn-cs"/>
              </a:defRPr>
            </a:lvl1pPr>
          </a:lstStyle>
          <a:p>
            <a:pPr lvl="0"/>
            <a:r>
              <a:rPr lang="en-GB"/>
              <a:t>Add text (max. 3 lines)</a:t>
            </a:r>
          </a:p>
        </p:txBody>
      </p:sp>
      <p:sp>
        <p:nvSpPr>
          <p:cNvPr id="13" name="Wave 3">
            <a:extLst>
              <a:ext uri="{FF2B5EF4-FFF2-40B4-BE49-F238E27FC236}">
                <a16:creationId xmlns:a16="http://schemas.microsoft.com/office/drawing/2014/main" id="{CA1ECD70-AEE2-4AC6-901B-B2547A8DC9E8}"/>
              </a:ext>
            </a:extLst>
          </p:cNvPr>
          <p:cNvSpPr>
            <a:spLocks noGrp="1"/>
          </p:cNvSpPr>
          <p:nvPr>
            <p:ph type="body" sz="quarter" idx="19" hasCustomPrompt="1"/>
          </p:nvPr>
        </p:nvSpPr>
        <p:spPr>
          <a:xfrm>
            <a:off x="8232265" y="5169842"/>
            <a:ext cx="3384000" cy="898641"/>
          </a:xfrm>
          <a:noFill/>
        </p:spPr>
        <p:txBody>
          <a:bodyPr/>
          <a:lstStyle>
            <a:lvl1pPr marL="0" indent="0" algn="ctr">
              <a:buNone/>
              <a:defRPr lang="en-GB" sz="1600" kern="1200" dirty="0">
                <a:solidFill>
                  <a:schemeClr val="tx1"/>
                </a:solidFill>
                <a:latin typeface="+mn-lt"/>
                <a:ea typeface="+mn-ea"/>
                <a:cs typeface="+mn-cs"/>
              </a:defRPr>
            </a:lvl1pPr>
          </a:lstStyle>
          <a:p>
            <a:pPr lvl="0"/>
            <a:r>
              <a:rPr lang="en-GB"/>
              <a:t>Add text (max. 3 lines)</a:t>
            </a:r>
          </a:p>
        </p:txBody>
      </p:sp>
      <p:sp>
        <p:nvSpPr>
          <p:cNvPr id="8" name="Freeform: Shape 1">
            <a:extLst>
              <a:ext uri="{FF2B5EF4-FFF2-40B4-BE49-F238E27FC236}">
                <a16:creationId xmlns:a16="http://schemas.microsoft.com/office/drawing/2014/main" id="{8901BEC5-04A9-386A-5AE3-A90FBAC64C63}"/>
              </a:ext>
            </a:extLst>
          </p:cNvPr>
          <p:cNvSpPr>
            <a:spLocks noGrp="1" noChangeAspect="1"/>
          </p:cNvSpPr>
          <p:nvPr>
            <p:ph type="pic" sz="quarter" idx="14"/>
          </p:nvPr>
        </p:nvSpPr>
        <p:spPr>
          <a:xfrm>
            <a:off x="580291" y="1722098"/>
            <a:ext cx="3384000" cy="3310831"/>
          </a:xfrm>
          <a:custGeom>
            <a:avLst/>
            <a:gdLst>
              <a:gd name="connsiteX0" fmla="*/ 1678918 w 3335588"/>
              <a:gd name="connsiteY0" fmla="*/ 0 h 3257568"/>
              <a:gd name="connsiteX1" fmla="*/ 2848595 w 3335588"/>
              <a:gd name="connsiteY1" fmla="*/ 461675 h 3257568"/>
              <a:gd name="connsiteX2" fmla="*/ 3335505 w 3335588"/>
              <a:gd name="connsiteY2" fmla="*/ 1629238 h 3257568"/>
              <a:gd name="connsiteX3" fmla="*/ 3335588 w 3335588"/>
              <a:gd name="connsiteY3" fmla="*/ 1629321 h 3257568"/>
              <a:gd name="connsiteX4" fmla="*/ 2837015 w 3335588"/>
              <a:gd name="connsiteY4" fmla="*/ 2785325 h 3257568"/>
              <a:gd name="connsiteX5" fmla="*/ 1678918 w 3335588"/>
              <a:gd name="connsiteY5" fmla="*/ 3257568 h 3257568"/>
              <a:gd name="connsiteX6" fmla="*/ 519580 w 3335588"/>
              <a:gd name="connsiteY6" fmla="*/ 2786563 h 3257568"/>
              <a:gd name="connsiteX7" fmla="*/ 0 w 3335588"/>
              <a:gd name="connsiteY7" fmla="*/ 1629321 h 3257568"/>
              <a:gd name="connsiteX8" fmla="*/ 528596 w 3335588"/>
              <a:gd name="connsiteY8" fmla="*/ 481077 h 3257568"/>
              <a:gd name="connsiteX9" fmla="*/ 1678918 w 3335588"/>
              <a:gd name="connsiteY9" fmla="*/ 0 h 325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35588" h="3257568">
                <a:moveTo>
                  <a:pt x="1678918" y="0"/>
                </a:moveTo>
                <a:cubicBezTo>
                  <a:pt x="2135722" y="0"/>
                  <a:pt x="2549269" y="162891"/>
                  <a:pt x="2848595" y="461675"/>
                </a:cubicBezTo>
                <a:cubicBezTo>
                  <a:pt x="3147920" y="760460"/>
                  <a:pt x="3335505" y="1173342"/>
                  <a:pt x="3335505" y="1629238"/>
                </a:cubicBezTo>
                <a:lnTo>
                  <a:pt x="3335588" y="1629321"/>
                </a:lnTo>
                <a:cubicBezTo>
                  <a:pt x="3335588" y="2085299"/>
                  <a:pt x="3136423" y="2486541"/>
                  <a:pt x="2837015" y="2785325"/>
                </a:cubicBezTo>
                <a:cubicBezTo>
                  <a:pt x="2537690" y="3084110"/>
                  <a:pt x="2135722" y="3257568"/>
                  <a:pt x="1678918" y="3257568"/>
                </a:cubicBezTo>
                <a:cubicBezTo>
                  <a:pt x="1222114" y="3257568"/>
                  <a:pt x="818906" y="3085348"/>
                  <a:pt x="519580" y="2786563"/>
                </a:cubicBezTo>
                <a:cubicBezTo>
                  <a:pt x="220255" y="2487697"/>
                  <a:pt x="0" y="2085299"/>
                  <a:pt x="0" y="1629321"/>
                </a:cubicBezTo>
                <a:cubicBezTo>
                  <a:pt x="0" y="1173342"/>
                  <a:pt x="229270" y="779861"/>
                  <a:pt x="528596" y="481077"/>
                </a:cubicBezTo>
                <a:cubicBezTo>
                  <a:pt x="827921" y="182292"/>
                  <a:pt x="1222114" y="0"/>
                  <a:pt x="1678918" y="0"/>
                </a:cubicBezTo>
                <a:close/>
              </a:path>
            </a:pathLst>
          </a:custGeom>
          <a:solidFill>
            <a:schemeClr val="tx1">
              <a:lumMod val="20000"/>
              <a:lumOff val="80000"/>
            </a:schemeClr>
          </a:solidFill>
        </p:spPr>
        <p:txBody>
          <a:bodyPr wrap="square" tIns="396000">
            <a:noAutofit/>
          </a:bodyPr>
          <a:lstStyle>
            <a:lvl1pPr marL="0" indent="0" algn="ctr">
              <a:buNone/>
              <a:defRPr/>
            </a:lvl1pPr>
          </a:lstStyle>
          <a:p>
            <a:r>
              <a:rPr lang="en-US"/>
              <a:t>Click icon to add picture</a:t>
            </a:r>
            <a:endParaRPr lang="en-GB"/>
          </a:p>
        </p:txBody>
      </p:sp>
      <p:sp>
        <p:nvSpPr>
          <p:cNvPr id="9" name="Freeform: Shape 2">
            <a:extLst>
              <a:ext uri="{FF2B5EF4-FFF2-40B4-BE49-F238E27FC236}">
                <a16:creationId xmlns:a16="http://schemas.microsoft.com/office/drawing/2014/main" id="{0EB3E085-63F5-8581-4D7C-91095B99CDF9}"/>
              </a:ext>
            </a:extLst>
          </p:cNvPr>
          <p:cNvSpPr>
            <a:spLocks noGrp="1" noChangeAspect="1"/>
          </p:cNvSpPr>
          <p:nvPr>
            <p:ph type="pic" sz="quarter" idx="20"/>
          </p:nvPr>
        </p:nvSpPr>
        <p:spPr>
          <a:xfrm>
            <a:off x="4406279" y="1722098"/>
            <a:ext cx="3384000" cy="3310831"/>
          </a:xfrm>
          <a:custGeom>
            <a:avLst/>
            <a:gdLst>
              <a:gd name="connsiteX0" fmla="*/ 1678918 w 3335588"/>
              <a:gd name="connsiteY0" fmla="*/ 0 h 3257568"/>
              <a:gd name="connsiteX1" fmla="*/ 2848595 w 3335588"/>
              <a:gd name="connsiteY1" fmla="*/ 461675 h 3257568"/>
              <a:gd name="connsiteX2" fmla="*/ 3335505 w 3335588"/>
              <a:gd name="connsiteY2" fmla="*/ 1629238 h 3257568"/>
              <a:gd name="connsiteX3" fmla="*/ 3335588 w 3335588"/>
              <a:gd name="connsiteY3" fmla="*/ 1629321 h 3257568"/>
              <a:gd name="connsiteX4" fmla="*/ 2837015 w 3335588"/>
              <a:gd name="connsiteY4" fmla="*/ 2785325 h 3257568"/>
              <a:gd name="connsiteX5" fmla="*/ 1678918 w 3335588"/>
              <a:gd name="connsiteY5" fmla="*/ 3257568 h 3257568"/>
              <a:gd name="connsiteX6" fmla="*/ 519580 w 3335588"/>
              <a:gd name="connsiteY6" fmla="*/ 2786563 h 3257568"/>
              <a:gd name="connsiteX7" fmla="*/ 0 w 3335588"/>
              <a:gd name="connsiteY7" fmla="*/ 1629321 h 3257568"/>
              <a:gd name="connsiteX8" fmla="*/ 528596 w 3335588"/>
              <a:gd name="connsiteY8" fmla="*/ 481077 h 3257568"/>
              <a:gd name="connsiteX9" fmla="*/ 1678918 w 3335588"/>
              <a:gd name="connsiteY9" fmla="*/ 0 h 325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35588" h="3257568">
                <a:moveTo>
                  <a:pt x="1678918" y="0"/>
                </a:moveTo>
                <a:cubicBezTo>
                  <a:pt x="2135722" y="0"/>
                  <a:pt x="2549269" y="162891"/>
                  <a:pt x="2848595" y="461675"/>
                </a:cubicBezTo>
                <a:cubicBezTo>
                  <a:pt x="3147920" y="760460"/>
                  <a:pt x="3335505" y="1173342"/>
                  <a:pt x="3335505" y="1629238"/>
                </a:cubicBezTo>
                <a:lnTo>
                  <a:pt x="3335588" y="1629321"/>
                </a:lnTo>
                <a:cubicBezTo>
                  <a:pt x="3335588" y="2085299"/>
                  <a:pt x="3136423" y="2486541"/>
                  <a:pt x="2837015" y="2785325"/>
                </a:cubicBezTo>
                <a:cubicBezTo>
                  <a:pt x="2537690" y="3084110"/>
                  <a:pt x="2135722" y="3257568"/>
                  <a:pt x="1678918" y="3257568"/>
                </a:cubicBezTo>
                <a:cubicBezTo>
                  <a:pt x="1222114" y="3257568"/>
                  <a:pt x="818906" y="3085348"/>
                  <a:pt x="519580" y="2786563"/>
                </a:cubicBezTo>
                <a:cubicBezTo>
                  <a:pt x="220255" y="2487697"/>
                  <a:pt x="0" y="2085299"/>
                  <a:pt x="0" y="1629321"/>
                </a:cubicBezTo>
                <a:cubicBezTo>
                  <a:pt x="0" y="1173342"/>
                  <a:pt x="229270" y="779861"/>
                  <a:pt x="528596" y="481077"/>
                </a:cubicBezTo>
                <a:cubicBezTo>
                  <a:pt x="827921" y="182292"/>
                  <a:pt x="1222114" y="0"/>
                  <a:pt x="1678918" y="0"/>
                </a:cubicBezTo>
                <a:close/>
              </a:path>
            </a:pathLst>
          </a:custGeom>
          <a:solidFill>
            <a:schemeClr val="tx1">
              <a:lumMod val="20000"/>
              <a:lumOff val="80000"/>
            </a:schemeClr>
          </a:solidFill>
        </p:spPr>
        <p:txBody>
          <a:bodyPr wrap="square" tIns="396000">
            <a:noAutofit/>
          </a:bodyPr>
          <a:lstStyle>
            <a:lvl1pPr marL="0" indent="0" algn="ctr">
              <a:buNone/>
              <a:defRPr/>
            </a:lvl1pPr>
          </a:lstStyle>
          <a:p>
            <a:r>
              <a:rPr lang="en-US"/>
              <a:t>Click icon to add picture</a:t>
            </a:r>
            <a:endParaRPr lang="en-GB"/>
          </a:p>
        </p:txBody>
      </p:sp>
      <p:sp>
        <p:nvSpPr>
          <p:cNvPr id="12" name="Freeform: Shape 3">
            <a:extLst>
              <a:ext uri="{FF2B5EF4-FFF2-40B4-BE49-F238E27FC236}">
                <a16:creationId xmlns:a16="http://schemas.microsoft.com/office/drawing/2014/main" id="{DE769A04-C66A-AC6B-270E-0A02FE770725}"/>
              </a:ext>
            </a:extLst>
          </p:cNvPr>
          <p:cNvSpPr>
            <a:spLocks noGrp="1" noChangeAspect="1"/>
          </p:cNvSpPr>
          <p:nvPr>
            <p:ph type="pic" sz="quarter" idx="21"/>
          </p:nvPr>
        </p:nvSpPr>
        <p:spPr>
          <a:xfrm>
            <a:off x="8232265" y="1722098"/>
            <a:ext cx="3384000" cy="3310831"/>
          </a:xfrm>
          <a:custGeom>
            <a:avLst/>
            <a:gdLst>
              <a:gd name="connsiteX0" fmla="*/ 1678918 w 3335588"/>
              <a:gd name="connsiteY0" fmla="*/ 0 h 3257568"/>
              <a:gd name="connsiteX1" fmla="*/ 2848595 w 3335588"/>
              <a:gd name="connsiteY1" fmla="*/ 461675 h 3257568"/>
              <a:gd name="connsiteX2" fmla="*/ 3335505 w 3335588"/>
              <a:gd name="connsiteY2" fmla="*/ 1629238 h 3257568"/>
              <a:gd name="connsiteX3" fmla="*/ 3335588 w 3335588"/>
              <a:gd name="connsiteY3" fmla="*/ 1629321 h 3257568"/>
              <a:gd name="connsiteX4" fmla="*/ 2837015 w 3335588"/>
              <a:gd name="connsiteY4" fmla="*/ 2785325 h 3257568"/>
              <a:gd name="connsiteX5" fmla="*/ 1678918 w 3335588"/>
              <a:gd name="connsiteY5" fmla="*/ 3257568 h 3257568"/>
              <a:gd name="connsiteX6" fmla="*/ 519580 w 3335588"/>
              <a:gd name="connsiteY6" fmla="*/ 2786563 h 3257568"/>
              <a:gd name="connsiteX7" fmla="*/ 0 w 3335588"/>
              <a:gd name="connsiteY7" fmla="*/ 1629321 h 3257568"/>
              <a:gd name="connsiteX8" fmla="*/ 528596 w 3335588"/>
              <a:gd name="connsiteY8" fmla="*/ 481077 h 3257568"/>
              <a:gd name="connsiteX9" fmla="*/ 1678918 w 3335588"/>
              <a:gd name="connsiteY9" fmla="*/ 0 h 325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35588" h="3257568">
                <a:moveTo>
                  <a:pt x="1678918" y="0"/>
                </a:moveTo>
                <a:cubicBezTo>
                  <a:pt x="2135722" y="0"/>
                  <a:pt x="2549269" y="162891"/>
                  <a:pt x="2848595" y="461675"/>
                </a:cubicBezTo>
                <a:cubicBezTo>
                  <a:pt x="3147920" y="760460"/>
                  <a:pt x="3335505" y="1173342"/>
                  <a:pt x="3335505" y="1629238"/>
                </a:cubicBezTo>
                <a:lnTo>
                  <a:pt x="3335588" y="1629321"/>
                </a:lnTo>
                <a:cubicBezTo>
                  <a:pt x="3335588" y="2085299"/>
                  <a:pt x="3136423" y="2486541"/>
                  <a:pt x="2837015" y="2785325"/>
                </a:cubicBezTo>
                <a:cubicBezTo>
                  <a:pt x="2537690" y="3084110"/>
                  <a:pt x="2135722" y="3257568"/>
                  <a:pt x="1678918" y="3257568"/>
                </a:cubicBezTo>
                <a:cubicBezTo>
                  <a:pt x="1222114" y="3257568"/>
                  <a:pt x="818906" y="3085348"/>
                  <a:pt x="519580" y="2786563"/>
                </a:cubicBezTo>
                <a:cubicBezTo>
                  <a:pt x="220255" y="2487697"/>
                  <a:pt x="0" y="2085299"/>
                  <a:pt x="0" y="1629321"/>
                </a:cubicBezTo>
                <a:cubicBezTo>
                  <a:pt x="0" y="1173342"/>
                  <a:pt x="229270" y="779861"/>
                  <a:pt x="528596" y="481077"/>
                </a:cubicBezTo>
                <a:cubicBezTo>
                  <a:pt x="827921" y="182292"/>
                  <a:pt x="1222114" y="0"/>
                  <a:pt x="1678918" y="0"/>
                </a:cubicBezTo>
                <a:close/>
              </a:path>
            </a:pathLst>
          </a:custGeom>
          <a:solidFill>
            <a:schemeClr val="tx1">
              <a:lumMod val="20000"/>
              <a:lumOff val="80000"/>
            </a:schemeClr>
          </a:solidFill>
        </p:spPr>
        <p:txBody>
          <a:bodyPr wrap="square" tIns="396000">
            <a:noAutofit/>
          </a:bodyPr>
          <a:lstStyle>
            <a:lvl1pPr marL="0" indent="0" algn="ctr">
              <a:buNone/>
              <a:defRPr/>
            </a:lvl1pPr>
          </a:lstStyle>
          <a:p>
            <a:r>
              <a:rPr lang="en-US"/>
              <a:t>Click icon to add picture</a:t>
            </a:r>
            <a:endParaRPr lang="en-GB"/>
          </a:p>
        </p:txBody>
      </p:sp>
    </p:spTree>
    <p:extLst>
      <p:ext uri="{BB962C8B-B14F-4D97-AF65-F5344CB8AC3E}">
        <p14:creationId xmlns:p14="http://schemas.microsoft.com/office/powerpoint/2010/main" val="2802198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cSld name="Title and objec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Content Placeholder 2"/>
          <p:cNvSpPr>
            <a:spLocks noGrp="1"/>
          </p:cNvSpPr>
          <p:nvPr>
            <p:ph idx="1" hasCustomPrompt="1"/>
          </p:nvPr>
        </p:nvSpPr>
        <p:spPr>
          <a:xfrm>
            <a:off x="580291" y="1701801"/>
            <a:ext cx="11035975" cy="1384995"/>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10"/>
          </p:nvPr>
        </p:nvSpPr>
        <p:spPr/>
        <p:txBody>
          <a:bodyPr/>
          <a:lstStyle/>
          <a:p>
            <a:fld id="{AC55B695-F47F-4B98-A9EF-D11F6C207422}" type="datetime1">
              <a:rPr lang="en-US" smtClean="0"/>
              <a:t>4/18/2025</a:t>
            </a:fld>
            <a:endParaRPr lang="en-GB"/>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Tree>
    <p:extLst>
      <p:ext uri="{BB962C8B-B14F-4D97-AF65-F5344CB8AC3E}">
        <p14:creationId xmlns:p14="http://schemas.microsoft.com/office/powerpoint/2010/main" val="2216646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Title slide - Brand 3">
    <p:spTree>
      <p:nvGrpSpPr>
        <p:cNvPr id="1" name=""/>
        <p:cNvGrpSpPr/>
        <p:nvPr/>
      </p:nvGrpSpPr>
      <p:grpSpPr>
        <a:xfrm>
          <a:off x="0" y="0"/>
          <a:ext cx="0" cy="0"/>
          <a:chOff x="0" y="0"/>
          <a:chExt cx="0" cy="0"/>
        </a:xfrm>
      </p:grpSpPr>
      <p:pic>
        <p:nvPicPr>
          <p:cNvPr id="11" name="Tijdelijke aanduiding voor afbeelding 6" descr="Afbeelding met man, muur, buiten, lucht&#10;&#10;Automatisch gegenereerde beschrijving">
            <a:extLst>
              <a:ext uri="{FF2B5EF4-FFF2-40B4-BE49-F238E27FC236}">
                <a16:creationId xmlns:a16="http://schemas.microsoft.com/office/drawing/2014/main" id="{EC68116D-9A6B-4DCE-8FF8-C73772025D55}"/>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13" name="Tekstvak 12">
            <a:extLst>
              <a:ext uri="{FF2B5EF4-FFF2-40B4-BE49-F238E27FC236}">
                <a16:creationId xmlns:a16="http://schemas.microsoft.com/office/drawing/2014/main" id="{5D285F27-B601-4E99-AFEA-9081C183CE1D}"/>
              </a:ext>
            </a:extLst>
          </p:cNvPr>
          <p:cNvSpPr txBox="1"/>
          <p:nvPr userDrawn="1"/>
        </p:nvSpPr>
        <p:spPr>
          <a:xfrm>
            <a:off x="1009655" y="6536951"/>
            <a:ext cx="1982915" cy="123111"/>
          </a:xfrm>
          <a:prstGeom prst="rect">
            <a:avLst/>
          </a:prstGeom>
          <a:noFill/>
        </p:spPr>
        <p:txBody>
          <a:bodyPr wrap="none" lIns="0" tIns="0" rIns="0" bIns="0" rtlCol="0">
            <a:spAutoFit/>
          </a:bodyPr>
          <a:lstStyle/>
          <a:p>
            <a:r>
              <a:rPr lang="en-US" sz="800" kern="1200">
                <a:solidFill>
                  <a:schemeClr val="tx1">
                    <a:tint val="75000"/>
                  </a:schemeClr>
                </a:solidFill>
                <a:latin typeface="+mn-lt"/>
                <a:ea typeface="+mn-ea"/>
                <a:cs typeface="+mn-cs"/>
              </a:rPr>
              <a:t>© 2019 FrieslandCampina Ingredients</a:t>
            </a:r>
          </a:p>
        </p:txBody>
      </p:sp>
      <p:sp>
        <p:nvSpPr>
          <p:cNvPr id="18" name="Tijdelijke aanduiding voor tekst 17">
            <a:extLst>
              <a:ext uri="{FF2B5EF4-FFF2-40B4-BE49-F238E27FC236}">
                <a16:creationId xmlns:a16="http://schemas.microsoft.com/office/drawing/2014/main" id="{134848E4-6B17-49A0-B7F6-34867199C050}"/>
              </a:ext>
            </a:extLst>
          </p:cNvPr>
          <p:cNvSpPr>
            <a:spLocks noGrp="1"/>
          </p:cNvSpPr>
          <p:nvPr>
            <p:ph type="body" sz="quarter" idx="18" hasCustomPrompt="1"/>
          </p:nvPr>
        </p:nvSpPr>
        <p:spPr>
          <a:xfrm>
            <a:off x="336552" y="0"/>
            <a:ext cx="5327648" cy="5596669"/>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1080000" anchor="b" anchorCtr="0">
            <a:noAutofit/>
          </a:bodyPr>
          <a:lstStyle>
            <a:lvl1pPr marL="0" indent="0">
              <a:buNone/>
              <a:defRPr sz="3200">
                <a:solidFill>
                  <a:schemeClr val="accent1"/>
                </a:solidFill>
              </a:defRPr>
            </a:lvl1pPr>
          </a:lstStyle>
          <a:p>
            <a:pPr lvl="0"/>
            <a:r>
              <a:rPr lang="nl-NL"/>
              <a:t>Title (max 2 lines)</a:t>
            </a:r>
          </a:p>
        </p:txBody>
      </p:sp>
      <p:sp>
        <p:nvSpPr>
          <p:cNvPr id="3" name="Subtitle 2"/>
          <p:cNvSpPr>
            <a:spLocks noGrp="1"/>
          </p:cNvSpPr>
          <p:nvPr>
            <p:ph type="subTitle" idx="1" hasCustomPrompt="1"/>
          </p:nvPr>
        </p:nvSpPr>
        <p:spPr>
          <a:xfrm>
            <a:off x="1007533" y="4991103"/>
            <a:ext cx="4077992" cy="429684"/>
          </a:xfrm>
        </p:spPr>
        <p:txBody>
          <a:bodyPr wrap="none" lIns="0">
            <a:noAutofit/>
          </a:bodyPr>
          <a:lstStyle>
            <a:lvl1pPr marL="0" indent="0" algn="l">
              <a:buNone/>
              <a:defRPr sz="1333"/>
            </a:lvl1pPr>
            <a:lvl2pPr marL="457155" indent="0" algn="ctr">
              <a:buNone/>
              <a:defRPr sz="2000"/>
            </a:lvl2pPr>
            <a:lvl3pPr marL="914309" indent="0" algn="ctr">
              <a:buNone/>
              <a:defRPr sz="1800"/>
            </a:lvl3pPr>
            <a:lvl4pPr marL="1371464" indent="0" algn="ctr">
              <a:buNone/>
              <a:defRPr sz="1600"/>
            </a:lvl4pPr>
            <a:lvl5pPr marL="1828618" indent="0" algn="ctr">
              <a:buNone/>
              <a:defRPr sz="1600"/>
            </a:lvl5pPr>
            <a:lvl6pPr marL="2285774" indent="0" algn="ctr">
              <a:buNone/>
              <a:defRPr sz="1600"/>
            </a:lvl6pPr>
            <a:lvl7pPr marL="2742926" indent="0" algn="ctr">
              <a:buNone/>
              <a:defRPr sz="1600"/>
            </a:lvl7pPr>
            <a:lvl8pPr marL="3200080" indent="0" algn="ctr">
              <a:buNone/>
              <a:defRPr sz="1600"/>
            </a:lvl8pPr>
            <a:lvl9pPr marL="3657235" indent="0" algn="ctr">
              <a:buNone/>
              <a:defRPr sz="1600"/>
            </a:lvl9pPr>
          </a:lstStyle>
          <a:p>
            <a:r>
              <a:rPr lang="en-US"/>
              <a:t>Subtitle</a:t>
            </a:r>
          </a:p>
        </p:txBody>
      </p:sp>
      <p:sp>
        <p:nvSpPr>
          <p:cNvPr id="22" name="Tijdelijke aanduiding voor tekst 21">
            <a:extLst>
              <a:ext uri="{FF2B5EF4-FFF2-40B4-BE49-F238E27FC236}">
                <a16:creationId xmlns:a16="http://schemas.microsoft.com/office/drawing/2014/main" id="{FB8EC1E8-CA61-4781-B9FD-8B2A398367C1}"/>
              </a:ext>
            </a:extLst>
          </p:cNvPr>
          <p:cNvSpPr>
            <a:spLocks noGrp="1"/>
          </p:cNvSpPr>
          <p:nvPr>
            <p:ph type="body" sz="quarter" idx="19" hasCustomPrompt="1"/>
          </p:nvPr>
        </p:nvSpPr>
        <p:spPr>
          <a:xfrm>
            <a:off x="662400" y="374400"/>
            <a:ext cx="1737600" cy="1046400"/>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33">
                <a:solidFill>
                  <a:schemeClr val="bg1">
                    <a:alpha val="80000"/>
                  </a:schemeClr>
                </a:solidFill>
              </a:defRPr>
            </a:lvl1pPr>
            <a:lvl2pPr marL="251860" indent="0">
              <a:buNone/>
              <a:defRPr/>
            </a:lvl2pPr>
            <a:lvl3pPr marL="486785" indent="0">
              <a:buNone/>
              <a:defRPr/>
            </a:lvl3pPr>
            <a:lvl4pPr marL="732294" indent="0">
              <a:buNone/>
              <a:defRPr/>
            </a:lvl4pPr>
            <a:lvl5pPr marL="967221" indent="0">
              <a:buNone/>
              <a:defRPr/>
            </a:lvl5pPr>
          </a:lstStyle>
          <a:p>
            <a:pPr lvl="0"/>
            <a:r>
              <a:rPr lang="nl-NL"/>
              <a:t>.</a:t>
            </a:r>
          </a:p>
        </p:txBody>
      </p:sp>
      <p:grpSp>
        <p:nvGrpSpPr>
          <p:cNvPr id="12" name="Groep 11">
            <a:extLst>
              <a:ext uri="{FF2B5EF4-FFF2-40B4-BE49-F238E27FC236}">
                <a16:creationId xmlns:a16="http://schemas.microsoft.com/office/drawing/2014/main" id="{F34E7E5D-83FD-4F48-B0DA-AC19BC7FD52A}"/>
              </a:ext>
            </a:extLst>
          </p:cNvPr>
          <p:cNvGrpSpPr/>
          <p:nvPr userDrawn="1"/>
        </p:nvGrpSpPr>
        <p:grpSpPr>
          <a:xfrm>
            <a:off x="12262865" y="696653"/>
            <a:ext cx="1130143" cy="757167"/>
            <a:chOff x="9197145" y="1199569"/>
            <a:chExt cx="847607" cy="567875"/>
          </a:xfrm>
        </p:grpSpPr>
        <p:sp>
          <p:nvSpPr>
            <p:cNvPr id="14" name="Freeform 20">
              <a:extLst>
                <a:ext uri="{FF2B5EF4-FFF2-40B4-BE49-F238E27FC236}">
                  <a16:creationId xmlns:a16="http://schemas.microsoft.com/office/drawing/2014/main" id="{2E059584-51EF-4EC6-ADE2-F521AF1DC19A}"/>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5" name="Tekstvak 14">
              <a:extLst>
                <a:ext uri="{FF2B5EF4-FFF2-40B4-BE49-F238E27FC236}">
                  <a16:creationId xmlns:a16="http://schemas.microsoft.com/office/drawing/2014/main" id="{87C655A2-E2F5-40DF-B17C-94A26B4C3721}"/>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US" sz="933" b="0"/>
                <a:t>Delete the stamps</a:t>
              </a:r>
              <a:br>
                <a:rPr lang="en-US" sz="933" b="0"/>
              </a:br>
              <a:r>
                <a:rPr lang="en-US" sz="933" b="0"/>
                <a:t>you don’t use and align the correct one on top</a:t>
              </a:r>
            </a:p>
          </p:txBody>
        </p:sp>
      </p:grpSp>
    </p:spTree>
    <p:extLst>
      <p:ext uri="{BB962C8B-B14F-4D97-AF65-F5344CB8AC3E}">
        <p14:creationId xmlns:p14="http://schemas.microsoft.com/office/powerpoint/2010/main" val="1134292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Breaker - Production">
    <p:spTree>
      <p:nvGrpSpPr>
        <p:cNvPr id="1" name=""/>
        <p:cNvGrpSpPr/>
        <p:nvPr/>
      </p:nvGrpSpPr>
      <p:grpSpPr>
        <a:xfrm>
          <a:off x="0" y="0"/>
          <a:ext cx="0" cy="0"/>
          <a:chOff x="0" y="0"/>
          <a:chExt cx="0" cy="0"/>
        </a:xfrm>
      </p:grpSpPr>
      <p:pic>
        <p:nvPicPr>
          <p:cNvPr id="5" name="Tijdelijke aanduiding voor afbeelding 4" descr="Afbeelding met binnen, tafel, venster&#10;&#10;Automatisch gegenereerde beschrijving">
            <a:extLst>
              <a:ext uri="{FF2B5EF4-FFF2-40B4-BE49-F238E27FC236}">
                <a16:creationId xmlns:a16="http://schemas.microsoft.com/office/drawing/2014/main" id="{8260F85D-E03B-4132-A56F-5586B4FC168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sp>
        <p:nvSpPr>
          <p:cNvPr id="6" name="Rechthoek: met één afgeronde hoek 5">
            <a:extLst>
              <a:ext uri="{FF2B5EF4-FFF2-40B4-BE49-F238E27FC236}">
                <a16:creationId xmlns:a16="http://schemas.microsoft.com/office/drawing/2014/main" id="{91604D84-2647-44F4-9BD8-060F04C1F78A}"/>
              </a:ext>
            </a:extLst>
          </p:cNvPr>
          <p:cNvSpPr/>
          <p:nvPr userDrawn="1"/>
        </p:nvSpPr>
        <p:spPr>
          <a:xfrm>
            <a:off x="336000" y="3072000"/>
            <a:ext cx="3840000" cy="3787200"/>
          </a:xfrm>
          <a:prstGeom prst="round1Rect">
            <a:avLst>
              <a:gd name="adj" fmla="val 16667"/>
            </a:avLst>
          </a:prstGeom>
          <a:solidFill>
            <a:srgbClr val="FFFFFF">
              <a:alpha val="85098"/>
            </a:srgbClr>
          </a:solidFill>
        </p:spPr>
        <p:txBody>
          <a:bodyPr vert="horz" wrap="square" lIns="384000" tIns="624000" rIns="96000" bIns="336000" rtlCol="0">
            <a:noAutofit/>
          </a:bodyPr>
          <a:lstStyle/>
          <a:p>
            <a:pPr lvl="0" indent="0" defTabSz="914309">
              <a:lnSpc>
                <a:spcPct val="113000"/>
              </a:lnSpc>
              <a:spcBef>
                <a:spcPts val="1600"/>
              </a:spcBef>
              <a:buClr>
                <a:schemeClr val="tx1"/>
              </a:buClr>
              <a:buFont typeface="Arial" panose="020B0604020202020204" pitchFamily="34" charset="0"/>
              <a:buNone/>
            </a:pPr>
            <a:endParaRPr lang="en-GB" sz="133">
              <a:solidFill>
                <a:schemeClr val="bg1"/>
              </a:solidFill>
            </a:endParaRPr>
          </a:p>
        </p:txBody>
      </p:sp>
    </p:spTree>
    <p:extLst>
      <p:ext uri="{BB962C8B-B14F-4D97-AF65-F5344CB8AC3E}">
        <p14:creationId xmlns:p14="http://schemas.microsoft.com/office/powerpoint/2010/main" val="1032397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object + Collaboration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5735" y="548220"/>
            <a:ext cx="5257804" cy="1036965"/>
          </a:xfrm>
        </p:spPr>
        <p:txBody>
          <a:bodyPr/>
          <a:lstStyle/>
          <a:p>
            <a:r>
              <a:rPr lang="en-US"/>
              <a:t>Click to edit Master title style</a:t>
            </a:r>
          </a:p>
        </p:txBody>
      </p:sp>
      <p:sp>
        <p:nvSpPr>
          <p:cNvPr id="3" name="Content Placeholder 2"/>
          <p:cNvSpPr>
            <a:spLocks noGrp="1"/>
          </p:cNvSpPr>
          <p:nvPr>
            <p:ph idx="1" hasCustomPrompt="1"/>
          </p:nvPr>
        </p:nvSpPr>
        <p:spPr>
          <a:xfrm>
            <a:off x="580294" y="1701803"/>
            <a:ext cx="5257804" cy="43666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379641" y="6491402"/>
            <a:ext cx="458459" cy="102657"/>
          </a:xfrm>
        </p:spPr>
        <p:txBody>
          <a:bodyPr/>
          <a:lstStyle/>
          <a:p>
            <a:fld id="{FD70B62E-A4D6-4FC0-8ADD-3D7BB8E655B3}" type="datetime1">
              <a:rPr lang="en-US" smtClean="0"/>
              <a:t>4/18/2025</a:t>
            </a:fld>
            <a:endParaRPr lang="en-US"/>
          </a:p>
        </p:txBody>
      </p:sp>
      <p:sp>
        <p:nvSpPr>
          <p:cNvPr id="5" name="Footer Placeholder 4"/>
          <p:cNvSpPr>
            <a:spLocks noGrp="1"/>
          </p:cNvSpPr>
          <p:nvPr>
            <p:ph type="ftr" sz="quarter" idx="11"/>
          </p:nvPr>
        </p:nvSpPr>
        <p:spPr/>
        <p:txBody>
          <a:bodyPr/>
          <a:lstStyle/>
          <a:p>
            <a:r>
              <a:rPr lang="en-US"/>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pic>
        <p:nvPicPr>
          <p:cNvPr id="8" name="Tijdelijke aanduiding voor afbeelding 6" descr="Afbeelding met muur&#10;&#10;Automatisch gegenereerde beschrijving">
            <a:extLst>
              <a:ext uri="{FF2B5EF4-FFF2-40B4-BE49-F238E27FC236}">
                <a16:creationId xmlns:a16="http://schemas.microsoft.com/office/drawing/2014/main" id="{8240536E-A3AE-4149-9C7C-2F1158FAF2DD}"/>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2284022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object + Production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5735" y="548220"/>
            <a:ext cx="5257804" cy="1036965"/>
          </a:xfrm>
        </p:spPr>
        <p:txBody>
          <a:bodyPr/>
          <a:lstStyle/>
          <a:p>
            <a:r>
              <a:rPr lang="en-US"/>
              <a:t>Click to edit Master title style</a:t>
            </a:r>
          </a:p>
        </p:txBody>
      </p:sp>
      <p:sp>
        <p:nvSpPr>
          <p:cNvPr id="3" name="Content Placeholder 2"/>
          <p:cNvSpPr>
            <a:spLocks noGrp="1"/>
          </p:cNvSpPr>
          <p:nvPr>
            <p:ph idx="1" hasCustomPrompt="1"/>
          </p:nvPr>
        </p:nvSpPr>
        <p:spPr>
          <a:xfrm>
            <a:off x="580294" y="1701803"/>
            <a:ext cx="5257804" cy="43666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379641" y="6491402"/>
            <a:ext cx="458459" cy="102657"/>
          </a:xfrm>
        </p:spPr>
        <p:txBody>
          <a:bodyPr/>
          <a:lstStyle/>
          <a:p>
            <a:fld id="{FD70B62E-A4D6-4FC0-8ADD-3D7BB8E655B3}" type="datetime1">
              <a:rPr lang="en-US" smtClean="0"/>
              <a:t>4/18/2025</a:t>
            </a:fld>
            <a:endParaRPr lang="en-US"/>
          </a:p>
        </p:txBody>
      </p:sp>
      <p:sp>
        <p:nvSpPr>
          <p:cNvPr id="5" name="Footer Placeholder 4"/>
          <p:cNvSpPr>
            <a:spLocks noGrp="1"/>
          </p:cNvSpPr>
          <p:nvPr>
            <p:ph type="ftr" sz="quarter" idx="11"/>
          </p:nvPr>
        </p:nvSpPr>
        <p:spPr/>
        <p:txBody>
          <a:bodyPr/>
          <a:lstStyle/>
          <a:p>
            <a:r>
              <a:rPr lang="en-US"/>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pic>
        <p:nvPicPr>
          <p:cNvPr id="9" name="Tijdelijke aanduiding voor afbeelding 6" descr="Afbeelding met binnen, tafel, venster&#10;&#10;Automatisch gegenereerde beschrijving">
            <a:extLst>
              <a:ext uri="{FF2B5EF4-FFF2-40B4-BE49-F238E27FC236}">
                <a16:creationId xmlns:a16="http://schemas.microsoft.com/office/drawing/2014/main" id="{8D074549-7CCC-4DC1-8C7E-D76EADE35B9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6096000" y="0"/>
            <a:ext cx="6096000" cy="6858000"/>
          </a:xfrm>
          <a:prstGeom prst="rect">
            <a:avLst/>
          </a:prstGeom>
        </p:spPr>
      </p:pic>
    </p:spTree>
    <p:extLst>
      <p:ext uri="{BB962C8B-B14F-4D97-AF65-F5344CB8AC3E}">
        <p14:creationId xmlns:p14="http://schemas.microsoft.com/office/powerpoint/2010/main" val="1408072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type="obj" preserve="1">
  <p:cSld name="Title and objec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3" name="Content Placeholder 2"/>
          <p:cNvSpPr>
            <a:spLocks noGrp="1"/>
          </p:cNvSpPr>
          <p:nvPr>
            <p:ph idx="1" hasCustomPrompt="1"/>
          </p:nvPr>
        </p:nvSpPr>
        <p:spPr>
          <a:xfrm>
            <a:off x="580295" y="1701801"/>
            <a:ext cx="11035975" cy="41761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D9CC4E6-A4E4-4BB6-9F79-35D77AB1CC5A}" type="datetime1">
              <a:rPr lang="en-US" smtClean="0"/>
              <a:t>4/18/2025</a:t>
            </a:fld>
            <a:endParaRPr lang="en-US"/>
          </a:p>
        </p:txBody>
      </p:sp>
      <p:sp>
        <p:nvSpPr>
          <p:cNvPr id="5" name="Footer Placeholder 4"/>
          <p:cNvSpPr>
            <a:spLocks noGrp="1"/>
          </p:cNvSpPr>
          <p:nvPr>
            <p:ph type="ftr" sz="quarter" idx="11"/>
          </p:nvPr>
        </p:nvSpPr>
        <p:spPr/>
        <p:txBody>
          <a:bodyPr/>
          <a:lstStyle/>
          <a:p>
            <a:r>
              <a:rPr lang="en-US"/>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spTree>
    <p:extLst>
      <p:ext uri="{BB962C8B-B14F-4D97-AF65-F5344CB8AC3E}">
        <p14:creationId xmlns:p14="http://schemas.microsoft.com/office/powerpoint/2010/main" val="2144555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ubtitle and objec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3" name="Content Placeholder 2"/>
          <p:cNvSpPr>
            <a:spLocks noGrp="1"/>
          </p:cNvSpPr>
          <p:nvPr>
            <p:ph idx="1" hasCustomPrompt="1"/>
          </p:nvPr>
        </p:nvSpPr>
        <p:spPr>
          <a:xfrm>
            <a:off x="580295" y="2077593"/>
            <a:ext cx="11035975" cy="38003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81E2944-4BA3-415C-81C0-A3717FAF72E1}" type="datetime1">
              <a:rPr lang="en-US" smtClean="0"/>
              <a:t>4/18/2025</a:t>
            </a:fld>
            <a:endParaRPr lang="en-US"/>
          </a:p>
        </p:txBody>
      </p:sp>
      <p:sp>
        <p:nvSpPr>
          <p:cNvPr id="5" name="Footer Placeholder 4"/>
          <p:cNvSpPr>
            <a:spLocks noGrp="1"/>
          </p:cNvSpPr>
          <p:nvPr>
            <p:ph type="ftr" sz="quarter" idx="11"/>
          </p:nvPr>
        </p:nvSpPr>
        <p:spPr/>
        <p:txBody>
          <a:bodyPr/>
          <a:lstStyle/>
          <a:p>
            <a:r>
              <a:rPr lang="en-US"/>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sp>
        <p:nvSpPr>
          <p:cNvPr id="8" name="Tijdelijke aanduiding voor tekst 7">
            <a:extLst>
              <a:ext uri="{FF2B5EF4-FFF2-40B4-BE49-F238E27FC236}">
                <a16:creationId xmlns:a16="http://schemas.microsoft.com/office/drawing/2014/main" id="{F7DBD289-E124-4653-9BF3-FE57FA1AC736}"/>
              </a:ext>
            </a:extLst>
          </p:cNvPr>
          <p:cNvSpPr>
            <a:spLocks noGrp="1"/>
          </p:cNvSpPr>
          <p:nvPr>
            <p:ph type="body" sz="quarter" idx="13" hasCustomPrompt="1"/>
          </p:nvPr>
        </p:nvSpPr>
        <p:spPr>
          <a:xfrm>
            <a:off x="580291" y="1701800"/>
            <a:ext cx="11035200" cy="375792"/>
          </a:xfrm>
        </p:spPr>
        <p:txBody>
          <a:bodyPr wrap="none"/>
          <a:lstStyle>
            <a:lvl1pPr marL="0" indent="0">
              <a:buNone/>
              <a:defRPr>
                <a:solidFill>
                  <a:schemeClr val="accent1"/>
                </a:solidFill>
              </a:defRPr>
            </a:lvl1pPr>
          </a:lstStyle>
          <a:p>
            <a:pPr lvl="0"/>
            <a:r>
              <a:rPr lang="en-US"/>
              <a:t>Subtitle</a:t>
            </a:r>
          </a:p>
        </p:txBody>
      </p:sp>
    </p:spTree>
    <p:extLst>
      <p:ext uri="{BB962C8B-B14F-4D97-AF65-F5344CB8AC3E}">
        <p14:creationId xmlns:p14="http://schemas.microsoft.com/office/powerpoint/2010/main" val="393139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2 objec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80800" y="1703997"/>
            <a:ext cx="5400000" cy="417398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216264" y="1703997"/>
            <a:ext cx="5400000" cy="417398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F39349C-1D89-4689-A09E-66FAF47E47B3}" type="datetime1">
              <a:rPr lang="en-US" smtClean="0"/>
              <a:t>4/18/2025</a:t>
            </a:fld>
            <a:endParaRPr lang="en-US"/>
          </a:p>
        </p:txBody>
      </p:sp>
      <p:sp>
        <p:nvSpPr>
          <p:cNvPr id="6" name="Footer Placeholder 5"/>
          <p:cNvSpPr>
            <a:spLocks noGrp="1"/>
          </p:cNvSpPr>
          <p:nvPr>
            <p:ph type="ftr" sz="quarter" idx="11"/>
          </p:nvPr>
        </p:nvSpPr>
        <p:spPr/>
        <p:txBody>
          <a:bodyPr/>
          <a:lstStyle/>
          <a:p>
            <a:r>
              <a:rPr lang="en-US"/>
              <a:t>Draft | Internal use only | Confidential</a:t>
            </a:r>
          </a:p>
        </p:txBody>
      </p:sp>
      <p:sp>
        <p:nvSpPr>
          <p:cNvPr id="7" name="Slide Number Placeholder 6"/>
          <p:cNvSpPr>
            <a:spLocks noGrp="1"/>
          </p:cNvSpPr>
          <p:nvPr>
            <p:ph type="sldNum" sz="quarter" idx="12"/>
          </p:nvPr>
        </p:nvSpPr>
        <p:spPr/>
        <p:txBody>
          <a:bodyPr/>
          <a:lstStyle/>
          <a:p>
            <a:fld id="{9BE0E23E-9022-4929-B297-EB2777CDBB1F}" type="slidenum">
              <a:rPr lang="en-US" smtClean="0"/>
              <a:t>‹#›</a:t>
            </a:fld>
            <a:endParaRPr lang="en-US"/>
          </a:p>
        </p:txBody>
      </p:sp>
      <p:sp>
        <p:nvSpPr>
          <p:cNvPr id="8" name="Titel 7">
            <a:extLst>
              <a:ext uri="{FF2B5EF4-FFF2-40B4-BE49-F238E27FC236}">
                <a16:creationId xmlns:a16="http://schemas.microsoft.com/office/drawing/2014/main" id="{26BE0271-8E9F-4D14-97DF-D828AE403B0B}"/>
              </a:ext>
            </a:extLst>
          </p:cNvPr>
          <p:cNvSpPr>
            <a:spLocks noGrp="1"/>
          </p:cNvSpPr>
          <p:nvPr>
            <p:ph type="title" hasCustomPrompt="1"/>
          </p:nvPr>
        </p:nvSpPr>
        <p:spPr/>
        <p:txBody>
          <a:bodyPr/>
          <a:lstStyle/>
          <a:p>
            <a:r>
              <a:rPr lang="en-US"/>
              <a:t>Click to edit Master title style</a:t>
            </a:r>
            <a:endParaRPr lang="nl-NL"/>
          </a:p>
        </p:txBody>
      </p:sp>
    </p:spTree>
    <p:extLst>
      <p:ext uri="{BB962C8B-B14F-4D97-AF65-F5344CB8AC3E}">
        <p14:creationId xmlns:p14="http://schemas.microsoft.com/office/powerpoint/2010/main" val="1683269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subtitle, 2 objec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80800" y="2077592"/>
            <a:ext cx="5400000" cy="38003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216265" y="2077592"/>
            <a:ext cx="5400000" cy="38003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F3E9988-4A5F-4B43-99D8-A183CF49EDB8}" type="datetime1">
              <a:rPr lang="en-US" smtClean="0"/>
              <a:t>4/18/2025</a:t>
            </a:fld>
            <a:endParaRPr lang="en-US"/>
          </a:p>
        </p:txBody>
      </p:sp>
      <p:sp>
        <p:nvSpPr>
          <p:cNvPr id="6" name="Footer Placeholder 5"/>
          <p:cNvSpPr>
            <a:spLocks noGrp="1"/>
          </p:cNvSpPr>
          <p:nvPr>
            <p:ph type="ftr" sz="quarter" idx="11"/>
          </p:nvPr>
        </p:nvSpPr>
        <p:spPr/>
        <p:txBody>
          <a:bodyPr/>
          <a:lstStyle/>
          <a:p>
            <a:r>
              <a:rPr lang="en-US"/>
              <a:t>Draft | Internal use only | Confidential</a:t>
            </a:r>
          </a:p>
        </p:txBody>
      </p:sp>
      <p:sp>
        <p:nvSpPr>
          <p:cNvPr id="7" name="Slide Number Placeholder 6"/>
          <p:cNvSpPr>
            <a:spLocks noGrp="1"/>
          </p:cNvSpPr>
          <p:nvPr>
            <p:ph type="sldNum" sz="quarter" idx="12"/>
          </p:nvPr>
        </p:nvSpPr>
        <p:spPr/>
        <p:txBody>
          <a:bodyPr/>
          <a:lstStyle/>
          <a:p>
            <a:fld id="{9BE0E23E-9022-4929-B297-EB2777CDBB1F}" type="slidenum">
              <a:rPr lang="en-US" smtClean="0"/>
              <a:t>‹#›</a:t>
            </a:fld>
            <a:endParaRPr lang="en-US"/>
          </a:p>
        </p:txBody>
      </p:sp>
      <p:sp>
        <p:nvSpPr>
          <p:cNvPr id="9" name="Tijdelijke aanduiding voor tekst 7">
            <a:extLst>
              <a:ext uri="{FF2B5EF4-FFF2-40B4-BE49-F238E27FC236}">
                <a16:creationId xmlns:a16="http://schemas.microsoft.com/office/drawing/2014/main" id="{27508BEF-285C-40D0-8A0C-EE0B84C47D52}"/>
              </a:ext>
            </a:extLst>
          </p:cNvPr>
          <p:cNvSpPr>
            <a:spLocks noGrp="1"/>
          </p:cNvSpPr>
          <p:nvPr>
            <p:ph type="body" sz="quarter" idx="13" hasCustomPrompt="1"/>
          </p:nvPr>
        </p:nvSpPr>
        <p:spPr>
          <a:xfrm>
            <a:off x="580291" y="1701800"/>
            <a:ext cx="5400000" cy="375792"/>
          </a:xfrm>
        </p:spPr>
        <p:txBody>
          <a:bodyPr wrap="none"/>
          <a:lstStyle>
            <a:lvl1pPr marL="0" indent="0">
              <a:buNone/>
              <a:defRPr>
                <a:solidFill>
                  <a:schemeClr val="accent1"/>
                </a:solidFill>
              </a:defRPr>
            </a:lvl1pPr>
          </a:lstStyle>
          <a:p>
            <a:pPr lvl="0"/>
            <a:r>
              <a:rPr lang="en-US"/>
              <a:t>Subtitle</a:t>
            </a:r>
          </a:p>
        </p:txBody>
      </p:sp>
      <p:sp>
        <p:nvSpPr>
          <p:cNvPr id="10" name="Tijdelijke aanduiding voor tekst 7">
            <a:extLst>
              <a:ext uri="{FF2B5EF4-FFF2-40B4-BE49-F238E27FC236}">
                <a16:creationId xmlns:a16="http://schemas.microsoft.com/office/drawing/2014/main" id="{9913EE84-7DEC-4A2D-AD57-9B4798154DE0}"/>
              </a:ext>
            </a:extLst>
          </p:cNvPr>
          <p:cNvSpPr>
            <a:spLocks noGrp="1"/>
          </p:cNvSpPr>
          <p:nvPr>
            <p:ph type="body" sz="quarter" idx="14" hasCustomPrompt="1"/>
          </p:nvPr>
        </p:nvSpPr>
        <p:spPr>
          <a:xfrm>
            <a:off x="6216264" y="1703997"/>
            <a:ext cx="5400000" cy="375792"/>
          </a:xfrm>
        </p:spPr>
        <p:txBody>
          <a:bodyPr wrap="none"/>
          <a:lstStyle>
            <a:lvl1pPr marL="0" indent="0">
              <a:buNone/>
              <a:defRPr>
                <a:solidFill>
                  <a:schemeClr val="accent1"/>
                </a:solidFill>
              </a:defRPr>
            </a:lvl1pPr>
          </a:lstStyle>
          <a:p>
            <a:pPr lvl="0"/>
            <a:r>
              <a:rPr lang="en-US"/>
              <a:t>Subtitel</a:t>
            </a:r>
          </a:p>
        </p:txBody>
      </p:sp>
      <p:sp>
        <p:nvSpPr>
          <p:cNvPr id="8" name="Titel 7">
            <a:extLst>
              <a:ext uri="{FF2B5EF4-FFF2-40B4-BE49-F238E27FC236}">
                <a16:creationId xmlns:a16="http://schemas.microsoft.com/office/drawing/2014/main" id="{8ABE8B1D-E1F9-4E74-945C-E81D06AF0D78}"/>
              </a:ext>
            </a:extLst>
          </p:cNvPr>
          <p:cNvSpPr>
            <a:spLocks noGrp="1"/>
          </p:cNvSpPr>
          <p:nvPr>
            <p:ph type="title" hasCustomPrompt="1"/>
          </p:nvPr>
        </p:nvSpPr>
        <p:spPr/>
        <p:txBody>
          <a:bodyPr/>
          <a:lstStyle/>
          <a:p>
            <a:r>
              <a:rPr lang="en-US"/>
              <a:t>Click to edit Master title style</a:t>
            </a:r>
            <a:endParaRPr lang="nl-NL"/>
          </a:p>
        </p:txBody>
      </p:sp>
    </p:spTree>
    <p:extLst>
      <p:ext uri="{BB962C8B-B14F-4D97-AF65-F5344CB8AC3E}">
        <p14:creationId xmlns:p14="http://schemas.microsoft.com/office/powerpoint/2010/main" val="1021457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text and tab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80800" y="1703997"/>
            <a:ext cx="5400000" cy="417541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F39349C-1D89-4689-A09E-66FAF47E47B3}" type="datetime1">
              <a:rPr lang="en-US" smtClean="0"/>
              <a:t>4/18/2025</a:t>
            </a:fld>
            <a:endParaRPr lang="en-US"/>
          </a:p>
        </p:txBody>
      </p:sp>
      <p:sp>
        <p:nvSpPr>
          <p:cNvPr id="6" name="Footer Placeholder 5"/>
          <p:cNvSpPr>
            <a:spLocks noGrp="1"/>
          </p:cNvSpPr>
          <p:nvPr>
            <p:ph type="ftr" sz="quarter" idx="11"/>
          </p:nvPr>
        </p:nvSpPr>
        <p:spPr/>
        <p:txBody>
          <a:bodyPr/>
          <a:lstStyle/>
          <a:p>
            <a:r>
              <a:rPr lang="en-US"/>
              <a:t>Draft | Internal use only | Confidential</a:t>
            </a:r>
          </a:p>
        </p:txBody>
      </p:sp>
      <p:sp>
        <p:nvSpPr>
          <p:cNvPr id="7" name="Slide Number Placeholder 6"/>
          <p:cNvSpPr>
            <a:spLocks noGrp="1"/>
          </p:cNvSpPr>
          <p:nvPr>
            <p:ph type="sldNum" sz="quarter" idx="12"/>
          </p:nvPr>
        </p:nvSpPr>
        <p:spPr/>
        <p:txBody>
          <a:bodyPr/>
          <a:lstStyle/>
          <a:p>
            <a:fld id="{9BE0E23E-9022-4929-B297-EB2777CDBB1F}" type="slidenum">
              <a:rPr lang="en-US" smtClean="0"/>
              <a:t>‹#›</a:t>
            </a:fld>
            <a:endParaRPr lang="en-US"/>
          </a:p>
        </p:txBody>
      </p:sp>
      <p:sp>
        <p:nvSpPr>
          <p:cNvPr id="10" name="Tijdelijke aanduiding voor tabel 8">
            <a:extLst>
              <a:ext uri="{FF2B5EF4-FFF2-40B4-BE49-F238E27FC236}">
                <a16:creationId xmlns:a16="http://schemas.microsoft.com/office/drawing/2014/main" id="{D2E9F6DD-7E2C-4192-BBC9-125146AEF9DA}"/>
              </a:ext>
            </a:extLst>
          </p:cNvPr>
          <p:cNvSpPr>
            <a:spLocks noGrp="1"/>
          </p:cNvSpPr>
          <p:nvPr>
            <p:ph type="tbl" sz="quarter" idx="13"/>
          </p:nvPr>
        </p:nvSpPr>
        <p:spPr>
          <a:xfrm>
            <a:off x="6216652" y="1701800"/>
            <a:ext cx="5394549" cy="4176184"/>
          </a:xfrm>
        </p:spPr>
        <p:txBody>
          <a:bodyPr/>
          <a:lstStyle/>
          <a:p>
            <a:r>
              <a:rPr lang="en-US"/>
              <a:t>Click icon to add table</a:t>
            </a:r>
            <a:endParaRPr lang="nl-NL"/>
          </a:p>
        </p:txBody>
      </p:sp>
      <p:sp>
        <p:nvSpPr>
          <p:cNvPr id="4" name="Titel 3">
            <a:extLst>
              <a:ext uri="{FF2B5EF4-FFF2-40B4-BE49-F238E27FC236}">
                <a16:creationId xmlns:a16="http://schemas.microsoft.com/office/drawing/2014/main" id="{5DE9D13A-D41B-4FAB-8651-676FFDB4FE5F}"/>
              </a:ext>
            </a:extLst>
          </p:cNvPr>
          <p:cNvSpPr>
            <a:spLocks noGrp="1"/>
          </p:cNvSpPr>
          <p:nvPr>
            <p:ph type="title" hasCustomPrompt="1"/>
          </p:nvPr>
        </p:nvSpPr>
        <p:spPr/>
        <p:txBody>
          <a:bodyPr/>
          <a:lstStyle/>
          <a:p>
            <a:r>
              <a:rPr lang="en-US"/>
              <a:t>Click to edit Master title style</a:t>
            </a:r>
            <a:endParaRPr lang="nl-NL"/>
          </a:p>
        </p:txBody>
      </p:sp>
    </p:spTree>
    <p:extLst>
      <p:ext uri="{BB962C8B-B14F-4D97-AF65-F5344CB8AC3E}">
        <p14:creationId xmlns:p14="http://schemas.microsoft.com/office/powerpoint/2010/main" val="3763849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4 images">
    <p:spTree>
      <p:nvGrpSpPr>
        <p:cNvPr id="1" name=""/>
        <p:cNvGrpSpPr/>
        <p:nvPr/>
      </p:nvGrpSpPr>
      <p:grpSpPr>
        <a:xfrm>
          <a:off x="0" y="0"/>
          <a:ext cx="0" cy="0"/>
          <a:chOff x="0" y="0"/>
          <a:chExt cx="0" cy="0"/>
        </a:xfrm>
      </p:grpSpPr>
      <p:sp>
        <p:nvSpPr>
          <p:cNvPr id="10" name="Wave 1">
            <a:extLst>
              <a:ext uri="{FF2B5EF4-FFF2-40B4-BE49-F238E27FC236}">
                <a16:creationId xmlns:a16="http://schemas.microsoft.com/office/drawing/2014/main" id="{CC81F280-5BB5-4FE0-BB05-9A8AB770E0D3}"/>
              </a:ext>
            </a:extLst>
          </p:cNvPr>
          <p:cNvSpPr>
            <a:spLocks noGrp="1"/>
          </p:cNvSpPr>
          <p:nvPr>
            <p:ph type="body" sz="quarter" idx="15" hasCustomPrompt="1"/>
          </p:nvPr>
        </p:nvSpPr>
        <p:spPr>
          <a:xfrm>
            <a:off x="580291" y="4788405"/>
            <a:ext cx="2515200" cy="807657"/>
          </a:xfrm>
          <a:noFill/>
        </p:spPr>
        <p:txBody>
          <a:bodyPr>
            <a:noAutofit/>
          </a:bodyPr>
          <a:lstStyle>
            <a:lvl1pPr marL="0" indent="0" algn="ctr">
              <a:spcBef>
                <a:spcPts val="0"/>
              </a:spcBef>
              <a:buNone/>
              <a:defRPr sz="1600">
                <a:solidFill>
                  <a:schemeClr val="tx1"/>
                </a:solidFill>
              </a:defRPr>
            </a:lvl1pPr>
          </a:lstStyle>
          <a:p>
            <a:pPr lvl="0"/>
            <a:r>
              <a:rPr lang="en-GB"/>
              <a:t>Add text (max. 3 lines)</a:t>
            </a:r>
          </a:p>
        </p:txBody>
      </p:sp>
      <p:sp>
        <p:nvSpPr>
          <p:cNvPr id="2" name="Title 1"/>
          <p:cNvSpPr>
            <a:spLocks noGrp="1"/>
          </p:cNvSpPr>
          <p:nvPr>
            <p:ph type="title" hasCustomPrompt="1"/>
          </p:nvPr>
        </p:nvSpPr>
        <p:spPr>
          <a:xfrm>
            <a:off x="580291" y="548218"/>
            <a:ext cx="11035975" cy="1036965"/>
          </a:xfrm>
        </p:spPr>
        <p:txBody>
          <a:bodyPr/>
          <a:lstStyle/>
          <a:p>
            <a:r>
              <a:rPr lang="en-GB"/>
              <a:t>Click to add title</a:t>
            </a:r>
          </a:p>
        </p:txBody>
      </p:sp>
      <p:sp>
        <p:nvSpPr>
          <p:cNvPr id="4" name="Date Placeholder 3"/>
          <p:cNvSpPr>
            <a:spLocks noGrp="1"/>
          </p:cNvSpPr>
          <p:nvPr>
            <p:ph type="dt" sz="half" idx="10"/>
          </p:nvPr>
        </p:nvSpPr>
        <p:spPr/>
        <p:txBody>
          <a:bodyPr/>
          <a:lstStyle/>
          <a:p>
            <a:fld id="{675D8150-03F8-416F-83B8-054950B81DD3}" type="datetime1">
              <a:rPr lang="en-GB" smtClean="0"/>
              <a:t>18/04/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11" name="Wave 2">
            <a:extLst>
              <a:ext uri="{FF2B5EF4-FFF2-40B4-BE49-F238E27FC236}">
                <a16:creationId xmlns:a16="http://schemas.microsoft.com/office/drawing/2014/main" id="{AC5FEA4A-436F-48A1-9D31-EC97B9710853}"/>
              </a:ext>
            </a:extLst>
          </p:cNvPr>
          <p:cNvSpPr>
            <a:spLocks noGrp="1"/>
          </p:cNvSpPr>
          <p:nvPr>
            <p:ph type="body" sz="quarter" idx="17" hasCustomPrompt="1"/>
          </p:nvPr>
        </p:nvSpPr>
        <p:spPr>
          <a:xfrm flipH="1">
            <a:off x="3420548" y="4788406"/>
            <a:ext cx="2515200" cy="807657"/>
          </a:xfrm>
          <a:noFill/>
        </p:spPr>
        <p:txBody>
          <a:bodyPr/>
          <a:lstStyle>
            <a:lvl1pPr marL="0" indent="0" algn="ctr">
              <a:spcBef>
                <a:spcPts val="0"/>
              </a:spcBef>
              <a:buNone/>
              <a:defRPr sz="1600">
                <a:solidFill>
                  <a:schemeClr val="tx1"/>
                </a:solidFill>
              </a:defRPr>
            </a:lvl1pPr>
          </a:lstStyle>
          <a:p>
            <a:pPr lvl="0"/>
            <a:r>
              <a:rPr lang="en-GB"/>
              <a:t>Add text (max. 3 lines)</a:t>
            </a:r>
          </a:p>
        </p:txBody>
      </p:sp>
      <p:sp>
        <p:nvSpPr>
          <p:cNvPr id="13" name="Wave 3">
            <a:extLst>
              <a:ext uri="{FF2B5EF4-FFF2-40B4-BE49-F238E27FC236}">
                <a16:creationId xmlns:a16="http://schemas.microsoft.com/office/drawing/2014/main" id="{CA1ECD70-AEE2-4AC6-901B-B2547A8DC9E8}"/>
              </a:ext>
            </a:extLst>
          </p:cNvPr>
          <p:cNvSpPr>
            <a:spLocks noGrp="1"/>
          </p:cNvSpPr>
          <p:nvPr>
            <p:ph type="body" sz="quarter" idx="19" hasCustomPrompt="1"/>
          </p:nvPr>
        </p:nvSpPr>
        <p:spPr>
          <a:xfrm>
            <a:off x="6260805" y="4788406"/>
            <a:ext cx="2515200" cy="807657"/>
          </a:xfrm>
          <a:noFill/>
        </p:spPr>
        <p:txBody>
          <a:bodyPr/>
          <a:lstStyle>
            <a:lvl1pPr marL="0" indent="0" algn="ctr">
              <a:spcBef>
                <a:spcPts val="0"/>
              </a:spcBef>
              <a:buNone/>
              <a:defRPr sz="1600">
                <a:solidFill>
                  <a:schemeClr val="tx1"/>
                </a:solidFill>
              </a:defRPr>
            </a:lvl1pPr>
          </a:lstStyle>
          <a:p>
            <a:pPr lvl="0"/>
            <a:r>
              <a:rPr lang="en-GB"/>
              <a:t>Add text (max. 3 lines)</a:t>
            </a:r>
          </a:p>
        </p:txBody>
      </p:sp>
      <p:sp>
        <p:nvSpPr>
          <p:cNvPr id="15" name="Wave 4">
            <a:extLst>
              <a:ext uri="{FF2B5EF4-FFF2-40B4-BE49-F238E27FC236}">
                <a16:creationId xmlns:a16="http://schemas.microsoft.com/office/drawing/2014/main" id="{6DCD51DF-91DE-4C2A-B445-D652FF68A2B3}"/>
              </a:ext>
            </a:extLst>
          </p:cNvPr>
          <p:cNvSpPr>
            <a:spLocks noGrp="1"/>
          </p:cNvSpPr>
          <p:nvPr>
            <p:ph type="body" sz="quarter" idx="21" hasCustomPrompt="1"/>
          </p:nvPr>
        </p:nvSpPr>
        <p:spPr>
          <a:xfrm>
            <a:off x="9101063" y="4788406"/>
            <a:ext cx="2515200" cy="807657"/>
          </a:xfrm>
          <a:noFill/>
        </p:spPr>
        <p:txBody>
          <a:bodyPr/>
          <a:lstStyle>
            <a:lvl1pPr marL="0" indent="0" algn="ctr">
              <a:spcBef>
                <a:spcPts val="0"/>
              </a:spcBef>
              <a:buNone/>
              <a:defRPr sz="1600">
                <a:solidFill>
                  <a:schemeClr val="tx1"/>
                </a:solidFill>
              </a:defRPr>
            </a:lvl1pPr>
          </a:lstStyle>
          <a:p>
            <a:pPr lvl="0"/>
            <a:r>
              <a:rPr lang="en-GB"/>
              <a:t>Add text (max. 3 lines)</a:t>
            </a:r>
          </a:p>
        </p:txBody>
      </p:sp>
      <p:sp>
        <p:nvSpPr>
          <p:cNvPr id="8" name="Freeform: Shape 1">
            <a:extLst>
              <a:ext uri="{FF2B5EF4-FFF2-40B4-BE49-F238E27FC236}">
                <a16:creationId xmlns:a16="http://schemas.microsoft.com/office/drawing/2014/main" id="{7335118A-F9FC-AD34-DDE7-7CDBCE453E26}"/>
              </a:ext>
            </a:extLst>
          </p:cNvPr>
          <p:cNvSpPr>
            <a:spLocks noGrp="1" noChangeAspect="1"/>
          </p:cNvSpPr>
          <p:nvPr>
            <p:ph type="pic" sz="quarter" idx="14"/>
          </p:nvPr>
        </p:nvSpPr>
        <p:spPr>
          <a:xfrm>
            <a:off x="580291" y="1979485"/>
            <a:ext cx="2587503" cy="2531556"/>
          </a:xfrm>
          <a:custGeom>
            <a:avLst/>
            <a:gdLst>
              <a:gd name="connsiteX0" fmla="*/ 1678918 w 3335588"/>
              <a:gd name="connsiteY0" fmla="*/ 0 h 3257568"/>
              <a:gd name="connsiteX1" fmla="*/ 2848595 w 3335588"/>
              <a:gd name="connsiteY1" fmla="*/ 461675 h 3257568"/>
              <a:gd name="connsiteX2" fmla="*/ 3335505 w 3335588"/>
              <a:gd name="connsiteY2" fmla="*/ 1629238 h 3257568"/>
              <a:gd name="connsiteX3" fmla="*/ 3335588 w 3335588"/>
              <a:gd name="connsiteY3" fmla="*/ 1629321 h 3257568"/>
              <a:gd name="connsiteX4" fmla="*/ 2837015 w 3335588"/>
              <a:gd name="connsiteY4" fmla="*/ 2785325 h 3257568"/>
              <a:gd name="connsiteX5" fmla="*/ 1678918 w 3335588"/>
              <a:gd name="connsiteY5" fmla="*/ 3257568 h 3257568"/>
              <a:gd name="connsiteX6" fmla="*/ 519580 w 3335588"/>
              <a:gd name="connsiteY6" fmla="*/ 2786563 h 3257568"/>
              <a:gd name="connsiteX7" fmla="*/ 0 w 3335588"/>
              <a:gd name="connsiteY7" fmla="*/ 1629321 h 3257568"/>
              <a:gd name="connsiteX8" fmla="*/ 528596 w 3335588"/>
              <a:gd name="connsiteY8" fmla="*/ 481077 h 3257568"/>
              <a:gd name="connsiteX9" fmla="*/ 1678918 w 3335588"/>
              <a:gd name="connsiteY9" fmla="*/ 0 h 325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35588" h="3257568">
                <a:moveTo>
                  <a:pt x="1678918" y="0"/>
                </a:moveTo>
                <a:cubicBezTo>
                  <a:pt x="2135722" y="0"/>
                  <a:pt x="2549269" y="162891"/>
                  <a:pt x="2848595" y="461675"/>
                </a:cubicBezTo>
                <a:cubicBezTo>
                  <a:pt x="3147920" y="760460"/>
                  <a:pt x="3335505" y="1173342"/>
                  <a:pt x="3335505" y="1629238"/>
                </a:cubicBezTo>
                <a:lnTo>
                  <a:pt x="3335588" y="1629321"/>
                </a:lnTo>
                <a:cubicBezTo>
                  <a:pt x="3335588" y="2085299"/>
                  <a:pt x="3136423" y="2486541"/>
                  <a:pt x="2837015" y="2785325"/>
                </a:cubicBezTo>
                <a:cubicBezTo>
                  <a:pt x="2537690" y="3084110"/>
                  <a:pt x="2135722" y="3257568"/>
                  <a:pt x="1678918" y="3257568"/>
                </a:cubicBezTo>
                <a:cubicBezTo>
                  <a:pt x="1222114" y="3257568"/>
                  <a:pt x="818906" y="3085348"/>
                  <a:pt x="519580" y="2786563"/>
                </a:cubicBezTo>
                <a:cubicBezTo>
                  <a:pt x="220255" y="2487697"/>
                  <a:pt x="0" y="2085299"/>
                  <a:pt x="0" y="1629321"/>
                </a:cubicBezTo>
                <a:cubicBezTo>
                  <a:pt x="0" y="1173342"/>
                  <a:pt x="229270" y="779861"/>
                  <a:pt x="528596" y="481077"/>
                </a:cubicBezTo>
                <a:cubicBezTo>
                  <a:pt x="827921" y="182292"/>
                  <a:pt x="1222114" y="0"/>
                  <a:pt x="1678918" y="0"/>
                </a:cubicBezTo>
                <a:close/>
              </a:path>
            </a:pathLst>
          </a:custGeom>
          <a:solidFill>
            <a:schemeClr val="tx1">
              <a:lumMod val="20000"/>
              <a:lumOff val="80000"/>
            </a:schemeClr>
          </a:solidFill>
        </p:spPr>
        <p:txBody>
          <a:bodyPr wrap="square" tIns="396000">
            <a:noAutofit/>
          </a:bodyPr>
          <a:lstStyle>
            <a:lvl1pPr marL="0" indent="0" algn="ctr">
              <a:buNone/>
              <a:defRPr/>
            </a:lvl1pPr>
          </a:lstStyle>
          <a:p>
            <a:r>
              <a:rPr lang="en-US"/>
              <a:t>Click icon to add picture</a:t>
            </a:r>
            <a:endParaRPr lang="en-GB"/>
          </a:p>
        </p:txBody>
      </p:sp>
      <p:sp>
        <p:nvSpPr>
          <p:cNvPr id="9" name="Freeform: Shape 2">
            <a:extLst>
              <a:ext uri="{FF2B5EF4-FFF2-40B4-BE49-F238E27FC236}">
                <a16:creationId xmlns:a16="http://schemas.microsoft.com/office/drawing/2014/main" id="{002349E9-68C7-C291-E256-D2F514A60C15}"/>
              </a:ext>
            </a:extLst>
          </p:cNvPr>
          <p:cNvSpPr>
            <a:spLocks noGrp="1" noChangeAspect="1"/>
          </p:cNvSpPr>
          <p:nvPr>
            <p:ph type="pic" sz="quarter" idx="22"/>
          </p:nvPr>
        </p:nvSpPr>
        <p:spPr>
          <a:xfrm>
            <a:off x="3396449" y="1979485"/>
            <a:ext cx="2587503" cy="2531556"/>
          </a:xfrm>
          <a:custGeom>
            <a:avLst/>
            <a:gdLst>
              <a:gd name="connsiteX0" fmla="*/ 1678918 w 3335588"/>
              <a:gd name="connsiteY0" fmla="*/ 0 h 3257568"/>
              <a:gd name="connsiteX1" fmla="*/ 2848595 w 3335588"/>
              <a:gd name="connsiteY1" fmla="*/ 461675 h 3257568"/>
              <a:gd name="connsiteX2" fmla="*/ 3335505 w 3335588"/>
              <a:gd name="connsiteY2" fmla="*/ 1629238 h 3257568"/>
              <a:gd name="connsiteX3" fmla="*/ 3335588 w 3335588"/>
              <a:gd name="connsiteY3" fmla="*/ 1629321 h 3257568"/>
              <a:gd name="connsiteX4" fmla="*/ 2837015 w 3335588"/>
              <a:gd name="connsiteY4" fmla="*/ 2785325 h 3257568"/>
              <a:gd name="connsiteX5" fmla="*/ 1678918 w 3335588"/>
              <a:gd name="connsiteY5" fmla="*/ 3257568 h 3257568"/>
              <a:gd name="connsiteX6" fmla="*/ 519580 w 3335588"/>
              <a:gd name="connsiteY6" fmla="*/ 2786563 h 3257568"/>
              <a:gd name="connsiteX7" fmla="*/ 0 w 3335588"/>
              <a:gd name="connsiteY7" fmla="*/ 1629321 h 3257568"/>
              <a:gd name="connsiteX8" fmla="*/ 528596 w 3335588"/>
              <a:gd name="connsiteY8" fmla="*/ 481077 h 3257568"/>
              <a:gd name="connsiteX9" fmla="*/ 1678918 w 3335588"/>
              <a:gd name="connsiteY9" fmla="*/ 0 h 325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35588" h="3257568">
                <a:moveTo>
                  <a:pt x="1678918" y="0"/>
                </a:moveTo>
                <a:cubicBezTo>
                  <a:pt x="2135722" y="0"/>
                  <a:pt x="2549269" y="162891"/>
                  <a:pt x="2848595" y="461675"/>
                </a:cubicBezTo>
                <a:cubicBezTo>
                  <a:pt x="3147920" y="760460"/>
                  <a:pt x="3335505" y="1173342"/>
                  <a:pt x="3335505" y="1629238"/>
                </a:cubicBezTo>
                <a:lnTo>
                  <a:pt x="3335588" y="1629321"/>
                </a:lnTo>
                <a:cubicBezTo>
                  <a:pt x="3335588" y="2085299"/>
                  <a:pt x="3136423" y="2486541"/>
                  <a:pt x="2837015" y="2785325"/>
                </a:cubicBezTo>
                <a:cubicBezTo>
                  <a:pt x="2537690" y="3084110"/>
                  <a:pt x="2135722" y="3257568"/>
                  <a:pt x="1678918" y="3257568"/>
                </a:cubicBezTo>
                <a:cubicBezTo>
                  <a:pt x="1222114" y="3257568"/>
                  <a:pt x="818906" y="3085348"/>
                  <a:pt x="519580" y="2786563"/>
                </a:cubicBezTo>
                <a:cubicBezTo>
                  <a:pt x="220255" y="2487697"/>
                  <a:pt x="0" y="2085299"/>
                  <a:pt x="0" y="1629321"/>
                </a:cubicBezTo>
                <a:cubicBezTo>
                  <a:pt x="0" y="1173342"/>
                  <a:pt x="229270" y="779861"/>
                  <a:pt x="528596" y="481077"/>
                </a:cubicBezTo>
                <a:cubicBezTo>
                  <a:pt x="827921" y="182292"/>
                  <a:pt x="1222114" y="0"/>
                  <a:pt x="1678918" y="0"/>
                </a:cubicBezTo>
                <a:close/>
              </a:path>
            </a:pathLst>
          </a:custGeom>
          <a:solidFill>
            <a:schemeClr val="tx1">
              <a:lumMod val="20000"/>
              <a:lumOff val="80000"/>
            </a:schemeClr>
          </a:solidFill>
        </p:spPr>
        <p:txBody>
          <a:bodyPr wrap="square" tIns="396000">
            <a:noAutofit/>
          </a:bodyPr>
          <a:lstStyle>
            <a:lvl1pPr marL="0" indent="0" algn="ctr">
              <a:buNone/>
              <a:defRPr/>
            </a:lvl1pPr>
          </a:lstStyle>
          <a:p>
            <a:r>
              <a:rPr lang="en-US"/>
              <a:t>Click icon to add picture</a:t>
            </a:r>
            <a:endParaRPr lang="en-GB"/>
          </a:p>
        </p:txBody>
      </p:sp>
      <p:sp>
        <p:nvSpPr>
          <p:cNvPr id="12" name="Freeform: Shape 3">
            <a:extLst>
              <a:ext uri="{FF2B5EF4-FFF2-40B4-BE49-F238E27FC236}">
                <a16:creationId xmlns:a16="http://schemas.microsoft.com/office/drawing/2014/main" id="{915C94DC-672E-9DE5-235F-348136AEBBCD}"/>
              </a:ext>
            </a:extLst>
          </p:cNvPr>
          <p:cNvSpPr>
            <a:spLocks noGrp="1" noChangeAspect="1"/>
          </p:cNvSpPr>
          <p:nvPr>
            <p:ph type="pic" sz="quarter" idx="23"/>
          </p:nvPr>
        </p:nvSpPr>
        <p:spPr>
          <a:xfrm>
            <a:off x="6212606" y="1979485"/>
            <a:ext cx="2587503" cy="2531556"/>
          </a:xfrm>
          <a:custGeom>
            <a:avLst/>
            <a:gdLst>
              <a:gd name="connsiteX0" fmla="*/ 1678918 w 3335588"/>
              <a:gd name="connsiteY0" fmla="*/ 0 h 3257568"/>
              <a:gd name="connsiteX1" fmla="*/ 2848595 w 3335588"/>
              <a:gd name="connsiteY1" fmla="*/ 461675 h 3257568"/>
              <a:gd name="connsiteX2" fmla="*/ 3335505 w 3335588"/>
              <a:gd name="connsiteY2" fmla="*/ 1629238 h 3257568"/>
              <a:gd name="connsiteX3" fmla="*/ 3335588 w 3335588"/>
              <a:gd name="connsiteY3" fmla="*/ 1629321 h 3257568"/>
              <a:gd name="connsiteX4" fmla="*/ 2837015 w 3335588"/>
              <a:gd name="connsiteY4" fmla="*/ 2785325 h 3257568"/>
              <a:gd name="connsiteX5" fmla="*/ 1678918 w 3335588"/>
              <a:gd name="connsiteY5" fmla="*/ 3257568 h 3257568"/>
              <a:gd name="connsiteX6" fmla="*/ 519580 w 3335588"/>
              <a:gd name="connsiteY6" fmla="*/ 2786563 h 3257568"/>
              <a:gd name="connsiteX7" fmla="*/ 0 w 3335588"/>
              <a:gd name="connsiteY7" fmla="*/ 1629321 h 3257568"/>
              <a:gd name="connsiteX8" fmla="*/ 528596 w 3335588"/>
              <a:gd name="connsiteY8" fmla="*/ 481077 h 3257568"/>
              <a:gd name="connsiteX9" fmla="*/ 1678918 w 3335588"/>
              <a:gd name="connsiteY9" fmla="*/ 0 h 325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35588" h="3257568">
                <a:moveTo>
                  <a:pt x="1678918" y="0"/>
                </a:moveTo>
                <a:cubicBezTo>
                  <a:pt x="2135722" y="0"/>
                  <a:pt x="2549269" y="162891"/>
                  <a:pt x="2848595" y="461675"/>
                </a:cubicBezTo>
                <a:cubicBezTo>
                  <a:pt x="3147920" y="760460"/>
                  <a:pt x="3335505" y="1173342"/>
                  <a:pt x="3335505" y="1629238"/>
                </a:cubicBezTo>
                <a:lnTo>
                  <a:pt x="3335588" y="1629321"/>
                </a:lnTo>
                <a:cubicBezTo>
                  <a:pt x="3335588" y="2085299"/>
                  <a:pt x="3136423" y="2486541"/>
                  <a:pt x="2837015" y="2785325"/>
                </a:cubicBezTo>
                <a:cubicBezTo>
                  <a:pt x="2537690" y="3084110"/>
                  <a:pt x="2135722" y="3257568"/>
                  <a:pt x="1678918" y="3257568"/>
                </a:cubicBezTo>
                <a:cubicBezTo>
                  <a:pt x="1222114" y="3257568"/>
                  <a:pt x="818906" y="3085348"/>
                  <a:pt x="519580" y="2786563"/>
                </a:cubicBezTo>
                <a:cubicBezTo>
                  <a:pt x="220255" y="2487697"/>
                  <a:pt x="0" y="2085299"/>
                  <a:pt x="0" y="1629321"/>
                </a:cubicBezTo>
                <a:cubicBezTo>
                  <a:pt x="0" y="1173342"/>
                  <a:pt x="229270" y="779861"/>
                  <a:pt x="528596" y="481077"/>
                </a:cubicBezTo>
                <a:cubicBezTo>
                  <a:pt x="827921" y="182292"/>
                  <a:pt x="1222114" y="0"/>
                  <a:pt x="1678918" y="0"/>
                </a:cubicBezTo>
                <a:close/>
              </a:path>
            </a:pathLst>
          </a:custGeom>
          <a:solidFill>
            <a:schemeClr val="tx1">
              <a:lumMod val="20000"/>
              <a:lumOff val="80000"/>
            </a:schemeClr>
          </a:solidFill>
        </p:spPr>
        <p:txBody>
          <a:bodyPr wrap="square" tIns="396000">
            <a:noAutofit/>
          </a:bodyPr>
          <a:lstStyle>
            <a:lvl1pPr marL="0" indent="0" algn="ctr">
              <a:buNone/>
              <a:defRPr/>
            </a:lvl1pPr>
          </a:lstStyle>
          <a:p>
            <a:r>
              <a:rPr lang="en-US"/>
              <a:t>Click icon to add picture</a:t>
            </a:r>
            <a:endParaRPr lang="en-GB"/>
          </a:p>
        </p:txBody>
      </p:sp>
      <p:sp>
        <p:nvSpPr>
          <p:cNvPr id="14" name="Freeform: Shape 4">
            <a:extLst>
              <a:ext uri="{FF2B5EF4-FFF2-40B4-BE49-F238E27FC236}">
                <a16:creationId xmlns:a16="http://schemas.microsoft.com/office/drawing/2014/main" id="{C5E4FFA8-AAC7-EC23-AE1C-EC86DD4123ED}"/>
              </a:ext>
            </a:extLst>
          </p:cNvPr>
          <p:cNvSpPr>
            <a:spLocks noGrp="1" noChangeAspect="1"/>
          </p:cNvSpPr>
          <p:nvPr>
            <p:ph type="pic" sz="quarter" idx="24"/>
          </p:nvPr>
        </p:nvSpPr>
        <p:spPr>
          <a:xfrm>
            <a:off x="9028762" y="1979485"/>
            <a:ext cx="2587503" cy="2531556"/>
          </a:xfrm>
          <a:custGeom>
            <a:avLst/>
            <a:gdLst>
              <a:gd name="connsiteX0" fmla="*/ 1678918 w 3335588"/>
              <a:gd name="connsiteY0" fmla="*/ 0 h 3257568"/>
              <a:gd name="connsiteX1" fmla="*/ 2848595 w 3335588"/>
              <a:gd name="connsiteY1" fmla="*/ 461675 h 3257568"/>
              <a:gd name="connsiteX2" fmla="*/ 3335505 w 3335588"/>
              <a:gd name="connsiteY2" fmla="*/ 1629238 h 3257568"/>
              <a:gd name="connsiteX3" fmla="*/ 3335588 w 3335588"/>
              <a:gd name="connsiteY3" fmla="*/ 1629321 h 3257568"/>
              <a:gd name="connsiteX4" fmla="*/ 2837015 w 3335588"/>
              <a:gd name="connsiteY4" fmla="*/ 2785325 h 3257568"/>
              <a:gd name="connsiteX5" fmla="*/ 1678918 w 3335588"/>
              <a:gd name="connsiteY5" fmla="*/ 3257568 h 3257568"/>
              <a:gd name="connsiteX6" fmla="*/ 519580 w 3335588"/>
              <a:gd name="connsiteY6" fmla="*/ 2786563 h 3257568"/>
              <a:gd name="connsiteX7" fmla="*/ 0 w 3335588"/>
              <a:gd name="connsiteY7" fmla="*/ 1629321 h 3257568"/>
              <a:gd name="connsiteX8" fmla="*/ 528596 w 3335588"/>
              <a:gd name="connsiteY8" fmla="*/ 481077 h 3257568"/>
              <a:gd name="connsiteX9" fmla="*/ 1678918 w 3335588"/>
              <a:gd name="connsiteY9" fmla="*/ 0 h 325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35588" h="3257568">
                <a:moveTo>
                  <a:pt x="1678918" y="0"/>
                </a:moveTo>
                <a:cubicBezTo>
                  <a:pt x="2135722" y="0"/>
                  <a:pt x="2549269" y="162891"/>
                  <a:pt x="2848595" y="461675"/>
                </a:cubicBezTo>
                <a:cubicBezTo>
                  <a:pt x="3147920" y="760460"/>
                  <a:pt x="3335505" y="1173342"/>
                  <a:pt x="3335505" y="1629238"/>
                </a:cubicBezTo>
                <a:lnTo>
                  <a:pt x="3335588" y="1629321"/>
                </a:lnTo>
                <a:cubicBezTo>
                  <a:pt x="3335588" y="2085299"/>
                  <a:pt x="3136423" y="2486541"/>
                  <a:pt x="2837015" y="2785325"/>
                </a:cubicBezTo>
                <a:cubicBezTo>
                  <a:pt x="2537690" y="3084110"/>
                  <a:pt x="2135722" y="3257568"/>
                  <a:pt x="1678918" y="3257568"/>
                </a:cubicBezTo>
                <a:cubicBezTo>
                  <a:pt x="1222114" y="3257568"/>
                  <a:pt x="818906" y="3085348"/>
                  <a:pt x="519580" y="2786563"/>
                </a:cubicBezTo>
                <a:cubicBezTo>
                  <a:pt x="220255" y="2487697"/>
                  <a:pt x="0" y="2085299"/>
                  <a:pt x="0" y="1629321"/>
                </a:cubicBezTo>
                <a:cubicBezTo>
                  <a:pt x="0" y="1173342"/>
                  <a:pt x="229270" y="779861"/>
                  <a:pt x="528596" y="481077"/>
                </a:cubicBezTo>
                <a:cubicBezTo>
                  <a:pt x="827921" y="182292"/>
                  <a:pt x="1222114" y="0"/>
                  <a:pt x="1678918" y="0"/>
                </a:cubicBezTo>
                <a:close/>
              </a:path>
            </a:pathLst>
          </a:custGeom>
          <a:solidFill>
            <a:schemeClr val="tx1">
              <a:lumMod val="20000"/>
              <a:lumOff val="80000"/>
            </a:schemeClr>
          </a:solidFill>
        </p:spPr>
        <p:txBody>
          <a:bodyPr wrap="square" tIns="396000">
            <a:noAutofit/>
          </a:bodyPr>
          <a:lstStyle>
            <a:lvl1pPr marL="0" indent="0" algn="ctr">
              <a:buNone/>
              <a:defRPr/>
            </a:lvl1pPr>
          </a:lstStyle>
          <a:p>
            <a:r>
              <a:rPr lang="en-US"/>
              <a:t>Click icon to add picture</a:t>
            </a:r>
            <a:endParaRPr lang="en-GB"/>
          </a:p>
        </p:txBody>
      </p:sp>
    </p:spTree>
    <p:extLst>
      <p:ext uri="{BB962C8B-B14F-4D97-AF65-F5344CB8AC3E}">
        <p14:creationId xmlns:p14="http://schemas.microsoft.com/office/powerpoint/2010/main" val="102734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D9CC4E6-A4E4-4BB6-9F79-35D77AB1CC5A}" type="datetime1">
              <a:rPr lang="en-US" smtClean="0"/>
              <a:t>4/18/2025</a:t>
            </a:fld>
            <a:endParaRPr lang="en-US"/>
          </a:p>
        </p:txBody>
      </p:sp>
      <p:sp>
        <p:nvSpPr>
          <p:cNvPr id="5" name="Footer Placeholder 4"/>
          <p:cNvSpPr>
            <a:spLocks noGrp="1"/>
          </p:cNvSpPr>
          <p:nvPr>
            <p:ph type="ftr" sz="quarter" idx="11"/>
          </p:nvPr>
        </p:nvSpPr>
        <p:spPr/>
        <p:txBody>
          <a:bodyPr/>
          <a:lstStyle/>
          <a:p>
            <a:r>
              <a:rPr lang="en-US"/>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sp>
        <p:nvSpPr>
          <p:cNvPr id="9" name="Tijdelijke aanduiding voor tabel 7">
            <a:extLst>
              <a:ext uri="{FF2B5EF4-FFF2-40B4-BE49-F238E27FC236}">
                <a16:creationId xmlns:a16="http://schemas.microsoft.com/office/drawing/2014/main" id="{DEED083B-6C6C-41E9-9AEE-A277FCC01CE9}"/>
              </a:ext>
            </a:extLst>
          </p:cNvPr>
          <p:cNvSpPr>
            <a:spLocks noGrp="1"/>
          </p:cNvSpPr>
          <p:nvPr>
            <p:ph type="tbl" sz="quarter" idx="13"/>
          </p:nvPr>
        </p:nvSpPr>
        <p:spPr>
          <a:xfrm>
            <a:off x="575736" y="1701801"/>
            <a:ext cx="11040533" cy="4176184"/>
          </a:xfrm>
        </p:spPr>
        <p:txBody>
          <a:bodyPr/>
          <a:lstStyle/>
          <a:p>
            <a:r>
              <a:rPr lang="en-US"/>
              <a:t>Click icon to add table</a:t>
            </a:r>
            <a:endParaRPr lang="nl-NL"/>
          </a:p>
        </p:txBody>
      </p:sp>
    </p:spTree>
    <p:extLst>
      <p:ext uri="{BB962C8B-B14F-4D97-AF65-F5344CB8AC3E}">
        <p14:creationId xmlns:p14="http://schemas.microsoft.com/office/powerpoint/2010/main" val="1488553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Title, text and table">
    <p:spTree>
      <p:nvGrpSpPr>
        <p:cNvPr id="1" name=""/>
        <p:cNvGrpSpPr/>
        <p:nvPr/>
      </p:nvGrpSpPr>
      <p:grpSpPr>
        <a:xfrm>
          <a:off x="0" y="0"/>
          <a:ext cx="0" cy="0"/>
          <a:chOff x="0" y="0"/>
          <a:chExt cx="0" cy="0"/>
        </a:xfrm>
      </p:grpSpPr>
      <p:sp>
        <p:nvSpPr>
          <p:cNvPr id="2" name="Title 1"/>
          <p:cNvSpPr>
            <a:spLocks noGrp="1"/>
          </p:cNvSpPr>
          <p:nvPr>
            <p:ph type="title"/>
          </p:nvPr>
        </p:nvSpPr>
        <p:spPr>
          <a:xfrm>
            <a:off x="580295" y="548220"/>
            <a:ext cx="11035975" cy="1036965"/>
          </a:xfrm>
        </p:spPr>
        <p:txBody>
          <a:bodyPr/>
          <a:lstStyle/>
          <a:p>
            <a:r>
              <a:rPr lang="en-US"/>
              <a:t>Click to edit Master title style</a:t>
            </a:r>
          </a:p>
        </p:txBody>
      </p:sp>
      <p:sp>
        <p:nvSpPr>
          <p:cNvPr id="3" name="Content Placeholder 2"/>
          <p:cNvSpPr>
            <a:spLocks noGrp="1"/>
          </p:cNvSpPr>
          <p:nvPr>
            <p:ph sz="half" idx="1"/>
          </p:nvPr>
        </p:nvSpPr>
        <p:spPr>
          <a:xfrm>
            <a:off x="580800" y="1703997"/>
            <a:ext cx="5400000" cy="4368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F39349C-1D89-4689-A09E-66FAF47E47B3}" type="datetime1">
              <a:rPr lang="en-US" smtClean="0"/>
              <a:t>4/18/2025</a:t>
            </a:fld>
            <a:endParaRPr lang="en-US"/>
          </a:p>
        </p:txBody>
      </p:sp>
      <p:sp>
        <p:nvSpPr>
          <p:cNvPr id="6" name="Footer Placeholder 5"/>
          <p:cNvSpPr>
            <a:spLocks noGrp="1"/>
          </p:cNvSpPr>
          <p:nvPr>
            <p:ph type="ftr" sz="quarter" idx="11"/>
          </p:nvPr>
        </p:nvSpPr>
        <p:spPr/>
        <p:txBody>
          <a:bodyPr/>
          <a:lstStyle/>
          <a:p>
            <a:r>
              <a:rPr lang="en-US"/>
              <a:t>Draft | Internal use only | Confidential</a:t>
            </a:r>
          </a:p>
        </p:txBody>
      </p:sp>
      <p:sp>
        <p:nvSpPr>
          <p:cNvPr id="7" name="Slide Number Placeholder 6"/>
          <p:cNvSpPr>
            <a:spLocks noGrp="1"/>
          </p:cNvSpPr>
          <p:nvPr>
            <p:ph type="sldNum" sz="quarter" idx="12"/>
          </p:nvPr>
        </p:nvSpPr>
        <p:spPr/>
        <p:txBody>
          <a:bodyPr/>
          <a:lstStyle/>
          <a:p>
            <a:fld id="{9BE0E23E-9022-4929-B297-EB2777CDBB1F}" type="slidenum">
              <a:rPr lang="en-US" smtClean="0"/>
              <a:t>‹#›</a:t>
            </a:fld>
            <a:endParaRPr lang="en-US"/>
          </a:p>
        </p:txBody>
      </p:sp>
      <p:sp>
        <p:nvSpPr>
          <p:cNvPr id="10" name="Tijdelijke aanduiding voor tabel 8">
            <a:extLst>
              <a:ext uri="{FF2B5EF4-FFF2-40B4-BE49-F238E27FC236}">
                <a16:creationId xmlns:a16="http://schemas.microsoft.com/office/drawing/2014/main" id="{D2E9F6DD-7E2C-4192-BBC9-125146AEF9DA}"/>
              </a:ext>
            </a:extLst>
          </p:cNvPr>
          <p:cNvSpPr>
            <a:spLocks noGrp="1"/>
          </p:cNvSpPr>
          <p:nvPr>
            <p:ph type="tbl" sz="quarter" idx="13"/>
          </p:nvPr>
        </p:nvSpPr>
        <p:spPr>
          <a:xfrm>
            <a:off x="6216652" y="1701800"/>
            <a:ext cx="5975349" cy="4368800"/>
          </a:xfrm>
        </p:spPr>
        <p:txBody>
          <a:bodyPr/>
          <a:lstStyle/>
          <a:p>
            <a:r>
              <a:rPr lang="en-US"/>
              <a:t>Click icon to add table</a:t>
            </a:r>
            <a:endParaRPr lang="nl-NL"/>
          </a:p>
        </p:txBody>
      </p:sp>
    </p:spTree>
    <p:extLst>
      <p:ext uri="{BB962C8B-B14F-4D97-AF65-F5344CB8AC3E}">
        <p14:creationId xmlns:p14="http://schemas.microsoft.com/office/powerpoint/2010/main" val="2686494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4B469E4-15E6-4A59-8538-70D92811F67A}"/>
              </a:ext>
            </a:extLst>
          </p:cNvPr>
          <p:cNvGraphicFramePr>
            <a:graphicFrameLocks noChangeAspect="1"/>
          </p:cNvGraphicFramePr>
          <p:nvPr userDrawn="1">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think-cell Slide" r:id="rId4" imgW="493" imgH="496" progId="TCLayout.ActiveDocument.1">
                  <p:embed/>
                </p:oleObj>
              </mc:Choice>
              <mc:Fallback>
                <p:oleObj name="think-cell Slide" r:id="rId4" imgW="493" imgH="496" progId="TCLayout.ActiveDocument.1">
                  <p:embed/>
                  <p:pic>
                    <p:nvPicPr>
                      <p:cNvPr id="7" name="Object 6" hidden="1">
                        <a:extLst>
                          <a:ext uri="{FF2B5EF4-FFF2-40B4-BE49-F238E27FC236}">
                            <a16:creationId xmlns:a16="http://schemas.microsoft.com/office/drawing/2014/main" id="{54B469E4-15E6-4A59-8538-70D92811F67A}"/>
                          </a:ext>
                        </a:extLst>
                      </p:cNvPr>
                      <p:cNvPicPr/>
                      <p:nvPr/>
                    </p:nvPicPr>
                    <p:blipFill>
                      <a:blip r:embed="rId5"/>
                      <a:stretch>
                        <a:fillRect/>
                      </a:stretch>
                    </p:blipFill>
                    <p:spPr>
                      <a:xfrm>
                        <a:off x="2120" y="2120"/>
                        <a:ext cx="2117"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F641D65-FCD2-482E-A1FD-702E7B6AA84B}"/>
              </a:ext>
            </a:extLst>
          </p:cNvPr>
          <p:cNvSpPr/>
          <p:nvPr userDrawn="1">
            <p:custDataLst>
              <p:tags r:id="rId2"/>
            </p:custDataLst>
          </p:nvPr>
        </p:nvSpPr>
        <p:spPr>
          <a:xfrm>
            <a:off x="1" y="1"/>
            <a:ext cx="211667" cy="211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667" b="0" i="0" baseline="0">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D9CC4E6-A4E4-4BB6-9F79-35D77AB1CC5A}" type="datetime1">
              <a:rPr lang="en-US" smtClean="0"/>
              <a:t>4/18/2025</a:t>
            </a:fld>
            <a:endParaRPr lang="en-US"/>
          </a:p>
        </p:txBody>
      </p:sp>
      <p:sp>
        <p:nvSpPr>
          <p:cNvPr id="5" name="Footer Placeholder 4"/>
          <p:cNvSpPr>
            <a:spLocks noGrp="1"/>
          </p:cNvSpPr>
          <p:nvPr>
            <p:ph type="ftr" sz="quarter" idx="11"/>
          </p:nvPr>
        </p:nvSpPr>
        <p:spPr/>
        <p:txBody>
          <a:bodyPr/>
          <a:lstStyle/>
          <a:p>
            <a:r>
              <a:rPr lang="en-US"/>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sp>
        <p:nvSpPr>
          <p:cNvPr id="9" name="Tijdelijke aanduiding voor tabel 7">
            <a:extLst>
              <a:ext uri="{FF2B5EF4-FFF2-40B4-BE49-F238E27FC236}">
                <a16:creationId xmlns:a16="http://schemas.microsoft.com/office/drawing/2014/main" id="{DEED083B-6C6C-41E9-9AEE-A277FCC01CE9}"/>
              </a:ext>
            </a:extLst>
          </p:cNvPr>
          <p:cNvSpPr>
            <a:spLocks noGrp="1"/>
          </p:cNvSpPr>
          <p:nvPr>
            <p:ph type="tbl" sz="quarter" idx="13"/>
          </p:nvPr>
        </p:nvSpPr>
        <p:spPr>
          <a:xfrm>
            <a:off x="575733" y="1701803"/>
            <a:ext cx="11616267" cy="4366684"/>
          </a:xfrm>
        </p:spPr>
        <p:txBody>
          <a:bodyPr/>
          <a:lstStyle/>
          <a:p>
            <a:r>
              <a:rPr lang="en-US"/>
              <a:t>Click icon to add table</a:t>
            </a:r>
            <a:endParaRPr lang="nl-NL"/>
          </a:p>
        </p:txBody>
      </p:sp>
    </p:spTree>
    <p:extLst>
      <p:ext uri="{BB962C8B-B14F-4D97-AF65-F5344CB8AC3E}">
        <p14:creationId xmlns:p14="http://schemas.microsoft.com/office/powerpoint/2010/main" val="2785754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type="tx" preserve="1">
  <p:cSld name="Titel und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9A0A39-DA3B-4610-9371-E8A2FF099795}"/>
              </a:ext>
            </a:extLst>
          </p:cNvPr>
          <p:cNvGraphicFramePr>
            <a:graphicFrameLocks noChangeAspect="1"/>
          </p:cNvGraphicFramePr>
          <p:nvPr userDrawn="1">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569A0A39-DA3B-4610-9371-E8A2FF099795}"/>
                          </a:ext>
                        </a:extLst>
                      </p:cNvPr>
                      <p:cNvPicPr/>
                      <p:nvPr/>
                    </p:nvPicPr>
                    <p:blipFill>
                      <a:blip r:embed="rId4"/>
                      <a:stretch>
                        <a:fillRect/>
                      </a:stretch>
                    </p:blipFill>
                    <p:spPr>
                      <a:xfrm>
                        <a:off x="2119"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de-DE"/>
              <a:t>Mastertitelformat bearbeiten</a:t>
            </a:r>
            <a:endParaRPr lang="en-US"/>
          </a:p>
        </p:txBody>
      </p:sp>
      <p:sp>
        <p:nvSpPr>
          <p:cNvPr id="3" name="Text Placeholder 2"/>
          <p:cNvSpPr>
            <a:spLocks noGrp="1"/>
          </p:cNvSpPr>
          <p:nvPr>
            <p:ph type="body"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400333834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8" name="Title 7"/>
          <p:cNvSpPr>
            <a:spLocks noGrp="1"/>
          </p:cNvSpPr>
          <p:nvPr>
            <p:ph type="title"/>
          </p:nvPr>
        </p:nvSpPr>
        <p:spPr/>
        <p:txBody>
          <a:bodyPr>
            <a:normAutofit/>
          </a:bodyPr>
          <a:lstStyle>
            <a:lvl1pPr>
              <a:defRPr sz="2600"/>
            </a:lvl1pPr>
          </a:lstStyle>
          <a:p>
            <a:r>
              <a:rPr lang="en-US"/>
              <a:t>Click to edit Master title style</a:t>
            </a:r>
            <a:endParaRPr lang="en-GB"/>
          </a:p>
        </p:txBody>
      </p:sp>
      <p:sp>
        <p:nvSpPr>
          <p:cNvPr id="5" name="Slide Number Placeholder 5"/>
          <p:cNvSpPr>
            <a:spLocks noGrp="1"/>
          </p:cNvSpPr>
          <p:nvPr>
            <p:ph type="sldNum" sz="quarter" idx="12"/>
          </p:nvPr>
        </p:nvSpPr>
        <p:spPr>
          <a:xfrm>
            <a:off x="666263" y="6547178"/>
            <a:ext cx="147476" cy="102657"/>
          </a:xfrm>
        </p:spPr>
        <p:txBody>
          <a:bodyPr/>
          <a:lstStyle/>
          <a:p>
            <a:fld id="{9BE0E23E-9022-4929-B297-EB2777CDBB1F}" type="slidenum">
              <a:rPr lang="en-US" smtClean="0"/>
              <a:t>‹#›</a:t>
            </a:fld>
            <a:endParaRPr lang="en-US"/>
          </a:p>
        </p:txBody>
      </p:sp>
      <p:sp>
        <p:nvSpPr>
          <p:cNvPr id="7" name="Text Placeholder 10"/>
          <p:cNvSpPr>
            <a:spLocks noGrp="1"/>
          </p:cNvSpPr>
          <p:nvPr>
            <p:ph type="body" sz="quarter" idx="15" hasCustomPrompt="1"/>
          </p:nvPr>
        </p:nvSpPr>
        <p:spPr>
          <a:xfrm>
            <a:off x="934589" y="6293399"/>
            <a:ext cx="9225411" cy="366663"/>
          </a:xfrm>
        </p:spPr>
        <p:txBody>
          <a:bodyPr anchor="b"/>
          <a:lstStyle>
            <a:lvl1pPr marL="0" indent="0">
              <a:lnSpc>
                <a:spcPct val="100000"/>
              </a:lnSpc>
              <a:spcBef>
                <a:spcPts val="0"/>
              </a:spcBef>
              <a:buNone/>
              <a:defRPr sz="1067"/>
            </a:lvl1pPr>
            <a:lvl2pPr marL="251854" indent="0">
              <a:buNone/>
              <a:defRPr sz="1067"/>
            </a:lvl2pPr>
            <a:lvl3pPr marL="486773" indent="0">
              <a:buNone/>
              <a:defRPr sz="1067"/>
            </a:lvl3pPr>
            <a:lvl4pPr marL="732276" indent="0">
              <a:buNone/>
              <a:defRPr sz="1067"/>
            </a:lvl4pPr>
            <a:lvl5pPr marL="967197" indent="0">
              <a:buNone/>
              <a:defRPr sz="1067"/>
            </a:lvl5pPr>
          </a:lstStyle>
          <a:p>
            <a:pPr lvl="0"/>
            <a:r>
              <a:rPr lang="en-US"/>
              <a:t>Source:</a:t>
            </a:r>
            <a:endParaRPr lang="en-GB"/>
          </a:p>
        </p:txBody>
      </p:sp>
    </p:spTree>
    <p:custDataLst>
      <p:tags r:id="rId1"/>
    </p:custDataLst>
    <p:extLst>
      <p:ext uri="{BB962C8B-B14F-4D97-AF65-F5344CB8AC3E}">
        <p14:creationId xmlns:p14="http://schemas.microsoft.com/office/powerpoint/2010/main" val="1287676719"/>
      </p:ext>
    </p:extLst>
  </p:cSld>
  <p:clrMapOvr>
    <a:masterClrMapping/>
  </p:clrMapOvr>
  <p:extLst>
    <p:ext uri="{DCECCB84-F9BA-43D5-87BE-67443E8EF086}">
      <p15:sldGuideLst xmlns:p15="http://schemas.microsoft.com/office/powerpoint/2012/main">
        <p15:guide id="1" pos="226">
          <p15:clr>
            <a:srgbClr val="FBAE40"/>
          </p15:clr>
        </p15:guide>
        <p15:guide id="2" pos="5534">
          <p15:clr>
            <a:srgbClr val="FBAE40"/>
          </p15:clr>
        </p15:guide>
        <p15:guide id="3" orient="horz" pos="913">
          <p15:clr>
            <a:srgbClr val="FBAE40"/>
          </p15:clr>
        </p15:guide>
        <p15:guide id="4" orient="horz" pos="402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1_Title and objec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11423F-DDEA-48A1-91D3-0AA8F485E3C0}"/>
              </a:ext>
            </a:extLst>
          </p:cNvPr>
          <p:cNvGraphicFramePr>
            <a:graphicFrameLocks noChangeAspect="1"/>
          </p:cNvGraphicFramePr>
          <p:nvPr userDrawn="1">
            <p:custDataLst>
              <p:tags r:id="rId1"/>
            </p:custDataLst>
            <p:extLst>
              <p:ext uri="{D42A27DB-BD31-4B8C-83A1-F6EECF244321}">
                <p14:modId xmlns:p14="http://schemas.microsoft.com/office/powerpoint/2010/main" val="3450068772"/>
              </p:ext>
            </p:ext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18" imgH="329" progId="TCLayout.ActiveDocument.1">
                  <p:embed/>
                </p:oleObj>
              </mc:Choice>
              <mc:Fallback>
                <p:oleObj name="think-cell Slide" r:id="rId4" imgW="318" imgH="329" progId="TCLayout.ActiveDocument.1">
                  <p:embed/>
                  <p:pic>
                    <p:nvPicPr>
                      <p:cNvPr id="4" name="Object 3" hidden="1">
                        <a:extLst>
                          <a:ext uri="{FF2B5EF4-FFF2-40B4-BE49-F238E27FC236}">
                            <a16:creationId xmlns:a16="http://schemas.microsoft.com/office/drawing/2014/main" id="{CD11423F-DDEA-48A1-91D3-0AA8F485E3C0}"/>
                          </a:ext>
                        </a:extLst>
                      </p:cNvPr>
                      <p:cNvPicPr/>
                      <p:nvPr/>
                    </p:nvPicPr>
                    <p:blipFill>
                      <a:blip r:embed="rId5"/>
                      <a:stretch>
                        <a:fillRect/>
                      </a:stretch>
                    </p:blipFill>
                    <p:spPr>
                      <a:xfrm>
                        <a:off x="2119" y="2119"/>
                        <a:ext cx="2116" cy="2116"/>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33D59BF-82E2-4B7A-BCDC-5916A2C6F26F}"/>
              </a:ext>
            </a:extLst>
          </p:cNvPr>
          <p:cNvSpPr/>
          <p:nvPr userDrawn="1">
            <p:custDataLst>
              <p:tags r:id="rId2"/>
            </p:custDataLst>
          </p:nvPr>
        </p:nvSpPr>
        <p:spPr>
          <a:xfrm>
            <a:off x="1" y="1"/>
            <a:ext cx="211667" cy="211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667" b="0" i="0" baseline="0">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spTree>
    <p:extLst>
      <p:ext uri="{BB962C8B-B14F-4D97-AF65-F5344CB8AC3E}">
        <p14:creationId xmlns:p14="http://schemas.microsoft.com/office/powerpoint/2010/main" val="2394645287"/>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Title, object, image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5735" y="548220"/>
            <a:ext cx="5257804" cy="1036965"/>
          </a:xfrm>
        </p:spPr>
        <p:txBody>
          <a:bodyPr/>
          <a:lstStyle/>
          <a:p>
            <a:r>
              <a:rPr lang="en-US"/>
              <a:t>Click to edit Master title style</a:t>
            </a:r>
          </a:p>
        </p:txBody>
      </p:sp>
      <p:sp>
        <p:nvSpPr>
          <p:cNvPr id="3" name="Content Placeholder 2"/>
          <p:cNvSpPr>
            <a:spLocks noGrp="1"/>
          </p:cNvSpPr>
          <p:nvPr>
            <p:ph idx="1" hasCustomPrompt="1"/>
          </p:nvPr>
        </p:nvSpPr>
        <p:spPr>
          <a:xfrm>
            <a:off x="580294" y="1701803"/>
            <a:ext cx="5257804" cy="43666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379640" y="6491401"/>
            <a:ext cx="458459" cy="102657"/>
          </a:xfrm>
        </p:spPr>
        <p:txBody>
          <a:bodyPr/>
          <a:lstStyle/>
          <a:p>
            <a:fld id="{FD70B62E-A4D6-4FC0-8ADD-3D7BB8E655B3}" type="datetime1">
              <a:rPr lang="en-US" smtClean="0"/>
              <a:t>4/18/2025</a:t>
            </a:fld>
            <a:endParaRPr lang="en-US"/>
          </a:p>
        </p:txBody>
      </p:sp>
      <p:sp>
        <p:nvSpPr>
          <p:cNvPr id="5" name="Footer Placeholder 4"/>
          <p:cNvSpPr>
            <a:spLocks noGrp="1"/>
          </p:cNvSpPr>
          <p:nvPr>
            <p:ph type="ftr" sz="quarter" idx="11"/>
          </p:nvPr>
        </p:nvSpPr>
        <p:spPr/>
        <p:txBody>
          <a:bodyPr/>
          <a:lstStyle/>
          <a:p>
            <a:r>
              <a:rPr lang="en-US"/>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sp>
        <p:nvSpPr>
          <p:cNvPr id="8" name="Tijdelijke aanduiding voor afbeelding 7">
            <a:extLst>
              <a:ext uri="{FF2B5EF4-FFF2-40B4-BE49-F238E27FC236}">
                <a16:creationId xmlns:a16="http://schemas.microsoft.com/office/drawing/2014/main" id="{F720B503-17F8-4237-9A82-0CEE6CD5AC31}"/>
              </a:ext>
            </a:extLst>
          </p:cNvPr>
          <p:cNvSpPr>
            <a:spLocks noGrp="1"/>
          </p:cNvSpPr>
          <p:nvPr>
            <p:ph type="pic" sz="quarter" idx="13" hasCustomPrompt="1"/>
          </p:nvPr>
        </p:nvSpPr>
        <p:spPr>
          <a:xfrm>
            <a:off x="6096000" y="0"/>
            <a:ext cx="6096000" cy="6858000"/>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Tree>
    <p:extLst>
      <p:ext uri="{BB962C8B-B14F-4D97-AF65-F5344CB8AC3E}">
        <p14:creationId xmlns:p14="http://schemas.microsoft.com/office/powerpoint/2010/main" val="1756205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type="titleOnly">
  <p:cSld name="8_Title Only">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en-US"/>
              <a:t>Click to edit Master title style</a:t>
            </a:r>
            <a:endParaRPr lang="fr-FR"/>
          </a:p>
        </p:txBody>
      </p:sp>
    </p:spTree>
    <p:custDataLst>
      <p:tags r:id="rId1"/>
    </p:custDataLst>
    <p:extLst>
      <p:ext uri="{BB962C8B-B14F-4D97-AF65-F5344CB8AC3E}">
        <p14:creationId xmlns:p14="http://schemas.microsoft.com/office/powerpoint/2010/main" val="4214989746"/>
      </p:ext>
    </p:extLst>
  </p:cSld>
  <p:clrMapOvr>
    <a:masterClrMapping/>
  </p:clrMapOvr>
  <p:transition/>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_Title, subtitle and objec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3" name="Content Placeholder 2"/>
          <p:cNvSpPr>
            <a:spLocks noGrp="1"/>
          </p:cNvSpPr>
          <p:nvPr>
            <p:ph idx="1" hasCustomPrompt="1"/>
          </p:nvPr>
        </p:nvSpPr>
        <p:spPr>
          <a:xfrm>
            <a:off x="580295" y="2077593"/>
            <a:ext cx="11035975" cy="38003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44C72E4-1609-4E2B-81D9-B3080DFCBD83}" type="datetime1">
              <a:rPr lang="en-US" smtClean="0"/>
              <a:t>4/18/2025</a:t>
            </a:fld>
            <a:endParaRPr lang="en-US"/>
          </a:p>
        </p:txBody>
      </p:sp>
      <p:sp>
        <p:nvSpPr>
          <p:cNvPr id="5" name="Footer Placeholder 4"/>
          <p:cNvSpPr>
            <a:spLocks noGrp="1"/>
          </p:cNvSpPr>
          <p:nvPr>
            <p:ph type="ftr" sz="quarter" idx="11"/>
          </p:nvPr>
        </p:nvSpPr>
        <p:spPr/>
        <p:txBody>
          <a:bodyPr/>
          <a:lstStyle/>
          <a:p>
            <a:r>
              <a:rPr lang="en-US"/>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sp>
        <p:nvSpPr>
          <p:cNvPr id="8" name="Tijdelijke aanduiding voor tekst 7">
            <a:extLst>
              <a:ext uri="{FF2B5EF4-FFF2-40B4-BE49-F238E27FC236}">
                <a16:creationId xmlns:a16="http://schemas.microsoft.com/office/drawing/2014/main" id="{F7DBD289-E124-4653-9BF3-FE57FA1AC736}"/>
              </a:ext>
            </a:extLst>
          </p:cNvPr>
          <p:cNvSpPr>
            <a:spLocks noGrp="1"/>
          </p:cNvSpPr>
          <p:nvPr>
            <p:ph type="body" sz="quarter" idx="13" hasCustomPrompt="1"/>
          </p:nvPr>
        </p:nvSpPr>
        <p:spPr>
          <a:xfrm>
            <a:off x="580291" y="1701800"/>
            <a:ext cx="11035200" cy="375792"/>
          </a:xfrm>
        </p:spPr>
        <p:txBody>
          <a:bodyPr wrap="none"/>
          <a:lstStyle>
            <a:lvl1pPr marL="0" indent="0">
              <a:buNone/>
              <a:defRPr>
                <a:solidFill>
                  <a:schemeClr val="accent1"/>
                </a:solidFill>
              </a:defRPr>
            </a:lvl1pPr>
          </a:lstStyle>
          <a:p>
            <a:pPr lvl="0"/>
            <a:r>
              <a:rPr lang="en-US"/>
              <a:t>Subtitle</a:t>
            </a:r>
          </a:p>
        </p:txBody>
      </p:sp>
    </p:spTree>
    <p:extLst>
      <p:ext uri="{BB962C8B-B14F-4D97-AF65-F5344CB8AC3E}">
        <p14:creationId xmlns:p14="http://schemas.microsoft.com/office/powerpoint/2010/main" val="849656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object, image left - 5">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19C60E4-499D-5846-DA17-B2DCF1100A93}"/>
              </a:ext>
            </a:extLst>
          </p:cNvPr>
          <p:cNvSpPr>
            <a:spLocks noGrp="1"/>
          </p:cNvSpPr>
          <p:nvPr>
            <p:ph type="pic" sz="quarter" idx="14"/>
          </p:nvPr>
        </p:nvSpPr>
        <p:spPr>
          <a:xfrm>
            <a:off x="580291" y="1701802"/>
            <a:ext cx="4368000" cy="4366684"/>
          </a:xfrm>
          <a:prstGeom prst="roundRect">
            <a:avLst>
              <a:gd name="adj" fmla="val 5981"/>
            </a:avLst>
          </a:prstGeom>
          <a:solidFill>
            <a:schemeClr val="tx1">
              <a:lumMod val="20000"/>
              <a:lumOff val="80000"/>
            </a:schemeClr>
          </a:solidFill>
        </p:spPr>
        <p:txBody>
          <a:bodyPr wrap="square" tIns="396000">
            <a:noAutofit/>
          </a:bodyPr>
          <a:lstStyle>
            <a:lvl1pPr marL="0" indent="0" algn="ctr">
              <a:buNone/>
              <a:defRPr/>
            </a:lvl1pPr>
          </a:lstStyle>
          <a:p>
            <a:r>
              <a:rPr lang="en-US"/>
              <a:t>Click icon to add picture</a:t>
            </a:r>
            <a:endParaRPr lang="en-GB"/>
          </a:p>
        </p:txBody>
      </p:sp>
      <p:sp>
        <p:nvSpPr>
          <p:cNvPr id="7" name="Text Placeholder 6">
            <a:extLst>
              <a:ext uri="{FF2B5EF4-FFF2-40B4-BE49-F238E27FC236}">
                <a16:creationId xmlns:a16="http://schemas.microsoft.com/office/drawing/2014/main" id="{8D6A2074-4B23-FA44-8A54-9A181E3C48B2}"/>
              </a:ext>
            </a:extLst>
          </p:cNvPr>
          <p:cNvSpPr>
            <a:spLocks noGrp="1"/>
          </p:cNvSpPr>
          <p:nvPr>
            <p:ph type="body" sz="quarter" idx="15"/>
          </p:nvPr>
        </p:nvSpPr>
        <p:spPr>
          <a:xfrm>
            <a:off x="4459705" y="2321918"/>
            <a:ext cx="7156560" cy="3536897"/>
          </a:xfrm>
          <a:prstGeom prst="roundRect">
            <a:avLst>
              <a:gd name="adj" fmla="val 7384"/>
            </a:avLst>
          </a:prstGeom>
          <a:solidFill>
            <a:srgbClr val="74BDE9"/>
          </a:solidFill>
        </p:spPr>
        <p:txBody>
          <a:bodyPr vert="horz" lIns="180000" tIns="288000" rIns="180000" bIns="180000" rtlCol="0">
            <a:noAutofit/>
          </a:bodyPr>
          <a:lstStyle>
            <a:lvl1pPr>
              <a:buClrTx/>
              <a:defRPr lang="en-US" dirty="0" smtClean="0">
                <a:solidFill>
                  <a:schemeClr val="bg1"/>
                </a:solidFill>
              </a:defRPr>
            </a:lvl1pPr>
            <a:lvl2pPr>
              <a:buClrTx/>
              <a:defRPr lang="en-US" dirty="0" smtClean="0">
                <a:solidFill>
                  <a:schemeClr val="bg1"/>
                </a:solidFill>
              </a:defRPr>
            </a:lvl2pPr>
            <a:lvl3pPr>
              <a:buClrTx/>
              <a:defRPr lang="en-US" dirty="0" smtClean="0">
                <a:solidFill>
                  <a:schemeClr val="bg1"/>
                </a:solidFill>
              </a:defRPr>
            </a:lvl3pPr>
            <a:lvl4pPr>
              <a:buClrTx/>
              <a:defRPr lang="en-US" dirty="0" smtClean="0">
                <a:solidFill>
                  <a:schemeClr val="bg1"/>
                </a:solidFill>
              </a:defRPr>
            </a:lvl4pPr>
            <a:lvl5pPr>
              <a:buClrTx/>
              <a:defRPr lang="en-GB" dirty="0">
                <a:solidFill>
                  <a:schemeClr val="bg1"/>
                </a:solidFill>
              </a:defRPr>
            </a:lvl5pPr>
          </a:lstStyle>
          <a:p>
            <a:pPr lvl="0">
              <a:buClr>
                <a:schemeClr val="bg1"/>
              </a:buClr>
            </a:pPr>
            <a:r>
              <a:rPr lang="en-US"/>
              <a:t>Click to edit Master text styles</a:t>
            </a:r>
          </a:p>
          <a:p>
            <a:pPr lvl="1">
              <a:buClr>
                <a:schemeClr val="bg1"/>
              </a:buClr>
            </a:pPr>
            <a:r>
              <a:rPr lang="en-US"/>
              <a:t>Second level</a:t>
            </a:r>
          </a:p>
          <a:p>
            <a:pPr lvl="2">
              <a:buClr>
                <a:schemeClr val="bg1"/>
              </a:buClr>
            </a:pPr>
            <a:r>
              <a:rPr lang="en-US"/>
              <a:t>Third level</a:t>
            </a:r>
          </a:p>
          <a:p>
            <a:pPr lvl="3">
              <a:buClr>
                <a:schemeClr val="bg1"/>
              </a:buClr>
            </a:pPr>
            <a:r>
              <a:rPr lang="en-US"/>
              <a:t>Fourth level</a:t>
            </a:r>
          </a:p>
          <a:p>
            <a:pPr lvl="4">
              <a:buClr>
                <a:schemeClr val="bg1"/>
              </a:buClr>
            </a:pPr>
            <a:r>
              <a:rPr lang="en-US"/>
              <a:t>Fifth level</a:t>
            </a:r>
            <a:endParaRPr lang="en-GB"/>
          </a:p>
        </p:txBody>
      </p:sp>
      <p:sp>
        <p:nvSpPr>
          <p:cNvPr id="2" name="Title 1"/>
          <p:cNvSpPr>
            <a:spLocks noGrp="1"/>
          </p:cNvSpPr>
          <p:nvPr>
            <p:ph type="title" hasCustomPrompt="1"/>
          </p:nvPr>
        </p:nvSpPr>
        <p:spPr>
          <a:xfrm>
            <a:off x="580293" y="548219"/>
            <a:ext cx="11035975" cy="1036965"/>
          </a:xfrm>
        </p:spPr>
        <p:txBody>
          <a:bodyPr/>
          <a:lstStyle/>
          <a:p>
            <a:r>
              <a:rPr lang="en-GB"/>
              <a:t>Click to add title</a:t>
            </a:r>
          </a:p>
        </p:txBody>
      </p:sp>
      <p:sp>
        <p:nvSpPr>
          <p:cNvPr id="4" name="Date Placeholder 3"/>
          <p:cNvSpPr>
            <a:spLocks noGrp="1"/>
          </p:cNvSpPr>
          <p:nvPr>
            <p:ph type="dt" sz="half" idx="10"/>
          </p:nvPr>
        </p:nvSpPr>
        <p:spPr>
          <a:xfrm>
            <a:off x="10183139" y="6491401"/>
            <a:ext cx="512962" cy="102657"/>
          </a:xfrm>
        </p:spPr>
        <p:txBody>
          <a:bodyPr/>
          <a:lstStyle/>
          <a:p>
            <a:fld id="{348E600B-2374-4B93-98BF-D5F15DD1994E}" type="datetime1">
              <a:rPr lang="en-GB" smtClean="0"/>
              <a:t>18/04/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Tree>
    <p:extLst>
      <p:ext uri="{BB962C8B-B14F-4D97-AF65-F5344CB8AC3E}">
        <p14:creationId xmlns:p14="http://schemas.microsoft.com/office/powerpoint/2010/main" val="3305761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text and 3 images">
    <p:spTree>
      <p:nvGrpSpPr>
        <p:cNvPr id="1" name=""/>
        <p:cNvGrpSpPr/>
        <p:nvPr/>
      </p:nvGrpSpPr>
      <p:grpSpPr>
        <a:xfrm>
          <a:off x="0" y="0"/>
          <a:ext cx="0" cy="0"/>
          <a:chOff x="0" y="0"/>
          <a:chExt cx="0" cy="0"/>
        </a:xfrm>
      </p:grpSpPr>
      <p:sp>
        <p:nvSpPr>
          <p:cNvPr id="7" name="Text Placeholder 1">
            <a:extLst>
              <a:ext uri="{FF2B5EF4-FFF2-40B4-BE49-F238E27FC236}">
                <a16:creationId xmlns:a16="http://schemas.microsoft.com/office/drawing/2014/main" id="{91E12531-8EEB-436F-8425-BD99B771F678}"/>
              </a:ext>
            </a:extLst>
          </p:cNvPr>
          <p:cNvSpPr>
            <a:spLocks noGrp="1"/>
          </p:cNvSpPr>
          <p:nvPr>
            <p:ph type="body" sz="quarter" idx="20" hasCustomPrompt="1"/>
          </p:nvPr>
        </p:nvSpPr>
        <p:spPr>
          <a:xfrm>
            <a:off x="579967" y="2363905"/>
            <a:ext cx="3384551" cy="3704580"/>
          </a:xfrm>
          <a:prstGeom prst="roundRect">
            <a:avLst>
              <a:gd name="adj" fmla="val 6547"/>
            </a:avLst>
          </a:prstGeom>
          <a:solidFill>
            <a:srgbClr val="EEF3FB"/>
          </a:solidFill>
        </p:spPr>
        <p:txBody>
          <a:bodyPr lIns="72000" tIns="1080000" rIns="72000" bIns="72000"/>
          <a:lstStyle>
            <a:lvl1pPr>
              <a:defRPr sz="1600"/>
            </a:lvl1pPr>
            <a:lvl2pPr>
              <a:defRPr sz="1600"/>
            </a:lvl2pPr>
            <a:lvl3pPr>
              <a:defRPr sz="1600"/>
            </a:lvl3pPr>
            <a:lvl4pPr>
              <a:defRPr sz="1600"/>
            </a:lvl4pPr>
            <a:lvl5pPr>
              <a:defRPr sz="1600"/>
            </a:lvl5pPr>
          </a:lstStyle>
          <a:p>
            <a:pPr lvl="0"/>
            <a:r>
              <a:rPr lang="en-GB"/>
              <a:t>Add text</a:t>
            </a:r>
          </a:p>
          <a:p>
            <a:pPr lvl="1"/>
            <a:r>
              <a:rPr lang="en-GB"/>
              <a:t>Second level</a:t>
            </a:r>
          </a:p>
          <a:p>
            <a:pPr lvl="2"/>
            <a:r>
              <a:rPr lang="en-GB"/>
              <a:t>Third level</a:t>
            </a:r>
          </a:p>
          <a:p>
            <a:pPr lvl="3"/>
            <a:r>
              <a:rPr lang="en-GB"/>
              <a:t>Fourth level</a:t>
            </a:r>
          </a:p>
          <a:p>
            <a:pPr lvl="4"/>
            <a:r>
              <a:rPr lang="en-GB"/>
              <a:t>Fifth level</a:t>
            </a:r>
          </a:p>
        </p:txBody>
      </p:sp>
      <p:sp>
        <p:nvSpPr>
          <p:cNvPr id="14" name="Text Placeholder 2">
            <a:extLst>
              <a:ext uri="{FF2B5EF4-FFF2-40B4-BE49-F238E27FC236}">
                <a16:creationId xmlns:a16="http://schemas.microsoft.com/office/drawing/2014/main" id="{398351E2-2434-406B-8990-0F0F5A11F2EF}"/>
              </a:ext>
            </a:extLst>
          </p:cNvPr>
          <p:cNvSpPr>
            <a:spLocks noGrp="1"/>
          </p:cNvSpPr>
          <p:nvPr>
            <p:ph type="body" sz="quarter" idx="21" hasCustomPrompt="1"/>
          </p:nvPr>
        </p:nvSpPr>
        <p:spPr>
          <a:xfrm>
            <a:off x="4405842" y="2363905"/>
            <a:ext cx="3384551" cy="3704580"/>
          </a:xfrm>
          <a:prstGeom prst="roundRect">
            <a:avLst>
              <a:gd name="adj" fmla="val 6547"/>
            </a:avLst>
          </a:prstGeom>
          <a:solidFill>
            <a:srgbClr val="EEF3FB"/>
          </a:solidFill>
        </p:spPr>
        <p:txBody>
          <a:bodyPr lIns="72000" tIns="1080000" rIns="72000" bIns="72000"/>
          <a:lstStyle>
            <a:lvl1pPr>
              <a:defRPr sz="1600"/>
            </a:lvl1pPr>
            <a:lvl2pPr>
              <a:defRPr sz="1600"/>
            </a:lvl2pPr>
            <a:lvl3pPr>
              <a:defRPr sz="1600"/>
            </a:lvl3pPr>
            <a:lvl4pPr>
              <a:defRPr sz="1600"/>
            </a:lvl4pPr>
            <a:lvl5pPr>
              <a:defRPr sz="1600"/>
            </a:lvl5pPr>
          </a:lstStyle>
          <a:p>
            <a:pPr lvl="0"/>
            <a:r>
              <a:rPr lang="en-GB"/>
              <a:t>Add text</a:t>
            </a:r>
          </a:p>
          <a:p>
            <a:pPr lvl="1"/>
            <a:r>
              <a:rPr lang="en-GB"/>
              <a:t>Second level</a:t>
            </a:r>
          </a:p>
          <a:p>
            <a:pPr lvl="2"/>
            <a:r>
              <a:rPr lang="en-GB"/>
              <a:t>Third level</a:t>
            </a:r>
          </a:p>
          <a:p>
            <a:pPr lvl="3"/>
            <a:r>
              <a:rPr lang="en-GB"/>
              <a:t>Fourth level</a:t>
            </a:r>
          </a:p>
          <a:p>
            <a:pPr lvl="4"/>
            <a:r>
              <a:rPr lang="en-GB"/>
              <a:t>Fifth level</a:t>
            </a:r>
          </a:p>
        </p:txBody>
      </p:sp>
      <p:sp>
        <p:nvSpPr>
          <p:cNvPr id="15" name="Text Placeholder 3">
            <a:extLst>
              <a:ext uri="{FF2B5EF4-FFF2-40B4-BE49-F238E27FC236}">
                <a16:creationId xmlns:a16="http://schemas.microsoft.com/office/drawing/2014/main" id="{64CA7965-3883-4F71-AB9C-4752D4B21944}"/>
              </a:ext>
            </a:extLst>
          </p:cNvPr>
          <p:cNvSpPr>
            <a:spLocks noGrp="1"/>
          </p:cNvSpPr>
          <p:nvPr>
            <p:ph type="body" sz="quarter" idx="22" hasCustomPrompt="1"/>
          </p:nvPr>
        </p:nvSpPr>
        <p:spPr>
          <a:xfrm>
            <a:off x="8231715" y="2363905"/>
            <a:ext cx="3384551" cy="3704580"/>
          </a:xfrm>
          <a:prstGeom prst="roundRect">
            <a:avLst>
              <a:gd name="adj" fmla="val 6547"/>
            </a:avLst>
          </a:prstGeom>
          <a:solidFill>
            <a:srgbClr val="EEF3FB"/>
          </a:solidFill>
        </p:spPr>
        <p:txBody>
          <a:bodyPr lIns="72000" tIns="1080000" rIns="72000" bIns="72000"/>
          <a:lstStyle>
            <a:lvl1pPr>
              <a:defRPr sz="1600"/>
            </a:lvl1pPr>
            <a:lvl2pPr>
              <a:defRPr sz="1600"/>
            </a:lvl2pPr>
            <a:lvl3pPr>
              <a:defRPr sz="1600"/>
            </a:lvl3pPr>
            <a:lvl4pPr>
              <a:defRPr sz="1600"/>
            </a:lvl4pPr>
            <a:lvl5pPr>
              <a:defRPr sz="1600"/>
            </a:lvl5pPr>
          </a:lstStyle>
          <a:p>
            <a:pPr lvl="0"/>
            <a:r>
              <a:rPr lang="en-GB"/>
              <a:t>Add text</a:t>
            </a:r>
          </a:p>
          <a:p>
            <a:pPr lvl="1"/>
            <a:r>
              <a:rPr lang="en-GB"/>
              <a:t>Second level</a:t>
            </a:r>
          </a:p>
          <a:p>
            <a:pPr lvl="2"/>
            <a:r>
              <a:rPr lang="en-GB"/>
              <a:t>Third level</a:t>
            </a:r>
          </a:p>
          <a:p>
            <a:pPr lvl="3"/>
            <a:r>
              <a:rPr lang="en-GB"/>
              <a:t>Fourth level</a:t>
            </a:r>
          </a:p>
          <a:p>
            <a:pPr lvl="4"/>
            <a:r>
              <a:rPr lang="en-GB"/>
              <a:t>Fifth level</a:t>
            </a:r>
          </a:p>
        </p:txBody>
      </p:sp>
      <p:sp>
        <p:nvSpPr>
          <p:cNvPr id="10" name="Wave 1">
            <a:extLst>
              <a:ext uri="{FF2B5EF4-FFF2-40B4-BE49-F238E27FC236}">
                <a16:creationId xmlns:a16="http://schemas.microsoft.com/office/drawing/2014/main" id="{CC81F280-5BB5-4FE0-BB05-9A8AB770E0D3}"/>
              </a:ext>
            </a:extLst>
          </p:cNvPr>
          <p:cNvSpPr>
            <a:spLocks noGrp="1"/>
          </p:cNvSpPr>
          <p:nvPr>
            <p:ph type="body" sz="quarter" idx="15" hasCustomPrompt="1"/>
          </p:nvPr>
        </p:nvSpPr>
        <p:spPr>
          <a:xfrm flipV="1">
            <a:off x="580291" y="7762900"/>
            <a:ext cx="4800" cy="4800"/>
          </a:xfrm>
          <a:noFill/>
        </p:spPr>
        <p:txBody>
          <a:bodyPr/>
          <a:lstStyle>
            <a:lvl1pPr marL="0" indent="0">
              <a:buNone/>
              <a:defRPr sz="133">
                <a:solidFill>
                  <a:schemeClr val="bg1"/>
                </a:solidFill>
              </a:defRPr>
            </a:lvl1pPr>
          </a:lstStyle>
          <a:p>
            <a:pPr lvl="0"/>
            <a:r>
              <a:rPr lang="en-GB"/>
              <a:t>.</a:t>
            </a:r>
          </a:p>
        </p:txBody>
      </p:sp>
      <p:sp>
        <p:nvSpPr>
          <p:cNvPr id="2" name="Title 1"/>
          <p:cNvSpPr>
            <a:spLocks noGrp="1"/>
          </p:cNvSpPr>
          <p:nvPr>
            <p:ph type="title" hasCustomPrompt="1"/>
          </p:nvPr>
        </p:nvSpPr>
        <p:spPr>
          <a:xfrm>
            <a:off x="580291" y="548218"/>
            <a:ext cx="11035975" cy="1036965"/>
          </a:xfrm>
        </p:spPr>
        <p:txBody>
          <a:bodyPr/>
          <a:lstStyle/>
          <a:p>
            <a:r>
              <a:rPr lang="en-GB"/>
              <a:t>Click to add title</a:t>
            </a:r>
          </a:p>
        </p:txBody>
      </p:sp>
      <p:sp>
        <p:nvSpPr>
          <p:cNvPr id="4" name="Date Placeholder 3"/>
          <p:cNvSpPr>
            <a:spLocks noGrp="1"/>
          </p:cNvSpPr>
          <p:nvPr>
            <p:ph type="dt" sz="half" idx="10"/>
          </p:nvPr>
        </p:nvSpPr>
        <p:spPr/>
        <p:txBody>
          <a:bodyPr/>
          <a:lstStyle/>
          <a:p>
            <a:fld id="{597737E8-6D04-4152-B153-C245025516D8}" type="datetime1">
              <a:rPr lang="en-GB" smtClean="0"/>
              <a:t>18/04/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11" name="Wave 2">
            <a:extLst>
              <a:ext uri="{FF2B5EF4-FFF2-40B4-BE49-F238E27FC236}">
                <a16:creationId xmlns:a16="http://schemas.microsoft.com/office/drawing/2014/main" id="{AC5FEA4A-436F-48A1-9D31-EC97B9710853}"/>
              </a:ext>
            </a:extLst>
          </p:cNvPr>
          <p:cNvSpPr>
            <a:spLocks noGrp="1"/>
          </p:cNvSpPr>
          <p:nvPr>
            <p:ph type="body" sz="quarter" idx="17" hasCustomPrompt="1"/>
          </p:nvPr>
        </p:nvSpPr>
        <p:spPr>
          <a:xfrm flipV="1">
            <a:off x="580291" y="7762900"/>
            <a:ext cx="4800" cy="4800"/>
          </a:xfrm>
          <a:noFill/>
        </p:spPr>
        <p:txBody>
          <a:bodyPr/>
          <a:lstStyle>
            <a:lvl1pPr marL="0" indent="0">
              <a:buNone/>
              <a:defRPr sz="133">
                <a:solidFill>
                  <a:schemeClr val="bg1"/>
                </a:solidFill>
              </a:defRPr>
            </a:lvl1pPr>
          </a:lstStyle>
          <a:p>
            <a:pPr lvl="0"/>
            <a:r>
              <a:rPr lang="en-GB"/>
              <a:t>.</a:t>
            </a:r>
          </a:p>
        </p:txBody>
      </p:sp>
      <p:sp>
        <p:nvSpPr>
          <p:cNvPr id="13" name="Wave 3">
            <a:extLst>
              <a:ext uri="{FF2B5EF4-FFF2-40B4-BE49-F238E27FC236}">
                <a16:creationId xmlns:a16="http://schemas.microsoft.com/office/drawing/2014/main" id="{CA1ECD70-AEE2-4AC6-901B-B2547A8DC9E8}"/>
              </a:ext>
            </a:extLst>
          </p:cNvPr>
          <p:cNvSpPr>
            <a:spLocks noGrp="1"/>
          </p:cNvSpPr>
          <p:nvPr>
            <p:ph type="body" sz="quarter" idx="19" hasCustomPrompt="1"/>
          </p:nvPr>
        </p:nvSpPr>
        <p:spPr>
          <a:xfrm flipV="1">
            <a:off x="580291" y="7762900"/>
            <a:ext cx="4800" cy="4800"/>
          </a:xfrm>
          <a:noFill/>
        </p:spPr>
        <p:txBody>
          <a:bodyPr/>
          <a:lstStyle>
            <a:lvl1pPr marL="0" indent="0">
              <a:buNone/>
              <a:defRPr sz="133">
                <a:solidFill>
                  <a:schemeClr val="bg1"/>
                </a:solidFill>
              </a:defRPr>
            </a:lvl1pPr>
          </a:lstStyle>
          <a:p>
            <a:pPr lvl="0"/>
            <a:r>
              <a:rPr lang="en-GB"/>
              <a:t>.</a:t>
            </a:r>
          </a:p>
        </p:txBody>
      </p:sp>
      <p:sp>
        <p:nvSpPr>
          <p:cNvPr id="3" name="Picture Placeholder 2">
            <a:extLst>
              <a:ext uri="{FF2B5EF4-FFF2-40B4-BE49-F238E27FC236}">
                <a16:creationId xmlns:a16="http://schemas.microsoft.com/office/drawing/2014/main" id="{6D8D5C2B-544B-809A-55DD-6AF9342F4372}"/>
              </a:ext>
            </a:extLst>
          </p:cNvPr>
          <p:cNvSpPr>
            <a:spLocks noGrp="1"/>
          </p:cNvSpPr>
          <p:nvPr>
            <p:ph type="pic" sz="quarter" idx="14"/>
          </p:nvPr>
        </p:nvSpPr>
        <p:spPr>
          <a:xfrm>
            <a:off x="743380" y="1701802"/>
            <a:ext cx="3057725" cy="1975125"/>
          </a:xfrm>
          <a:prstGeom prst="roundRect">
            <a:avLst>
              <a:gd name="adj" fmla="val 5966"/>
            </a:avLst>
          </a:prstGeom>
          <a:solidFill>
            <a:schemeClr val="tx1">
              <a:lumMod val="20000"/>
              <a:lumOff val="80000"/>
            </a:schemeClr>
          </a:solidFill>
        </p:spPr>
        <p:txBody>
          <a:bodyPr wrap="square" tIns="72000">
            <a:noAutofit/>
          </a:bodyPr>
          <a:lstStyle>
            <a:lvl1pPr marL="0" indent="0" algn="ctr">
              <a:buNone/>
              <a:defRPr/>
            </a:lvl1pPr>
          </a:lstStyle>
          <a:p>
            <a:r>
              <a:rPr lang="en-US"/>
              <a:t>Click icon to add picture</a:t>
            </a:r>
            <a:endParaRPr lang="en-GB"/>
          </a:p>
        </p:txBody>
      </p:sp>
      <p:sp>
        <p:nvSpPr>
          <p:cNvPr id="16" name="Picture Placeholder 15">
            <a:extLst>
              <a:ext uri="{FF2B5EF4-FFF2-40B4-BE49-F238E27FC236}">
                <a16:creationId xmlns:a16="http://schemas.microsoft.com/office/drawing/2014/main" id="{7154316A-A05F-B20D-F0D2-FA3B5E1F6FB3}"/>
              </a:ext>
            </a:extLst>
          </p:cNvPr>
          <p:cNvSpPr>
            <a:spLocks noGrp="1"/>
          </p:cNvSpPr>
          <p:nvPr>
            <p:ph type="pic" sz="quarter" idx="23"/>
          </p:nvPr>
        </p:nvSpPr>
        <p:spPr>
          <a:xfrm>
            <a:off x="4569415" y="1701802"/>
            <a:ext cx="3057725" cy="1975125"/>
          </a:xfrm>
          <a:prstGeom prst="roundRect">
            <a:avLst>
              <a:gd name="adj" fmla="val 5966"/>
            </a:avLst>
          </a:prstGeom>
          <a:solidFill>
            <a:schemeClr val="tx1">
              <a:lumMod val="20000"/>
              <a:lumOff val="80000"/>
            </a:schemeClr>
          </a:solidFill>
        </p:spPr>
        <p:txBody>
          <a:bodyPr wrap="square" tIns="72000">
            <a:noAutofit/>
          </a:bodyPr>
          <a:lstStyle>
            <a:lvl1pPr marL="0" indent="0" algn="ctr">
              <a:buNone/>
              <a:defRPr/>
            </a:lvl1pPr>
          </a:lstStyle>
          <a:p>
            <a:r>
              <a:rPr lang="en-US"/>
              <a:t>Click icon to add picture</a:t>
            </a:r>
            <a:endParaRPr lang="en-GB"/>
          </a:p>
        </p:txBody>
      </p:sp>
      <p:sp>
        <p:nvSpPr>
          <p:cNvPr id="17" name="Picture Placeholder 16">
            <a:extLst>
              <a:ext uri="{FF2B5EF4-FFF2-40B4-BE49-F238E27FC236}">
                <a16:creationId xmlns:a16="http://schemas.microsoft.com/office/drawing/2014/main" id="{8A8A5556-FAAB-CEBB-0732-9488DDEB62DF}"/>
              </a:ext>
            </a:extLst>
          </p:cNvPr>
          <p:cNvSpPr>
            <a:spLocks noGrp="1"/>
          </p:cNvSpPr>
          <p:nvPr>
            <p:ph type="pic" sz="quarter" idx="24"/>
          </p:nvPr>
        </p:nvSpPr>
        <p:spPr>
          <a:xfrm>
            <a:off x="8395127" y="1701802"/>
            <a:ext cx="3057725" cy="1975125"/>
          </a:xfrm>
          <a:prstGeom prst="roundRect">
            <a:avLst>
              <a:gd name="adj" fmla="val 5966"/>
            </a:avLst>
          </a:prstGeom>
          <a:solidFill>
            <a:schemeClr val="tx1">
              <a:lumMod val="20000"/>
              <a:lumOff val="80000"/>
            </a:schemeClr>
          </a:solidFill>
        </p:spPr>
        <p:txBody>
          <a:bodyPr wrap="square" tIns="72000">
            <a:noAutofit/>
          </a:bodyPr>
          <a:lstStyle>
            <a:lvl1pPr marL="0" indent="0" algn="ctr">
              <a:buNone/>
              <a:defRPr/>
            </a:lvl1pPr>
          </a:lstStyle>
          <a:p>
            <a:r>
              <a:rPr lang="en-US"/>
              <a:t>Click icon to add picture</a:t>
            </a:r>
            <a:endParaRPr lang="en-GB"/>
          </a:p>
        </p:txBody>
      </p:sp>
    </p:spTree>
    <p:extLst>
      <p:ext uri="{BB962C8B-B14F-4D97-AF65-F5344CB8AC3E}">
        <p14:creationId xmlns:p14="http://schemas.microsoft.com/office/powerpoint/2010/main" val="2305138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p:cNvSpPr>
            <a:spLocks noGrp="1"/>
          </p:cNvSpPr>
          <p:nvPr>
            <p:ph type="title"/>
            <p:custDataLst>
              <p:tags r:id="rId2"/>
            </p:custDataLst>
          </p:nvPr>
        </p:nvSpPr>
        <p:spPr/>
        <p:txBody>
          <a:bodyPr/>
          <a:lstStyle/>
          <a:p>
            <a:r>
              <a:rPr lang="en-US"/>
              <a:t>Click to edit Master title style</a:t>
            </a:r>
          </a:p>
        </p:txBody>
      </p:sp>
      <p:sp>
        <p:nvSpPr>
          <p:cNvPr id="4" name="Text Placeholder 3"/>
          <p:cNvSpPr>
            <a:spLocks noGrp="1"/>
          </p:cNvSpPr>
          <p:nvPr>
            <p:ph type="body" sz="quarter" idx="10"/>
            <p:custDataLst>
              <p:tags r:id="rId3"/>
            </p:custDataLst>
          </p:nvPr>
        </p:nvSpPr>
        <p:spPr>
          <a:xfrm>
            <a:off x="474213" y="6555291"/>
            <a:ext cx="4114720" cy="123111"/>
          </a:xfrm>
        </p:spPr>
        <p:txBody>
          <a:bodyPr lIns="0" rIns="0" anchor="ctr"/>
          <a:lstStyle>
            <a:lvl1pPr marL="0" indent="0" algn="l">
              <a:buNone/>
              <a:defRPr sz="1067">
                <a:solidFill>
                  <a:srgbClr val="929293"/>
                </a:solidFill>
              </a:defRPr>
            </a:lvl1pPr>
          </a:lstStyle>
          <a:p>
            <a:pPr lvl="0"/>
            <a:r>
              <a:rPr lang="en-US"/>
              <a:t>Click to edit Master text styles</a:t>
            </a:r>
          </a:p>
        </p:txBody>
      </p:sp>
      <p:sp>
        <p:nvSpPr>
          <p:cNvPr id="3" name="btfpLayoutConfig" hidden="1"/>
          <p:cNvSpPr txBox="1"/>
          <p:nvPr userDrawn="1">
            <p:custDataLst>
              <p:tags r:id="rId4"/>
            </p:custDataLst>
          </p:nvPr>
        </p:nvSpPr>
        <p:spPr bwMode="gray">
          <a:xfrm>
            <a:off x="16933" y="16933"/>
            <a:ext cx="709285" cy="117392"/>
          </a:xfrm>
          <a:prstGeom prst="rect">
            <a:avLst/>
          </a:prstGeom>
          <a:noFill/>
        </p:spPr>
        <p:txBody>
          <a:bodyPr vert="horz" wrap="none" lIns="48000" tIns="48000" rIns="48000" bIns="48000" rtlCol="0">
            <a:spAutoFit/>
          </a:bodyPr>
          <a:lstStyle/>
          <a:p>
            <a:pPr marL="0" indent="0">
              <a:buNone/>
            </a:pPr>
            <a:r>
              <a:rPr lang="en-GB" sz="133">
                <a:solidFill>
                  <a:srgbClr val="FFFFFF">
                    <a:alpha val="0"/>
                  </a:srgbClr>
                </a:solidFill>
              </a:rPr>
              <a:t>overall_0_131703491519584831 columns_1_131703491519584831 </a:t>
            </a:r>
          </a:p>
        </p:txBody>
      </p:sp>
    </p:spTree>
    <p:custDataLst>
      <p:tags r:id="rId1"/>
    </p:custDataLst>
    <p:extLst>
      <p:ext uri="{BB962C8B-B14F-4D97-AF65-F5344CB8AC3E}">
        <p14:creationId xmlns:p14="http://schemas.microsoft.com/office/powerpoint/2010/main" val="2555911959"/>
      </p:ext>
    </p:extLst>
  </p:cSld>
  <p:clrMapOvr>
    <a:masterClrMapping/>
  </p:clrMapOvr>
  <p:transition/>
  <p:extLst>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Title Slide - 1">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D00DA84-BE0D-C322-59C6-2CFF15D23254}"/>
              </a:ext>
            </a:extLst>
          </p:cNvPr>
          <p:cNvSpPr>
            <a:spLocks noGrp="1"/>
          </p:cNvSpPr>
          <p:nvPr>
            <p:ph type="pic" sz="quarter" idx="14"/>
          </p:nvPr>
        </p:nvSpPr>
        <p:spPr>
          <a:xfrm>
            <a:off x="768352" y="1701801"/>
            <a:ext cx="10847915" cy="3233615"/>
          </a:xfrm>
          <a:prstGeom prst="roundRect">
            <a:avLst>
              <a:gd name="adj" fmla="val 5981"/>
            </a:avLst>
          </a:prstGeom>
          <a:solidFill>
            <a:schemeClr val="tx1">
              <a:lumMod val="20000"/>
              <a:lumOff val="80000"/>
            </a:schemeClr>
          </a:solidFill>
        </p:spPr>
        <p:txBody>
          <a:bodyPr wrap="square" tIns="396000">
            <a:noAutofit/>
          </a:bodyPr>
          <a:lstStyle>
            <a:lvl1pPr marL="0" indent="0" algn="ctr">
              <a:buNone/>
              <a:defRPr/>
            </a:lvl1pPr>
          </a:lstStyle>
          <a:p>
            <a:r>
              <a:rPr lang="en-US"/>
              <a:t>Click icon to add picture</a:t>
            </a:r>
            <a:endParaRPr lang="en-GB"/>
          </a:p>
        </p:txBody>
      </p:sp>
      <p:sp>
        <p:nvSpPr>
          <p:cNvPr id="2" name="Title 1"/>
          <p:cNvSpPr>
            <a:spLocks noGrp="1"/>
          </p:cNvSpPr>
          <p:nvPr>
            <p:ph type="ctrTitle" hasCustomPrompt="1"/>
          </p:nvPr>
        </p:nvSpPr>
        <p:spPr>
          <a:xfrm>
            <a:off x="768352" y="4935415"/>
            <a:ext cx="10847915" cy="661255"/>
          </a:xfrm>
        </p:spPr>
        <p:txBody>
          <a:bodyPr wrap="none" anchor="b"/>
          <a:lstStyle>
            <a:lvl1pPr algn="l">
              <a:defRPr sz="3200"/>
            </a:lvl1pPr>
          </a:lstStyle>
          <a:p>
            <a:r>
              <a:rPr lang="en-GB"/>
              <a:t>Click to add title</a:t>
            </a:r>
          </a:p>
        </p:txBody>
      </p:sp>
      <p:sp>
        <p:nvSpPr>
          <p:cNvPr id="3" name="Subtitle 2"/>
          <p:cNvSpPr>
            <a:spLocks noGrp="1"/>
          </p:cNvSpPr>
          <p:nvPr>
            <p:ph type="subTitle" idx="1" hasCustomPrompt="1"/>
          </p:nvPr>
        </p:nvSpPr>
        <p:spPr>
          <a:xfrm>
            <a:off x="768352" y="5756031"/>
            <a:ext cx="10848000" cy="314920"/>
          </a:xfrm>
        </p:spPr>
        <p:txBody>
          <a:bodyPr wrap="none">
            <a:noAutofit/>
          </a:bodyPr>
          <a:lstStyle>
            <a:lvl1pPr marL="0" indent="0" algn="l">
              <a:buNone/>
              <a:defRPr sz="1867"/>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Subtitle</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768352" y="6536947"/>
            <a:ext cx="1356140"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3 </a:t>
            </a:r>
            <a:r>
              <a:rPr lang="en-GB" sz="800" kern="1200" err="1">
                <a:solidFill>
                  <a:schemeClr val="tx1">
                    <a:tint val="75000"/>
                  </a:schemeClr>
                </a:solidFill>
                <a:latin typeface="+mn-lt"/>
                <a:ea typeface="+mn-ea"/>
                <a:cs typeface="+mn-cs"/>
              </a:rPr>
              <a:t>FrieslandCampina</a:t>
            </a:r>
            <a:endParaRPr lang="en-GB" sz="800" kern="1200">
              <a:solidFill>
                <a:schemeClr val="tx1">
                  <a:tint val="75000"/>
                </a:schemeClr>
              </a:solidFill>
              <a:latin typeface="+mn-lt"/>
              <a:ea typeface="+mn-ea"/>
              <a:cs typeface="+mn-cs"/>
            </a:endParaRPr>
          </a:p>
        </p:txBody>
      </p:sp>
      <p:grpSp>
        <p:nvGrpSpPr>
          <p:cNvPr id="5" name="Groep 4">
            <a:extLst>
              <a:ext uri="{FF2B5EF4-FFF2-40B4-BE49-F238E27FC236}">
                <a16:creationId xmlns:a16="http://schemas.microsoft.com/office/drawing/2014/main" id="{D5A2D930-4F05-43DA-8F93-DEAFE1096447}"/>
              </a:ext>
            </a:extLst>
          </p:cNvPr>
          <p:cNvGrpSpPr/>
          <p:nvPr userDrawn="1"/>
        </p:nvGrpSpPr>
        <p:grpSpPr>
          <a:xfrm>
            <a:off x="12262861" y="1863585"/>
            <a:ext cx="1130143" cy="757167"/>
            <a:chOff x="9197145" y="1199569"/>
            <a:chExt cx="847607" cy="567875"/>
          </a:xfrm>
        </p:grpSpPr>
        <p:sp>
          <p:nvSpPr>
            <p:cNvPr id="7" name="Freeform 20">
              <a:extLst>
                <a:ext uri="{FF2B5EF4-FFF2-40B4-BE49-F238E27FC236}">
                  <a16:creationId xmlns:a16="http://schemas.microsoft.com/office/drawing/2014/main" id="{EC6D8501-6CE5-4E1D-B8D6-010E436AF741}"/>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rgbClr val="760E12"/>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4" name="Tekstvak 3">
              <a:extLst>
                <a:ext uri="{FF2B5EF4-FFF2-40B4-BE49-F238E27FC236}">
                  <a16:creationId xmlns:a16="http://schemas.microsoft.com/office/drawing/2014/main" id="{2565ADC4-81D8-4B71-BCBD-613626D2F4F6}"/>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pic>
        <p:nvPicPr>
          <p:cNvPr id="6" name="Picture 2" descr="G:\Corporate Communication\Logo's\FrieslandCampina\Nourishing by Nature tagline\Nbn_tag_with_FC_final.png">
            <a:extLst>
              <a:ext uri="{FF2B5EF4-FFF2-40B4-BE49-F238E27FC236}">
                <a16:creationId xmlns:a16="http://schemas.microsoft.com/office/drawing/2014/main" id="{6F6D29C9-0B5C-1B7C-2F68-596284469566}"/>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13972" y="305786"/>
            <a:ext cx="2332873" cy="12366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9767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3">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542257-616B-AEAC-6C81-6454EB905E8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76595CF9-E7D1-3D8B-E569-11F168319A3A}"/>
              </a:ext>
            </a:extLst>
          </p:cNvPr>
          <p:cNvSpPr>
            <a:spLocks noGrp="1"/>
          </p:cNvSpPr>
          <p:nvPr>
            <p:ph type="dt" sz="half" idx="10"/>
          </p:nvPr>
        </p:nvSpPr>
        <p:spPr>
          <a:xfrm>
            <a:off x="10183139" y="6491402"/>
            <a:ext cx="512961" cy="102657"/>
          </a:xfrm>
        </p:spPr>
        <p:txBody>
          <a:bodyPr/>
          <a:lstStyle/>
          <a:p>
            <a:fld id="{B35C4BB1-CFC5-4361-A14F-59B1242D4020}" type="datetime1">
              <a:rPr lang="en-GB" smtClean="0"/>
              <a:t>18/04/2025</a:t>
            </a:fld>
            <a:endParaRPr lang="en-GB"/>
          </a:p>
        </p:txBody>
      </p:sp>
      <p:sp>
        <p:nvSpPr>
          <p:cNvPr id="4" name="Footer Placeholder 3">
            <a:extLst>
              <a:ext uri="{FF2B5EF4-FFF2-40B4-BE49-F238E27FC236}">
                <a16:creationId xmlns:a16="http://schemas.microsoft.com/office/drawing/2014/main" id="{5EB161A5-4766-0F90-DDE3-20E728165797}"/>
              </a:ext>
            </a:extLst>
          </p:cNvPr>
          <p:cNvSpPr>
            <a:spLocks noGrp="1"/>
          </p:cNvSpPr>
          <p:nvPr>
            <p:ph type="ftr" sz="quarter" idx="11"/>
          </p:nvPr>
        </p:nvSpPr>
        <p:spPr/>
        <p:txBody>
          <a:bodyPr/>
          <a:lstStyle/>
          <a:p>
            <a:r>
              <a:rPr lang="en-GB"/>
              <a:t>Draft | Internal use only | Confidential</a:t>
            </a:r>
          </a:p>
        </p:txBody>
      </p:sp>
      <p:sp>
        <p:nvSpPr>
          <p:cNvPr id="5" name="Slide Number Placeholder 4">
            <a:extLst>
              <a:ext uri="{FF2B5EF4-FFF2-40B4-BE49-F238E27FC236}">
                <a16:creationId xmlns:a16="http://schemas.microsoft.com/office/drawing/2014/main" id="{FA37ECBE-4F9C-B186-1D4E-1A29D86D2EE8}"/>
              </a:ext>
            </a:extLst>
          </p:cNvPr>
          <p:cNvSpPr>
            <a:spLocks noGrp="1"/>
          </p:cNvSpPr>
          <p:nvPr>
            <p:ph type="sldNum" sz="quarter" idx="12"/>
          </p:nvPr>
        </p:nvSpPr>
        <p:spPr/>
        <p:txBody>
          <a:bodyPr/>
          <a:lstStyle/>
          <a:p>
            <a:fld id="{9BE0E23E-9022-4929-B297-EB2777CDBB1F}" type="slidenum">
              <a:rPr lang="en-GB" smtClean="0"/>
              <a:pPr/>
              <a:t>‹#›</a:t>
            </a:fld>
            <a:endParaRPr lang="en-GB"/>
          </a:p>
        </p:txBody>
      </p:sp>
    </p:spTree>
    <p:extLst>
      <p:ext uri="{BB962C8B-B14F-4D97-AF65-F5344CB8AC3E}">
        <p14:creationId xmlns:p14="http://schemas.microsoft.com/office/powerpoint/2010/main" val="1268943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Content slide - photo lef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164DFF-9FD3-374A-A61B-48D36DF5BA69}"/>
              </a:ext>
            </a:extLst>
          </p:cNvPr>
          <p:cNvSpPr>
            <a:spLocks noGrp="1"/>
          </p:cNvSpPr>
          <p:nvPr>
            <p:ph type="title"/>
          </p:nvPr>
        </p:nvSpPr>
        <p:spPr>
          <a:xfrm>
            <a:off x="6357939" y="548219"/>
            <a:ext cx="5119948" cy="1036965"/>
          </a:xfrm>
        </p:spPr>
        <p:txBody>
          <a:bodyPr/>
          <a:lstStyle>
            <a:lvl1pPr>
              <a:defRPr>
                <a:solidFill>
                  <a:schemeClr val="accent1"/>
                </a:solidFill>
              </a:defRPr>
            </a:lvl1pPr>
          </a:lstStyle>
          <a:p>
            <a:r>
              <a:rPr lang="en-US"/>
              <a:t>Click to edit Master title style</a:t>
            </a:r>
            <a:endParaRPr lang="en-NL"/>
          </a:p>
        </p:txBody>
      </p:sp>
      <p:sp>
        <p:nvSpPr>
          <p:cNvPr id="3" name="Footer Placeholder 2">
            <a:extLst>
              <a:ext uri="{FF2B5EF4-FFF2-40B4-BE49-F238E27FC236}">
                <a16:creationId xmlns:a16="http://schemas.microsoft.com/office/drawing/2014/main" id="{0AD5A861-25FE-EA46-A552-8BEDCA2DAFAE}"/>
              </a:ext>
            </a:extLst>
          </p:cNvPr>
          <p:cNvSpPr>
            <a:spLocks noGrp="1"/>
          </p:cNvSpPr>
          <p:nvPr>
            <p:ph type="ftr" sz="quarter" idx="10"/>
          </p:nvPr>
        </p:nvSpPr>
        <p:spPr/>
        <p:txBody>
          <a:bodyPr/>
          <a:lstStyle/>
          <a:p>
            <a:r>
              <a:rPr lang="en-US"/>
              <a:t>Draft | Internal use only | Confidential</a:t>
            </a:r>
          </a:p>
        </p:txBody>
      </p:sp>
      <p:sp>
        <p:nvSpPr>
          <p:cNvPr id="4" name="Slide Number Placeholder 3">
            <a:extLst>
              <a:ext uri="{FF2B5EF4-FFF2-40B4-BE49-F238E27FC236}">
                <a16:creationId xmlns:a16="http://schemas.microsoft.com/office/drawing/2014/main" id="{49FAE7C5-EDD8-AA47-9110-4F1AE78CFFAA}"/>
              </a:ext>
            </a:extLst>
          </p:cNvPr>
          <p:cNvSpPr>
            <a:spLocks noGrp="1"/>
          </p:cNvSpPr>
          <p:nvPr>
            <p:ph type="sldNum" sz="quarter" idx="11"/>
          </p:nvPr>
        </p:nvSpPr>
        <p:spPr/>
        <p:txBody>
          <a:bodyPr/>
          <a:lstStyle/>
          <a:p>
            <a:fld id="{9BE0E23E-9022-4929-B297-EB2777CDBB1F}" type="slidenum">
              <a:rPr lang="en-US" smtClean="0"/>
              <a:pPr/>
              <a:t>‹#›</a:t>
            </a:fld>
            <a:endParaRPr lang="en-US"/>
          </a:p>
        </p:txBody>
      </p:sp>
      <p:sp>
        <p:nvSpPr>
          <p:cNvPr id="12" name="Content Placeholder 2">
            <a:extLst>
              <a:ext uri="{FF2B5EF4-FFF2-40B4-BE49-F238E27FC236}">
                <a16:creationId xmlns:a16="http://schemas.microsoft.com/office/drawing/2014/main" id="{82E9C768-380D-B847-A9E8-B2C6C00FE727}"/>
              </a:ext>
            </a:extLst>
          </p:cNvPr>
          <p:cNvSpPr>
            <a:spLocks noGrp="1"/>
          </p:cNvSpPr>
          <p:nvPr>
            <p:ph idx="1" hasCustomPrompt="1"/>
          </p:nvPr>
        </p:nvSpPr>
        <p:spPr>
          <a:xfrm>
            <a:off x="7286626" y="1701801"/>
            <a:ext cx="4191260" cy="41761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7">
            <a:extLst>
              <a:ext uri="{FF2B5EF4-FFF2-40B4-BE49-F238E27FC236}">
                <a16:creationId xmlns:a16="http://schemas.microsoft.com/office/drawing/2014/main" id="{1CBB1FE1-4633-24F1-E6D7-D17B24DCE204}"/>
              </a:ext>
            </a:extLst>
          </p:cNvPr>
          <p:cNvSpPr>
            <a:spLocks noGrp="1"/>
          </p:cNvSpPr>
          <p:nvPr>
            <p:ph type="pic" sz="quarter" idx="14"/>
          </p:nvPr>
        </p:nvSpPr>
        <p:spPr>
          <a:xfrm flipH="1">
            <a:off x="0" y="1"/>
            <a:ext cx="7123261" cy="6868924"/>
          </a:xfrm>
          <a:custGeom>
            <a:avLst/>
            <a:gdLst>
              <a:gd name="connsiteX0" fmla="*/ 0 w 7056437"/>
              <a:gd name="connsiteY0" fmla="*/ 1143023 h 6858000"/>
              <a:gd name="connsiteX1" fmla="*/ 1143023 w 7056437"/>
              <a:gd name="connsiteY1" fmla="*/ 0 h 6858000"/>
              <a:gd name="connsiteX2" fmla="*/ 5913414 w 7056437"/>
              <a:gd name="connsiteY2" fmla="*/ 0 h 6858000"/>
              <a:gd name="connsiteX3" fmla="*/ 7056437 w 7056437"/>
              <a:gd name="connsiteY3" fmla="*/ 1143023 h 6858000"/>
              <a:gd name="connsiteX4" fmla="*/ 7056437 w 7056437"/>
              <a:gd name="connsiteY4" fmla="*/ 5714977 h 6858000"/>
              <a:gd name="connsiteX5" fmla="*/ 5913414 w 7056437"/>
              <a:gd name="connsiteY5" fmla="*/ 6858000 h 6858000"/>
              <a:gd name="connsiteX6" fmla="*/ 1143023 w 7056437"/>
              <a:gd name="connsiteY6" fmla="*/ 6858000 h 6858000"/>
              <a:gd name="connsiteX7" fmla="*/ 0 w 7056437"/>
              <a:gd name="connsiteY7" fmla="*/ 5714977 h 6858000"/>
              <a:gd name="connsiteX8" fmla="*/ 0 w 7056437"/>
              <a:gd name="connsiteY8" fmla="*/ 1143023 h 6858000"/>
              <a:gd name="connsiteX0" fmla="*/ 0 w 7056437"/>
              <a:gd name="connsiteY0" fmla="*/ 1143023 h 6858000"/>
              <a:gd name="connsiteX1" fmla="*/ 1143023 w 7056437"/>
              <a:gd name="connsiteY1" fmla="*/ 0 h 6858000"/>
              <a:gd name="connsiteX2" fmla="*/ 5913414 w 7056437"/>
              <a:gd name="connsiteY2" fmla="*/ 0 h 6858000"/>
              <a:gd name="connsiteX3" fmla="*/ 7047472 w 7056437"/>
              <a:gd name="connsiteY3" fmla="*/ 936835 h 6858000"/>
              <a:gd name="connsiteX4" fmla="*/ 7056437 w 7056437"/>
              <a:gd name="connsiteY4" fmla="*/ 5714977 h 6858000"/>
              <a:gd name="connsiteX5" fmla="*/ 5913414 w 7056437"/>
              <a:gd name="connsiteY5" fmla="*/ 6858000 h 6858000"/>
              <a:gd name="connsiteX6" fmla="*/ 1143023 w 7056437"/>
              <a:gd name="connsiteY6" fmla="*/ 6858000 h 6858000"/>
              <a:gd name="connsiteX7" fmla="*/ 0 w 7056437"/>
              <a:gd name="connsiteY7" fmla="*/ 5714977 h 6858000"/>
              <a:gd name="connsiteX8" fmla="*/ 0 w 7056437"/>
              <a:gd name="connsiteY8" fmla="*/ 1143023 h 6858000"/>
              <a:gd name="connsiteX0" fmla="*/ 0 w 7065401"/>
              <a:gd name="connsiteY0" fmla="*/ 1407091 h 7122068"/>
              <a:gd name="connsiteX1" fmla="*/ 1143023 w 7065401"/>
              <a:gd name="connsiteY1" fmla="*/ 264068 h 7122068"/>
              <a:gd name="connsiteX2" fmla="*/ 5913414 w 7065401"/>
              <a:gd name="connsiteY2" fmla="*/ 264068 h 7122068"/>
              <a:gd name="connsiteX3" fmla="*/ 7065401 w 7065401"/>
              <a:gd name="connsiteY3" fmla="*/ 286503 h 7122068"/>
              <a:gd name="connsiteX4" fmla="*/ 7056437 w 7065401"/>
              <a:gd name="connsiteY4" fmla="*/ 5979045 h 7122068"/>
              <a:gd name="connsiteX5" fmla="*/ 5913414 w 7065401"/>
              <a:gd name="connsiteY5" fmla="*/ 7122068 h 7122068"/>
              <a:gd name="connsiteX6" fmla="*/ 1143023 w 7065401"/>
              <a:gd name="connsiteY6" fmla="*/ 7122068 h 7122068"/>
              <a:gd name="connsiteX7" fmla="*/ 0 w 7065401"/>
              <a:gd name="connsiteY7" fmla="*/ 5979045 h 7122068"/>
              <a:gd name="connsiteX8" fmla="*/ 0 w 7065401"/>
              <a:gd name="connsiteY8" fmla="*/ 1407091 h 7122068"/>
              <a:gd name="connsiteX0" fmla="*/ 0 w 7065401"/>
              <a:gd name="connsiteY0" fmla="*/ 1557348 h 7272325"/>
              <a:gd name="connsiteX1" fmla="*/ 1143023 w 7065401"/>
              <a:gd name="connsiteY1" fmla="*/ 414325 h 7272325"/>
              <a:gd name="connsiteX2" fmla="*/ 5913414 w 7065401"/>
              <a:gd name="connsiteY2" fmla="*/ 414325 h 7272325"/>
              <a:gd name="connsiteX3" fmla="*/ 7065401 w 7065401"/>
              <a:gd name="connsiteY3" fmla="*/ 436760 h 7272325"/>
              <a:gd name="connsiteX4" fmla="*/ 7056437 w 7065401"/>
              <a:gd name="connsiteY4" fmla="*/ 6129302 h 7272325"/>
              <a:gd name="connsiteX5" fmla="*/ 5913414 w 7065401"/>
              <a:gd name="connsiteY5" fmla="*/ 7272325 h 7272325"/>
              <a:gd name="connsiteX6" fmla="*/ 1143023 w 7065401"/>
              <a:gd name="connsiteY6" fmla="*/ 7272325 h 7272325"/>
              <a:gd name="connsiteX7" fmla="*/ 0 w 7065401"/>
              <a:gd name="connsiteY7" fmla="*/ 6129302 h 7272325"/>
              <a:gd name="connsiteX8" fmla="*/ 0 w 7065401"/>
              <a:gd name="connsiteY8" fmla="*/ 1557348 h 7272325"/>
              <a:gd name="connsiteX0" fmla="*/ 0 w 7065401"/>
              <a:gd name="connsiteY0" fmla="*/ 1143023 h 6858000"/>
              <a:gd name="connsiteX1" fmla="*/ 1143023 w 7065401"/>
              <a:gd name="connsiteY1" fmla="*/ 0 h 6858000"/>
              <a:gd name="connsiteX2" fmla="*/ 7065401 w 7065401"/>
              <a:gd name="connsiteY2" fmla="*/ 22435 h 6858000"/>
              <a:gd name="connsiteX3" fmla="*/ 7056437 w 7065401"/>
              <a:gd name="connsiteY3" fmla="*/ 5714977 h 6858000"/>
              <a:gd name="connsiteX4" fmla="*/ 5913414 w 7065401"/>
              <a:gd name="connsiteY4" fmla="*/ 6858000 h 6858000"/>
              <a:gd name="connsiteX5" fmla="*/ 1143023 w 7065401"/>
              <a:gd name="connsiteY5" fmla="*/ 6858000 h 6858000"/>
              <a:gd name="connsiteX6" fmla="*/ 0 w 7065401"/>
              <a:gd name="connsiteY6" fmla="*/ 5714977 h 6858000"/>
              <a:gd name="connsiteX7" fmla="*/ 0 w 7065401"/>
              <a:gd name="connsiteY7" fmla="*/ 1143023 h 6858000"/>
              <a:gd name="connsiteX0" fmla="*/ 0 w 7065401"/>
              <a:gd name="connsiteY0" fmla="*/ 1143023 h 6858000"/>
              <a:gd name="connsiteX1" fmla="*/ 1143023 w 7065401"/>
              <a:gd name="connsiteY1" fmla="*/ 0 h 6858000"/>
              <a:gd name="connsiteX2" fmla="*/ 7065401 w 7065401"/>
              <a:gd name="connsiteY2" fmla="*/ 4506 h 6858000"/>
              <a:gd name="connsiteX3" fmla="*/ 7056437 w 7065401"/>
              <a:gd name="connsiteY3" fmla="*/ 5714977 h 6858000"/>
              <a:gd name="connsiteX4" fmla="*/ 5913414 w 7065401"/>
              <a:gd name="connsiteY4" fmla="*/ 6858000 h 6858000"/>
              <a:gd name="connsiteX5" fmla="*/ 1143023 w 7065401"/>
              <a:gd name="connsiteY5" fmla="*/ 6858000 h 6858000"/>
              <a:gd name="connsiteX6" fmla="*/ 0 w 7065401"/>
              <a:gd name="connsiteY6" fmla="*/ 5714977 h 6858000"/>
              <a:gd name="connsiteX7" fmla="*/ 0 w 7065401"/>
              <a:gd name="connsiteY7" fmla="*/ 1143023 h 6858000"/>
              <a:gd name="connsiteX0" fmla="*/ 0 w 7504095"/>
              <a:gd name="connsiteY0" fmla="*/ 1647683 h 7646533"/>
              <a:gd name="connsiteX1" fmla="*/ 1143023 w 7504095"/>
              <a:gd name="connsiteY1" fmla="*/ 504660 h 7646533"/>
              <a:gd name="connsiteX2" fmla="*/ 7065401 w 7504095"/>
              <a:gd name="connsiteY2" fmla="*/ 509166 h 7646533"/>
              <a:gd name="connsiteX3" fmla="*/ 7065402 w 7504095"/>
              <a:gd name="connsiteY3" fmla="*/ 7367119 h 7646533"/>
              <a:gd name="connsiteX4" fmla="*/ 5913414 w 7504095"/>
              <a:gd name="connsiteY4" fmla="*/ 7362660 h 7646533"/>
              <a:gd name="connsiteX5" fmla="*/ 1143023 w 7504095"/>
              <a:gd name="connsiteY5" fmla="*/ 7362660 h 7646533"/>
              <a:gd name="connsiteX6" fmla="*/ 0 w 7504095"/>
              <a:gd name="connsiteY6" fmla="*/ 6219637 h 7646533"/>
              <a:gd name="connsiteX7" fmla="*/ 0 w 7504095"/>
              <a:gd name="connsiteY7" fmla="*/ 1647683 h 7646533"/>
              <a:gd name="connsiteX0" fmla="*/ 0 w 7504095"/>
              <a:gd name="connsiteY0" fmla="*/ 1647683 h 7646533"/>
              <a:gd name="connsiteX1" fmla="*/ 1143023 w 7504095"/>
              <a:gd name="connsiteY1" fmla="*/ 504660 h 7646533"/>
              <a:gd name="connsiteX2" fmla="*/ 7065401 w 7504095"/>
              <a:gd name="connsiteY2" fmla="*/ 509166 h 7646533"/>
              <a:gd name="connsiteX3" fmla="*/ 7065402 w 7504095"/>
              <a:gd name="connsiteY3" fmla="*/ 7367119 h 7646533"/>
              <a:gd name="connsiteX4" fmla="*/ 5913414 w 7504095"/>
              <a:gd name="connsiteY4" fmla="*/ 7362660 h 7646533"/>
              <a:gd name="connsiteX5" fmla="*/ 1143023 w 7504095"/>
              <a:gd name="connsiteY5" fmla="*/ 7362660 h 7646533"/>
              <a:gd name="connsiteX6" fmla="*/ 0 w 7504095"/>
              <a:gd name="connsiteY6" fmla="*/ 6219637 h 7646533"/>
              <a:gd name="connsiteX7" fmla="*/ 0 w 7504095"/>
              <a:gd name="connsiteY7" fmla="*/ 1647683 h 7646533"/>
              <a:gd name="connsiteX0" fmla="*/ 0 w 7805698"/>
              <a:gd name="connsiteY0" fmla="*/ 1647683 h 7918689"/>
              <a:gd name="connsiteX1" fmla="*/ 1143023 w 7805698"/>
              <a:gd name="connsiteY1" fmla="*/ 504660 h 7918689"/>
              <a:gd name="connsiteX2" fmla="*/ 7065401 w 7805698"/>
              <a:gd name="connsiteY2" fmla="*/ 509166 h 7918689"/>
              <a:gd name="connsiteX3" fmla="*/ 7065402 w 7805698"/>
              <a:gd name="connsiteY3" fmla="*/ 7367119 h 7918689"/>
              <a:gd name="connsiteX4" fmla="*/ 1143023 w 7805698"/>
              <a:gd name="connsiteY4" fmla="*/ 7362660 h 7918689"/>
              <a:gd name="connsiteX5" fmla="*/ 0 w 7805698"/>
              <a:gd name="connsiteY5" fmla="*/ 6219637 h 7918689"/>
              <a:gd name="connsiteX6" fmla="*/ 0 w 7805698"/>
              <a:gd name="connsiteY6" fmla="*/ 1647683 h 7918689"/>
              <a:gd name="connsiteX0" fmla="*/ 0 w 7805698"/>
              <a:gd name="connsiteY0" fmla="*/ 1647683 h 7918689"/>
              <a:gd name="connsiteX1" fmla="*/ 1143023 w 7805698"/>
              <a:gd name="connsiteY1" fmla="*/ 504660 h 7918689"/>
              <a:gd name="connsiteX2" fmla="*/ 7065401 w 7805698"/>
              <a:gd name="connsiteY2" fmla="*/ 509166 h 7918689"/>
              <a:gd name="connsiteX3" fmla="*/ 7065402 w 7805698"/>
              <a:gd name="connsiteY3" fmla="*/ 7367119 h 7918689"/>
              <a:gd name="connsiteX4" fmla="*/ 1143023 w 7805698"/>
              <a:gd name="connsiteY4" fmla="*/ 7362660 h 7918689"/>
              <a:gd name="connsiteX5" fmla="*/ 0 w 7805698"/>
              <a:gd name="connsiteY5" fmla="*/ 6219637 h 7918689"/>
              <a:gd name="connsiteX6" fmla="*/ 0 w 7805698"/>
              <a:gd name="connsiteY6" fmla="*/ 1647683 h 7918689"/>
              <a:gd name="connsiteX0" fmla="*/ 0 w 7502319"/>
              <a:gd name="connsiteY0" fmla="*/ 1647683 h 8081329"/>
              <a:gd name="connsiteX1" fmla="*/ 1143023 w 7502319"/>
              <a:gd name="connsiteY1" fmla="*/ 504660 h 8081329"/>
              <a:gd name="connsiteX2" fmla="*/ 7065401 w 7502319"/>
              <a:gd name="connsiteY2" fmla="*/ 509166 h 8081329"/>
              <a:gd name="connsiteX3" fmla="*/ 7065402 w 7502319"/>
              <a:gd name="connsiteY3" fmla="*/ 7367119 h 8081329"/>
              <a:gd name="connsiteX4" fmla="*/ 1143023 w 7502319"/>
              <a:gd name="connsiteY4" fmla="*/ 7362660 h 8081329"/>
              <a:gd name="connsiteX5" fmla="*/ 0 w 7502319"/>
              <a:gd name="connsiteY5" fmla="*/ 6219637 h 8081329"/>
              <a:gd name="connsiteX6" fmla="*/ 0 w 7502319"/>
              <a:gd name="connsiteY6" fmla="*/ 1647683 h 8081329"/>
              <a:gd name="connsiteX0" fmla="*/ 0 w 7502319"/>
              <a:gd name="connsiteY0" fmla="*/ 1647683 h 8081329"/>
              <a:gd name="connsiteX1" fmla="*/ 1143023 w 7502319"/>
              <a:gd name="connsiteY1" fmla="*/ 504660 h 8081329"/>
              <a:gd name="connsiteX2" fmla="*/ 7065401 w 7502319"/>
              <a:gd name="connsiteY2" fmla="*/ 509166 h 8081329"/>
              <a:gd name="connsiteX3" fmla="*/ 7065402 w 7502319"/>
              <a:gd name="connsiteY3" fmla="*/ 7367119 h 8081329"/>
              <a:gd name="connsiteX4" fmla="*/ 1143023 w 7502319"/>
              <a:gd name="connsiteY4" fmla="*/ 7362660 h 8081329"/>
              <a:gd name="connsiteX5" fmla="*/ 0 w 7502319"/>
              <a:gd name="connsiteY5" fmla="*/ 6219637 h 8081329"/>
              <a:gd name="connsiteX6" fmla="*/ 0 w 7502319"/>
              <a:gd name="connsiteY6" fmla="*/ 1647683 h 8081329"/>
              <a:gd name="connsiteX0" fmla="*/ 0 w 7502319"/>
              <a:gd name="connsiteY0" fmla="*/ 1143023 h 7576669"/>
              <a:gd name="connsiteX1" fmla="*/ 1143023 w 7502319"/>
              <a:gd name="connsiteY1" fmla="*/ 0 h 7576669"/>
              <a:gd name="connsiteX2" fmla="*/ 7065401 w 7502319"/>
              <a:gd name="connsiteY2" fmla="*/ 4506 h 7576669"/>
              <a:gd name="connsiteX3" fmla="*/ 7065402 w 7502319"/>
              <a:gd name="connsiteY3" fmla="*/ 6862459 h 7576669"/>
              <a:gd name="connsiteX4" fmla="*/ 1143023 w 7502319"/>
              <a:gd name="connsiteY4" fmla="*/ 6858000 h 7576669"/>
              <a:gd name="connsiteX5" fmla="*/ 0 w 7502319"/>
              <a:gd name="connsiteY5" fmla="*/ 5714977 h 7576669"/>
              <a:gd name="connsiteX6" fmla="*/ 0 w 7502319"/>
              <a:gd name="connsiteY6" fmla="*/ 1143023 h 7576669"/>
              <a:gd name="connsiteX0" fmla="*/ 0 w 7065417"/>
              <a:gd name="connsiteY0" fmla="*/ 1143023 h 7576669"/>
              <a:gd name="connsiteX1" fmla="*/ 1143023 w 7065417"/>
              <a:gd name="connsiteY1" fmla="*/ 0 h 7576669"/>
              <a:gd name="connsiteX2" fmla="*/ 7065401 w 7065417"/>
              <a:gd name="connsiteY2" fmla="*/ 4506 h 7576669"/>
              <a:gd name="connsiteX3" fmla="*/ 7065402 w 7065417"/>
              <a:gd name="connsiteY3" fmla="*/ 6862459 h 7576669"/>
              <a:gd name="connsiteX4" fmla="*/ 1143023 w 7065417"/>
              <a:gd name="connsiteY4" fmla="*/ 6858000 h 7576669"/>
              <a:gd name="connsiteX5" fmla="*/ 0 w 7065417"/>
              <a:gd name="connsiteY5" fmla="*/ 5714977 h 7576669"/>
              <a:gd name="connsiteX6" fmla="*/ 0 w 7065417"/>
              <a:gd name="connsiteY6" fmla="*/ 1143023 h 7576669"/>
              <a:gd name="connsiteX0" fmla="*/ 0 w 7065401"/>
              <a:gd name="connsiteY0" fmla="*/ 1143023 h 7574409"/>
              <a:gd name="connsiteX1" fmla="*/ 1143023 w 7065401"/>
              <a:gd name="connsiteY1" fmla="*/ 0 h 7574409"/>
              <a:gd name="connsiteX2" fmla="*/ 7065401 w 7065401"/>
              <a:gd name="connsiteY2" fmla="*/ 4506 h 7574409"/>
              <a:gd name="connsiteX3" fmla="*/ 7059052 w 7065401"/>
              <a:gd name="connsiteY3" fmla="*/ 6859284 h 7574409"/>
              <a:gd name="connsiteX4" fmla="*/ 1143023 w 7065401"/>
              <a:gd name="connsiteY4" fmla="*/ 6858000 h 7574409"/>
              <a:gd name="connsiteX5" fmla="*/ 0 w 7065401"/>
              <a:gd name="connsiteY5" fmla="*/ 5714977 h 7574409"/>
              <a:gd name="connsiteX6" fmla="*/ 0 w 7065401"/>
              <a:gd name="connsiteY6" fmla="*/ 1143023 h 7574409"/>
              <a:gd name="connsiteX0" fmla="*/ 0 w 7217371"/>
              <a:gd name="connsiteY0" fmla="*/ 1143023 h 7314230"/>
              <a:gd name="connsiteX1" fmla="*/ 1143023 w 7217371"/>
              <a:gd name="connsiteY1" fmla="*/ 0 h 7314230"/>
              <a:gd name="connsiteX2" fmla="*/ 7065401 w 7217371"/>
              <a:gd name="connsiteY2" fmla="*/ 4506 h 7314230"/>
              <a:gd name="connsiteX3" fmla="*/ 7059052 w 7217371"/>
              <a:gd name="connsiteY3" fmla="*/ 6859284 h 7314230"/>
              <a:gd name="connsiteX4" fmla="*/ 1143023 w 7217371"/>
              <a:gd name="connsiteY4" fmla="*/ 6858000 h 7314230"/>
              <a:gd name="connsiteX5" fmla="*/ 0 w 7217371"/>
              <a:gd name="connsiteY5" fmla="*/ 5714977 h 7314230"/>
              <a:gd name="connsiteX6" fmla="*/ 0 w 7217371"/>
              <a:gd name="connsiteY6" fmla="*/ 1143023 h 7314230"/>
              <a:gd name="connsiteX0" fmla="*/ 0 w 7065401"/>
              <a:gd name="connsiteY0" fmla="*/ 1143023 h 6943441"/>
              <a:gd name="connsiteX1" fmla="*/ 1143023 w 7065401"/>
              <a:gd name="connsiteY1" fmla="*/ 0 h 6943441"/>
              <a:gd name="connsiteX2" fmla="*/ 7065401 w 7065401"/>
              <a:gd name="connsiteY2" fmla="*/ 4506 h 6943441"/>
              <a:gd name="connsiteX3" fmla="*/ 7059052 w 7065401"/>
              <a:gd name="connsiteY3" fmla="*/ 6859284 h 6943441"/>
              <a:gd name="connsiteX4" fmla="*/ 1143023 w 7065401"/>
              <a:gd name="connsiteY4" fmla="*/ 6858000 h 6943441"/>
              <a:gd name="connsiteX5" fmla="*/ 0 w 7065401"/>
              <a:gd name="connsiteY5" fmla="*/ 5714977 h 6943441"/>
              <a:gd name="connsiteX6" fmla="*/ 0 w 7065401"/>
              <a:gd name="connsiteY6" fmla="*/ 1143023 h 6943441"/>
              <a:gd name="connsiteX0" fmla="*/ 0 w 7065401"/>
              <a:gd name="connsiteY0" fmla="*/ 1143023 h 6859409"/>
              <a:gd name="connsiteX1" fmla="*/ 1143023 w 7065401"/>
              <a:gd name="connsiteY1" fmla="*/ 0 h 6859409"/>
              <a:gd name="connsiteX2" fmla="*/ 7065401 w 7065401"/>
              <a:gd name="connsiteY2" fmla="*/ 4506 h 6859409"/>
              <a:gd name="connsiteX3" fmla="*/ 7059052 w 7065401"/>
              <a:gd name="connsiteY3" fmla="*/ 6859284 h 6859409"/>
              <a:gd name="connsiteX4" fmla="*/ 1143023 w 7065401"/>
              <a:gd name="connsiteY4" fmla="*/ 6858000 h 6859409"/>
              <a:gd name="connsiteX5" fmla="*/ 0 w 7065401"/>
              <a:gd name="connsiteY5" fmla="*/ 5714977 h 6859409"/>
              <a:gd name="connsiteX6" fmla="*/ 0 w 7065401"/>
              <a:gd name="connsiteY6" fmla="*/ 1143023 h 6859409"/>
              <a:gd name="connsiteX0" fmla="*/ 276225 w 7341626"/>
              <a:gd name="connsiteY0" fmla="*/ 1143023 h 6859409"/>
              <a:gd name="connsiteX1" fmla="*/ 1419248 w 7341626"/>
              <a:gd name="connsiteY1" fmla="*/ 0 h 6859409"/>
              <a:gd name="connsiteX2" fmla="*/ 7341626 w 7341626"/>
              <a:gd name="connsiteY2" fmla="*/ 4506 h 6859409"/>
              <a:gd name="connsiteX3" fmla="*/ 7335277 w 7341626"/>
              <a:gd name="connsiteY3" fmla="*/ 6859284 h 6859409"/>
              <a:gd name="connsiteX4" fmla="*/ 1419248 w 7341626"/>
              <a:gd name="connsiteY4" fmla="*/ 6858000 h 6859409"/>
              <a:gd name="connsiteX5" fmla="*/ 0 w 7341626"/>
              <a:gd name="connsiteY5" fmla="*/ 5149827 h 6859409"/>
              <a:gd name="connsiteX6" fmla="*/ 276225 w 7341626"/>
              <a:gd name="connsiteY6" fmla="*/ 1143023 h 6859409"/>
              <a:gd name="connsiteX0" fmla="*/ 316962 w 7382363"/>
              <a:gd name="connsiteY0" fmla="*/ 1143023 h 6859409"/>
              <a:gd name="connsiteX1" fmla="*/ 1459985 w 7382363"/>
              <a:gd name="connsiteY1" fmla="*/ 0 h 6859409"/>
              <a:gd name="connsiteX2" fmla="*/ 7382363 w 7382363"/>
              <a:gd name="connsiteY2" fmla="*/ 4506 h 6859409"/>
              <a:gd name="connsiteX3" fmla="*/ 7376014 w 7382363"/>
              <a:gd name="connsiteY3" fmla="*/ 6859284 h 6859409"/>
              <a:gd name="connsiteX4" fmla="*/ 1459985 w 7382363"/>
              <a:gd name="connsiteY4" fmla="*/ 6858000 h 6859409"/>
              <a:gd name="connsiteX5" fmla="*/ 40737 w 7382363"/>
              <a:gd name="connsiteY5" fmla="*/ 5149827 h 6859409"/>
              <a:gd name="connsiteX6" fmla="*/ 316962 w 7382363"/>
              <a:gd name="connsiteY6" fmla="*/ 1143023 h 6859409"/>
              <a:gd name="connsiteX0" fmla="*/ 316962 w 7382363"/>
              <a:gd name="connsiteY0" fmla="*/ 1143023 h 6859409"/>
              <a:gd name="connsiteX1" fmla="*/ 1459985 w 7382363"/>
              <a:gd name="connsiteY1" fmla="*/ 0 h 6859409"/>
              <a:gd name="connsiteX2" fmla="*/ 7382363 w 7382363"/>
              <a:gd name="connsiteY2" fmla="*/ 4506 h 6859409"/>
              <a:gd name="connsiteX3" fmla="*/ 7376014 w 7382363"/>
              <a:gd name="connsiteY3" fmla="*/ 6859284 h 6859409"/>
              <a:gd name="connsiteX4" fmla="*/ 1459985 w 7382363"/>
              <a:gd name="connsiteY4" fmla="*/ 6858000 h 6859409"/>
              <a:gd name="connsiteX5" fmla="*/ 40737 w 7382363"/>
              <a:gd name="connsiteY5" fmla="*/ 5149827 h 6859409"/>
              <a:gd name="connsiteX6" fmla="*/ 316962 w 7382363"/>
              <a:gd name="connsiteY6" fmla="*/ 1143023 h 6859409"/>
              <a:gd name="connsiteX0" fmla="*/ 40737 w 7382363"/>
              <a:gd name="connsiteY0" fmla="*/ 5149827 h 6859409"/>
              <a:gd name="connsiteX1" fmla="*/ 1459985 w 7382363"/>
              <a:gd name="connsiteY1" fmla="*/ 0 h 6859409"/>
              <a:gd name="connsiteX2" fmla="*/ 7382363 w 7382363"/>
              <a:gd name="connsiteY2" fmla="*/ 4506 h 6859409"/>
              <a:gd name="connsiteX3" fmla="*/ 7376014 w 7382363"/>
              <a:gd name="connsiteY3" fmla="*/ 6859284 h 6859409"/>
              <a:gd name="connsiteX4" fmla="*/ 1459985 w 7382363"/>
              <a:gd name="connsiteY4" fmla="*/ 6858000 h 6859409"/>
              <a:gd name="connsiteX5" fmla="*/ 40737 w 7382363"/>
              <a:gd name="connsiteY5" fmla="*/ 5149827 h 6859409"/>
              <a:gd name="connsiteX0" fmla="*/ 40737 w 7382363"/>
              <a:gd name="connsiteY0" fmla="*/ 5149827 h 6859409"/>
              <a:gd name="connsiteX1" fmla="*/ 1834635 w 7382363"/>
              <a:gd name="connsiteY1" fmla="*/ 0 h 6859409"/>
              <a:gd name="connsiteX2" fmla="*/ 7382363 w 7382363"/>
              <a:gd name="connsiteY2" fmla="*/ 4506 h 6859409"/>
              <a:gd name="connsiteX3" fmla="*/ 7376014 w 7382363"/>
              <a:gd name="connsiteY3" fmla="*/ 6859284 h 6859409"/>
              <a:gd name="connsiteX4" fmla="*/ 1459985 w 7382363"/>
              <a:gd name="connsiteY4" fmla="*/ 6858000 h 6859409"/>
              <a:gd name="connsiteX5" fmla="*/ 40737 w 7382363"/>
              <a:gd name="connsiteY5" fmla="*/ 5149827 h 6859409"/>
              <a:gd name="connsiteX0" fmla="*/ 40737 w 7382363"/>
              <a:gd name="connsiteY0" fmla="*/ 5149827 h 6859409"/>
              <a:gd name="connsiteX1" fmla="*/ 1834635 w 7382363"/>
              <a:gd name="connsiteY1" fmla="*/ 0 h 6859409"/>
              <a:gd name="connsiteX2" fmla="*/ 7382363 w 7382363"/>
              <a:gd name="connsiteY2" fmla="*/ 4506 h 6859409"/>
              <a:gd name="connsiteX3" fmla="*/ 7376014 w 7382363"/>
              <a:gd name="connsiteY3" fmla="*/ 6859284 h 6859409"/>
              <a:gd name="connsiteX4" fmla="*/ 1459985 w 7382363"/>
              <a:gd name="connsiteY4" fmla="*/ 6858000 h 6859409"/>
              <a:gd name="connsiteX5" fmla="*/ 40737 w 7382363"/>
              <a:gd name="connsiteY5" fmla="*/ 5149827 h 6859409"/>
              <a:gd name="connsiteX0" fmla="*/ 40737 w 7382363"/>
              <a:gd name="connsiteY0" fmla="*/ 5149827 h 6859409"/>
              <a:gd name="connsiteX1" fmla="*/ 1834635 w 7382363"/>
              <a:gd name="connsiteY1" fmla="*/ 0 h 6859409"/>
              <a:gd name="connsiteX2" fmla="*/ 7382363 w 7382363"/>
              <a:gd name="connsiteY2" fmla="*/ 4506 h 6859409"/>
              <a:gd name="connsiteX3" fmla="*/ 7376014 w 7382363"/>
              <a:gd name="connsiteY3" fmla="*/ 6859284 h 6859409"/>
              <a:gd name="connsiteX4" fmla="*/ 1459985 w 7382363"/>
              <a:gd name="connsiteY4" fmla="*/ 6858000 h 6859409"/>
              <a:gd name="connsiteX5" fmla="*/ 40737 w 7382363"/>
              <a:gd name="connsiteY5" fmla="*/ 5149827 h 6859409"/>
              <a:gd name="connsiteX0" fmla="*/ 44251 w 7825612"/>
              <a:gd name="connsiteY0" fmla="*/ 5149827 h 7367842"/>
              <a:gd name="connsiteX1" fmla="*/ 1838149 w 7825612"/>
              <a:gd name="connsiteY1" fmla="*/ 0 h 7367842"/>
              <a:gd name="connsiteX2" fmla="*/ 7385877 w 7825612"/>
              <a:gd name="connsiteY2" fmla="*/ 4506 h 7367842"/>
              <a:gd name="connsiteX3" fmla="*/ 7379528 w 7825612"/>
              <a:gd name="connsiteY3" fmla="*/ 6859284 h 7367842"/>
              <a:gd name="connsiteX4" fmla="*/ 1361899 w 7825612"/>
              <a:gd name="connsiteY4" fmla="*/ 6861175 h 7367842"/>
              <a:gd name="connsiteX5" fmla="*/ 44251 w 7825612"/>
              <a:gd name="connsiteY5" fmla="*/ 5149827 h 7367842"/>
              <a:gd name="connsiteX0" fmla="*/ 87576 w 7868937"/>
              <a:gd name="connsiteY0" fmla="*/ 5149827 h 7367842"/>
              <a:gd name="connsiteX1" fmla="*/ 1881474 w 7868937"/>
              <a:gd name="connsiteY1" fmla="*/ 0 h 7367842"/>
              <a:gd name="connsiteX2" fmla="*/ 7429202 w 7868937"/>
              <a:gd name="connsiteY2" fmla="*/ 4506 h 7367842"/>
              <a:gd name="connsiteX3" fmla="*/ 7422853 w 7868937"/>
              <a:gd name="connsiteY3" fmla="*/ 6859284 h 7367842"/>
              <a:gd name="connsiteX4" fmla="*/ 1405224 w 7868937"/>
              <a:gd name="connsiteY4" fmla="*/ 6861175 h 7367842"/>
              <a:gd name="connsiteX5" fmla="*/ 87576 w 7868937"/>
              <a:gd name="connsiteY5" fmla="*/ 5149827 h 7367842"/>
              <a:gd name="connsiteX0" fmla="*/ 108097 w 7889458"/>
              <a:gd name="connsiteY0" fmla="*/ 5149827 h 7367842"/>
              <a:gd name="connsiteX1" fmla="*/ 1901995 w 7889458"/>
              <a:gd name="connsiteY1" fmla="*/ 0 h 7367842"/>
              <a:gd name="connsiteX2" fmla="*/ 7449723 w 7889458"/>
              <a:gd name="connsiteY2" fmla="*/ 4506 h 7367842"/>
              <a:gd name="connsiteX3" fmla="*/ 7443374 w 7889458"/>
              <a:gd name="connsiteY3" fmla="*/ 6859284 h 7367842"/>
              <a:gd name="connsiteX4" fmla="*/ 1425745 w 7889458"/>
              <a:gd name="connsiteY4" fmla="*/ 6861175 h 7367842"/>
              <a:gd name="connsiteX5" fmla="*/ 108097 w 7889458"/>
              <a:gd name="connsiteY5" fmla="*/ 5149827 h 7367842"/>
              <a:gd name="connsiteX0" fmla="*/ 106214 w 7887575"/>
              <a:gd name="connsiteY0" fmla="*/ 5149827 h 7367842"/>
              <a:gd name="connsiteX1" fmla="*/ 1900112 w 7887575"/>
              <a:gd name="connsiteY1" fmla="*/ 0 h 7367842"/>
              <a:gd name="connsiteX2" fmla="*/ 7447840 w 7887575"/>
              <a:gd name="connsiteY2" fmla="*/ 4506 h 7367842"/>
              <a:gd name="connsiteX3" fmla="*/ 7441491 w 7887575"/>
              <a:gd name="connsiteY3" fmla="*/ 6859284 h 7367842"/>
              <a:gd name="connsiteX4" fmla="*/ 1423862 w 7887575"/>
              <a:gd name="connsiteY4" fmla="*/ 6861175 h 7367842"/>
              <a:gd name="connsiteX5" fmla="*/ 106214 w 7887575"/>
              <a:gd name="connsiteY5" fmla="*/ 5149827 h 7367842"/>
              <a:gd name="connsiteX0" fmla="*/ 106214 w 7447840"/>
              <a:gd name="connsiteY0" fmla="*/ 5149827 h 7367842"/>
              <a:gd name="connsiteX1" fmla="*/ 1900112 w 7447840"/>
              <a:gd name="connsiteY1" fmla="*/ 0 h 7367842"/>
              <a:gd name="connsiteX2" fmla="*/ 7447840 w 7447840"/>
              <a:gd name="connsiteY2" fmla="*/ 4506 h 7367842"/>
              <a:gd name="connsiteX3" fmla="*/ 7441491 w 7447840"/>
              <a:gd name="connsiteY3" fmla="*/ 6859284 h 7367842"/>
              <a:gd name="connsiteX4" fmla="*/ 1423862 w 7447840"/>
              <a:gd name="connsiteY4" fmla="*/ 6861175 h 7367842"/>
              <a:gd name="connsiteX5" fmla="*/ 106214 w 7447840"/>
              <a:gd name="connsiteY5" fmla="*/ 5149827 h 7367842"/>
              <a:gd name="connsiteX0" fmla="*/ 106214 w 7447840"/>
              <a:gd name="connsiteY0" fmla="*/ 5149827 h 6861239"/>
              <a:gd name="connsiteX1" fmla="*/ 1900112 w 7447840"/>
              <a:gd name="connsiteY1" fmla="*/ 0 h 6861239"/>
              <a:gd name="connsiteX2" fmla="*/ 7447840 w 7447840"/>
              <a:gd name="connsiteY2" fmla="*/ 4506 h 6861239"/>
              <a:gd name="connsiteX3" fmla="*/ 7441491 w 7447840"/>
              <a:gd name="connsiteY3" fmla="*/ 6859284 h 6861239"/>
              <a:gd name="connsiteX4" fmla="*/ 1423862 w 7447840"/>
              <a:gd name="connsiteY4" fmla="*/ 6861175 h 6861239"/>
              <a:gd name="connsiteX5" fmla="*/ 106214 w 7447840"/>
              <a:gd name="connsiteY5" fmla="*/ 5149827 h 6861239"/>
              <a:gd name="connsiteX0" fmla="*/ 106214 w 7442074"/>
              <a:gd name="connsiteY0" fmla="*/ 5149827 h 6861239"/>
              <a:gd name="connsiteX1" fmla="*/ 1900112 w 7442074"/>
              <a:gd name="connsiteY1" fmla="*/ 0 h 6861239"/>
              <a:gd name="connsiteX2" fmla="*/ 7441490 w 7442074"/>
              <a:gd name="connsiteY2" fmla="*/ 1331 h 6861239"/>
              <a:gd name="connsiteX3" fmla="*/ 7441491 w 7442074"/>
              <a:gd name="connsiteY3" fmla="*/ 6859284 h 6861239"/>
              <a:gd name="connsiteX4" fmla="*/ 1423862 w 7442074"/>
              <a:gd name="connsiteY4" fmla="*/ 6861175 h 6861239"/>
              <a:gd name="connsiteX5" fmla="*/ 106214 w 7442074"/>
              <a:gd name="connsiteY5" fmla="*/ 5149827 h 6861239"/>
              <a:gd name="connsiteX0" fmla="*/ 192909 w 7528769"/>
              <a:gd name="connsiteY0" fmla="*/ 5149827 h 6874642"/>
              <a:gd name="connsiteX1" fmla="*/ 1986807 w 7528769"/>
              <a:gd name="connsiteY1" fmla="*/ 0 h 6874642"/>
              <a:gd name="connsiteX2" fmla="*/ 7528185 w 7528769"/>
              <a:gd name="connsiteY2" fmla="*/ 1331 h 6874642"/>
              <a:gd name="connsiteX3" fmla="*/ 7528186 w 7528769"/>
              <a:gd name="connsiteY3" fmla="*/ 6859284 h 6874642"/>
              <a:gd name="connsiteX4" fmla="*/ 1080251 w 7528769"/>
              <a:gd name="connsiteY4" fmla="*/ 6874622 h 6874642"/>
              <a:gd name="connsiteX5" fmla="*/ 192909 w 7528769"/>
              <a:gd name="connsiteY5" fmla="*/ 5149827 h 6874642"/>
              <a:gd name="connsiteX0" fmla="*/ 167873 w 7503733"/>
              <a:gd name="connsiteY0" fmla="*/ 5149827 h 6874642"/>
              <a:gd name="connsiteX1" fmla="*/ 1961771 w 7503733"/>
              <a:gd name="connsiteY1" fmla="*/ 0 h 6874642"/>
              <a:gd name="connsiteX2" fmla="*/ 7503149 w 7503733"/>
              <a:gd name="connsiteY2" fmla="*/ 1331 h 6874642"/>
              <a:gd name="connsiteX3" fmla="*/ 7503150 w 7503733"/>
              <a:gd name="connsiteY3" fmla="*/ 6859284 h 6874642"/>
              <a:gd name="connsiteX4" fmla="*/ 1055215 w 7503733"/>
              <a:gd name="connsiteY4" fmla="*/ 6874622 h 6874642"/>
              <a:gd name="connsiteX5" fmla="*/ 167873 w 7503733"/>
              <a:gd name="connsiteY5" fmla="*/ 5149827 h 6874642"/>
              <a:gd name="connsiteX0" fmla="*/ 167873 w 7503733"/>
              <a:gd name="connsiteY0" fmla="*/ 5153002 h 6877817"/>
              <a:gd name="connsiteX1" fmla="*/ 2060196 w 7503733"/>
              <a:gd name="connsiteY1" fmla="*/ 0 h 6877817"/>
              <a:gd name="connsiteX2" fmla="*/ 7503149 w 7503733"/>
              <a:gd name="connsiteY2" fmla="*/ 4506 h 6877817"/>
              <a:gd name="connsiteX3" fmla="*/ 7503150 w 7503733"/>
              <a:gd name="connsiteY3" fmla="*/ 6862459 h 6877817"/>
              <a:gd name="connsiteX4" fmla="*/ 1055215 w 7503733"/>
              <a:gd name="connsiteY4" fmla="*/ 6877797 h 6877817"/>
              <a:gd name="connsiteX5" fmla="*/ 167873 w 7503733"/>
              <a:gd name="connsiteY5" fmla="*/ 5153002 h 6877817"/>
              <a:gd name="connsiteX0" fmla="*/ 167873 w 7503733"/>
              <a:gd name="connsiteY0" fmla="*/ 5153002 h 6877817"/>
              <a:gd name="connsiteX1" fmla="*/ 2060196 w 7503733"/>
              <a:gd name="connsiteY1" fmla="*/ 0 h 6877817"/>
              <a:gd name="connsiteX2" fmla="*/ 7503149 w 7503733"/>
              <a:gd name="connsiteY2" fmla="*/ 4506 h 6877817"/>
              <a:gd name="connsiteX3" fmla="*/ 7503150 w 7503733"/>
              <a:gd name="connsiteY3" fmla="*/ 6862459 h 6877817"/>
              <a:gd name="connsiteX4" fmla="*/ 1055215 w 7503733"/>
              <a:gd name="connsiteY4" fmla="*/ 6877797 h 6877817"/>
              <a:gd name="connsiteX5" fmla="*/ 167873 w 7503733"/>
              <a:gd name="connsiteY5" fmla="*/ 5153002 h 6877817"/>
              <a:gd name="connsiteX0" fmla="*/ 316504 w 7242789"/>
              <a:gd name="connsiteY0" fmla="*/ 4260827 h 6877817"/>
              <a:gd name="connsiteX1" fmla="*/ 1799252 w 7242789"/>
              <a:gd name="connsiteY1" fmla="*/ 0 h 6877817"/>
              <a:gd name="connsiteX2" fmla="*/ 7242205 w 7242789"/>
              <a:gd name="connsiteY2" fmla="*/ 4506 h 6877817"/>
              <a:gd name="connsiteX3" fmla="*/ 7242206 w 7242789"/>
              <a:gd name="connsiteY3" fmla="*/ 6862459 h 6877817"/>
              <a:gd name="connsiteX4" fmla="*/ 794271 w 7242789"/>
              <a:gd name="connsiteY4" fmla="*/ 6877797 h 6877817"/>
              <a:gd name="connsiteX5" fmla="*/ 316504 w 7242789"/>
              <a:gd name="connsiteY5" fmla="*/ 4260827 h 6877817"/>
              <a:gd name="connsiteX0" fmla="*/ 316504 w 7242789"/>
              <a:gd name="connsiteY0" fmla="*/ 4260827 h 6877817"/>
              <a:gd name="connsiteX1" fmla="*/ 1799252 w 7242789"/>
              <a:gd name="connsiteY1" fmla="*/ 0 h 6877817"/>
              <a:gd name="connsiteX2" fmla="*/ 7242205 w 7242789"/>
              <a:gd name="connsiteY2" fmla="*/ 4506 h 6877817"/>
              <a:gd name="connsiteX3" fmla="*/ 7242206 w 7242789"/>
              <a:gd name="connsiteY3" fmla="*/ 6862459 h 6877817"/>
              <a:gd name="connsiteX4" fmla="*/ 794271 w 7242789"/>
              <a:gd name="connsiteY4" fmla="*/ 6877797 h 6877817"/>
              <a:gd name="connsiteX5" fmla="*/ 316504 w 7242789"/>
              <a:gd name="connsiteY5" fmla="*/ 4260827 h 6877817"/>
              <a:gd name="connsiteX0" fmla="*/ 264457 w 7190742"/>
              <a:gd name="connsiteY0" fmla="*/ 4260827 h 6862459"/>
              <a:gd name="connsiteX1" fmla="*/ 1747205 w 7190742"/>
              <a:gd name="connsiteY1" fmla="*/ 0 h 6862459"/>
              <a:gd name="connsiteX2" fmla="*/ 7190158 w 7190742"/>
              <a:gd name="connsiteY2" fmla="*/ 4506 h 6862459"/>
              <a:gd name="connsiteX3" fmla="*/ 7190159 w 7190742"/>
              <a:gd name="connsiteY3" fmla="*/ 6862459 h 6862459"/>
              <a:gd name="connsiteX4" fmla="*/ 859699 w 7190742"/>
              <a:gd name="connsiteY4" fmla="*/ 6093572 h 6862459"/>
              <a:gd name="connsiteX5" fmla="*/ 264457 w 7190742"/>
              <a:gd name="connsiteY5" fmla="*/ 4260827 h 6862459"/>
              <a:gd name="connsiteX0" fmla="*/ 264457 w 7190742"/>
              <a:gd name="connsiteY0" fmla="*/ 4260827 h 6862459"/>
              <a:gd name="connsiteX1" fmla="*/ 1747205 w 7190742"/>
              <a:gd name="connsiteY1" fmla="*/ 0 h 6862459"/>
              <a:gd name="connsiteX2" fmla="*/ 7190158 w 7190742"/>
              <a:gd name="connsiteY2" fmla="*/ 4506 h 6862459"/>
              <a:gd name="connsiteX3" fmla="*/ 7190159 w 7190742"/>
              <a:gd name="connsiteY3" fmla="*/ 6862459 h 6862459"/>
              <a:gd name="connsiteX4" fmla="*/ 859699 w 7190742"/>
              <a:gd name="connsiteY4" fmla="*/ 6093572 h 6862459"/>
              <a:gd name="connsiteX5" fmla="*/ 264457 w 7190742"/>
              <a:gd name="connsiteY5" fmla="*/ 4260827 h 6862459"/>
              <a:gd name="connsiteX0" fmla="*/ 236370 w 7162655"/>
              <a:gd name="connsiteY0" fmla="*/ 4260827 h 6862459"/>
              <a:gd name="connsiteX1" fmla="*/ 1719118 w 7162655"/>
              <a:gd name="connsiteY1" fmla="*/ 0 h 6862459"/>
              <a:gd name="connsiteX2" fmla="*/ 7162071 w 7162655"/>
              <a:gd name="connsiteY2" fmla="*/ 4506 h 6862459"/>
              <a:gd name="connsiteX3" fmla="*/ 7162072 w 7162655"/>
              <a:gd name="connsiteY3" fmla="*/ 6862459 h 6862459"/>
              <a:gd name="connsiteX4" fmla="*/ 831612 w 7162655"/>
              <a:gd name="connsiteY4" fmla="*/ 6093572 h 6862459"/>
              <a:gd name="connsiteX5" fmla="*/ 236370 w 7162655"/>
              <a:gd name="connsiteY5" fmla="*/ 4260827 h 6862459"/>
              <a:gd name="connsiteX0" fmla="*/ 236370 w 7162655"/>
              <a:gd name="connsiteY0" fmla="*/ 4260827 h 6862459"/>
              <a:gd name="connsiteX1" fmla="*/ 1719118 w 7162655"/>
              <a:gd name="connsiteY1" fmla="*/ 0 h 6862459"/>
              <a:gd name="connsiteX2" fmla="*/ 7162071 w 7162655"/>
              <a:gd name="connsiteY2" fmla="*/ 4506 h 6862459"/>
              <a:gd name="connsiteX3" fmla="*/ 7162072 w 7162655"/>
              <a:gd name="connsiteY3" fmla="*/ 6862459 h 6862459"/>
              <a:gd name="connsiteX4" fmla="*/ 831612 w 7162655"/>
              <a:gd name="connsiteY4" fmla="*/ 6093572 h 6862459"/>
              <a:gd name="connsiteX5" fmla="*/ 236370 w 7162655"/>
              <a:gd name="connsiteY5" fmla="*/ 4260827 h 6862459"/>
              <a:gd name="connsiteX0" fmla="*/ 236370 w 7162655"/>
              <a:gd name="connsiteY0" fmla="*/ 4260827 h 6862459"/>
              <a:gd name="connsiteX1" fmla="*/ 1719118 w 7162655"/>
              <a:gd name="connsiteY1" fmla="*/ 0 h 6862459"/>
              <a:gd name="connsiteX2" fmla="*/ 7162071 w 7162655"/>
              <a:gd name="connsiteY2" fmla="*/ 4506 h 6862459"/>
              <a:gd name="connsiteX3" fmla="*/ 7162072 w 7162655"/>
              <a:gd name="connsiteY3" fmla="*/ 6862459 h 6862459"/>
              <a:gd name="connsiteX4" fmla="*/ 831612 w 7162655"/>
              <a:gd name="connsiteY4" fmla="*/ 6093572 h 6862459"/>
              <a:gd name="connsiteX5" fmla="*/ 236370 w 7162655"/>
              <a:gd name="connsiteY5" fmla="*/ 4260827 h 6862459"/>
              <a:gd name="connsiteX0" fmla="*/ 219299 w 7145584"/>
              <a:gd name="connsiteY0" fmla="*/ 4260827 h 6862459"/>
              <a:gd name="connsiteX1" fmla="*/ 1702047 w 7145584"/>
              <a:gd name="connsiteY1" fmla="*/ 0 h 6862459"/>
              <a:gd name="connsiteX2" fmla="*/ 7145000 w 7145584"/>
              <a:gd name="connsiteY2" fmla="*/ 4506 h 6862459"/>
              <a:gd name="connsiteX3" fmla="*/ 7145001 w 7145584"/>
              <a:gd name="connsiteY3" fmla="*/ 6862459 h 6862459"/>
              <a:gd name="connsiteX4" fmla="*/ 814541 w 7145584"/>
              <a:gd name="connsiteY4" fmla="*/ 6093572 h 6862459"/>
              <a:gd name="connsiteX5" fmla="*/ 219299 w 7145584"/>
              <a:gd name="connsiteY5" fmla="*/ 4260827 h 6862459"/>
              <a:gd name="connsiteX0" fmla="*/ 219299 w 7145584"/>
              <a:gd name="connsiteY0" fmla="*/ 4260827 h 7227265"/>
              <a:gd name="connsiteX1" fmla="*/ 1702047 w 7145584"/>
              <a:gd name="connsiteY1" fmla="*/ 0 h 7227265"/>
              <a:gd name="connsiteX2" fmla="*/ 7145000 w 7145584"/>
              <a:gd name="connsiteY2" fmla="*/ 4506 h 7227265"/>
              <a:gd name="connsiteX3" fmla="*/ 7145001 w 7145584"/>
              <a:gd name="connsiteY3" fmla="*/ 6862459 h 7227265"/>
              <a:gd name="connsiteX4" fmla="*/ 1509366 w 7145584"/>
              <a:gd name="connsiteY4" fmla="*/ 6264490 h 7227265"/>
              <a:gd name="connsiteX5" fmla="*/ 814541 w 7145584"/>
              <a:gd name="connsiteY5" fmla="*/ 6093572 h 7227265"/>
              <a:gd name="connsiteX6" fmla="*/ 219299 w 7145584"/>
              <a:gd name="connsiteY6" fmla="*/ 4260827 h 7227265"/>
              <a:gd name="connsiteX0" fmla="*/ 103578 w 7029863"/>
              <a:gd name="connsiteY0" fmla="*/ 4260827 h 7357842"/>
              <a:gd name="connsiteX1" fmla="*/ 1586326 w 7029863"/>
              <a:gd name="connsiteY1" fmla="*/ 0 h 7357842"/>
              <a:gd name="connsiteX2" fmla="*/ 7029279 w 7029863"/>
              <a:gd name="connsiteY2" fmla="*/ 4506 h 7357842"/>
              <a:gd name="connsiteX3" fmla="*/ 7029280 w 7029863"/>
              <a:gd name="connsiteY3" fmla="*/ 6862459 h 7357842"/>
              <a:gd name="connsiteX4" fmla="*/ 2865984 w 7029863"/>
              <a:gd name="connsiteY4" fmla="*/ 6868924 h 7357842"/>
              <a:gd name="connsiteX5" fmla="*/ 698820 w 7029863"/>
              <a:gd name="connsiteY5" fmla="*/ 6093572 h 7357842"/>
              <a:gd name="connsiteX6" fmla="*/ 103578 w 7029863"/>
              <a:gd name="connsiteY6" fmla="*/ 4260827 h 7357842"/>
              <a:gd name="connsiteX0" fmla="*/ 103578 w 7029863"/>
              <a:gd name="connsiteY0" fmla="*/ 4260827 h 7357842"/>
              <a:gd name="connsiteX1" fmla="*/ 1586326 w 7029863"/>
              <a:gd name="connsiteY1" fmla="*/ 0 h 7357842"/>
              <a:gd name="connsiteX2" fmla="*/ 7029279 w 7029863"/>
              <a:gd name="connsiteY2" fmla="*/ 4506 h 7357842"/>
              <a:gd name="connsiteX3" fmla="*/ 7029280 w 7029863"/>
              <a:gd name="connsiteY3" fmla="*/ 6862459 h 7357842"/>
              <a:gd name="connsiteX4" fmla="*/ 2865984 w 7029863"/>
              <a:gd name="connsiteY4" fmla="*/ 6868924 h 7357842"/>
              <a:gd name="connsiteX5" fmla="*/ 698820 w 7029863"/>
              <a:gd name="connsiteY5" fmla="*/ 6093572 h 7357842"/>
              <a:gd name="connsiteX6" fmla="*/ 103578 w 7029863"/>
              <a:gd name="connsiteY6" fmla="*/ 4260827 h 7357842"/>
              <a:gd name="connsiteX0" fmla="*/ 103578 w 7029863"/>
              <a:gd name="connsiteY0" fmla="*/ 4260827 h 6936849"/>
              <a:gd name="connsiteX1" fmla="*/ 1586326 w 7029863"/>
              <a:gd name="connsiteY1" fmla="*/ 0 h 6936849"/>
              <a:gd name="connsiteX2" fmla="*/ 7029279 w 7029863"/>
              <a:gd name="connsiteY2" fmla="*/ 4506 h 6936849"/>
              <a:gd name="connsiteX3" fmla="*/ 7029280 w 7029863"/>
              <a:gd name="connsiteY3" fmla="*/ 6862459 h 6936849"/>
              <a:gd name="connsiteX4" fmla="*/ 2865984 w 7029863"/>
              <a:gd name="connsiteY4" fmla="*/ 6868924 h 6936849"/>
              <a:gd name="connsiteX5" fmla="*/ 698820 w 7029863"/>
              <a:gd name="connsiteY5" fmla="*/ 6093572 h 6936849"/>
              <a:gd name="connsiteX6" fmla="*/ 103578 w 7029863"/>
              <a:gd name="connsiteY6" fmla="*/ 4260827 h 6936849"/>
              <a:gd name="connsiteX0" fmla="*/ 138867 w 7065152"/>
              <a:gd name="connsiteY0" fmla="*/ 4260827 h 6936849"/>
              <a:gd name="connsiteX1" fmla="*/ 1621615 w 7065152"/>
              <a:gd name="connsiteY1" fmla="*/ 0 h 6936849"/>
              <a:gd name="connsiteX2" fmla="*/ 7064568 w 7065152"/>
              <a:gd name="connsiteY2" fmla="*/ 4506 h 6936849"/>
              <a:gd name="connsiteX3" fmla="*/ 7064569 w 7065152"/>
              <a:gd name="connsiteY3" fmla="*/ 6862459 h 6936849"/>
              <a:gd name="connsiteX4" fmla="*/ 2901273 w 7065152"/>
              <a:gd name="connsiteY4" fmla="*/ 6868924 h 6936849"/>
              <a:gd name="connsiteX5" fmla="*/ 734109 w 7065152"/>
              <a:gd name="connsiteY5" fmla="*/ 6093572 h 6936849"/>
              <a:gd name="connsiteX6" fmla="*/ 138867 w 7065152"/>
              <a:gd name="connsiteY6" fmla="*/ 4260827 h 6936849"/>
              <a:gd name="connsiteX0" fmla="*/ 137090 w 7063375"/>
              <a:gd name="connsiteY0" fmla="*/ 4260827 h 6936849"/>
              <a:gd name="connsiteX1" fmla="*/ 1619838 w 7063375"/>
              <a:gd name="connsiteY1" fmla="*/ 0 h 6936849"/>
              <a:gd name="connsiteX2" fmla="*/ 7062791 w 7063375"/>
              <a:gd name="connsiteY2" fmla="*/ 4506 h 6936849"/>
              <a:gd name="connsiteX3" fmla="*/ 7062792 w 7063375"/>
              <a:gd name="connsiteY3" fmla="*/ 6862459 h 6936849"/>
              <a:gd name="connsiteX4" fmla="*/ 2899496 w 7063375"/>
              <a:gd name="connsiteY4" fmla="*/ 6868924 h 6936849"/>
              <a:gd name="connsiteX5" fmla="*/ 732332 w 7063375"/>
              <a:gd name="connsiteY5" fmla="*/ 6093572 h 6936849"/>
              <a:gd name="connsiteX6" fmla="*/ 137090 w 7063375"/>
              <a:gd name="connsiteY6" fmla="*/ 4260827 h 6936849"/>
              <a:gd name="connsiteX0" fmla="*/ 183803 w 7110088"/>
              <a:gd name="connsiteY0" fmla="*/ 4260827 h 6936849"/>
              <a:gd name="connsiteX1" fmla="*/ 1666551 w 7110088"/>
              <a:gd name="connsiteY1" fmla="*/ 0 h 6936849"/>
              <a:gd name="connsiteX2" fmla="*/ 7109504 w 7110088"/>
              <a:gd name="connsiteY2" fmla="*/ 4506 h 6936849"/>
              <a:gd name="connsiteX3" fmla="*/ 7109505 w 7110088"/>
              <a:gd name="connsiteY3" fmla="*/ 6862459 h 6936849"/>
              <a:gd name="connsiteX4" fmla="*/ 2946209 w 7110088"/>
              <a:gd name="connsiteY4" fmla="*/ 6868924 h 6936849"/>
              <a:gd name="connsiteX5" fmla="*/ 779045 w 7110088"/>
              <a:gd name="connsiteY5" fmla="*/ 6093572 h 6936849"/>
              <a:gd name="connsiteX6" fmla="*/ 183803 w 7110088"/>
              <a:gd name="connsiteY6" fmla="*/ 4260827 h 6936849"/>
              <a:gd name="connsiteX0" fmla="*/ 220282 w 7146567"/>
              <a:gd name="connsiteY0" fmla="*/ 4260827 h 6936849"/>
              <a:gd name="connsiteX1" fmla="*/ 1703030 w 7146567"/>
              <a:gd name="connsiteY1" fmla="*/ 0 h 6936849"/>
              <a:gd name="connsiteX2" fmla="*/ 7145983 w 7146567"/>
              <a:gd name="connsiteY2" fmla="*/ 4506 h 6936849"/>
              <a:gd name="connsiteX3" fmla="*/ 7145984 w 7146567"/>
              <a:gd name="connsiteY3" fmla="*/ 6862459 h 6936849"/>
              <a:gd name="connsiteX4" fmla="*/ 2982688 w 7146567"/>
              <a:gd name="connsiteY4" fmla="*/ 6868924 h 6936849"/>
              <a:gd name="connsiteX5" fmla="*/ 815524 w 7146567"/>
              <a:gd name="connsiteY5" fmla="*/ 6093572 h 6936849"/>
              <a:gd name="connsiteX6" fmla="*/ 220282 w 7146567"/>
              <a:gd name="connsiteY6" fmla="*/ 4260827 h 6936849"/>
              <a:gd name="connsiteX0" fmla="*/ 266185 w 7192470"/>
              <a:gd name="connsiteY0" fmla="*/ 4260827 h 6936849"/>
              <a:gd name="connsiteX1" fmla="*/ 1748933 w 7192470"/>
              <a:gd name="connsiteY1" fmla="*/ 0 h 6936849"/>
              <a:gd name="connsiteX2" fmla="*/ 7191886 w 7192470"/>
              <a:gd name="connsiteY2" fmla="*/ 4506 h 6936849"/>
              <a:gd name="connsiteX3" fmla="*/ 7191887 w 7192470"/>
              <a:gd name="connsiteY3" fmla="*/ 6862459 h 6936849"/>
              <a:gd name="connsiteX4" fmla="*/ 3028591 w 7192470"/>
              <a:gd name="connsiteY4" fmla="*/ 6868924 h 6936849"/>
              <a:gd name="connsiteX5" fmla="*/ 861427 w 7192470"/>
              <a:gd name="connsiteY5" fmla="*/ 6093572 h 6936849"/>
              <a:gd name="connsiteX6" fmla="*/ 266185 w 7192470"/>
              <a:gd name="connsiteY6" fmla="*/ 4260827 h 6936849"/>
              <a:gd name="connsiteX0" fmla="*/ 221223 w 7147508"/>
              <a:gd name="connsiteY0" fmla="*/ 4260827 h 6936849"/>
              <a:gd name="connsiteX1" fmla="*/ 1703971 w 7147508"/>
              <a:gd name="connsiteY1" fmla="*/ 0 h 6936849"/>
              <a:gd name="connsiteX2" fmla="*/ 7146924 w 7147508"/>
              <a:gd name="connsiteY2" fmla="*/ 4506 h 6936849"/>
              <a:gd name="connsiteX3" fmla="*/ 7146925 w 7147508"/>
              <a:gd name="connsiteY3" fmla="*/ 6862459 h 6936849"/>
              <a:gd name="connsiteX4" fmla="*/ 2983629 w 7147508"/>
              <a:gd name="connsiteY4" fmla="*/ 6868924 h 6936849"/>
              <a:gd name="connsiteX5" fmla="*/ 816465 w 7147508"/>
              <a:gd name="connsiteY5" fmla="*/ 6093572 h 6936849"/>
              <a:gd name="connsiteX6" fmla="*/ 221223 w 7147508"/>
              <a:gd name="connsiteY6" fmla="*/ 4260827 h 6936849"/>
              <a:gd name="connsiteX0" fmla="*/ 194558 w 7120843"/>
              <a:gd name="connsiteY0" fmla="*/ 4260827 h 6936849"/>
              <a:gd name="connsiteX1" fmla="*/ 1677306 w 7120843"/>
              <a:gd name="connsiteY1" fmla="*/ 0 h 6936849"/>
              <a:gd name="connsiteX2" fmla="*/ 7120259 w 7120843"/>
              <a:gd name="connsiteY2" fmla="*/ 4506 h 6936849"/>
              <a:gd name="connsiteX3" fmla="*/ 7120260 w 7120843"/>
              <a:gd name="connsiteY3" fmla="*/ 6862459 h 6936849"/>
              <a:gd name="connsiteX4" fmla="*/ 2956964 w 7120843"/>
              <a:gd name="connsiteY4" fmla="*/ 6868924 h 6936849"/>
              <a:gd name="connsiteX5" fmla="*/ 789800 w 7120843"/>
              <a:gd name="connsiteY5" fmla="*/ 6093572 h 6936849"/>
              <a:gd name="connsiteX6" fmla="*/ 194558 w 7120843"/>
              <a:gd name="connsiteY6" fmla="*/ 4260827 h 6936849"/>
              <a:gd name="connsiteX0" fmla="*/ 196976 w 7123261"/>
              <a:gd name="connsiteY0" fmla="*/ 4260827 h 6936849"/>
              <a:gd name="connsiteX1" fmla="*/ 1679724 w 7123261"/>
              <a:gd name="connsiteY1" fmla="*/ 0 h 6936849"/>
              <a:gd name="connsiteX2" fmla="*/ 7122677 w 7123261"/>
              <a:gd name="connsiteY2" fmla="*/ 4506 h 6936849"/>
              <a:gd name="connsiteX3" fmla="*/ 7122678 w 7123261"/>
              <a:gd name="connsiteY3" fmla="*/ 6862459 h 6936849"/>
              <a:gd name="connsiteX4" fmla="*/ 2959382 w 7123261"/>
              <a:gd name="connsiteY4" fmla="*/ 6868924 h 6936849"/>
              <a:gd name="connsiteX5" fmla="*/ 792218 w 7123261"/>
              <a:gd name="connsiteY5" fmla="*/ 6093572 h 6936849"/>
              <a:gd name="connsiteX6" fmla="*/ 196976 w 7123261"/>
              <a:gd name="connsiteY6" fmla="*/ 4260827 h 6936849"/>
              <a:gd name="connsiteX0" fmla="*/ 196976 w 7123261"/>
              <a:gd name="connsiteY0" fmla="*/ 4260827 h 6890977"/>
              <a:gd name="connsiteX1" fmla="*/ 1679724 w 7123261"/>
              <a:gd name="connsiteY1" fmla="*/ 0 h 6890977"/>
              <a:gd name="connsiteX2" fmla="*/ 7122677 w 7123261"/>
              <a:gd name="connsiteY2" fmla="*/ 4506 h 6890977"/>
              <a:gd name="connsiteX3" fmla="*/ 7122678 w 7123261"/>
              <a:gd name="connsiteY3" fmla="*/ 6862459 h 6890977"/>
              <a:gd name="connsiteX4" fmla="*/ 2959382 w 7123261"/>
              <a:gd name="connsiteY4" fmla="*/ 6868924 h 6890977"/>
              <a:gd name="connsiteX5" fmla="*/ 792218 w 7123261"/>
              <a:gd name="connsiteY5" fmla="*/ 6093572 h 6890977"/>
              <a:gd name="connsiteX6" fmla="*/ 196976 w 7123261"/>
              <a:gd name="connsiteY6" fmla="*/ 4260827 h 6890977"/>
              <a:gd name="connsiteX0" fmla="*/ 196976 w 7123261"/>
              <a:gd name="connsiteY0" fmla="*/ 4260827 h 6868924"/>
              <a:gd name="connsiteX1" fmla="*/ 1679724 w 7123261"/>
              <a:gd name="connsiteY1" fmla="*/ 0 h 6868924"/>
              <a:gd name="connsiteX2" fmla="*/ 7122677 w 7123261"/>
              <a:gd name="connsiteY2" fmla="*/ 4506 h 6868924"/>
              <a:gd name="connsiteX3" fmla="*/ 7122678 w 7123261"/>
              <a:gd name="connsiteY3" fmla="*/ 6862459 h 6868924"/>
              <a:gd name="connsiteX4" fmla="*/ 2959382 w 7123261"/>
              <a:gd name="connsiteY4" fmla="*/ 6868924 h 6868924"/>
              <a:gd name="connsiteX5" fmla="*/ 792218 w 7123261"/>
              <a:gd name="connsiteY5" fmla="*/ 6093572 h 6868924"/>
              <a:gd name="connsiteX6" fmla="*/ 196976 w 7123261"/>
              <a:gd name="connsiteY6" fmla="*/ 4260827 h 6868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23261" h="6868924">
                <a:moveTo>
                  <a:pt x="196976" y="4260827"/>
                </a:moveTo>
                <a:cubicBezTo>
                  <a:pt x="532475" y="3317860"/>
                  <a:pt x="1077525" y="1733542"/>
                  <a:pt x="1679724" y="0"/>
                </a:cubicBezTo>
                <a:lnTo>
                  <a:pt x="7122677" y="4506"/>
                </a:lnTo>
                <a:cubicBezTo>
                  <a:pt x="7114657" y="9731"/>
                  <a:pt x="7125852" y="3435070"/>
                  <a:pt x="7122678" y="6862459"/>
                </a:cubicBezTo>
                <a:lnTo>
                  <a:pt x="2959382" y="6868924"/>
                </a:lnTo>
                <a:cubicBezTo>
                  <a:pt x="1935302" y="6461807"/>
                  <a:pt x="1693944" y="6417130"/>
                  <a:pt x="792218" y="6093572"/>
                </a:cubicBezTo>
                <a:cubicBezTo>
                  <a:pt x="-109508" y="5770014"/>
                  <a:pt x="-138523" y="5203794"/>
                  <a:pt x="196976" y="4260827"/>
                </a:cubicBezTo>
                <a:close/>
              </a:path>
            </a:pathLst>
          </a:custGeom>
          <a:solidFill>
            <a:schemeClr val="bg1">
              <a:lumMod val="95000"/>
            </a:schemeClr>
          </a:solidFill>
          <a:effectLst>
            <a:outerShdw blurRad="101600" sx="101000" sy="101000" algn="tl" rotWithShape="0">
              <a:schemeClr val="accent3">
                <a:alpha val="10000"/>
              </a:schemeClr>
            </a:outerShdw>
          </a:effectLst>
        </p:spPr>
        <p:txBody>
          <a:bodyPr/>
          <a:lstStyle>
            <a:lvl1pPr marL="0" indent="0" algn="l">
              <a:buFont typeface="+mj-lt"/>
              <a:buNone/>
              <a:defRPr/>
            </a:lvl1pPr>
          </a:lstStyle>
          <a:p>
            <a:r>
              <a:rPr lang="en-US"/>
              <a:t>Click icon to add picture</a:t>
            </a:r>
            <a:endParaRPr lang="en-NL"/>
          </a:p>
        </p:txBody>
      </p:sp>
    </p:spTree>
    <p:extLst>
      <p:ext uri="{BB962C8B-B14F-4D97-AF65-F5344CB8AC3E}">
        <p14:creationId xmlns:p14="http://schemas.microsoft.com/office/powerpoint/2010/main" val="1615423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userDrawn="1">
  <p:cSld name="Content slide - logo upper left">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1115F00C-7B7D-B1CB-CB9C-BCFF703F6C3B}"/>
              </a:ext>
            </a:extLst>
          </p:cNvPr>
          <p:cNvSpPr>
            <a:spLocks noGrp="1"/>
          </p:cNvSpPr>
          <p:nvPr>
            <p:ph type="pic" sz="quarter" idx="10"/>
          </p:nvPr>
        </p:nvSpPr>
        <p:spPr>
          <a:xfrm flipH="1">
            <a:off x="7345957" y="-15694"/>
            <a:ext cx="4846043" cy="5575923"/>
          </a:xfrm>
          <a:custGeom>
            <a:avLst/>
            <a:gdLst>
              <a:gd name="connsiteX0" fmla="*/ 0 w 4803247"/>
              <a:gd name="connsiteY0" fmla="*/ 800557 h 6400800"/>
              <a:gd name="connsiteX1" fmla="*/ 800557 w 4803247"/>
              <a:gd name="connsiteY1" fmla="*/ 0 h 6400800"/>
              <a:gd name="connsiteX2" fmla="*/ 4002690 w 4803247"/>
              <a:gd name="connsiteY2" fmla="*/ 0 h 6400800"/>
              <a:gd name="connsiteX3" fmla="*/ 4803247 w 4803247"/>
              <a:gd name="connsiteY3" fmla="*/ 800557 h 6400800"/>
              <a:gd name="connsiteX4" fmla="*/ 4803247 w 4803247"/>
              <a:gd name="connsiteY4" fmla="*/ 5600243 h 6400800"/>
              <a:gd name="connsiteX5" fmla="*/ 4002690 w 4803247"/>
              <a:gd name="connsiteY5" fmla="*/ 6400800 h 6400800"/>
              <a:gd name="connsiteX6" fmla="*/ 800557 w 4803247"/>
              <a:gd name="connsiteY6" fmla="*/ 6400800 h 6400800"/>
              <a:gd name="connsiteX7" fmla="*/ 0 w 4803247"/>
              <a:gd name="connsiteY7" fmla="*/ 5600243 h 6400800"/>
              <a:gd name="connsiteX8" fmla="*/ 0 w 4803247"/>
              <a:gd name="connsiteY8" fmla="*/ 800557 h 6400800"/>
              <a:gd name="connsiteX0" fmla="*/ 0 w 4990064"/>
              <a:gd name="connsiteY0" fmla="*/ 813257 h 6413500"/>
              <a:gd name="connsiteX1" fmla="*/ 800557 w 4990064"/>
              <a:gd name="connsiteY1" fmla="*/ 12700 h 6413500"/>
              <a:gd name="connsiteX2" fmla="*/ 4790090 w 4990064"/>
              <a:gd name="connsiteY2" fmla="*/ 0 h 6413500"/>
              <a:gd name="connsiteX3" fmla="*/ 4803247 w 4990064"/>
              <a:gd name="connsiteY3" fmla="*/ 813257 h 6413500"/>
              <a:gd name="connsiteX4" fmla="*/ 4803247 w 4990064"/>
              <a:gd name="connsiteY4" fmla="*/ 5612943 h 6413500"/>
              <a:gd name="connsiteX5" fmla="*/ 4002690 w 4990064"/>
              <a:gd name="connsiteY5" fmla="*/ 6413500 h 6413500"/>
              <a:gd name="connsiteX6" fmla="*/ 800557 w 4990064"/>
              <a:gd name="connsiteY6" fmla="*/ 6413500 h 6413500"/>
              <a:gd name="connsiteX7" fmla="*/ 0 w 4990064"/>
              <a:gd name="connsiteY7" fmla="*/ 5612943 h 6413500"/>
              <a:gd name="connsiteX8" fmla="*/ 0 w 4990064"/>
              <a:gd name="connsiteY8" fmla="*/ 813257 h 6413500"/>
              <a:gd name="connsiteX0" fmla="*/ 0 w 5122031"/>
              <a:gd name="connsiteY0" fmla="*/ 813257 h 6413500"/>
              <a:gd name="connsiteX1" fmla="*/ 800557 w 5122031"/>
              <a:gd name="connsiteY1" fmla="*/ 12700 h 6413500"/>
              <a:gd name="connsiteX2" fmla="*/ 4790090 w 5122031"/>
              <a:gd name="connsiteY2" fmla="*/ 0 h 6413500"/>
              <a:gd name="connsiteX3" fmla="*/ 4803247 w 5122031"/>
              <a:gd name="connsiteY3" fmla="*/ 5612943 h 6413500"/>
              <a:gd name="connsiteX4" fmla="*/ 4002690 w 5122031"/>
              <a:gd name="connsiteY4" fmla="*/ 6413500 h 6413500"/>
              <a:gd name="connsiteX5" fmla="*/ 800557 w 5122031"/>
              <a:gd name="connsiteY5" fmla="*/ 6413500 h 6413500"/>
              <a:gd name="connsiteX6" fmla="*/ 0 w 5122031"/>
              <a:gd name="connsiteY6" fmla="*/ 5612943 h 6413500"/>
              <a:gd name="connsiteX7" fmla="*/ 0 w 5122031"/>
              <a:gd name="connsiteY7" fmla="*/ 813257 h 6413500"/>
              <a:gd name="connsiteX0" fmla="*/ 0 w 4903385"/>
              <a:gd name="connsiteY0" fmla="*/ 813257 h 6413500"/>
              <a:gd name="connsiteX1" fmla="*/ 800557 w 4903385"/>
              <a:gd name="connsiteY1" fmla="*/ 12700 h 6413500"/>
              <a:gd name="connsiteX2" fmla="*/ 4790090 w 4903385"/>
              <a:gd name="connsiteY2" fmla="*/ 0 h 6413500"/>
              <a:gd name="connsiteX3" fmla="*/ 2834747 w 4903385"/>
              <a:gd name="connsiteY3" fmla="*/ 5739943 h 6413500"/>
              <a:gd name="connsiteX4" fmla="*/ 4002690 w 4903385"/>
              <a:gd name="connsiteY4" fmla="*/ 6413500 h 6413500"/>
              <a:gd name="connsiteX5" fmla="*/ 800557 w 4903385"/>
              <a:gd name="connsiteY5" fmla="*/ 6413500 h 6413500"/>
              <a:gd name="connsiteX6" fmla="*/ 0 w 4903385"/>
              <a:gd name="connsiteY6" fmla="*/ 5612943 h 6413500"/>
              <a:gd name="connsiteX7" fmla="*/ 0 w 4903385"/>
              <a:gd name="connsiteY7" fmla="*/ 813257 h 6413500"/>
              <a:gd name="connsiteX0" fmla="*/ 0 w 4912398"/>
              <a:gd name="connsiteY0" fmla="*/ 813257 h 6413500"/>
              <a:gd name="connsiteX1" fmla="*/ 800557 w 4912398"/>
              <a:gd name="connsiteY1" fmla="*/ 12700 h 6413500"/>
              <a:gd name="connsiteX2" fmla="*/ 4790090 w 4912398"/>
              <a:gd name="connsiteY2" fmla="*/ 0 h 6413500"/>
              <a:gd name="connsiteX3" fmla="*/ 2834747 w 4912398"/>
              <a:gd name="connsiteY3" fmla="*/ 5739943 h 6413500"/>
              <a:gd name="connsiteX4" fmla="*/ 4002690 w 4912398"/>
              <a:gd name="connsiteY4" fmla="*/ 6413500 h 6413500"/>
              <a:gd name="connsiteX5" fmla="*/ 800557 w 4912398"/>
              <a:gd name="connsiteY5" fmla="*/ 6413500 h 6413500"/>
              <a:gd name="connsiteX6" fmla="*/ 0 w 4912398"/>
              <a:gd name="connsiteY6" fmla="*/ 5612943 h 6413500"/>
              <a:gd name="connsiteX7" fmla="*/ 0 w 4912398"/>
              <a:gd name="connsiteY7" fmla="*/ 813257 h 6413500"/>
              <a:gd name="connsiteX0" fmla="*/ 0 w 4912398"/>
              <a:gd name="connsiteY0" fmla="*/ 813257 h 6413500"/>
              <a:gd name="connsiteX1" fmla="*/ 800557 w 4912398"/>
              <a:gd name="connsiteY1" fmla="*/ 12700 h 6413500"/>
              <a:gd name="connsiteX2" fmla="*/ 4790090 w 4912398"/>
              <a:gd name="connsiteY2" fmla="*/ 0 h 6413500"/>
              <a:gd name="connsiteX3" fmla="*/ 2834747 w 4912398"/>
              <a:gd name="connsiteY3" fmla="*/ 5739943 h 6413500"/>
              <a:gd name="connsiteX4" fmla="*/ 1297590 w 4912398"/>
              <a:gd name="connsiteY4" fmla="*/ 6324600 h 6413500"/>
              <a:gd name="connsiteX5" fmla="*/ 800557 w 4912398"/>
              <a:gd name="connsiteY5" fmla="*/ 6413500 h 6413500"/>
              <a:gd name="connsiteX6" fmla="*/ 0 w 4912398"/>
              <a:gd name="connsiteY6" fmla="*/ 5612943 h 6413500"/>
              <a:gd name="connsiteX7" fmla="*/ 0 w 4912398"/>
              <a:gd name="connsiteY7" fmla="*/ 813257 h 6413500"/>
              <a:gd name="connsiteX0" fmla="*/ 0 w 4912398"/>
              <a:gd name="connsiteY0" fmla="*/ 813257 h 6324600"/>
              <a:gd name="connsiteX1" fmla="*/ 800557 w 4912398"/>
              <a:gd name="connsiteY1" fmla="*/ 12700 h 6324600"/>
              <a:gd name="connsiteX2" fmla="*/ 4790090 w 4912398"/>
              <a:gd name="connsiteY2" fmla="*/ 0 h 6324600"/>
              <a:gd name="connsiteX3" fmla="*/ 2834747 w 4912398"/>
              <a:gd name="connsiteY3" fmla="*/ 5739943 h 6324600"/>
              <a:gd name="connsiteX4" fmla="*/ 1297590 w 4912398"/>
              <a:gd name="connsiteY4" fmla="*/ 6324600 h 6324600"/>
              <a:gd name="connsiteX5" fmla="*/ 0 w 4912398"/>
              <a:gd name="connsiteY5" fmla="*/ 5612943 h 6324600"/>
              <a:gd name="connsiteX6" fmla="*/ 0 w 4912398"/>
              <a:gd name="connsiteY6" fmla="*/ 813257 h 6324600"/>
              <a:gd name="connsiteX0" fmla="*/ 0 w 4912398"/>
              <a:gd name="connsiteY0" fmla="*/ 813257 h 6324600"/>
              <a:gd name="connsiteX1" fmla="*/ 800557 w 4912398"/>
              <a:gd name="connsiteY1" fmla="*/ 12700 h 6324600"/>
              <a:gd name="connsiteX2" fmla="*/ 4790090 w 4912398"/>
              <a:gd name="connsiteY2" fmla="*/ 0 h 6324600"/>
              <a:gd name="connsiteX3" fmla="*/ 2834747 w 4912398"/>
              <a:gd name="connsiteY3" fmla="*/ 5739943 h 6324600"/>
              <a:gd name="connsiteX4" fmla="*/ 1297590 w 4912398"/>
              <a:gd name="connsiteY4" fmla="*/ 6324600 h 6324600"/>
              <a:gd name="connsiteX5" fmla="*/ 0 w 4912398"/>
              <a:gd name="connsiteY5" fmla="*/ 5841543 h 6324600"/>
              <a:gd name="connsiteX6" fmla="*/ 0 w 4912398"/>
              <a:gd name="connsiteY6" fmla="*/ 813257 h 6324600"/>
              <a:gd name="connsiteX0" fmla="*/ 0 w 4912398"/>
              <a:gd name="connsiteY0" fmla="*/ 813257 h 6356095"/>
              <a:gd name="connsiteX1" fmla="*/ 800557 w 4912398"/>
              <a:gd name="connsiteY1" fmla="*/ 12700 h 6356095"/>
              <a:gd name="connsiteX2" fmla="*/ 4790090 w 4912398"/>
              <a:gd name="connsiteY2" fmla="*/ 0 h 6356095"/>
              <a:gd name="connsiteX3" fmla="*/ 2834747 w 4912398"/>
              <a:gd name="connsiteY3" fmla="*/ 5739943 h 6356095"/>
              <a:gd name="connsiteX4" fmla="*/ 1297590 w 4912398"/>
              <a:gd name="connsiteY4" fmla="*/ 6324600 h 6356095"/>
              <a:gd name="connsiteX5" fmla="*/ 0 w 4912398"/>
              <a:gd name="connsiteY5" fmla="*/ 5841543 h 6356095"/>
              <a:gd name="connsiteX6" fmla="*/ 0 w 4912398"/>
              <a:gd name="connsiteY6" fmla="*/ 813257 h 6356095"/>
              <a:gd name="connsiteX0" fmla="*/ 0 w 4909104"/>
              <a:gd name="connsiteY0" fmla="*/ 813257 h 6370894"/>
              <a:gd name="connsiteX1" fmla="*/ 800557 w 4909104"/>
              <a:gd name="connsiteY1" fmla="*/ 12700 h 6370894"/>
              <a:gd name="connsiteX2" fmla="*/ 4790090 w 4909104"/>
              <a:gd name="connsiteY2" fmla="*/ 0 h 6370894"/>
              <a:gd name="connsiteX3" fmla="*/ 2758547 w 4909104"/>
              <a:gd name="connsiteY3" fmla="*/ 5879643 h 6370894"/>
              <a:gd name="connsiteX4" fmla="*/ 1297590 w 4909104"/>
              <a:gd name="connsiteY4" fmla="*/ 6324600 h 6370894"/>
              <a:gd name="connsiteX5" fmla="*/ 0 w 4909104"/>
              <a:gd name="connsiteY5" fmla="*/ 5841543 h 6370894"/>
              <a:gd name="connsiteX6" fmla="*/ 0 w 4909104"/>
              <a:gd name="connsiteY6" fmla="*/ 813257 h 6370894"/>
              <a:gd name="connsiteX0" fmla="*/ 0 w 4909104"/>
              <a:gd name="connsiteY0" fmla="*/ 813257 h 6389752"/>
              <a:gd name="connsiteX1" fmla="*/ 800557 w 4909104"/>
              <a:gd name="connsiteY1" fmla="*/ 12700 h 6389752"/>
              <a:gd name="connsiteX2" fmla="*/ 4790090 w 4909104"/>
              <a:gd name="connsiteY2" fmla="*/ 0 h 6389752"/>
              <a:gd name="connsiteX3" fmla="*/ 2758547 w 4909104"/>
              <a:gd name="connsiteY3" fmla="*/ 5879643 h 6389752"/>
              <a:gd name="connsiteX4" fmla="*/ 1297590 w 4909104"/>
              <a:gd name="connsiteY4" fmla="*/ 6324600 h 6389752"/>
              <a:gd name="connsiteX5" fmla="*/ 0 w 4909104"/>
              <a:gd name="connsiteY5" fmla="*/ 5841543 h 6389752"/>
              <a:gd name="connsiteX6" fmla="*/ 0 w 4909104"/>
              <a:gd name="connsiteY6" fmla="*/ 813257 h 6389752"/>
              <a:gd name="connsiteX0" fmla="*/ 0 w 4909104"/>
              <a:gd name="connsiteY0" fmla="*/ 813257 h 6413145"/>
              <a:gd name="connsiteX1" fmla="*/ 800557 w 4909104"/>
              <a:gd name="connsiteY1" fmla="*/ 12700 h 6413145"/>
              <a:gd name="connsiteX2" fmla="*/ 4790090 w 4909104"/>
              <a:gd name="connsiteY2" fmla="*/ 0 h 6413145"/>
              <a:gd name="connsiteX3" fmla="*/ 2758547 w 4909104"/>
              <a:gd name="connsiteY3" fmla="*/ 5879643 h 6413145"/>
              <a:gd name="connsiteX4" fmla="*/ 1297590 w 4909104"/>
              <a:gd name="connsiteY4" fmla="*/ 6324600 h 6413145"/>
              <a:gd name="connsiteX5" fmla="*/ 0 w 4909104"/>
              <a:gd name="connsiteY5" fmla="*/ 5841543 h 6413145"/>
              <a:gd name="connsiteX6" fmla="*/ 0 w 4909104"/>
              <a:gd name="connsiteY6" fmla="*/ 813257 h 6413145"/>
              <a:gd name="connsiteX0" fmla="*/ 0 w 4790090"/>
              <a:gd name="connsiteY0" fmla="*/ 813257 h 6413145"/>
              <a:gd name="connsiteX1" fmla="*/ 800557 w 4790090"/>
              <a:gd name="connsiteY1" fmla="*/ 12700 h 6413145"/>
              <a:gd name="connsiteX2" fmla="*/ 4790090 w 4790090"/>
              <a:gd name="connsiteY2" fmla="*/ 0 h 6413145"/>
              <a:gd name="connsiteX3" fmla="*/ 2758547 w 4790090"/>
              <a:gd name="connsiteY3" fmla="*/ 5879643 h 6413145"/>
              <a:gd name="connsiteX4" fmla="*/ 1297590 w 4790090"/>
              <a:gd name="connsiteY4" fmla="*/ 6324600 h 6413145"/>
              <a:gd name="connsiteX5" fmla="*/ 0 w 4790090"/>
              <a:gd name="connsiteY5" fmla="*/ 5841543 h 6413145"/>
              <a:gd name="connsiteX6" fmla="*/ 0 w 4790090"/>
              <a:gd name="connsiteY6" fmla="*/ 813257 h 6413145"/>
              <a:gd name="connsiteX0" fmla="*/ 0 w 4802790"/>
              <a:gd name="connsiteY0" fmla="*/ 800557 h 6400445"/>
              <a:gd name="connsiteX1" fmla="*/ 800557 w 4802790"/>
              <a:gd name="connsiteY1" fmla="*/ 0 h 6400445"/>
              <a:gd name="connsiteX2" fmla="*/ 4802790 w 4802790"/>
              <a:gd name="connsiteY2" fmla="*/ 0 h 6400445"/>
              <a:gd name="connsiteX3" fmla="*/ 2758547 w 4802790"/>
              <a:gd name="connsiteY3" fmla="*/ 5866943 h 6400445"/>
              <a:gd name="connsiteX4" fmla="*/ 1297590 w 4802790"/>
              <a:gd name="connsiteY4" fmla="*/ 6311900 h 6400445"/>
              <a:gd name="connsiteX5" fmla="*/ 0 w 4802790"/>
              <a:gd name="connsiteY5" fmla="*/ 5828843 h 6400445"/>
              <a:gd name="connsiteX6" fmla="*/ 0 w 4802790"/>
              <a:gd name="connsiteY6" fmla="*/ 800557 h 6400445"/>
              <a:gd name="connsiteX0" fmla="*/ 0 w 4802790"/>
              <a:gd name="connsiteY0" fmla="*/ 199974 h 6587262"/>
              <a:gd name="connsiteX1" fmla="*/ 800557 w 4802790"/>
              <a:gd name="connsiteY1" fmla="*/ 186817 h 6587262"/>
              <a:gd name="connsiteX2" fmla="*/ 4802790 w 4802790"/>
              <a:gd name="connsiteY2" fmla="*/ 186817 h 6587262"/>
              <a:gd name="connsiteX3" fmla="*/ 2758547 w 4802790"/>
              <a:gd name="connsiteY3" fmla="*/ 6053760 h 6587262"/>
              <a:gd name="connsiteX4" fmla="*/ 1297590 w 4802790"/>
              <a:gd name="connsiteY4" fmla="*/ 6498717 h 6587262"/>
              <a:gd name="connsiteX5" fmla="*/ 0 w 4802790"/>
              <a:gd name="connsiteY5" fmla="*/ 6015660 h 6587262"/>
              <a:gd name="connsiteX6" fmla="*/ 0 w 4802790"/>
              <a:gd name="connsiteY6" fmla="*/ 199974 h 6587262"/>
              <a:gd name="connsiteX0" fmla="*/ 0 w 4802790"/>
              <a:gd name="connsiteY0" fmla="*/ 736787 h 7124075"/>
              <a:gd name="connsiteX1" fmla="*/ 4802790 w 4802790"/>
              <a:gd name="connsiteY1" fmla="*/ 723630 h 7124075"/>
              <a:gd name="connsiteX2" fmla="*/ 2758547 w 4802790"/>
              <a:gd name="connsiteY2" fmla="*/ 6590573 h 7124075"/>
              <a:gd name="connsiteX3" fmla="*/ 1297590 w 4802790"/>
              <a:gd name="connsiteY3" fmla="*/ 7035530 h 7124075"/>
              <a:gd name="connsiteX4" fmla="*/ 0 w 4802790"/>
              <a:gd name="connsiteY4" fmla="*/ 6552473 h 7124075"/>
              <a:gd name="connsiteX5" fmla="*/ 0 w 4802790"/>
              <a:gd name="connsiteY5" fmla="*/ 736787 h 7124075"/>
              <a:gd name="connsiteX0" fmla="*/ 0 w 4802790"/>
              <a:gd name="connsiteY0" fmla="*/ 444765 h 6832053"/>
              <a:gd name="connsiteX1" fmla="*/ 4802790 w 4802790"/>
              <a:gd name="connsiteY1" fmla="*/ 431608 h 6832053"/>
              <a:gd name="connsiteX2" fmla="*/ 2758547 w 4802790"/>
              <a:gd name="connsiteY2" fmla="*/ 6298551 h 6832053"/>
              <a:gd name="connsiteX3" fmla="*/ 1297590 w 4802790"/>
              <a:gd name="connsiteY3" fmla="*/ 6743508 h 6832053"/>
              <a:gd name="connsiteX4" fmla="*/ 0 w 4802790"/>
              <a:gd name="connsiteY4" fmla="*/ 6260451 h 6832053"/>
              <a:gd name="connsiteX5" fmla="*/ 0 w 4802790"/>
              <a:gd name="connsiteY5" fmla="*/ 444765 h 6832053"/>
              <a:gd name="connsiteX0" fmla="*/ 0 w 4802790"/>
              <a:gd name="connsiteY0" fmla="*/ 13157 h 6400445"/>
              <a:gd name="connsiteX1" fmla="*/ 4802790 w 4802790"/>
              <a:gd name="connsiteY1" fmla="*/ 0 h 6400445"/>
              <a:gd name="connsiteX2" fmla="*/ 2758547 w 4802790"/>
              <a:gd name="connsiteY2" fmla="*/ 5866943 h 6400445"/>
              <a:gd name="connsiteX3" fmla="*/ 1297590 w 4802790"/>
              <a:gd name="connsiteY3" fmla="*/ 6311900 h 6400445"/>
              <a:gd name="connsiteX4" fmla="*/ 0 w 4802790"/>
              <a:gd name="connsiteY4" fmla="*/ 5828843 h 6400445"/>
              <a:gd name="connsiteX5" fmla="*/ 0 w 4802790"/>
              <a:gd name="connsiteY5" fmla="*/ 13157 h 6400445"/>
              <a:gd name="connsiteX0" fmla="*/ 12700 w 4802790"/>
              <a:gd name="connsiteY0" fmla="*/ 0 h 6406338"/>
              <a:gd name="connsiteX1" fmla="*/ 4802790 w 4802790"/>
              <a:gd name="connsiteY1" fmla="*/ 5893 h 6406338"/>
              <a:gd name="connsiteX2" fmla="*/ 2758547 w 4802790"/>
              <a:gd name="connsiteY2" fmla="*/ 5872836 h 6406338"/>
              <a:gd name="connsiteX3" fmla="*/ 1297590 w 4802790"/>
              <a:gd name="connsiteY3" fmla="*/ 6317793 h 6406338"/>
              <a:gd name="connsiteX4" fmla="*/ 0 w 4802790"/>
              <a:gd name="connsiteY4" fmla="*/ 5834736 h 6406338"/>
              <a:gd name="connsiteX5" fmla="*/ 12700 w 4802790"/>
              <a:gd name="connsiteY5" fmla="*/ 0 h 6406338"/>
              <a:gd name="connsiteX0" fmla="*/ 12700 w 4802790"/>
              <a:gd name="connsiteY0" fmla="*/ 0 h 6406338"/>
              <a:gd name="connsiteX1" fmla="*/ 4802790 w 4802790"/>
              <a:gd name="connsiteY1" fmla="*/ 5893 h 6406338"/>
              <a:gd name="connsiteX2" fmla="*/ 2758547 w 4802790"/>
              <a:gd name="connsiteY2" fmla="*/ 5872836 h 6406338"/>
              <a:gd name="connsiteX3" fmla="*/ 1297590 w 4802790"/>
              <a:gd name="connsiteY3" fmla="*/ 6317793 h 6406338"/>
              <a:gd name="connsiteX4" fmla="*/ 0 w 4802790"/>
              <a:gd name="connsiteY4" fmla="*/ 5834736 h 6406338"/>
              <a:gd name="connsiteX5" fmla="*/ 12700 w 4802790"/>
              <a:gd name="connsiteY5" fmla="*/ 0 h 6406338"/>
              <a:gd name="connsiteX0" fmla="*/ 12700 w 4809140"/>
              <a:gd name="connsiteY0" fmla="*/ 457 h 6406795"/>
              <a:gd name="connsiteX1" fmla="*/ 4809140 w 4809140"/>
              <a:gd name="connsiteY1" fmla="*/ 0 h 6406795"/>
              <a:gd name="connsiteX2" fmla="*/ 2758547 w 4809140"/>
              <a:gd name="connsiteY2" fmla="*/ 5873293 h 6406795"/>
              <a:gd name="connsiteX3" fmla="*/ 1297590 w 4809140"/>
              <a:gd name="connsiteY3" fmla="*/ 6318250 h 6406795"/>
              <a:gd name="connsiteX4" fmla="*/ 0 w 4809140"/>
              <a:gd name="connsiteY4" fmla="*/ 5835193 h 6406795"/>
              <a:gd name="connsiteX5" fmla="*/ 12700 w 4809140"/>
              <a:gd name="connsiteY5" fmla="*/ 457 h 6406795"/>
              <a:gd name="connsiteX0" fmla="*/ 12700 w 4809140"/>
              <a:gd name="connsiteY0" fmla="*/ 457 h 6406795"/>
              <a:gd name="connsiteX1" fmla="*/ 4809140 w 4809140"/>
              <a:gd name="connsiteY1" fmla="*/ 0 h 6406795"/>
              <a:gd name="connsiteX2" fmla="*/ 2758547 w 4809140"/>
              <a:gd name="connsiteY2" fmla="*/ 5873293 h 6406795"/>
              <a:gd name="connsiteX3" fmla="*/ 1297590 w 4809140"/>
              <a:gd name="connsiteY3" fmla="*/ 6318250 h 6406795"/>
              <a:gd name="connsiteX4" fmla="*/ 0 w 4809140"/>
              <a:gd name="connsiteY4" fmla="*/ 5835193 h 6406795"/>
              <a:gd name="connsiteX5" fmla="*/ 12700 w 4809140"/>
              <a:gd name="connsiteY5" fmla="*/ 457 h 6406795"/>
              <a:gd name="connsiteX0" fmla="*/ 12700 w 4809140"/>
              <a:gd name="connsiteY0" fmla="*/ 457 h 6355261"/>
              <a:gd name="connsiteX1" fmla="*/ 4809140 w 4809140"/>
              <a:gd name="connsiteY1" fmla="*/ 0 h 6355261"/>
              <a:gd name="connsiteX2" fmla="*/ 2815697 w 4809140"/>
              <a:gd name="connsiteY2" fmla="*/ 5597068 h 6355261"/>
              <a:gd name="connsiteX3" fmla="*/ 1297590 w 4809140"/>
              <a:gd name="connsiteY3" fmla="*/ 6318250 h 6355261"/>
              <a:gd name="connsiteX4" fmla="*/ 0 w 4809140"/>
              <a:gd name="connsiteY4" fmla="*/ 5835193 h 6355261"/>
              <a:gd name="connsiteX5" fmla="*/ 12700 w 4809140"/>
              <a:gd name="connsiteY5" fmla="*/ 457 h 6355261"/>
              <a:gd name="connsiteX0" fmla="*/ 12700 w 4809140"/>
              <a:gd name="connsiteY0" fmla="*/ 457 h 6356838"/>
              <a:gd name="connsiteX1" fmla="*/ 4809140 w 4809140"/>
              <a:gd name="connsiteY1" fmla="*/ 0 h 6356838"/>
              <a:gd name="connsiteX2" fmla="*/ 2850622 w 4809140"/>
              <a:gd name="connsiteY2" fmla="*/ 5612943 h 6356838"/>
              <a:gd name="connsiteX3" fmla="*/ 1297590 w 4809140"/>
              <a:gd name="connsiteY3" fmla="*/ 6318250 h 6356838"/>
              <a:gd name="connsiteX4" fmla="*/ 0 w 4809140"/>
              <a:gd name="connsiteY4" fmla="*/ 5835193 h 6356838"/>
              <a:gd name="connsiteX5" fmla="*/ 12700 w 4809140"/>
              <a:gd name="connsiteY5" fmla="*/ 457 h 6356838"/>
              <a:gd name="connsiteX0" fmla="*/ 12700 w 4809140"/>
              <a:gd name="connsiteY0" fmla="*/ 457 h 6356838"/>
              <a:gd name="connsiteX1" fmla="*/ 4809140 w 4809140"/>
              <a:gd name="connsiteY1" fmla="*/ 0 h 6356838"/>
              <a:gd name="connsiteX2" fmla="*/ 2850622 w 4809140"/>
              <a:gd name="connsiteY2" fmla="*/ 5612943 h 6356838"/>
              <a:gd name="connsiteX3" fmla="*/ 1297590 w 4809140"/>
              <a:gd name="connsiteY3" fmla="*/ 6318250 h 6356838"/>
              <a:gd name="connsiteX4" fmla="*/ 0 w 4809140"/>
              <a:gd name="connsiteY4" fmla="*/ 5835193 h 6356838"/>
              <a:gd name="connsiteX5" fmla="*/ 12700 w 4809140"/>
              <a:gd name="connsiteY5" fmla="*/ 457 h 6356838"/>
              <a:gd name="connsiteX0" fmla="*/ 12700 w 4809140"/>
              <a:gd name="connsiteY0" fmla="*/ 457 h 6367619"/>
              <a:gd name="connsiteX1" fmla="*/ 4809140 w 4809140"/>
              <a:gd name="connsiteY1" fmla="*/ 0 h 6367619"/>
              <a:gd name="connsiteX2" fmla="*/ 2850622 w 4809140"/>
              <a:gd name="connsiteY2" fmla="*/ 5612943 h 6367619"/>
              <a:gd name="connsiteX3" fmla="*/ 1297590 w 4809140"/>
              <a:gd name="connsiteY3" fmla="*/ 6318250 h 6367619"/>
              <a:gd name="connsiteX4" fmla="*/ 0 w 4809140"/>
              <a:gd name="connsiteY4" fmla="*/ 5835193 h 6367619"/>
              <a:gd name="connsiteX5" fmla="*/ 12700 w 4809140"/>
              <a:gd name="connsiteY5" fmla="*/ 457 h 6367619"/>
              <a:gd name="connsiteX0" fmla="*/ 12700 w 4878067"/>
              <a:gd name="connsiteY0" fmla="*/ 457 h 6367619"/>
              <a:gd name="connsiteX1" fmla="*/ 4809140 w 4878067"/>
              <a:gd name="connsiteY1" fmla="*/ 0 h 6367619"/>
              <a:gd name="connsiteX2" fmla="*/ 2850622 w 4878067"/>
              <a:gd name="connsiteY2" fmla="*/ 5612943 h 6367619"/>
              <a:gd name="connsiteX3" fmla="*/ 1297590 w 4878067"/>
              <a:gd name="connsiteY3" fmla="*/ 6318250 h 6367619"/>
              <a:gd name="connsiteX4" fmla="*/ 0 w 4878067"/>
              <a:gd name="connsiteY4" fmla="*/ 5835193 h 6367619"/>
              <a:gd name="connsiteX5" fmla="*/ 12700 w 4878067"/>
              <a:gd name="connsiteY5" fmla="*/ 457 h 6367619"/>
              <a:gd name="connsiteX0" fmla="*/ 12700 w 4876798"/>
              <a:gd name="connsiteY0" fmla="*/ 457 h 6375970"/>
              <a:gd name="connsiteX1" fmla="*/ 4809140 w 4876798"/>
              <a:gd name="connsiteY1" fmla="*/ 0 h 6375970"/>
              <a:gd name="connsiteX2" fmla="*/ 2850622 w 4876798"/>
              <a:gd name="connsiteY2" fmla="*/ 5612943 h 6375970"/>
              <a:gd name="connsiteX3" fmla="*/ 1297590 w 4876798"/>
              <a:gd name="connsiteY3" fmla="*/ 6318250 h 6375970"/>
              <a:gd name="connsiteX4" fmla="*/ 0 w 4876798"/>
              <a:gd name="connsiteY4" fmla="*/ 5835193 h 6375970"/>
              <a:gd name="connsiteX5" fmla="*/ 12700 w 4876798"/>
              <a:gd name="connsiteY5" fmla="*/ 457 h 6375970"/>
              <a:gd name="connsiteX0" fmla="*/ 12700 w 4877724"/>
              <a:gd name="connsiteY0" fmla="*/ 457 h 6396710"/>
              <a:gd name="connsiteX1" fmla="*/ 4809140 w 4877724"/>
              <a:gd name="connsiteY1" fmla="*/ 0 h 6396710"/>
              <a:gd name="connsiteX2" fmla="*/ 2850622 w 4877724"/>
              <a:gd name="connsiteY2" fmla="*/ 5612943 h 6396710"/>
              <a:gd name="connsiteX3" fmla="*/ 1297590 w 4877724"/>
              <a:gd name="connsiteY3" fmla="*/ 6318250 h 6396710"/>
              <a:gd name="connsiteX4" fmla="*/ 0 w 4877724"/>
              <a:gd name="connsiteY4" fmla="*/ 5835193 h 6396710"/>
              <a:gd name="connsiteX5" fmla="*/ 12700 w 4877724"/>
              <a:gd name="connsiteY5" fmla="*/ 457 h 6396710"/>
              <a:gd name="connsiteX0" fmla="*/ 12700 w 4885782"/>
              <a:gd name="connsiteY0" fmla="*/ 457 h 6421766"/>
              <a:gd name="connsiteX1" fmla="*/ 4809140 w 4885782"/>
              <a:gd name="connsiteY1" fmla="*/ 0 h 6421766"/>
              <a:gd name="connsiteX2" fmla="*/ 2850622 w 4885782"/>
              <a:gd name="connsiteY2" fmla="*/ 5612943 h 6421766"/>
              <a:gd name="connsiteX3" fmla="*/ 1303940 w 4885782"/>
              <a:gd name="connsiteY3" fmla="*/ 6308725 h 6421766"/>
              <a:gd name="connsiteX4" fmla="*/ 0 w 4885782"/>
              <a:gd name="connsiteY4" fmla="*/ 5835193 h 6421766"/>
              <a:gd name="connsiteX5" fmla="*/ 12700 w 4885782"/>
              <a:gd name="connsiteY5" fmla="*/ 457 h 6421766"/>
              <a:gd name="connsiteX0" fmla="*/ 12700 w 4885782"/>
              <a:gd name="connsiteY0" fmla="*/ 457 h 6407919"/>
              <a:gd name="connsiteX1" fmla="*/ 4809140 w 4885782"/>
              <a:gd name="connsiteY1" fmla="*/ 0 h 6407919"/>
              <a:gd name="connsiteX2" fmla="*/ 2850622 w 4885782"/>
              <a:gd name="connsiteY2" fmla="*/ 5612943 h 6407919"/>
              <a:gd name="connsiteX3" fmla="*/ 1303940 w 4885782"/>
              <a:gd name="connsiteY3" fmla="*/ 6308725 h 6407919"/>
              <a:gd name="connsiteX4" fmla="*/ 0 w 4885782"/>
              <a:gd name="connsiteY4" fmla="*/ 5835193 h 6407919"/>
              <a:gd name="connsiteX5" fmla="*/ 12700 w 4885782"/>
              <a:gd name="connsiteY5" fmla="*/ 457 h 6407919"/>
              <a:gd name="connsiteX0" fmla="*/ 12700 w 4879831"/>
              <a:gd name="connsiteY0" fmla="*/ 457 h 6423439"/>
              <a:gd name="connsiteX1" fmla="*/ 4809140 w 4879831"/>
              <a:gd name="connsiteY1" fmla="*/ 0 h 6423439"/>
              <a:gd name="connsiteX2" fmla="*/ 2850622 w 4879831"/>
              <a:gd name="connsiteY2" fmla="*/ 5612943 h 6423439"/>
              <a:gd name="connsiteX3" fmla="*/ 1303940 w 4879831"/>
              <a:gd name="connsiteY3" fmla="*/ 6308725 h 6423439"/>
              <a:gd name="connsiteX4" fmla="*/ 0 w 4879831"/>
              <a:gd name="connsiteY4" fmla="*/ 5835193 h 6423439"/>
              <a:gd name="connsiteX5" fmla="*/ 12700 w 4879831"/>
              <a:gd name="connsiteY5" fmla="*/ 457 h 6423439"/>
              <a:gd name="connsiteX0" fmla="*/ 12700 w 4809140"/>
              <a:gd name="connsiteY0" fmla="*/ 457 h 6423439"/>
              <a:gd name="connsiteX1" fmla="*/ 4809140 w 4809140"/>
              <a:gd name="connsiteY1" fmla="*/ 0 h 6423439"/>
              <a:gd name="connsiteX2" fmla="*/ 2850622 w 4809140"/>
              <a:gd name="connsiteY2" fmla="*/ 5612943 h 6423439"/>
              <a:gd name="connsiteX3" fmla="*/ 1303940 w 4809140"/>
              <a:gd name="connsiteY3" fmla="*/ 6308725 h 6423439"/>
              <a:gd name="connsiteX4" fmla="*/ 0 w 4809140"/>
              <a:gd name="connsiteY4" fmla="*/ 5835193 h 6423439"/>
              <a:gd name="connsiteX5" fmla="*/ 12700 w 4809140"/>
              <a:gd name="connsiteY5" fmla="*/ 457 h 6423439"/>
              <a:gd name="connsiteX0" fmla="*/ 12700 w 4809140"/>
              <a:gd name="connsiteY0" fmla="*/ 457 h 6405669"/>
              <a:gd name="connsiteX1" fmla="*/ 4809140 w 4809140"/>
              <a:gd name="connsiteY1" fmla="*/ 0 h 6405669"/>
              <a:gd name="connsiteX2" fmla="*/ 2850622 w 4809140"/>
              <a:gd name="connsiteY2" fmla="*/ 5612943 h 6405669"/>
              <a:gd name="connsiteX3" fmla="*/ 1272190 w 4809140"/>
              <a:gd name="connsiteY3" fmla="*/ 6305550 h 6405669"/>
              <a:gd name="connsiteX4" fmla="*/ 0 w 4809140"/>
              <a:gd name="connsiteY4" fmla="*/ 5835193 h 6405669"/>
              <a:gd name="connsiteX5" fmla="*/ 12700 w 4809140"/>
              <a:gd name="connsiteY5" fmla="*/ 457 h 6405669"/>
              <a:gd name="connsiteX0" fmla="*/ 12700 w 4809140"/>
              <a:gd name="connsiteY0" fmla="*/ 457 h 6401189"/>
              <a:gd name="connsiteX1" fmla="*/ 4809140 w 4809140"/>
              <a:gd name="connsiteY1" fmla="*/ 0 h 6401189"/>
              <a:gd name="connsiteX2" fmla="*/ 2850622 w 4809140"/>
              <a:gd name="connsiteY2" fmla="*/ 5612943 h 6401189"/>
              <a:gd name="connsiteX3" fmla="*/ 1275365 w 4809140"/>
              <a:gd name="connsiteY3" fmla="*/ 6299200 h 6401189"/>
              <a:gd name="connsiteX4" fmla="*/ 0 w 4809140"/>
              <a:gd name="connsiteY4" fmla="*/ 5835193 h 6401189"/>
              <a:gd name="connsiteX5" fmla="*/ 12700 w 4809140"/>
              <a:gd name="connsiteY5" fmla="*/ 457 h 6401189"/>
              <a:gd name="connsiteX0" fmla="*/ 12700 w 4809140"/>
              <a:gd name="connsiteY0" fmla="*/ 457 h 6415998"/>
              <a:gd name="connsiteX1" fmla="*/ 4809140 w 4809140"/>
              <a:gd name="connsiteY1" fmla="*/ 0 h 6415998"/>
              <a:gd name="connsiteX2" fmla="*/ 2850622 w 4809140"/>
              <a:gd name="connsiteY2" fmla="*/ 5612943 h 6415998"/>
              <a:gd name="connsiteX3" fmla="*/ 1275365 w 4809140"/>
              <a:gd name="connsiteY3" fmla="*/ 6299200 h 6415998"/>
              <a:gd name="connsiteX4" fmla="*/ 0 w 4809140"/>
              <a:gd name="connsiteY4" fmla="*/ 5835193 h 6415998"/>
              <a:gd name="connsiteX5" fmla="*/ 12700 w 4809140"/>
              <a:gd name="connsiteY5" fmla="*/ 457 h 6415998"/>
              <a:gd name="connsiteX0" fmla="*/ 12700 w 4809140"/>
              <a:gd name="connsiteY0" fmla="*/ 457 h 6386521"/>
              <a:gd name="connsiteX1" fmla="*/ 4809140 w 4809140"/>
              <a:gd name="connsiteY1" fmla="*/ 0 h 6386521"/>
              <a:gd name="connsiteX2" fmla="*/ 2850622 w 4809140"/>
              <a:gd name="connsiteY2" fmla="*/ 5612943 h 6386521"/>
              <a:gd name="connsiteX3" fmla="*/ 1275365 w 4809140"/>
              <a:gd name="connsiteY3" fmla="*/ 6299200 h 6386521"/>
              <a:gd name="connsiteX4" fmla="*/ 0 w 4809140"/>
              <a:gd name="connsiteY4" fmla="*/ 5835193 h 6386521"/>
              <a:gd name="connsiteX5" fmla="*/ 12700 w 4809140"/>
              <a:gd name="connsiteY5" fmla="*/ 457 h 6386521"/>
              <a:gd name="connsiteX0" fmla="*/ 12700 w 4809140"/>
              <a:gd name="connsiteY0" fmla="*/ 457 h 6385696"/>
              <a:gd name="connsiteX1" fmla="*/ 4809140 w 4809140"/>
              <a:gd name="connsiteY1" fmla="*/ 0 h 6385696"/>
              <a:gd name="connsiteX2" fmla="*/ 2850622 w 4809140"/>
              <a:gd name="connsiteY2" fmla="*/ 5612943 h 6385696"/>
              <a:gd name="connsiteX3" fmla="*/ 1275365 w 4809140"/>
              <a:gd name="connsiteY3" fmla="*/ 6299200 h 6385696"/>
              <a:gd name="connsiteX4" fmla="*/ 0 w 4809140"/>
              <a:gd name="connsiteY4" fmla="*/ 5835193 h 6385696"/>
              <a:gd name="connsiteX5" fmla="*/ 12700 w 4809140"/>
              <a:gd name="connsiteY5" fmla="*/ 457 h 6385696"/>
              <a:gd name="connsiteX0" fmla="*/ 943 w 4797383"/>
              <a:gd name="connsiteY0" fmla="*/ 457 h 6385696"/>
              <a:gd name="connsiteX1" fmla="*/ 4797383 w 4797383"/>
              <a:gd name="connsiteY1" fmla="*/ 0 h 6385696"/>
              <a:gd name="connsiteX2" fmla="*/ 2838865 w 4797383"/>
              <a:gd name="connsiteY2" fmla="*/ 5612943 h 6385696"/>
              <a:gd name="connsiteX3" fmla="*/ 1263608 w 4797383"/>
              <a:gd name="connsiteY3" fmla="*/ 6299200 h 6385696"/>
              <a:gd name="connsiteX4" fmla="*/ 4118 w 4797383"/>
              <a:gd name="connsiteY4" fmla="*/ 5841543 h 6385696"/>
              <a:gd name="connsiteX5" fmla="*/ 943 w 4797383"/>
              <a:gd name="connsiteY5" fmla="*/ 457 h 6385696"/>
              <a:gd name="connsiteX0" fmla="*/ 1595 w 4798035"/>
              <a:gd name="connsiteY0" fmla="*/ 457 h 6385696"/>
              <a:gd name="connsiteX1" fmla="*/ 4798035 w 4798035"/>
              <a:gd name="connsiteY1" fmla="*/ 0 h 6385696"/>
              <a:gd name="connsiteX2" fmla="*/ 2839517 w 4798035"/>
              <a:gd name="connsiteY2" fmla="*/ 5612943 h 6385696"/>
              <a:gd name="connsiteX3" fmla="*/ 1264260 w 4798035"/>
              <a:gd name="connsiteY3" fmla="*/ 6299200 h 6385696"/>
              <a:gd name="connsiteX4" fmla="*/ 4770 w 4798035"/>
              <a:gd name="connsiteY4" fmla="*/ 5841543 h 6385696"/>
              <a:gd name="connsiteX5" fmla="*/ 1595 w 4798035"/>
              <a:gd name="connsiteY5" fmla="*/ 457 h 6385696"/>
              <a:gd name="connsiteX0" fmla="*/ 1595 w 4798035"/>
              <a:gd name="connsiteY0" fmla="*/ 1598900 h 6385696"/>
              <a:gd name="connsiteX1" fmla="*/ 4798035 w 4798035"/>
              <a:gd name="connsiteY1" fmla="*/ 0 h 6385696"/>
              <a:gd name="connsiteX2" fmla="*/ 2839517 w 4798035"/>
              <a:gd name="connsiteY2" fmla="*/ 5612943 h 6385696"/>
              <a:gd name="connsiteX3" fmla="*/ 1264260 w 4798035"/>
              <a:gd name="connsiteY3" fmla="*/ 6299200 h 6385696"/>
              <a:gd name="connsiteX4" fmla="*/ 4770 w 4798035"/>
              <a:gd name="connsiteY4" fmla="*/ 5841543 h 6385696"/>
              <a:gd name="connsiteX5" fmla="*/ 1595 w 4798035"/>
              <a:gd name="connsiteY5" fmla="*/ 1598900 h 6385696"/>
              <a:gd name="connsiteX0" fmla="*/ 1595 w 4798035"/>
              <a:gd name="connsiteY0" fmla="*/ 1444736 h 6385696"/>
              <a:gd name="connsiteX1" fmla="*/ 4798035 w 4798035"/>
              <a:gd name="connsiteY1" fmla="*/ 0 h 6385696"/>
              <a:gd name="connsiteX2" fmla="*/ 2839517 w 4798035"/>
              <a:gd name="connsiteY2" fmla="*/ 5612943 h 6385696"/>
              <a:gd name="connsiteX3" fmla="*/ 1264260 w 4798035"/>
              <a:gd name="connsiteY3" fmla="*/ 6299200 h 6385696"/>
              <a:gd name="connsiteX4" fmla="*/ 4770 w 4798035"/>
              <a:gd name="connsiteY4" fmla="*/ 5841543 h 6385696"/>
              <a:gd name="connsiteX5" fmla="*/ 1595 w 4798035"/>
              <a:gd name="connsiteY5" fmla="*/ 1444736 h 6385696"/>
              <a:gd name="connsiteX0" fmla="*/ 1595 w 4300134"/>
              <a:gd name="connsiteY0" fmla="*/ 6358 h 4908230"/>
              <a:gd name="connsiteX1" fmla="*/ 4300134 w 4300134"/>
              <a:gd name="connsiteY1" fmla="*/ 0 h 4908230"/>
              <a:gd name="connsiteX2" fmla="*/ 2839517 w 4300134"/>
              <a:gd name="connsiteY2" fmla="*/ 4174565 h 4908230"/>
              <a:gd name="connsiteX3" fmla="*/ 1264260 w 4300134"/>
              <a:gd name="connsiteY3" fmla="*/ 4860822 h 4908230"/>
              <a:gd name="connsiteX4" fmla="*/ 4770 w 4300134"/>
              <a:gd name="connsiteY4" fmla="*/ 4403165 h 4908230"/>
              <a:gd name="connsiteX5" fmla="*/ 1595 w 4300134"/>
              <a:gd name="connsiteY5" fmla="*/ 6358 h 4908230"/>
              <a:gd name="connsiteX0" fmla="*/ 1595 w 4300134"/>
              <a:gd name="connsiteY0" fmla="*/ 6358 h 4908230"/>
              <a:gd name="connsiteX1" fmla="*/ 4300134 w 4300134"/>
              <a:gd name="connsiteY1" fmla="*/ 0 h 4908230"/>
              <a:gd name="connsiteX2" fmla="*/ 2839517 w 4300134"/>
              <a:gd name="connsiteY2" fmla="*/ 4174565 h 4908230"/>
              <a:gd name="connsiteX3" fmla="*/ 1264260 w 4300134"/>
              <a:gd name="connsiteY3" fmla="*/ 4860822 h 4908230"/>
              <a:gd name="connsiteX4" fmla="*/ 4770 w 4300134"/>
              <a:gd name="connsiteY4" fmla="*/ 4403165 h 4908230"/>
              <a:gd name="connsiteX5" fmla="*/ 1595 w 4300134"/>
              <a:gd name="connsiteY5" fmla="*/ 6358 h 4908230"/>
              <a:gd name="connsiteX0" fmla="*/ 1595 w 4300134"/>
              <a:gd name="connsiteY0" fmla="*/ 6358 h 4908230"/>
              <a:gd name="connsiteX1" fmla="*/ 4300134 w 4300134"/>
              <a:gd name="connsiteY1" fmla="*/ 0 h 4908230"/>
              <a:gd name="connsiteX2" fmla="*/ 2839517 w 4300134"/>
              <a:gd name="connsiteY2" fmla="*/ 4174565 h 4908230"/>
              <a:gd name="connsiteX3" fmla="*/ 1264260 w 4300134"/>
              <a:gd name="connsiteY3" fmla="*/ 4860822 h 4908230"/>
              <a:gd name="connsiteX4" fmla="*/ 4770 w 4300134"/>
              <a:gd name="connsiteY4" fmla="*/ 4403165 h 4908230"/>
              <a:gd name="connsiteX5" fmla="*/ 1595 w 4300134"/>
              <a:gd name="connsiteY5" fmla="*/ 6358 h 4908230"/>
              <a:gd name="connsiteX0" fmla="*/ 1595 w 4300134"/>
              <a:gd name="connsiteY0" fmla="*/ 6358 h 4925798"/>
              <a:gd name="connsiteX1" fmla="*/ 4300134 w 4300134"/>
              <a:gd name="connsiteY1" fmla="*/ 0 h 4925798"/>
              <a:gd name="connsiteX2" fmla="*/ 2839517 w 4300134"/>
              <a:gd name="connsiteY2" fmla="*/ 4174565 h 4925798"/>
              <a:gd name="connsiteX3" fmla="*/ 1264260 w 4300134"/>
              <a:gd name="connsiteY3" fmla="*/ 4860822 h 4925798"/>
              <a:gd name="connsiteX4" fmla="*/ 4770 w 4300134"/>
              <a:gd name="connsiteY4" fmla="*/ 4403165 h 4925798"/>
              <a:gd name="connsiteX5" fmla="*/ 1595 w 4300134"/>
              <a:gd name="connsiteY5" fmla="*/ 6358 h 4925798"/>
              <a:gd name="connsiteX0" fmla="*/ 1595 w 4300134"/>
              <a:gd name="connsiteY0" fmla="*/ 6358 h 4920037"/>
              <a:gd name="connsiteX1" fmla="*/ 4300134 w 4300134"/>
              <a:gd name="connsiteY1" fmla="*/ 0 h 4920037"/>
              <a:gd name="connsiteX2" fmla="*/ 2839517 w 4300134"/>
              <a:gd name="connsiteY2" fmla="*/ 4174565 h 4920037"/>
              <a:gd name="connsiteX3" fmla="*/ 1264260 w 4300134"/>
              <a:gd name="connsiteY3" fmla="*/ 4860822 h 4920037"/>
              <a:gd name="connsiteX4" fmla="*/ 4770 w 4300134"/>
              <a:gd name="connsiteY4" fmla="*/ 4403165 h 4920037"/>
              <a:gd name="connsiteX5" fmla="*/ 1595 w 4300134"/>
              <a:gd name="connsiteY5" fmla="*/ 6358 h 4920037"/>
              <a:gd name="connsiteX0" fmla="*/ 1595 w 4300134"/>
              <a:gd name="connsiteY0" fmla="*/ 6358 h 4920037"/>
              <a:gd name="connsiteX1" fmla="*/ 4300134 w 4300134"/>
              <a:gd name="connsiteY1" fmla="*/ 0 h 4920037"/>
              <a:gd name="connsiteX2" fmla="*/ 2839517 w 4300134"/>
              <a:gd name="connsiteY2" fmla="*/ 4174565 h 4920037"/>
              <a:gd name="connsiteX3" fmla="*/ 1264260 w 4300134"/>
              <a:gd name="connsiteY3" fmla="*/ 4860822 h 4920037"/>
              <a:gd name="connsiteX4" fmla="*/ 4770 w 4300134"/>
              <a:gd name="connsiteY4" fmla="*/ 4403165 h 4920037"/>
              <a:gd name="connsiteX5" fmla="*/ 1595 w 4300134"/>
              <a:gd name="connsiteY5" fmla="*/ 6358 h 4920037"/>
              <a:gd name="connsiteX0" fmla="*/ 1595 w 4300134"/>
              <a:gd name="connsiteY0" fmla="*/ 6358 h 4947792"/>
              <a:gd name="connsiteX1" fmla="*/ 4300134 w 4300134"/>
              <a:gd name="connsiteY1" fmla="*/ 0 h 4947792"/>
              <a:gd name="connsiteX2" fmla="*/ 2839517 w 4300134"/>
              <a:gd name="connsiteY2" fmla="*/ 4174565 h 4947792"/>
              <a:gd name="connsiteX3" fmla="*/ 1264260 w 4300134"/>
              <a:gd name="connsiteY3" fmla="*/ 4860822 h 4947792"/>
              <a:gd name="connsiteX4" fmla="*/ 4770 w 4300134"/>
              <a:gd name="connsiteY4" fmla="*/ 4403165 h 4947792"/>
              <a:gd name="connsiteX5" fmla="*/ 1595 w 4300134"/>
              <a:gd name="connsiteY5" fmla="*/ 6358 h 4947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00134" h="4947792">
                <a:moveTo>
                  <a:pt x="1595" y="6358"/>
                </a:moveTo>
                <a:lnTo>
                  <a:pt x="4300134" y="0"/>
                </a:lnTo>
                <a:cubicBezTo>
                  <a:pt x="3895170" y="1138743"/>
                  <a:pt x="3225630" y="3180021"/>
                  <a:pt x="2839517" y="4174565"/>
                </a:cubicBezTo>
                <a:cubicBezTo>
                  <a:pt x="2453404" y="5169109"/>
                  <a:pt x="1595270" y="4956072"/>
                  <a:pt x="1264260" y="4860822"/>
                </a:cubicBezTo>
                <a:lnTo>
                  <a:pt x="4770" y="4403165"/>
                </a:lnTo>
                <a:cubicBezTo>
                  <a:pt x="2653" y="2467778"/>
                  <a:pt x="-2638" y="1951270"/>
                  <a:pt x="1595" y="6358"/>
                </a:cubicBezTo>
                <a:close/>
              </a:path>
            </a:pathLst>
          </a:custGeom>
          <a:solidFill>
            <a:schemeClr val="bg1">
              <a:lumMod val="95000"/>
            </a:schemeClr>
          </a:solidFill>
          <a:effectLst>
            <a:outerShdw blurRad="101600" sx="101000" sy="101000" algn="tr" rotWithShape="0">
              <a:schemeClr val="accent3">
                <a:alpha val="10000"/>
              </a:schemeClr>
            </a:outerShdw>
          </a:effectLst>
        </p:spPr>
        <p:txBody>
          <a:bodyPr/>
          <a:lstStyle>
            <a:lvl1pPr algn="r">
              <a:defRPr/>
            </a:lvl1pPr>
          </a:lstStyle>
          <a:p>
            <a:r>
              <a:rPr lang="en-US"/>
              <a:t>Click icon to add picture</a:t>
            </a:r>
            <a:endParaRPr lang="en-NL"/>
          </a:p>
        </p:txBody>
      </p:sp>
      <p:pic>
        <p:nvPicPr>
          <p:cNvPr id="11" name="Picture 10">
            <a:extLst>
              <a:ext uri="{FF2B5EF4-FFF2-40B4-BE49-F238E27FC236}">
                <a16:creationId xmlns:a16="http://schemas.microsoft.com/office/drawing/2014/main" id="{2426FFDF-7279-7936-4413-D0B67C2D8C0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21821" y="5850963"/>
            <a:ext cx="1514811" cy="728259"/>
          </a:xfrm>
          <a:prstGeom prst="rect">
            <a:avLst/>
          </a:prstGeom>
        </p:spPr>
      </p:pic>
      <p:sp>
        <p:nvSpPr>
          <p:cNvPr id="3" name="Title 1">
            <a:extLst>
              <a:ext uri="{FF2B5EF4-FFF2-40B4-BE49-F238E27FC236}">
                <a16:creationId xmlns:a16="http://schemas.microsoft.com/office/drawing/2014/main" id="{D317ADA0-7F94-C499-4537-61B446B73847}"/>
              </a:ext>
            </a:extLst>
          </p:cNvPr>
          <p:cNvSpPr>
            <a:spLocks noGrp="1"/>
          </p:cNvSpPr>
          <p:nvPr>
            <p:ph type="title" hasCustomPrompt="1"/>
          </p:nvPr>
        </p:nvSpPr>
        <p:spPr>
          <a:xfrm>
            <a:off x="1790484" y="548219"/>
            <a:ext cx="5305261" cy="1036965"/>
          </a:xfrm>
        </p:spPr>
        <p:txBody>
          <a:bodyPr/>
          <a:lstStyle>
            <a:lvl1pPr>
              <a:defRPr>
                <a:solidFill>
                  <a:schemeClr val="accent1"/>
                </a:solidFill>
              </a:defRPr>
            </a:lvl1pPr>
          </a:lstStyle>
          <a:p>
            <a:r>
              <a:rPr lang="en-US"/>
              <a:t>Click to edit Master title style</a:t>
            </a:r>
          </a:p>
        </p:txBody>
      </p:sp>
      <p:sp>
        <p:nvSpPr>
          <p:cNvPr id="4" name="Content Placeholder 2">
            <a:extLst>
              <a:ext uri="{FF2B5EF4-FFF2-40B4-BE49-F238E27FC236}">
                <a16:creationId xmlns:a16="http://schemas.microsoft.com/office/drawing/2014/main" id="{080FA356-E8E9-2D00-9E55-E42863900C3E}"/>
              </a:ext>
            </a:extLst>
          </p:cNvPr>
          <p:cNvSpPr>
            <a:spLocks noGrp="1"/>
          </p:cNvSpPr>
          <p:nvPr>
            <p:ph idx="1" hasCustomPrompt="1"/>
          </p:nvPr>
        </p:nvSpPr>
        <p:spPr>
          <a:xfrm>
            <a:off x="580292" y="1701801"/>
            <a:ext cx="6515453" cy="41761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3256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3">
          <p15:clr>
            <a:srgbClr val="5ACBF0"/>
          </p15:clr>
        </p15:guide>
        <p15:guide id="2" pos="476">
          <p15:clr>
            <a:srgbClr val="5ACBF0"/>
          </p15:clr>
        </p15:guide>
        <p15:guide id="3" orient="horz" pos="2346">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Title, object, image left - 1">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1E6EE77D-C38E-2716-B19D-1C29450E9556}"/>
              </a:ext>
            </a:extLst>
          </p:cNvPr>
          <p:cNvSpPr>
            <a:spLocks noGrp="1"/>
          </p:cNvSpPr>
          <p:nvPr>
            <p:ph type="pic" sz="quarter" idx="14"/>
          </p:nvPr>
        </p:nvSpPr>
        <p:spPr>
          <a:xfrm>
            <a:off x="580292" y="1701801"/>
            <a:ext cx="2889739" cy="4366684"/>
          </a:xfrm>
          <a:prstGeom prst="roundRect">
            <a:avLst>
              <a:gd name="adj" fmla="val 9038"/>
            </a:avLst>
          </a:prstGeom>
          <a:solidFill>
            <a:schemeClr val="tx1">
              <a:lumMod val="20000"/>
              <a:lumOff val="80000"/>
            </a:schemeClr>
          </a:solidFill>
        </p:spPr>
        <p:txBody>
          <a:bodyPr wrap="square" tIns="396000">
            <a:noAutofit/>
          </a:bodyPr>
          <a:lstStyle>
            <a:lvl1pPr marL="0" indent="0" algn="ctr">
              <a:buNone/>
              <a:defRPr/>
            </a:lvl1pPr>
          </a:lstStyle>
          <a:p>
            <a:r>
              <a:rPr lang="en-US"/>
              <a:t>Click icon to add picture</a:t>
            </a:r>
            <a:endParaRPr lang="en-GB"/>
          </a:p>
        </p:txBody>
      </p:sp>
      <p:sp>
        <p:nvSpPr>
          <p:cNvPr id="2" name="Title 1"/>
          <p:cNvSpPr>
            <a:spLocks noGrp="1"/>
          </p:cNvSpPr>
          <p:nvPr>
            <p:ph type="title" hasCustomPrompt="1"/>
          </p:nvPr>
        </p:nvSpPr>
        <p:spPr>
          <a:xfrm>
            <a:off x="580291" y="548218"/>
            <a:ext cx="11035975" cy="1036965"/>
          </a:xfrm>
        </p:spPr>
        <p:txBody>
          <a:bodyPr/>
          <a:lstStyle/>
          <a:p>
            <a:r>
              <a:rPr lang="en-GB"/>
              <a:t>Click to add title</a:t>
            </a:r>
          </a:p>
        </p:txBody>
      </p:sp>
      <p:sp>
        <p:nvSpPr>
          <p:cNvPr id="3" name="Content Placeholder 2"/>
          <p:cNvSpPr>
            <a:spLocks noGrp="1"/>
          </p:cNvSpPr>
          <p:nvPr>
            <p:ph idx="1" hasCustomPrompt="1"/>
          </p:nvPr>
        </p:nvSpPr>
        <p:spPr>
          <a:xfrm>
            <a:off x="3727939" y="1701801"/>
            <a:ext cx="7888327" cy="4366684"/>
          </a:xfrm>
        </p:spPr>
        <p:txBody>
          <a:bodyPr/>
          <a:lstStyle>
            <a:lvl1pPr>
              <a:defRPr/>
            </a:lvl1pPr>
          </a:lstStyle>
          <a:p>
            <a:pPr lvl="0"/>
            <a:r>
              <a:rPr lang="en-GB"/>
              <a:t>Click to add text or object</a:t>
            </a:r>
          </a:p>
          <a:p>
            <a:pPr lvl="1"/>
            <a:r>
              <a:rPr lang="en-GB"/>
              <a:t>Text level 2</a:t>
            </a:r>
          </a:p>
          <a:p>
            <a:pPr lvl="2"/>
            <a:r>
              <a:rPr lang="en-GB"/>
              <a:t>Text level 3</a:t>
            </a:r>
          </a:p>
          <a:p>
            <a:pPr lvl="3"/>
            <a:r>
              <a:rPr lang="en-GB"/>
              <a:t>Text level 4</a:t>
            </a:r>
          </a:p>
          <a:p>
            <a:pPr lvl="4"/>
            <a:r>
              <a:rPr lang="en-GB"/>
              <a:t>Text level 5</a:t>
            </a:r>
          </a:p>
        </p:txBody>
      </p:sp>
      <p:sp>
        <p:nvSpPr>
          <p:cNvPr id="4" name="Date Placeholder 3"/>
          <p:cNvSpPr>
            <a:spLocks noGrp="1"/>
          </p:cNvSpPr>
          <p:nvPr>
            <p:ph type="dt" sz="half" idx="10"/>
          </p:nvPr>
        </p:nvSpPr>
        <p:spPr/>
        <p:txBody>
          <a:bodyPr/>
          <a:lstStyle/>
          <a:p>
            <a:fld id="{8A785BAD-D9B7-45DC-A953-6739BCA62A11}" type="datetime1">
              <a:rPr lang="en-GB" smtClean="0"/>
              <a:t>18/04/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Tree>
    <p:extLst>
      <p:ext uri="{BB962C8B-B14F-4D97-AF65-F5344CB8AC3E}">
        <p14:creationId xmlns:p14="http://schemas.microsoft.com/office/powerpoint/2010/main" val="1118928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2485865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2" name="Picture Placeholder 2">
            <a:extLst>
              <a:ext uri="{FF2B5EF4-FFF2-40B4-BE49-F238E27FC236}">
                <a16:creationId xmlns:a16="http://schemas.microsoft.com/office/drawing/2014/main" id="{6065488E-570D-46D0-4297-971D2CF3C982}"/>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Tijdelijke aanduiding voor tekst 1">
            <a:extLst>
              <a:ext uri="{FF2B5EF4-FFF2-40B4-BE49-F238E27FC236}">
                <a16:creationId xmlns:a16="http://schemas.microsoft.com/office/drawing/2014/main" id="{DA080E9D-14D1-0960-191C-70829571160F}"/>
              </a:ext>
            </a:extLst>
          </p:cNvPr>
          <p:cNvSpPr txBox="1">
            <a:spLocks/>
          </p:cNvSpPr>
          <p:nvPr userDrawn="1"/>
        </p:nvSpPr>
        <p:spPr>
          <a:xfrm>
            <a:off x="336551" y="1"/>
            <a:ext cx="4430183" cy="4652433"/>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vert="horz" wrap="square" lIns="504000" tIns="1440000" rIns="180000" bIns="756000" rtlCol="0" anchor="b" anchorCtr="0">
            <a:noAutofit/>
          </a:bodyPr>
          <a:lstStyle>
            <a:lvl1pPr marL="0" indent="0" algn="l" defTabSz="914377" rtl="0" eaLnBrk="1" latinLnBrk="0" hangingPunct="1">
              <a:lnSpc>
                <a:spcPct val="113000"/>
              </a:lnSpc>
              <a:spcBef>
                <a:spcPts val="0"/>
              </a:spcBef>
              <a:buClr>
                <a:schemeClr val="tx1"/>
              </a:buClr>
              <a:buFont typeface="Arial" panose="020B0604020202020204" pitchFamily="34" charset="0"/>
              <a:buNone/>
              <a:defRPr sz="3200" kern="1200">
                <a:solidFill>
                  <a:schemeClr val="accent1"/>
                </a:solidFill>
                <a:latin typeface="+mn-lt"/>
                <a:ea typeface="+mn-ea"/>
                <a:cs typeface="+mn-cs"/>
              </a:defRPr>
            </a:lvl1pPr>
            <a:lvl2pPr marL="480472" indent="-228594" algn="l" defTabSz="914377"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2pPr>
            <a:lvl3pPr marL="715415" indent="-228594" algn="l" defTabSz="914377"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3pPr>
            <a:lvl4pPr marL="960943" indent="-228594" algn="l" defTabSz="914377"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4pPr>
            <a:lvl5pPr marL="1195887" indent="-228594" algn="l" defTabSz="914377"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13000"/>
              </a:lnSpc>
              <a:spcBef>
                <a:spcPts val="0"/>
              </a:spcBef>
              <a:spcAft>
                <a:spcPts val="0"/>
              </a:spcAft>
              <a:buClr>
                <a:srgbClr val="3F4043"/>
              </a:buClr>
              <a:buSzTx/>
              <a:buFont typeface="Arial" panose="020B0604020202020204" pitchFamily="34" charset="0"/>
              <a:buNone/>
              <a:tabLst/>
              <a:defRPr/>
            </a:pPr>
            <a:endParaRPr kumimoji="0" lang="en-GB" sz="3200" b="0" i="0" u="none" strike="noStrike" kern="1200" cap="none" spc="0" normalizeH="0" baseline="0" noProof="0">
              <a:ln>
                <a:noFill/>
              </a:ln>
              <a:solidFill>
                <a:srgbClr val="0094D9"/>
              </a:solidFill>
              <a:effectLst/>
              <a:uLnTx/>
              <a:uFillTx/>
              <a:latin typeface="Verdana"/>
              <a:ea typeface="+mn-ea"/>
              <a:cs typeface="+mn-cs"/>
            </a:endParaRPr>
          </a:p>
        </p:txBody>
      </p:sp>
      <p:sp>
        <p:nvSpPr>
          <p:cNvPr id="5" name="Documenttype">
            <a:extLst>
              <a:ext uri="{FF2B5EF4-FFF2-40B4-BE49-F238E27FC236}">
                <a16:creationId xmlns:a16="http://schemas.microsoft.com/office/drawing/2014/main" id="{AB92ADE2-883F-F4B1-50D6-E9A53FE1670F}"/>
              </a:ext>
            </a:extLst>
          </p:cNvPr>
          <p:cNvSpPr>
            <a:spLocks noGrp="1"/>
          </p:cNvSpPr>
          <p:nvPr>
            <p:ph type="body" sz="quarter" idx="13" hasCustomPrompt="1"/>
            <p:custDataLst>
              <p:tags r:id="rId2"/>
            </p:custDataLst>
          </p:nvPr>
        </p:nvSpPr>
        <p:spPr>
          <a:xfrm>
            <a:off x="545423" y="4060588"/>
            <a:ext cx="4012439" cy="18466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1200" dirty="0">
                <a:solidFill>
                  <a:schemeClr val="bg2"/>
                </a:solidFill>
              </a:defRPr>
            </a:lvl1pPr>
          </a:lstStyle>
          <a:p>
            <a:pPr lvl="0">
              <a:buNone/>
            </a:pPr>
            <a:r>
              <a:rPr lang="en-US"/>
              <a:t>Edit date or title/role</a:t>
            </a:r>
          </a:p>
        </p:txBody>
      </p:sp>
      <p:sp>
        <p:nvSpPr>
          <p:cNvPr id="6" name="Subtitle">
            <a:extLst>
              <a:ext uri="{FF2B5EF4-FFF2-40B4-BE49-F238E27FC236}">
                <a16:creationId xmlns:a16="http://schemas.microsoft.com/office/drawing/2014/main" id="{3AEFF35E-7402-391B-CB5E-ECE7D0AD30C5}"/>
              </a:ext>
            </a:extLst>
          </p:cNvPr>
          <p:cNvSpPr>
            <a:spLocks noGrp="1"/>
          </p:cNvSpPr>
          <p:nvPr>
            <p:ph type="subTitle" idx="1"/>
            <p:custDataLst>
              <p:tags r:id="rId3"/>
            </p:custDataLst>
          </p:nvPr>
        </p:nvSpPr>
        <p:spPr>
          <a:xfrm>
            <a:off x="545423" y="3522477"/>
            <a:ext cx="4012439" cy="4308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1400" dirty="0">
                <a:solidFill>
                  <a:schemeClr val="bg2"/>
                </a:solidFill>
              </a:defRPr>
            </a:lvl1pPr>
          </a:lstStyle>
          <a:p>
            <a:pPr lvl="0">
              <a:buNone/>
            </a:pPr>
            <a:r>
              <a:rPr lang="en-US"/>
              <a:t>Click to edit Master subtitle style</a:t>
            </a:r>
          </a:p>
        </p:txBody>
      </p:sp>
      <p:sp>
        <p:nvSpPr>
          <p:cNvPr id="7" name="Title">
            <a:extLst>
              <a:ext uri="{FF2B5EF4-FFF2-40B4-BE49-F238E27FC236}">
                <a16:creationId xmlns:a16="http://schemas.microsoft.com/office/drawing/2014/main" id="{A36451C6-396F-7062-7A8E-3BF8222D449C}"/>
              </a:ext>
            </a:extLst>
          </p:cNvPr>
          <p:cNvSpPr>
            <a:spLocks noGrp="1"/>
          </p:cNvSpPr>
          <p:nvPr>
            <p:ph type="title"/>
            <p:custDataLst>
              <p:tags r:id="rId4"/>
            </p:custDataLst>
          </p:nvPr>
        </p:nvSpPr>
        <p:spPr>
          <a:xfrm>
            <a:off x="545423" y="1937925"/>
            <a:ext cx="4012439" cy="147732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3200" dirty="0">
                <a:solidFill>
                  <a:schemeClr val="bg1"/>
                </a:solidFill>
              </a:defRPr>
            </a:lvl1pPr>
          </a:lstStyle>
          <a:p>
            <a:pPr lvl="0"/>
            <a:r>
              <a:rPr lang="en-US"/>
              <a:t>Click to edit Master title style</a:t>
            </a:r>
          </a:p>
        </p:txBody>
      </p:sp>
      <p:pic>
        <p:nvPicPr>
          <p:cNvPr id="8" name="Picture 4" descr="Vitafoods Asia | 17 - 19 Sept 2025 | Nutraceutical Trade Show">
            <a:extLst>
              <a:ext uri="{FF2B5EF4-FFF2-40B4-BE49-F238E27FC236}">
                <a16:creationId xmlns:a16="http://schemas.microsoft.com/office/drawing/2014/main" id="{28524EAA-AB4D-00BA-B9D9-3B6C41A0D9AE}"/>
              </a:ext>
            </a:extLst>
          </p:cNvPr>
          <p:cNvPicPr>
            <a:picLocks noChangeAspect="1" noChangeArrowheads="1"/>
          </p:cNvPicPr>
          <p:nvPr userDrawn="1"/>
        </p:nvPicPr>
        <p:blipFill rotWithShape="1">
          <a:blip r:embed="rId9" cstate="print">
            <a:extLst>
              <a:ext uri="{28A0092B-C50C-407E-A947-70E740481C1C}">
                <a14:useLocalDpi xmlns:a14="http://schemas.microsoft.com/office/drawing/2010/main" val="0"/>
              </a:ext>
            </a:extLst>
          </a:blip>
          <a:srcRect l="10354" t="12333" r="10254" b="23240"/>
          <a:stretch/>
        </p:blipFill>
        <p:spPr bwMode="auto">
          <a:xfrm>
            <a:off x="545423" y="374400"/>
            <a:ext cx="1731550" cy="9095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133640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3448035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172212"/>
            <a:ext cx="11082528" cy="38472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dirty="0"/>
            </a:lvl1pPr>
          </a:lstStyle>
          <a:p>
            <a:pPr lvl="0"/>
            <a:r>
              <a:rPr lang="en-US"/>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5" y="637721"/>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880237" y="650644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a:t>Add tracker</a:t>
            </a:r>
          </a:p>
        </p:txBody>
      </p:sp>
      <p:sp>
        <p:nvSpPr>
          <p:cNvPr id="2" name="Slide Number">
            <a:extLst>
              <a:ext uri="{FF2B5EF4-FFF2-40B4-BE49-F238E27FC236}">
                <a16:creationId xmlns:a16="http://schemas.microsoft.com/office/drawing/2014/main" id="{B7E49CAD-92E3-CA11-8F8C-8B431534A18E}"/>
              </a:ext>
            </a:extLst>
          </p:cNvPr>
          <p:cNvSpPr>
            <a:spLocks noChangeArrowheads="1"/>
          </p:cNvSpPr>
          <p:nvPr userDrawn="1">
            <p:custDataLst>
              <p:tags r:id="rId7"/>
            </p:custDataLst>
          </p:nvPr>
        </p:nvSpPr>
        <p:spPr bwMode="black">
          <a:xfrm>
            <a:off x="554736" y="6498754"/>
            <a:ext cx="325501" cy="138499"/>
          </a:xfrm>
          <a:prstGeom prst="rect">
            <a:avLst/>
          </a:prstGeom>
          <a:noFill/>
          <a:ln w="9525" algn="ctr">
            <a:noFill/>
            <a:miter lim="800000"/>
            <a:headEnd/>
            <a:tailEnd/>
          </a:ln>
          <a:effectLst/>
        </p:spPr>
        <p:txBody>
          <a:bodyPr wrap="square" lIns="0" tIns="0" rIns="0" bIns="0" anchor="b">
            <a:spAutoFit/>
          </a:bodyPr>
          <a:lstStyle/>
          <a:p>
            <a:pPr algn="l"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40316975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ontrast 2-line + Sub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6585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00" name="Sticker" hidden="1">
            <a:extLst>
              <a:ext uri="{FF2B5EF4-FFF2-40B4-BE49-F238E27FC236}">
                <a16:creationId xmlns:a16="http://schemas.microsoft.com/office/drawing/2014/main" id="{1BE78E90-512D-48A0-A845-A06C7B40AA52}"/>
              </a:ext>
            </a:extLst>
          </p:cNvPr>
          <p:cNvSpPr txBox="1"/>
          <p:nvPr userDrawn="1"/>
        </p:nvSpPr>
        <p:spPr>
          <a:xfrm>
            <a:off x="558489" y="1401800"/>
            <a:ext cx="501740"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a:t>STICKER</a:t>
            </a:r>
          </a:p>
        </p:txBody>
      </p:sp>
      <p:sp>
        <p:nvSpPr>
          <p:cNvPr id="101" name="3. Subtitle">
            <a:extLst>
              <a:ext uri="{FF2B5EF4-FFF2-40B4-BE49-F238E27FC236}">
                <a16:creationId xmlns:a16="http://schemas.microsoft.com/office/drawing/2014/main" id="{8AB5A759-C8C6-4E92-997D-BA04067A36CE}"/>
              </a:ext>
            </a:extLst>
          </p:cNvPr>
          <p:cNvSpPr>
            <a:spLocks noGrp="1"/>
          </p:cNvSpPr>
          <p:nvPr>
            <p:ph type="subTitle" idx="1"/>
            <p:custDataLst>
              <p:tags r:id="rId2"/>
            </p:custDataLst>
          </p:nvPr>
        </p:nvSpPr>
        <p:spPr>
          <a:xfrm>
            <a:off x="554736" y="1022441"/>
            <a:ext cx="110825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Rectangle 3" hidden="1">
            <a:extLst>
              <a:ext uri="{FF2B5EF4-FFF2-40B4-BE49-F238E27FC236}">
                <a16:creationId xmlns:a16="http://schemas.microsoft.com/office/drawing/2014/main" id="{ED3A330D-704F-4050-81F6-50A136E7860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hasCustomPrompt="1"/>
            <p:custDataLst>
              <p:tags r:id="rId4"/>
            </p:custDataLst>
          </p:nvPr>
        </p:nvSpPr>
        <p:spPr>
          <a:xfrm>
            <a:off x="554736" y="172212"/>
            <a:ext cx="11082528" cy="769441"/>
          </a:xfrm>
        </p:spPr>
        <p:txBody>
          <a:bodyPr vert="horz">
            <a:spAutoFit/>
          </a:bodyPr>
          <a:lstStyle>
            <a:lvl1pPr rtl="0">
              <a:defRPr/>
            </a:lvl1pPr>
          </a:lstStyle>
          <a:p>
            <a:r>
              <a:rPr lang="en-US"/>
              <a:t>Click to edit Master title style</a:t>
            </a:r>
            <a:br>
              <a:rPr lang="en-US"/>
            </a:br>
            <a:endParaRPr lang="en-US"/>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880237" y="650644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2" name="Slide Number">
            <a:extLst>
              <a:ext uri="{FF2B5EF4-FFF2-40B4-BE49-F238E27FC236}">
                <a16:creationId xmlns:a16="http://schemas.microsoft.com/office/drawing/2014/main" id="{C2A7FCD4-4E0A-3A66-958F-9123F73516A6}"/>
              </a:ext>
            </a:extLst>
          </p:cNvPr>
          <p:cNvSpPr>
            <a:spLocks noChangeArrowheads="1"/>
          </p:cNvSpPr>
          <p:nvPr userDrawn="1">
            <p:custDataLst>
              <p:tags r:id="rId7"/>
            </p:custDataLst>
          </p:nvPr>
        </p:nvSpPr>
        <p:spPr bwMode="black">
          <a:xfrm>
            <a:off x="554736" y="6498754"/>
            <a:ext cx="325501" cy="138499"/>
          </a:xfrm>
          <a:prstGeom prst="rect">
            <a:avLst/>
          </a:prstGeom>
          <a:noFill/>
          <a:ln w="9525" algn="ctr">
            <a:noFill/>
            <a:miter lim="800000"/>
            <a:headEnd/>
            <a:tailEnd/>
          </a:ln>
          <a:effectLst/>
        </p:spPr>
        <p:txBody>
          <a:bodyPr wrap="square" lIns="0" tIns="0" rIns="0" bIns="0" anchor="b">
            <a:spAutoFit/>
          </a:bodyPr>
          <a:lstStyle/>
          <a:p>
            <a:pPr algn="l"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99849082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1855279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408557"/>
            <a:ext cx="3813048" cy="769441"/>
          </a:xfrm>
          <a:prstGeom prst="rect">
            <a:avLst/>
          </a:prstGeom>
        </p:spPr>
        <p:txBody>
          <a:bodyPr vert="horz" anchor="t">
            <a:noAutofit/>
          </a:bodyPr>
          <a:lstStyle>
            <a:lvl1pPr rtl="0">
              <a:defRPr>
                <a:ln w="6350" cap="flat">
                  <a:noFill/>
                  <a:miter lim="800000"/>
                </a:ln>
              </a:defRPr>
            </a:lvl1pPr>
          </a:lstStyle>
          <a:p>
            <a:r>
              <a:rPr lang="en-US"/>
              <a:t>Click to edit Master title style</a:t>
            </a: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4"/>
            </p:custDataLst>
          </p:nvPr>
        </p:nvSpPr>
        <p:spPr>
          <a:xfrm>
            <a:off x="880237" y="650644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5" name="Slide Number">
            <a:extLst>
              <a:ext uri="{FF2B5EF4-FFF2-40B4-BE49-F238E27FC236}">
                <a16:creationId xmlns:a16="http://schemas.microsoft.com/office/drawing/2014/main" id="{6290E39B-C109-A3DB-37BF-020335FEA1B0}"/>
              </a:ext>
            </a:extLst>
          </p:cNvPr>
          <p:cNvSpPr>
            <a:spLocks noChangeArrowheads="1"/>
          </p:cNvSpPr>
          <p:nvPr userDrawn="1">
            <p:custDataLst>
              <p:tags r:id="rId6"/>
            </p:custDataLst>
          </p:nvPr>
        </p:nvSpPr>
        <p:spPr bwMode="black">
          <a:xfrm>
            <a:off x="554736" y="6498754"/>
            <a:ext cx="325501" cy="138499"/>
          </a:xfrm>
          <a:prstGeom prst="rect">
            <a:avLst/>
          </a:prstGeom>
          <a:noFill/>
          <a:ln w="9525" algn="ctr">
            <a:noFill/>
            <a:miter lim="800000"/>
            <a:headEnd/>
            <a:tailEnd/>
          </a:ln>
          <a:effectLst/>
        </p:spPr>
        <p:txBody>
          <a:bodyPr wrap="square" lIns="0" tIns="0" rIns="0" bIns="0" anchor="b">
            <a:spAutoFit/>
          </a:bodyPr>
          <a:lstStyle/>
          <a:p>
            <a:pPr algn="l"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6911809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text and 4 images">
    <p:spTree>
      <p:nvGrpSpPr>
        <p:cNvPr id="1" name=""/>
        <p:cNvGrpSpPr/>
        <p:nvPr/>
      </p:nvGrpSpPr>
      <p:grpSpPr>
        <a:xfrm>
          <a:off x="0" y="0"/>
          <a:ext cx="0" cy="0"/>
          <a:chOff x="0" y="0"/>
          <a:chExt cx="0" cy="0"/>
        </a:xfrm>
      </p:grpSpPr>
      <p:sp>
        <p:nvSpPr>
          <p:cNvPr id="18" name="Text Placeholder 4">
            <a:extLst>
              <a:ext uri="{FF2B5EF4-FFF2-40B4-BE49-F238E27FC236}">
                <a16:creationId xmlns:a16="http://schemas.microsoft.com/office/drawing/2014/main" id="{A83A907C-E1CE-4205-8149-05872EE5D338}"/>
              </a:ext>
            </a:extLst>
          </p:cNvPr>
          <p:cNvSpPr>
            <a:spLocks noGrp="1"/>
          </p:cNvSpPr>
          <p:nvPr>
            <p:ph type="body" sz="quarter" idx="25" hasCustomPrompt="1"/>
          </p:nvPr>
        </p:nvSpPr>
        <p:spPr>
          <a:xfrm>
            <a:off x="9101065" y="2363905"/>
            <a:ext cx="2515200" cy="3704580"/>
          </a:xfrm>
          <a:prstGeom prst="roundRect">
            <a:avLst>
              <a:gd name="adj" fmla="val 8809"/>
            </a:avLst>
          </a:prstGeom>
          <a:solidFill>
            <a:srgbClr val="EEF3FB"/>
          </a:solidFill>
        </p:spPr>
        <p:txBody>
          <a:bodyPr lIns="72000" tIns="1080000" rIns="72000" bIns="72000"/>
          <a:lstStyle>
            <a:lvl1pPr>
              <a:defRPr sz="1600"/>
            </a:lvl1pPr>
            <a:lvl2pPr>
              <a:defRPr sz="1600"/>
            </a:lvl2pPr>
            <a:lvl3pPr>
              <a:defRPr sz="1600"/>
            </a:lvl3pPr>
            <a:lvl4pPr>
              <a:defRPr sz="1600"/>
            </a:lvl4pPr>
            <a:lvl5pPr>
              <a:defRPr sz="1600"/>
            </a:lvl5pPr>
          </a:lstStyle>
          <a:p>
            <a:pPr lvl="0"/>
            <a:r>
              <a:rPr lang="en-GB"/>
              <a:t>Add text</a:t>
            </a:r>
          </a:p>
          <a:p>
            <a:pPr lvl="1"/>
            <a:r>
              <a:rPr lang="en-GB"/>
              <a:t>Second level</a:t>
            </a:r>
          </a:p>
          <a:p>
            <a:pPr lvl="2"/>
            <a:r>
              <a:rPr lang="en-GB"/>
              <a:t>Third level</a:t>
            </a:r>
          </a:p>
          <a:p>
            <a:pPr lvl="3"/>
            <a:r>
              <a:rPr lang="en-GB"/>
              <a:t>Fourth level</a:t>
            </a:r>
          </a:p>
          <a:p>
            <a:pPr lvl="4"/>
            <a:r>
              <a:rPr lang="en-GB"/>
              <a:t>Fifth level</a:t>
            </a:r>
          </a:p>
        </p:txBody>
      </p:sp>
      <p:sp>
        <p:nvSpPr>
          <p:cNvPr id="21" name="Picture Placeholder 20">
            <a:extLst>
              <a:ext uri="{FF2B5EF4-FFF2-40B4-BE49-F238E27FC236}">
                <a16:creationId xmlns:a16="http://schemas.microsoft.com/office/drawing/2014/main" id="{3E334F0F-6B9B-D4A1-11FE-F9729774788E}"/>
              </a:ext>
            </a:extLst>
          </p:cNvPr>
          <p:cNvSpPr>
            <a:spLocks noGrp="1"/>
          </p:cNvSpPr>
          <p:nvPr>
            <p:ph type="pic" sz="quarter" idx="28"/>
          </p:nvPr>
        </p:nvSpPr>
        <p:spPr>
          <a:xfrm>
            <a:off x="9194816" y="1701802"/>
            <a:ext cx="2327699" cy="1975125"/>
          </a:xfrm>
          <a:prstGeom prst="roundRect">
            <a:avLst>
              <a:gd name="adj" fmla="val 11353"/>
            </a:avLst>
          </a:prstGeom>
          <a:solidFill>
            <a:schemeClr val="tx1">
              <a:lumMod val="20000"/>
              <a:lumOff val="80000"/>
            </a:schemeClr>
          </a:solidFill>
        </p:spPr>
        <p:txBody>
          <a:bodyPr wrap="square" tIns="72000">
            <a:noAutofit/>
          </a:bodyPr>
          <a:lstStyle>
            <a:lvl1pPr marL="0" indent="0" algn="ctr">
              <a:buNone/>
              <a:defRPr/>
            </a:lvl1pPr>
          </a:lstStyle>
          <a:p>
            <a:r>
              <a:rPr lang="en-US"/>
              <a:t>Click icon to add picture</a:t>
            </a:r>
            <a:endParaRPr lang="en-GB"/>
          </a:p>
        </p:txBody>
      </p:sp>
      <p:sp>
        <p:nvSpPr>
          <p:cNvPr id="7" name="Text Placeholder 1">
            <a:extLst>
              <a:ext uri="{FF2B5EF4-FFF2-40B4-BE49-F238E27FC236}">
                <a16:creationId xmlns:a16="http://schemas.microsoft.com/office/drawing/2014/main" id="{91E12531-8EEB-436F-8425-BD99B771F678}"/>
              </a:ext>
            </a:extLst>
          </p:cNvPr>
          <p:cNvSpPr>
            <a:spLocks noGrp="1"/>
          </p:cNvSpPr>
          <p:nvPr>
            <p:ph type="body" sz="quarter" idx="20" hasCustomPrompt="1"/>
          </p:nvPr>
        </p:nvSpPr>
        <p:spPr>
          <a:xfrm>
            <a:off x="579967" y="2363905"/>
            <a:ext cx="2515200" cy="3704580"/>
          </a:xfrm>
          <a:prstGeom prst="roundRect">
            <a:avLst>
              <a:gd name="adj" fmla="val 8809"/>
            </a:avLst>
          </a:prstGeom>
          <a:solidFill>
            <a:srgbClr val="EEF3FB"/>
          </a:solidFill>
        </p:spPr>
        <p:txBody>
          <a:bodyPr lIns="72000" tIns="1080000" rIns="72000" bIns="72000"/>
          <a:lstStyle>
            <a:lvl1pPr>
              <a:defRPr sz="1600"/>
            </a:lvl1pPr>
            <a:lvl2pPr>
              <a:defRPr sz="1600"/>
            </a:lvl2pPr>
            <a:lvl3pPr>
              <a:defRPr sz="1600"/>
            </a:lvl3pPr>
            <a:lvl4pPr>
              <a:defRPr sz="1600"/>
            </a:lvl4pPr>
            <a:lvl5pPr>
              <a:defRPr sz="1600"/>
            </a:lvl5pPr>
          </a:lstStyle>
          <a:p>
            <a:pPr lvl="0"/>
            <a:r>
              <a:rPr lang="en-GB"/>
              <a:t>Add text</a:t>
            </a:r>
          </a:p>
          <a:p>
            <a:pPr lvl="1"/>
            <a:r>
              <a:rPr lang="en-GB"/>
              <a:t>Second level</a:t>
            </a:r>
          </a:p>
          <a:p>
            <a:pPr lvl="2"/>
            <a:r>
              <a:rPr lang="en-GB"/>
              <a:t>Third level</a:t>
            </a:r>
          </a:p>
          <a:p>
            <a:pPr lvl="3"/>
            <a:r>
              <a:rPr lang="en-GB"/>
              <a:t>Fourth level</a:t>
            </a:r>
          </a:p>
          <a:p>
            <a:pPr lvl="4"/>
            <a:r>
              <a:rPr lang="en-GB"/>
              <a:t>Fifth level</a:t>
            </a:r>
          </a:p>
        </p:txBody>
      </p:sp>
      <p:sp>
        <p:nvSpPr>
          <p:cNvPr id="14" name="Text Placeholder 2">
            <a:extLst>
              <a:ext uri="{FF2B5EF4-FFF2-40B4-BE49-F238E27FC236}">
                <a16:creationId xmlns:a16="http://schemas.microsoft.com/office/drawing/2014/main" id="{398351E2-2434-406B-8990-0F0F5A11F2EF}"/>
              </a:ext>
            </a:extLst>
          </p:cNvPr>
          <p:cNvSpPr>
            <a:spLocks noGrp="1"/>
          </p:cNvSpPr>
          <p:nvPr>
            <p:ph type="body" sz="quarter" idx="21" hasCustomPrompt="1"/>
          </p:nvPr>
        </p:nvSpPr>
        <p:spPr>
          <a:xfrm>
            <a:off x="3420333" y="2363905"/>
            <a:ext cx="2515200" cy="3704580"/>
          </a:xfrm>
          <a:prstGeom prst="roundRect">
            <a:avLst>
              <a:gd name="adj" fmla="val 8809"/>
            </a:avLst>
          </a:prstGeom>
          <a:solidFill>
            <a:srgbClr val="EEF3FB"/>
          </a:solidFill>
        </p:spPr>
        <p:txBody>
          <a:bodyPr lIns="72000" tIns="1080000" rIns="72000" bIns="72000"/>
          <a:lstStyle>
            <a:lvl1pPr>
              <a:defRPr sz="1600"/>
            </a:lvl1pPr>
            <a:lvl2pPr>
              <a:defRPr sz="1600"/>
            </a:lvl2pPr>
            <a:lvl3pPr>
              <a:defRPr sz="1600"/>
            </a:lvl3pPr>
            <a:lvl4pPr>
              <a:defRPr sz="1600"/>
            </a:lvl4pPr>
            <a:lvl5pPr>
              <a:defRPr sz="1600"/>
            </a:lvl5pPr>
          </a:lstStyle>
          <a:p>
            <a:pPr lvl="0"/>
            <a:r>
              <a:rPr lang="en-GB"/>
              <a:t>Add text</a:t>
            </a:r>
          </a:p>
          <a:p>
            <a:pPr lvl="1"/>
            <a:r>
              <a:rPr lang="en-GB"/>
              <a:t>Second level</a:t>
            </a:r>
          </a:p>
          <a:p>
            <a:pPr lvl="2"/>
            <a:r>
              <a:rPr lang="en-GB"/>
              <a:t>Third level</a:t>
            </a:r>
          </a:p>
          <a:p>
            <a:pPr lvl="3"/>
            <a:r>
              <a:rPr lang="en-GB"/>
              <a:t>Fourth level</a:t>
            </a:r>
          </a:p>
          <a:p>
            <a:pPr lvl="4"/>
            <a:r>
              <a:rPr lang="en-GB"/>
              <a:t>Fifth level</a:t>
            </a:r>
          </a:p>
        </p:txBody>
      </p:sp>
      <p:sp>
        <p:nvSpPr>
          <p:cNvPr id="15" name="Text Placeholder 4">
            <a:extLst>
              <a:ext uri="{FF2B5EF4-FFF2-40B4-BE49-F238E27FC236}">
                <a16:creationId xmlns:a16="http://schemas.microsoft.com/office/drawing/2014/main" id="{64CA7965-3883-4F71-AB9C-4752D4B21944}"/>
              </a:ext>
            </a:extLst>
          </p:cNvPr>
          <p:cNvSpPr>
            <a:spLocks noGrp="1"/>
          </p:cNvSpPr>
          <p:nvPr>
            <p:ph type="body" sz="quarter" idx="22" hasCustomPrompt="1"/>
          </p:nvPr>
        </p:nvSpPr>
        <p:spPr>
          <a:xfrm>
            <a:off x="6260700" y="2363905"/>
            <a:ext cx="2515200" cy="3704580"/>
          </a:xfrm>
          <a:prstGeom prst="roundRect">
            <a:avLst>
              <a:gd name="adj" fmla="val 8809"/>
            </a:avLst>
          </a:prstGeom>
          <a:solidFill>
            <a:srgbClr val="EEF3FB"/>
          </a:solidFill>
        </p:spPr>
        <p:txBody>
          <a:bodyPr lIns="72000" tIns="1080000" rIns="72000" bIns="72000"/>
          <a:lstStyle>
            <a:lvl1pPr>
              <a:defRPr sz="1600"/>
            </a:lvl1pPr>
            <a:lvl2pPr>
              <a:defRPr sz="1600"/>
            </a:lvl2pPr>
            <a:lvl3pPr>
              <a:defRPr sz="1600"/>
            </a:lvl3pPr>
            <a:lvl4pPr>
              <a:defRPr sz="1600"/>
            </a:lvl4pPr>
            <a:lvl5pPr>
              <a:defRPr sz="1600"/>
            </a:lvl5pPr>
          </a:lstStyle>
          <a:p>
            <a:pPr lvl="0"/>
            <a:r>
              <a:rPr lang="en-GB"/>
              <a:t>Add text</a:t>
            </a:r>
          </a:p>
          <a:p>
            <a:pPr lvl="1"/>
            <a:r>
              <a:rPr lang="en-GB"/>
              <a:t>Second level</a:t>
            </a:r>
          </a:p>
          <a:p>
            <a:pPr lvl="2"/>
            <a:r>
              <a:rPr lang="en-GB"/>
              <a:t>Third level</a:t>
            </a:r>
          </a:p>
          <a:p>
            <a:pPr lvl="3"/>
            <a:r>
              <a:rPr lang="en-GB"/>
              <a:t>Fourth level</a:t>
            </a:r>
          </a:p>
          <a:p>
            <a:pPr lvl="4"/>
            <a:r>
              <a:rPr lang="en-GB"/>
              <a:t>Fifth level</a:t>
            </a:r>
          </a:p>
        </p:txBody>
      </p:sp>
      <p:sp>
        <p:nvSpPr>
          <p:cNvPr id="10" name="Wave 1">
            <a:extLst>
              <a:ext uri="{FF2B5EF4-FFF2-40B4-BE49-F238E27FC236}">
                <a16:creationId xmlns:a16="http://schemas.microsoft.com/office/drawing/2014/main" id="{CC81F280-5BB5-4FE0-BB05-9A8AB770E0D3}"/>
              </a:ext>
            </a:extLst>
          </p:cNvPr>
          <p:cNvSpPr>
            <a:spLocks noGrp="1"/>
          </p:cNvSpPr>
          <p:nvPr>
            <p:ph type="body" sz="quarter" idx="15" hasCustomPrompt="1"/>
          </p:nvPr>
        </p:nvSpPr>
        <p:spPr>
          <a:xfrm>
            <a:off x="580291" y="7003625"/>
            <a:ext cx="4800" cy="4800"/>
          </a:xfrm>
          <a:noFill/>
        </p:spPr>
        <p:txBody>
          <a:bodyPr/>
          <a:lstStyle>
            <a:lvl1pPr marL="0" indent="0">
              <a:buNone/>
              <a:defRPr sz="133">
                <a:solidFill>
                  <a:schemeClr val="bg1"/>
                </a:solidFill>
              </a:defRPr>
            </a:lvl1pPr>
          </a:lstStyle>
          <a:p>
            <a:pPr lvl="0"/>
            <a:r>
              <a:rPr lang="en-GB"/>
              <a:t>.</a:t>
            </a:r>
          </a:p>
        </p:txBody>
      </p:sp>
      <p:sp>
        <p:nvSpPr>
          <p:cNvPr id="2" name="Title 1"/>
          <p:cNvSpPr>
            <a:spLocks noGrp="1"/>
          </p:cNvSpPr>
          <p:nvPr>
            <p:ph type="title" hasCustomPrompt="1"/>
          </p:nvPr>
        </p:nvSpPr>
        <p:spPr>
          <a:xfrm>
            <a:off x="580291" y="548218"/>
            <a:ext cx="11035975" cy="1036965"/>
          </a:xfrm>
        </p:spPr>
        <p:txBody>
          <a:bodyPr/>
          <a:lstStyle/>
          <a:p>
            <a:r>
              <a:rPr lang="en-GB"/>
              <a:t>Click to add title</a:t>
            </a:r>
          </a:p>
        </p:txBody>
      </p:sp>
      <p:sp>
        <p:nvSpPr>
          <p:cNvPr id="4" name="Date Placeholder 3"/>
          <p:cNvSpPr>
            <a:spLocks noGrp="1"/>
          </p:cNvSpPr>
          <p:nvPr>
            <p:ph type="dt" sz="half" idx="10"/>
          </p:nvPr>
        </p:nvSpPr>
        <p:spPr/>
        <p:txBody>
          <a:bodyPr/>
          <a:lstStyle/>
          <a:p>
            <a:fld id="{AA8D5D0C-D9F9-4BD3-BA75-76B5A2D4338E}" type="datetime1">
              <a:rPr lang="en-GB" smtClean="0"/>
              <a:t>18/04/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11" name="Wave 2">
            <a:extLst>
              <a:ext uri="{FF2B5EF4-FFF2-40B4-BE49-F238E27FC236}">
                <a16:creationId xmlns:a16="http://schemas.microsoft.com/office/drawing/2014/main" id="{AC5FEA4A-436F-48A1-9D31-EC97B9710853}"/>
              </a:ext>
            </a:extLst>
          </p:cNvPr>
          <p:cNvSpPr>
            <a:spLocks noGrp="1"/>
          </p:cNvSpPr>
          <p:nvPr>
            <p:ph type="body" sz="quarter" idx="17" hasCustomPrompt="1"/>
          </p:nvPr>
        </p:nvSpPr>
        <p:spPr>
          <a:xfrm>
            <a:off x="580291" y="7003625"/>
            <a:ext cx="4800" cy="4800"/>
          </a:xfrm>
          <a:noFill/>
        </p:spPr>
        <p:txBody>
          <a:bodyPr/>
          <a:lstStyle>
            <a:lvl1pPr marL="0" indent="0">
              <a:buNone/>
              <a:defRPr sz="133">
                <a:solidFill>
                  <a:schemeClr val="bg1"/>
                </a:solidFill>
              </a:defRPr>
            </a:lvl1pPr>
          </a:lstStyle>
          <a:p>
            <a:pPr lvl="0"/>
            <a:r>
              <a:rPr lang="en-GB"/>
              <a:t>.</a:t>
            </a:r>
          </a:p>
        </p:txBody>
      </p:sp>
      <p:sp>
        <p:nvSpPr>
          <p:cNvPr id="13" name="Wave 3">
            <a:extLst>
              <a:ext uri="{FF2B5EF4-FFF2-40B4-BE49-F238E27FC236}">
                <a16:creationId xmlns:a16="http://schemas.microsoft.com/office/drawing/2014/main" id="{CA1ECD70-AEE2-4AC6-901B-B2547A8DC9E8}"/>
              </a:ext>
            </a:extLst>
          </p:cNvPr>
          <p:cNvSpPr>
            <a:spLocks noGrp="1"/>
          </p:cNvSpPr>
          <p:nvPr>
            <p:ph type="body" sz="quarter" idx="19" hasCustomPrompt="1"/>
          </p:nvPr>
        </p:nvSpPr>
        <p:spPr>
          <a:xfrm flipH="1">
            <a:off x="580291" y="7003625"/>
            <a:ext cx="4800" cy="4800"/>
          </a:xfrm>
          <a:noFill/>
        </p:spPr>
        <p:txBody>
          <a:bodyPr/>
          <a:lstStyle>
            <a:lvl1pPr marL="0" indent="0">
              <a:buNone/>
              <a:defRPr sz="133">
                <a:solidFill>
                  <a:schemeClr val="bg1"/>
                </a:solidFill>
              </a:defRPr>
            </a:lvl1pPr>
          </a:lstStyle>
          <a:p>
            <a:pPr lvl="0"/>
            <a:r>
              <a:rPr lang="en-GB"/>
              <a:t>.</a:t>
            </a:r>
          </a:p>
        </p:txBody>
      </p:sp>
      <p:sp>
        <p:nvSpPr>
          <p:cNvPr id="17" name="Wave 4">
            <a:extLst>
              <a:ext uri="{FF2B5EF4-FFF2-40B4-BE49-F238E27FC236}">
                <a16:creationId xmlns:a16="http://schemas.microsoft.com/office/drawing/2014/main" id="{C7D27570-D4DD-4861-9A43-471D0FF8F8B3}"/>
              </a:ext>
            </a:extLst>
          </p:cNvPr>
          <p:cNvSpPr>
            <a:spLocks noGrp="1"/>
          </p:cNvSpPr>
          <p:nvPr>
            <p:ph type="body" sz="quarter" idx="24" hasCustomPrompt="1"/>
          </p:nvPr>
        </p:nvSpPr>
        <p:spPr>
          <a:xfrm flipH="1">
            <a:off x="580291" y="7003625"/>
            <a:ext cx="4800" cy="4800"/>
          </a:xfrm>
          <a:noFill/>
        </p:spPr>
        <p:txBody>
          <a:bodyPr/>
          <a:lstStyle>
            <a:lvl1pPr marL="0" indent="0">
              <a:buNone/>
              <a:defRPr sz="133">
                <a:solidFill>
                  <a:schemeClr val="bg1"/>
                </a:solidFill>
              </a:defRPr>
            </a:lvl1pPr>
          </a:lstStyle>
          <a:p>
            <a:pPr lvl="0"/>
            <a:r>
              <a:rPr lang="en-GB"/>
              <a:t>.</a:t>
            </a:r>
          </a:p>
        </p:txBody>
      </p:sp>
      <p:sp>
        <p:nvSpPr>
          <p:cNvPr id="3" name="Picture Placeholder 2">
            <a:extLst>
              <a:ext uri="{FF2B5EF4-FFF2-40B4-BE49-F238E27FC236}">
                <a16:creationId xmlns:a16="http://schemas.microsoft.com/office/drawing/2014/main" id="{0D02639D-48D8-8650-249D-64FD96BE411C}"/>
              </a:ext>
            </a:extLst>
          </p:cNvPr>
          <p:cNvSpPr>
            <a:spLocks noGrp="1"/>
          </p:cNvSpPr>
          <p:nvPr>
            <p:ph type="pic" sz="quarter" idx="14"/>
          </p:nvPr>
        </p:nvSpPr>
        <p:spPr>
          <a:xfrm>
            <a:off x="673717" y="1701802"/>
            <a:ext cx="2327699" cy="1975125"/>
          </a:xfrm>
          <a:prstGeom prst="roundRect">
            <a:avLst>
              <a:gd name="adj" fmla="val 11353"/>
            </a:avLst>
          </a:prstGeom>
          <a:solidFill>
            <a:schemeClr val="tx1">
              <a:lumMod val="20000"/>
              <a:lumOff val="80000"/>
            </a:schemeClr>
          </a:solidFill>
        </p:spPr>
        <p:txBody>
          <a:bodyPr wrap="square" tIns="72000">
            <a:noAutofit/>
          </a:bodyPr>
          <a:lstStyle>
            <a:lvl1pPr marL="0" indent="0" algn="ctr">
              <a:buNone/>
              <a:defRPr/>
            </a:lvl1pPr>
          </a:lstStyle>
          <a:p>
            <a:r>
              <a:rPr lang="en-US"/>
              <a:t>Click icon to add picture</a:t>
            </a:r>
            <a:endParaRPr lang="en-GB"/>
          </a:p>
        </p:txBody>
      </p:sp>
      <p:sp>
        <p:nvSpPr>
          <p:cNvPr id="19" name="Picture Placeholder 18">
            <a:extLst>
              <a:ext uri="{FF2B5EF4-FFF2-40B4-BE49-F238E27FC236}">
                <a16:creationId xmlns:a16="http://schemas.microsoft.com/office/drawing/2014/main" id="{C5F90B9B-9065-13BC-6A74-C5CA3C4BFE4A}"/>
              </a:ext>
            </a:extLst>
          </p:cNvPr>
          <p:cNvSpPr>
            <a:spLocks noGrp="1"/>
          </p:cNvSpPr>
          <p:nvPr>
            <p:ph type="pic" sz="quarter" idx="26"/>
          </p:nvPr>
        </p:nvSpPr>
        <p:spPr>
          <a:xfrm>
            <a:off x="3514084" y="1701802"/>
            <a:ext cx="2327699" cy="1975125"/>
          </a:xfrm>
          <a:prstGeom prst="roundRect">
            <a:avLst>
              <a:gd name="adj" fmla="val 11353"/>
            </a:avLst>
          </a:prstGeom>
          <a:solidFill>
            <a:schemeClr val="tx1">
              <a:lumMod val="20000"/>
              <a:lumOff val="80000"/>
            </a:schemeClr>
          </a:solidFill>
        </p:spPr>
        <p:txBody>
          <a:bodyPr wrap="square" tIns="72000">
            <a:noAutofit/>
          </a:bodyPr>
          <a:lstStyle>
            <a:lvl1pPr marL="0" indent="0" algn="ctr">
              <a:buNone/>
              <a:defRPr/>
            </a:lvl1pPr>
          </a:lstStyle>
          <a:p>
            <a:r>
              <a:rPr lang="en-US"/>
              <a:t>Click icon to add picture</a:t>
            </a:r>
            <a:endParaRPr lang="en-GB"/>
          </a:p>
        </p:txBody>
      </p:sp>
      <p:sp>
        <p:nvSpPr>
          <p:cNvPr id="20" name="Picture Placeholder 19">
            <a:extLst>
              <a:ext uri="{FF2B5EF4-FFF2-40B4-BE49-F238E27FC236}">
                <a16:creationId xmlns:a16="http://schemas.microsoft.com/office/drawing/2014/main" id="{26F66894-103A-89D0-9F6C-4B064D6FF654}"/>
              </a:ext>
            </a:extLst>
          </p:cNvPr>
          <p:cNvSpPr>
            <a:spLocks noGrp="1"/>
          </p:cNvSpPr>
          <p:nvPr>
            <p:ph type="pic" sz="quarter" idx="27"/>
          </p:nvPr>
        </p:nvSpPr>
        <p:spPr>
          <a:xfrm>
            <a:off x="6354451" y="1701802"/>
            <a:ext cx="2327699" cy="1975125"/>
          </a:xfrm>
          <a:prstGeom prst="roundRect">
            <a:avLst>
              <a:gd name="adj" fmla="val 11353"/>
            </a:avLst>
          </a:prstGeom>
          <a:solidFill>
            <a:schemeClr val="tx1">
              <a:lumMod val="20000"/>
              <a:lumOff val="80000"/>
            </a:schemeClr>
          </a:solidFill>
        </p:spPr>
        <p:txBody>
          <a:bodyPr wrap="square" tIns="72000">
            <a:noAutofit/>
          </a:bodyPr>
          <a:lstStyle>
            <a:lvl1pPr marL="0" indent="0" algn="ctr">
              <a:buNone/>
              <a:defRPr/>
            </a:lvl1pPr>
          </a:lstStyle>
          <a:p>
            <a:r>
              <a:rPr lang="en-US"/>
              <a:t>Click icon to add picture</a:t>
            </a:r>
            <a:endParaRPr lang="en-GB"/>
          </a:p>
        </p:txBody>
      </p:sp>
    </p:spTree>
    <p:extLst>
      <p:ext uri="{BB962C8B-B14F-4D97-AF65-F5344CB8AC3E}">
        <p14:creationId xmlns:p14="http://schemas.microsoft.com/office/powerpoint/2010/main" val="3891411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1019295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4"/>
            </p:custDataLst>
          </p:nvPr>
        </p:nvSpPr>
        <p:spPr>
          <a:xfrm>
            <a:off x="880237" y="650644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29A5BC72-B58B-4282-B0EA-EE79CC589D7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5" name="Slide Number">
            <a:extLst>
              <a:ext uri="{FF2B5EF4-FFF2-40B4-BE49-F238E27FC236}">
                <a16:creationId xmlns:a16="http://schemas.microsoft.com/office/drawing/2014/main" id="{95EAF2E2-A1E2-F30E-1517-A887BCCD0F70}"/>
              </a:ext>
            </a:extLst>
          </p:cNvPr>
          <p:cNvSpPr>
            <a:spLocks noChangeArrowheads="1"/>
          </p:cNvSpPr>
          <p:nvPr userDrawn="1">
            <p:custDataLst>
              <p:tags r:id="rId6"/>
            </p:custDataLst>
          </p:nvPr>
        </p:nvSpPr>
        <p:spPr bwMode="black">
          <a:xfrm>
            <a:off x="554736" y="6498754"/>
            <a:ext cx="325501" cy="138499"/>
          </a:xfrm>
          <a:prstGeom prst="rect">
            <a:avLst/>
          </a:prstGeom>
          <a:noFill/>
          <a:ln w="9525" algn="ctr">
            <a:noFill/>
            <a:miter lim="800000"/>
            <a:headEnd/>
            <a:tailEnd/>
          </a:ln>
          <a:effectLst/>
        </p:spPr>
        <p:txBody>
          <a:bodyPr wrap="square" lIns="0" tIns="0" rIns="0" bIns="0" anchor="b">
            <a:spAutoFit/>
          </a:bodyPr>
          <a:lstStyle/>
          <a:p>
            <a:pPr algn="l"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16042420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2548078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4" name="Picture Placeholder 12">
            <a:extLst>
              <a:ext uri="{FF2B5EF4-FFF2-40B4-BE49-F238E27FC236}">
                <a16:creationId xmlns:a16="http://schemas.microsoft.com/office/drawing/2014/main" id="{483791FC-F494-2B2B-F459-2EE02BBD2AB5}"/>
              </a:ext>
            </a:extLst>
          </p:cNvPr>
          <p:cNvPicPr>
            <a:picLocks noChangeAspect="1"/>
          </p:cNvPicPr>
          <p:nvPr userDrawn="1"/>
        </p:nvPicPr>
        <p:blipFill>
          <a:blip r:embed="rId10" cstate="print">
            <a:extLst>
              <a:ext uri="{28A0092B-C50C-407E-A947-70E740481C1C}">
                <a14:useLocalDpi xmlns:a14="http://schemas.microsoft.com/office/drawing/2010/main" val="0"/>
              </a:ext>
            </a:extLst>
          </a:blip>
          <a:srcRect/>
          <a:stretch>
            <a:fillRect/>
          </a:stretch>
        </p:blipFill>
        <p:spPr>
          <a:xfrm>
            <a:off x="0" y="0"/>
            <a:ext cx="12192000" cy="6858000"/>
          </a:xfrm>
          <a:prstGeom prst="rect">
            <a:avLst/>
          </a:prstGeom>
        </p:spPr>
      </p:pic>
      <p:sp>
        <p:nvSpPr>
          <p:cNvPr id="5" name="Text Placeholder 2">
            <a:extLst>
              <a:ext uri="{FF2B5EF4-FFF2-40B4-BE49-F238E27FC236}">
                <a16:creationId xmlns:a16="http://schemas.microsoft.com/office/drawing/2014/main" id="{D7B0A9CF-684A-C875-AE12-CCC151BD3850}"/>
              </a:ext>
            </a:extLst>
          </p:cNvPr>
          <p:cNvSpPr txBox="1">
            <a:spLocks/>
          </p:cNvSpPr>
          <p:nvPr userDrawn="1"/>
        </p:nvSpPr>
        <p:spPr>
          <a:xfrm>
            <a:off x="336552" y="3070800"/>
            <a:ext cx="3839632" cy="3787200"/>
          </a:xfrm>
          <a:prstGeom prst="round1Rect">
            <a:avLst/>
          </a:prstGeom>
          <a:solidFill>
            <a:srgbClr val="FFFFFF">
              <a:alpha val="85098"/>
            </a:srgbClr>
          </a:solidFill>
        </p:spPr>
        <p:txBody>
          <a:bodyPr vert="horz" wrap="square" lIns="288000" tIns="468000" rIns="72000" bIns="252000" rtlCol="0">
            <a:noAutofit/>
          </a:bodyPr>
          <a:lstStyle>
            <a:lvl1pPr marL="0" indent="0" algn="l" defTabSz="914377" rtl="0" eaLnBrk="1" latinLnBrk="0" hangingPunct="1">
              <a:lnSpc>
                <a:spcPct val="113000"/>
              </a:lnSpc>
              <a:spcBef>
                <a:spcPts val="0"/>
              </a:spcBef>
              <a:buClr>
                <a:schemeClr val="tx1"/>
              </a:buClr>
              <a:buFont typeface="Arial" panose="020B0604020202020204" pitchFamily="34" charset="0"/>
              <a:buNone/>
              <a:defRPr sz="3200" kern="1200">
                <a:solidFill>
                  <a:schemeClr val="accent1"/>
                </a:solidFill>
                <a:latin typeface="+mn-lt"/>
                <a:ea typeface="+mn-ea"/>
                <a:cs typeface="+mn-cs"/>
              </a:defRPr>
            </a:lvl1pPr>
            <a:lvl2pPr marL="480472" indent="-228594" algn="l" defTabSz="914377"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2pPr>
            <a:lvl3pPr marL="715415" indent="-228594" algn="l" defTabSz="914377"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3pPr>
            <a:lvl4pPr marL="960943" indent="-228594" algn="l" defTabSz="914377"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4pPr>
            <a:lvl5pPr marL="1195887" indent="-228594" algn="l" defTabSz="914377"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13000"/>
              </a:lnSpc>
              <a:spcBef>
                <a:spcPts val="0"/>
              </a:spcBef>
              <a:spcAft>
                <a:spcPts val="0"/>
              </a:spcAft>
              <a:buClr>
                <a:srgbClr val="3F4043"/>
              </a:buClr>
              <a:buSzTx/>
              <a:buFont typeface="Arial" panose="020B0604020202020204" pitchFamily="34" charset="0"/>
              <a:buNone/>
              <a:tabLst/>
              <a:defRPr/>
            </a:pPr>
            <a:endParaRPr kumimoji="0" lang="en-GB" sz="3200" b="0" i="0" u="none" strike="noStrike" kern="1200" cap="none" spc="0" normalizeH="0" baseline="0" noProof="0">
              <a:ln>
                <a:noFill/>
              </a:ln>
              <a:solidFill>
                <a:srgbClr val="0094D9"/>
              </a:solidFill>
              <a:effectLst/>
              <a:uLnTx/>
              <a:uFillTx/>
              <a:latin typeface="Verdana"/>
              <a:ea typeface="+mn-ea"/>
              <a:cs typeface="+mn-cs"/>
            </a:endParaRPr>
          </a:p>
        </p:txBody>
      </p:sp>
      <p:sp>
        <p:nvSpPr>
          <p:cNvPr id="10" name="2. Slide Title">
            <a:extLst>
              <a:ext uri="{FF2B5EF4-FFF2-40B4-BE49-F238E27FC236}">
                <a16:creationId xmlns:a16="http://schemas.microsoft.com/office/drawing/2014/main" id="{74B38D67-537D-3888-0A5E-29BE8CC078EF}"/>
              </a:ext>
            </a:extLst>
          </p:cNvPr>
          <p:cNvSpPr>
            <a:spLocks noGrp="1"/>
          </p:cNvSpPr>
          <p:nvPr>
            <p:ph type="title"/>
            <p:custDataLst>
              <p:tags r:id="rId2"/>
            </p:custDataLst>
          </p:nvPr>
        </p:nvSpPr>
        <p:spPr>
          <a:xfrm>
            <a:off x="547879" y="3582248"/>
            <a:ext cx="3416977" cy="984885"/>
          </a:xfrm>
        </p:spPr>
        <p:txBody>
          <a:bodyPr vert="horz" wrap="square" anchor="t">
            <a:spAutoFit/>
          </a:bodyPr>
          <a:lstStyle>
            <a:lvl1pPr rtl="0">
              <a:lnSpc>
                <a:spcPct val="100000"/>
              </a:lnSpc>
              <a:defRPr sz="3200">
                <a:solidFill>
                  <a:schemeClr val="bg1"/>
                </a:solidFill>
              </a:defRPr>
            </a:lvl1pPr>
          </a:lstStyle>
          <a:p>
            <a:r>
              <a:rPr lang="en-US"/>
              <a:t>Click to edit Master title style</a:t>
            </a:r>
          </a:p>
        </p:txBody>
      </p:sp>
      <p:sp>
        <p:nvSpPr>
          <p:cNvPr id="2" name="Rectangle 1" hidden="1">
            <a:extLst>
              <a:ext uri="{FF2B5EF4-FFF2-40B4-BE49-F238E27FC236}">
                <a16:creationId xmlns:a16="http://schemas.microsoft.com/office/drawing/2014/main" id="{A4FCABF2-1291-4CAB-A39C-0FDD2FD8A1F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1. On-page tracker">
            <a:extLst>
              <a:ext uri="{FF2B5EF4-FFF2-40B4-BE49-F238E27FC236}">
                <a16:creationId xmlns:a16="http://schemas.microsoft.com/office/drawing/2014/main" id="{8F89071A-FCD4-4931-B959-81108D770B1E}"/>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3A3B7718-BF84-3D61-B613-489B468E0C85}"/>
              </a:ext>
            </a:extLst>
          </p:cNvPr>
          <p:cNvSpPr>
            <a:spLocks noChangeArrowheads="1"/>
          </p:cNvSpPr>
          <p:nvPr userDrawn="1">
            <p:custDataLst>
              <p:tags r:id="rId5"/>
            </p:custDataLst>
          </p:nvPr>
        </p:nvSpPr>
        <p:spPr bwMode="black">
          <a:xfrm>
            <a:off x="554736" y="6498754"/>
            <a:ext cx="325501" cy="138499"/>
          </a:xfrm>
          <a:prstGeom prst="rect">
            <a:avLst/>
          </a:prstGeom>
          <a:noFill/>
          <a:ln w="9525" algn="ctr">
            <a:noFill/>
            <a:miter lim="800000"/>
            <a:headEnd/>
            <a:tailEnd/>
          </a:ln>
          <a:effectLst/>
        </p:spPr>
        <p:txBody>
          <a:bodyPr wrap="square" lIns="0" tIns="0" rIns="0" bIns="0" anchor="b">
            <a:spAutoFit/>
          </a:bodyPr>
          <a:lstStyle/>
          <a:p>
            <a:pPr algn="l" defTabSz="610744" rtl="0" fontAlgn="auto">
              <a:spcBef>
                <a:spcPts val="0"/>
              </a:spcBef>
              <a:spcAft>
                <a:spcPts val="0"/>
              </a:spcAft>
              <a:defRPr/>
            </a:pPr>
            <a:fld id="{4ABDCABE-3F10-B64C-92F1-862014417034}" type="slidenum">
              <a:rPr lang="en-US" sz="900" b="0" smtClean="0">
                <a:solidFill>
                  <a:srgbClr val="929293"/>
                </a:solidFill>
                <a:latin typeface="+mn-lt"/>
                <a:ea typeface="+mn-ea"/>
                <a:cs typeface="Arial" panose="020B0604020202020204" pitchFamily="34" charset="0"/>
              </a:rPr>
              <a:pPr algn="l" defTabSz="610744" rtl="0" fontAlgn="auto">
                <a:spcBef>
                  <a:spcPts val="0"/>
                </a:spcBef>
                <a:spcAft>
                  <a:spcPts val="0"/>
                </a:spcAft>
                <a:defRPr/>
              </a:pPr>
              <a:t>‹#›</a:t>
            </a:fld>
            <a:endParaRPr lang="en-US" sz="900" b="0">
              <a:solidFill>
                <a:srgbClr val="929293"/>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6"/>
            </p:custDataLst>
          </p:nvPr>
        </p:nvSpPr>
        <p:spPr>
          <a:xfrm>
            <a:off x="880237" y="650644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bg2"/>
                </a:solidFill>
              </a:rPr>
              <a:t>Source: …</a:t>
            </a:r>
          </a:p>
        </p:txBody>
      </p:sp>
    </p:spTree>
    <p:extLst>
      <p:ext uri="{BB962C8B-B14F-4D97-AF65-F5344CB8AC3E}">
        <p14:creationId xmlns:p14="http://schemas.microsoft.com/office/powerpoint/2010/main" val="424432816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extLst>
              <p:ext uri="{D42A27DB-BD31-4B8C-83A1-F6EECF244321}">
                <p14:modId xmlns:p14="http://schemas.microsoft.com/office/powerpoint/2010/main" val="2977653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77004"/>
            <a:ext cx="9180576" cy="502445"/>
          </a:xfrm>
          <a:prstGeom prst="rect">
            <a:avLst/>
          </a:prstGeom>
        </p:spPr>
        <p:txBody>
          <a:bodyPr vert="horz" anchor="b">
            <a:spAutoFit/>
          </a:bodyPr>
          <a:lstStyle>
            <a:lvl1pPr rtl="0">
              <a:lnSpc>
                <a:spcPct val="105000"/>
              </a:lnSpc>
              <a:defRPr sz="3400"/>
            </a:lvl1pPr>
          </a:lstStyle>
          <a:p>
            <a:r>
              <a:rPr lang="en-US"/>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5"/>
            </p:custDataLst>
          </p:nvPr>
        </p:nvSpPr>
        <p:spPr>
          <a:xfrm>
            <a:off x="880237" y="650644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878CBA30-A797-424E-A56B-F43F015ECE96}"/>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4" name="Slide Number">
            <a:extLst>
              <a:ext uri="{FF2B5EF4-FFF2-40B4-BE49-F238E27FC236}">
                <a16:creationId xmlns:a16="http://schemas.microsoft.com/office/drawing/2014/main" id="{675A2B27-F4BD-4F86-54F2-1274BFC33F66}"/>
              </a:ext>
            </a:extLst>
          </p:cNvPr>
          <p:cNvSpPr>
            <a:spLocks noChangeArrowheads="1"/>
          </p:cNvSpPr>
          <p:nvPr userDrawn="1">
            <p:custDataLst>
              <p:tags r:id="rId7"/>
            </p:custDataLst>
          </p:nvPr>
        </p:nvSpPr>
        <p:spPr bwMode="black">
          <a:xfrm>
            <a:off x="554736" y="6498754"/>
            <a:ext cx="325501" cy="138499"/>
          </a:xfrm>
          <a:prstGeom prst="rect">
            <a:avLst/>
          </a:prstGeom>
          <a:noFill/>
          <a:ln w="9525" algn="ctr">
            <a:noFill/>
            <a:miter lim="800000"/>
            <a:headEnd/>
            <a:tailEnd/>
          </a:ln>
          <a:effectLst/>
        </p:spPr>
        <p:txBody>
          <a:bodyPr wrap="square" lIns="0" tIns="0" rIns="0" bIns="0" anchor="b">
            <a:spAutoFit/>
          </a:bodyPr>
          <a:lstStyle/>
          <a:p>
            <a:pPr algn="l"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86325229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933214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chemeClr val="bg2"/>
              </a:solidFill>
              <a:latin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4"/>
            </p:custDataLst>
          </p:nvPr>
        </p:nvSpPr>
        <p:spPr>
          <a:xfrm>
            <a:off x="554736" y="2744369"/>
            <a:ext cx="2514600" cy="769441"/>
          </a:xfrm>
        </p:spPr>
        <p:txBody>
          <a:bodyPr vert="horz" anchor="b">
            <a:noAutofit/>
          </a:bodyPr>
          <a:lstStyle>
            <a:lvl1pPr rtl="0">
              <a:defRPr>
                <a:solidFill>
                  <a:schemeClr val="bg1"/>
                </a:solidFill>
              </a:defRPr>
            </a:lvl1pPr>
          </a:lstStyle>
          <a:p>
            <a:r>
              <a:rPr lang="en-US"/>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6"/>
            </p:custDataLst>
          </p:nvPr>
        </p:nvSpPr>
        <p:spPr>
          <a:xfrm>
            <a:off x="880237" y="650644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bg2"/>
                </a:solidFill>
              </a:rPr>
              <a:t>Source: …</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sp>
        <p:nvSpPr>
          <p:cNvPr id="5" name="Slide Number">
            <a:extLst>
              <a:ext uri="{FF2B5EF4-FFF2-40B4-BE49-F238E27FC236}">
                <a16:creationId xmlns:a16="http://schemas.microsoft.com/office/drawing/2014/main" id="{A54D3D17-9D67-BCE5-A2EE-E7A2EC743BCF}"/>
              </a:ext>
            </a:extLst>
          </p:cNvPr>
          <p:cNvSpPr>
            <a:spLocks noChangeArrowheads="1"/>
          </p:cNvSpPr>
          <p:nvPr userDrawn="1">
            <p:custDataLst>
              <p:tags r:id="rId8"/>
            </p:custDataLst>
          </p:nvPr>
        </p:nvSpPr>
        <p:spPr bwMode="black">
          <a:xfrm>
            <a:off x="554736" y="6498754"/>
            <a:ext cx="325501" cy="138499"/>
          </a:xfrm>
          <a:prstGeom prst="rect">
            <a:avLst/>
          </a:prstGeom>
          <a:noFill/>
          <a:ln w="9525" algn="ctr">
            <a:noFill/>
            <a:miter lim="800000"/>
            <a:headEnd/>
            <a:tailEnd/>
          </a:ln>
          <a:effectLst/>
        </p:spPr>
        <p:txBody>
          <a:bodyPr wrap="square" lIns="0" tIns="0" rIns="0" bIns="0" anchor="b">
            <a:spAutoFit/>
          </a:bodyPr>
          <a:lstStyle/>
          <a:p>
            <a:pPr algn="l" defTabSz="610744" rtl="0" fontAlgn="auto">
              <a:spcBef>
                <a:spcPts val="0"/>
              </a:spcBef>
              <a:spcAft>
                <a:spcPts val="0"/>
              </a:spcAft>
              <a:defRPr/>
            </a:pPr>
            <a:fld id="{4ABDCABE-3F10-B64C-92F1-862014417034}" type="slidenum">
              <a:rPr lang="en-US" sz="900" b="0" smtClean="0">
                <a:solidFill>
                  <a:srgbClr val="929293"/>
                </a:solidFill>
                <a:latin typeface="+mn-lt"/>
                <a:ea typeface="+mn-ea"/>
                <a:cs typeface="Arial" panose="020B0604020202020204" pitchFamily="34" charset="0"/>
              </a:rPr>
              <a:pPr algn="l" defTabSz="610744" rtl="0" fontAlgn="auto">
                <a:spcBef>
                  <a:spcPts val="0"/>
                </a:spcBef>
                <a:spcAft>
                  <a:spcPts val="0"/>
                </a:spcAft>
                <a:defRPr/>
              </a:pPr>
              <a:t>‹#›</a:t>
            </a:fld>
            <a:endParaRPr lang="en-US" sz="900" b="0">
              <a:solidFill>
                <a:srgbClr val="929293"/>
              </a:solidFill>
              <a:latin typeface="+mn-lt"/>
              <a:ea typeface="+mn-ea"/>
              <a:cs typeface="Arial" panose="020B0604020202020204" pitchFamily="34" charset="0"/>
            </a:endParaRPr>
          </a:p>
        </p:txBody>
      </p:sp>
      <p:pic>
        <p:nvPicPr>
          <p:cNvPr id="7" name="Picture 6" descr="Vitafoods Asia | 17 - 19 Sept 2025 | Nutraceutical Trade Show">
            <a:extLst>
              <a:ext uri="{FF2B5EF4-FFF2-40B4-BE49-F238E27FC236}">
                <a16:creationId xmlns:a16="http://schemas.microsoft.com/office/drawing/2014/main" id="{C5F1AFAC-048A-937A-0815-A9F916357241}"/>
              </a:ext>
            </a:extLst>
          </p:cNvPr>
          <p:cNvPicPr>
            <a:picLocks noChangeAspect="1" noChangeArrowheads="1"/>
          </p:cNvPicPr>
          <p:nvPr userDrawn="1"/>
        </p:nvPicPr>
        <p:blipFill rotWithShape="1">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l="10354" t="12333" r="10254" b="23240"/>
          <a:stretch/>
        </p:blipFill>
        <p:spPr bwMode="ltGray">
          <a:xfrm>
            <a:off x="10878885" y="6310312"/>
            <a:ext cx="758380" cy="3983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938285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2533150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chemeClr val="bg2"/>
              </a:solidFill>
              <a:latin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4"/>
            </p:custDataLst>
          </p:nvPr>
        </p:nvSpPr>
        <p:spPr>
          <a:xfrm>
            <a:off x="554736" y="2744369"/>
            <a:ext cx="3465576" cy="769441"/>
          </a:xfrm>
          <a:prstGeom prst="rect">
            <a:avLst/>
          </a:prstGeom>
        </p:spPr>
        <p:txBody>
          <a:bodyPr vert="horz" wrap="square" anchor="b">
            <a:noAutofit/>
          </a:bodyPr>
          <a:lstStyle>
            <a:lvl1pPr algn="l" rtl="0">
              <a:defRPr>
                <a:solidFill>
                  <a:schemeClr val="bg1"/>
                </a:solidFill>
              </a:defRPr>
            </a:lvl1pPr>
          </a:lstStyle>
          <a:p>
            <a:r>
              <a:rPr lang="en-US"/>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6"/>
            </p:custDataLst>
          </p:nvPr>
        </p:nvSpPr>
        <p:spPr>
          <a:xfrm>
            <a:off x="880237" y="650644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bg2"/>
                </a:solidFill>
              </a:rPr>
              <a:t>Source: …</a:t>
            </a:r>
          </a:p>
        </p:txBody>
      </p:sp>
      <p:sp>
        <p:nvSpPr>
          <p:cNvPr id="10" name="1. On-page tracker">
            <a:extLst>
              <a:ext uri="{FF2B5EF4-FFF2-40B4-BE49-F238E27FC236}">
                <a16:creationId xmlns:a16="http://schemas.microsoft.com/office/drawing/2014/main" id="{2635D98B-97DC-4A80-82A3-A8B3C701B736}"/>
              </a:ext>
            </a:extLst>
          </p:cNvPr>
          <p:cNvSpPr>
            <a:spLocks noGrp="1"/>
          </p:cNvSpPr>
          <p:nvPr>
            <p:ph type="body" sz="quarter" idx="10" hasCustomPrompt="1"/>
            <p:custDataLst>
              <p:tags r:id="rId7"/>
            </p:custDataLst>
          </p:nvPr>
        </p:nvSpPr>
        <p:spPr>
          <a:xfrm>
            <a:off x="554735" y="41597"/>
            <a:ext cx="3465575"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sp>
        <p:nvSpPr>
          <p:cNvPr id="5" name="Slide Number">
            <a:extLst>
              <a:ext uri="{FF2B5EF4-FFF2-40B4-BE49-F238E27FC236}">
                <a16:creationId xmlns:a16="http://schemas.microsoft.com/office/drawing/2014/main" id="{0F343503-8B27-E332-ECC7-54641DE5846D}"/>
              </a:ext>
            </a:extLst>
          </p:cNvPr>
          <p:cNvSpPr>
            <a:spLocks noChangeArrowheads="1"/>
          </p:cNvSpPr>
          <p:nvPr userDrawn="1">
            <p:custDataLst>
              <p:tags r:id="rId8"/>
            </p:custDataLst>
          </p:nvPr>
        </p:nvSpPr>
        <p:spPr bwMode="black">
          <a:xfrm>
            <a:off x="554736" y="6498754"/>
            <a:ext cx="325501" cy="138499"/>
          </a:xfrm>
          <a:prstGeom prst="rect">
            <a:avLst/>
          </a:prstGeom>
          <a:noFill/>
          <a:ln w="9525" algn="ctr">
            <a:noFill/>
            <a:miter lim="800000"/>
            <a:headEnd/>
            <a:tailEnd/>
          </a:ln>
          <a:effectLst/>
        </p:spPr>
        <p:txBody>
          <a:bodyPr wrap="square" lIns="0" tIns="0" rIns="0" bIns="0" anchor="b">
            <a:spAutoFit/>
          </a:bodyPr>
          <a:lstStyle/>
          <a:p>
            <a:pPr algn="l" defTabSz="610744" rtl="0" fontAlgn="auto">
              <a:spcBef>
                <a:spcPts val="0"/>
              </a:spcBef>
              <a:spcAft>
                <a:spcPts val="0"/>
              </a:spcAft>
              <a:defRPr/>
            </a:pPr>
            <a:fld id="{4ABDCABE-3F10-B64C-92F1-862014417034}" type="slidenum">
              <a:rPr lang="en-US" sz="900" b="0" smtClean="0">
                <a:solidFill>
                  <a:srgbClr val="929293"/>
                </a:solidFill>
                <a:latin typeface="+mn-lt"/>
                <a:ea typeface="+mn-ea"/>
                <a:cs typeface="Arial" panose="020B0604020202020204" pitchFamily="34" charset="0"/>
              </a:rPr>
              <a:pPr algn="l" defTabSz="610744" rtl="0" fontAlgn="auto">
                <a:spcBef>
                  <a:spcPts val="0"/>
                </a:spcBef>
                <a:spcAft>
                  <a:spcPts val="0"/>
                </a:spcAft>
                <a:defRPr/>
              </a:pPr>
              <a:t>‹#›</a:t>
            </a:fld>
            <a:endParaRPr lang="en-US" sz="900" b="0">
              <a:solidFill>
                <a:srgbClr val="929293"/>
              </a:solidFill>
              <a:latin typeface="+mn-lt"/>
              <a:ea typeface="+mn-ea"/>
              <a:cs typeface="Arial" panose="020B0604020202020204" pitchFamily="34" charset="0"/>
            </a:endParaRPr>
          </a:p>
        </p:txBody>
      </p:sp>
      <p:pic>
        <p:nvPicPr>
          <p:cNvPr id="7" name="Picture 6" descr="Vitafoods Asia | 17 - 19 Sept 2025 | Nutraceutical Trade Show">
            <a:extLst>
              <a:ext uri="{FF2B5EF4-FFF2-40B4-BE49-F238E27FC236}">
                <a16:creationId xmlns:a16="http://schemas.microsoft.com/office/drawing/2014/main" id="{CF68ACEE-4B6B-CA2B-7AE2-6D9C0D8329AE}"/>
              </a:ext>
            </a:extLst>
          </p:cNvPr>
          <p:cNvPicPr>
            <a:picLocks noChangeAspect="1" noChangeArrowheads="1"/>
          </p:cNvPicPr>
          <p:nvPr userDrawn="1"/>
        </p:nvPicPr>
        <p:blipFill rotWithShape="1">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l="10354" t="12333" r="10254" b="23240"/>
          <a:stretch/>
        </p:blipFill>
        <p:spPr bwMode="ltGray">
          <a:xfrm>
            <a:off x="10878885" y="6310312"/>
            <a:ext cx="758380" cy="3983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0617492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3457632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6" y="172212"/>
            <a:ext cx="5065776" cy="384721"/>
          </a:xfrm>
        </p:spPr>
        <p:txBody>
          <a:bodyPr vert="horz">
            <a:spAutoFit/>
          </a:bodyPr>
          <a:lstStyle>
            <a:lvl1pPr rtl="0">
              <a:defRPr>
                <a:solidFill>
                  <a:schemeClr val="bg1"/>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5" y="637721"/>
            <a:ext cx="5065776"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880237" y="650644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bg2"/>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sp>
        <p:nvSpPr>
          <p:cNvPr id="5" name="Slide Number">
            <a:extLst>
              <a:ext uri="{FF2B5EF4-FFF2-40B4-BE49-F238E27FC236}">
                <a16:creationId xmlns:a16="http://schemas.microsoft.com/office/drawing/2014/main" id="{ED4C2857-009F-66D4-094C-76E0D005279A}"/>
              </a:ext>
            </a:extLst>
          </p:cNvPr>
          <p:cNvSpPr>
            <a:spLocks noChangeArrowheads="1"/>
          </p:cNvSpPr>
          <p:nvPr userDrawn="1">
            <p:custDataLst>
              <p:tags r:id="rId8"/>
            </p:custDataLst>
          </p:nvPr>
        </p:nvSpPr>
        <p:spPr bwMode="black">
          <a:xfrm>
            <a:off x="554736" y="6498754"/>
            <a:ext cx="325501" cy="138499"/>
          </a:xfrm>
          <a:prstGeom prst="rect">
            <a:avLst/>
          </a:prstGeom>
          <a:noFill/>
          <a:ln w="9525" algn="ctr">
            <a:noFill/>
            <a:miter lim="800000"/>
            <a:headEnd/>
            <a:tailEnd/>
          </a:ln>
          <a:effectLst/>
        </p:spPr>
        <p:txBody>
          <a:bodyPr wrap="square" lIns="0" tIns="0" rIns="0" bIns="0" anchor="b">
            <a:spAutoFit/>
          </a:bodyPr>
          <a:lstStyle/>
          <a:p>
            <a:pPr algn="l" defTabSz="610744" rtl="0" fontAlgn="auto">
              <a:spcBef>
                <a:spcPts val="0"/>
              </a:spcBef>
              <a:spcAft>
                <a:spcPts val="0"/>
              </a:spcAft>
              <a:defRPr/>
            </a:pPr>
            <a:fld id="{4ABDCABE-3F10-B64C-92F1-862014417034}" type="slidenum">
              <a:rPr lang="en-US" sz="900" b="0" smtClean="0">
                <a:solidFill>
                  <a:srgbClr val="929293"/>
                </a:solidFill>
                <a:latin typeface="+mn-lt"/>
                <a:ea typeface="+mn-ea"/>
                <a:cs typeface="Arial" panose="020B0604020202020204" pitchFamily="34" charset="0"/>
              </a:rPr>
              <a:pPr algn="l" defTabSz="610744" rtl="0" fontAlgn="auto">
                <a:spcBef>
                  <a:spcPts val="0"/>
                </a:spcBef>
                <a:spcAft>
                  <a:spcPts val="0"/>
                </a:spcAft>
                <a:defRPr/>
              </a:pPr>
              <a:t>‹#›</a:t>
            </a:fld>
            <a:endParaRPr lang="en-US" sz="900" b="0">
              <a:solidFill>
                <a:srgbClr val="929293"/>
              </a:solidFill>
              <a:latin typeface="+mn-lt"/>
              <a:ea typeface="+mn-ea"/>
              <a:cs typeface="Arial" panose="020B0604020202020204" pitchFamily="34" charset="0"/>
            </a:endParaRPr>
          </a:p>
        </p:txBody>
      </p:sp>
      <p:pic>
        <p:nvPicPr>
          <p:cNvPr id="6" name="Picture 5" descr="Vitafoods Asia | 17 - 19 Sept 2025 | Nutraceutical Trade Show">
            <a:extLst>
              <a:ext uri="{FF2B5EF4-FFF2-40B4-BE49-F238E27FC236}">
                <a16:creationId xmlns:a16="http://schemas.microsoft.com/office/drawing/2014/main" id="{CBE90117-5C5D-BA56-9E5F-0121B0239D86}"/>
              </a:ext>
            </a:extLst>
          </p:cNvPr>
          <p:cNvPicPr>
            <a:picLocks noChangeAspect="1" noChangeArrowheads="1"/>
          </p:cNvPicPr>
          <p:nvPr userDrawn="1"/>
        </p:nvPicPr>
        <p:blipFill rotWithShape="1">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l="10354" t="12333" r="10254" b="23240"/>
          <a:stretch/>
        </p:blipFill>
        <p:spPr bwMode="ltGray">
          <a:xfrm>
            <a:off x="10878885" y="6310312"/>
            <a:ext cx="758380" cy="3983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551379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3284346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6" y="172212"/>
            <a:ext cx="6967728" cy="384721"/>
          </a:xfrm>
        </p:spPr>
        <p:txBody>
          <a:bodyPr vert="horz">
            <a:spAutoFit/>
          </a:bodyPr>
          <a:lstStyle>
            <a:lvl1pPr rtl="0">
              <a:defRPr>
                <a:solidFill>
                  <a:schemeClr val="bg1"/>
                </a:solidFill>
              </a:defRPr>
            </a:lvl1pPr>
          </a:lstStyle>
          <a:p>
            <a:r>
              <a:rPr lang="en-US"/>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5"/>
            </p:custDataLst>
          </p:nvPr>
        </p:nvSpPr>
        <p:spPr>
          <a:xfrm>
            <a:off x="554735" y="637721"/>
            <a:ext cx="6967728"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6"/>
            </p:custDataLst>
          </p:nvPr>
        </p:nvSpPr>
        <p:spPr>
          <a:xfrm>
            <a:off x="880237" y="6506448"/>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bg2"/>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sp>
        <p:nvSpPr>
          <p:cNvPr id="5" name="Slide Number">
            <a:extLst>
              <a:ext uri="{FF2B5EF4-FFF2-40B4-BE49-F238E27FC236}">
                <a16:creationId xmlns:a16="http://schemas.microsoft.com/office/drawing/2014/main" id="{34D7C2DD-4941-4A0B-CDB5-E46F8E3E0EBB}"/>
              </a:ext>
            </a:extLst>
          </p:cNvPr>
          <p:cNvSpPr>
            <a:spLocks noChangeArrowheads="1"/>
          </p:cNvSpPr>
          <p:nvPr userDrawn="1">
            <p:custDataLst>
              <p:tags r:id="rId8"/>
            </p:custDataLst>
          </p:nvPr>
        </p:nvSpPr>
        <p:spPr bwMode="black">
          <a:xfrm>
            <a:off x="554736" y="6498754"/>
            <a:ext cx="325501" cy="138499"/>
          </a:xfrm>
          <a:prstGeom prst="rect">
            <a:avLst/>
          </a:prstGeom>
          <a:noFill/>
          <a:ln w="9525" algn="ctr">
            <a:noFill/>
            <a:miter lim="800000"/>
            <a:headEnd/>
            <a:tailEnd/>
          </a:ln>
          <a:effectLst/>
        </p:spPr>
        <p:txBody>
          <a:bodyPr wrap="square" lIns="0" tIns="0" rIns="0" bIns="0" anchor="b">
            <a:spAutoFit/>
          </a:bodyPr>
          <a:lstStyle/>
          <a:p>
            <a:pPr algn="l" defTabSz="610744" rtl="0" fontAlgn="auto">
              <a:spcBef>
                <a:spcPts val="0"/>
              </a:spcBef>
              <a:spcAft>
                <a:spcPts val="0"/>
              </a:spcAft>
              <a:defRPr/>
            </a:pPr>
            <a:fld id="{4ABDCABE-3F10-B64C-92F1-862014417034}" type="slidenum">
              <a:rPr lang="en-US" sz="900" b="0" smtClean="0">
                <a:solidFill>
                  <a:srgbClr val="929293"/>
                </a:solidFill>
                <a:latin typeface="+mn-lt"/>
                <a:ea typeface="+mn-ea"/>
                <a:cs typeface="Arial" panose="020B0604020202020204" pitchFamily="34" charset="0"/>
              </a:rPr>
              <a:pPr algn="l" defTabSz="610744" rtl="0" fontAlgn="auto">
                <a:spcBef>
                  <a:spcPts val="0"/>
                </a:spcBef>
                <a:spcAft>
                  <a:spcPts val="0"/>
                </a:spcAft>
                <a:defRPr/>
              </a:pPr>
              <a:t>‹#›</a:t>
            </a:fld>
            <a:endParaRPr lang="en-US" sz="900" b="0">
              <a:solidFill>
                <a:srgbClr val="929293"/>
              </a:solidFill>
              <a:latin typeface="+mn-lt"/>
              <a:ea typeface="+mn-ea"/>
              <a:cs typeface="Arial" panose="020B0604020202020204" pitchFamily="34" charset="0"/>
            </a:endParaRPr>
          </a:p>
        </p:txBody>
      </p:sp>
      <p:pic>
        <p:nvPicPr>
          <p:cNvPr id="6" name="Picture 5" descr="Vitafoods Asia | 17 - 19 Sept 2025 | Nutraceutical Trade Show">
            <a:extLst>
              <a:ext uri="{FF2B5EF4-FFF2-40B4-BE49-F238E27FC236}">
                <a16:creationId xmlns:a16="http://schemas.microsoft.com/office/drawing/2014/main" id="{8C23AEA3-4EC1-E0E1-CBA9-D2F644808FE8}"/>
              </a:ext>
            </a:extLst>
          </p:cNvPr>
          <p:cNvPicPr>
            <a:picLocks noChangeAspect="1" noChangeArrowheads="1"/>
          </p:cNvPicPr>
          <p:nvPr userDrawn="1"/>
        </p:nvPicPr>
        <p:blipFill rotWithShape="1">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l="10354" t="12333" r="10254" b="23240"/>
          <a:stretch/>
        </p:blipFill>
        <p:spPr bwMode="ltGray">
          <a:xfrm>
            <a:off x="10878885" y="6310312"/>
            <a:ext cx="758380" cy="3983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2706215"/>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1476189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6" y="172212"/>
            <a:ext cx="7918704" cy="384721"/>
          </a:xfrm>
        </p:spPr>
        <p:txBody>
          <a:bodyPr vert="horz">
            <a:spAutoFit/>
          </a:bodyPr>
          <a:lstStyle>
            <a:lvl1pPr rtl="0">
              <a:defRPr>
                <a:solidFill>
                  <a:schemeClr val="bg1"/>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5" y="637721"/>
            <a:ext cx="7918704"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880237" y="650644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bg2"/>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sp>
        <p:nvSpPr>
          <p:cNvPr id="5" name="Slide Number">
            <a:extLst>
              <a:ext uri="{FF2B5EF4-FFF2-40B4-BE49-F238E27FC236}">
                <a16:creationId xmlns:a16="http://schemas.microsoft.com/office/drawing/2014/main" id="{F5112398-FDCD-5922-1527-A7DBFFC3D710}"/>
              </a:ext>
            </a:extLst>
          </p:cNvPr>
          <p:cNvSpPr>
            <a:spLocks noChangeArrowheads="1"/>
          </p:cNvSpPr>
          <p:nvPr userDrawn="1">
            <p:custDataLst>
              <p:tags r:id="rId8"/>
            </p:custDataLst>
          </p:nvPr>
        </p:nvSpPr>
        <p:spPr bwMode="black">
          <a:xfrm>
            <a:off x="554736" y="6498754"/>
            <a:ext cx="325501" cy="138499"/>
          </a:xfrm>
          <a:prstGeom prst="rect">
            <a:avLst/>
          </a:prstGeom>
          <a:noFill/>
          <a:ln w="9525" algn="ctr">
            <a:noFill/>
            <a:miter lim="800000"/>
            <a:headEnd/>
            <a:tailEnd/>
          </a:ln>
          <a:effectLst/>
        </p:spPr>
        <p:txBody>
          <a:bodyPr wrap="square" lIns="0" tIns="0" rIns="0" bIns="0" anchor="b">
            <a:spAutoFit/>
          </a:bodyPr>
          <a:lstStyle/>
          <a:p>
            <a:pPr algn="l" defTabSz="610744" rtl="0" fontAlgn="auto">
              <a:spcBef>
                <a:spcPts val="0"/>
              </a:spcBef>
              <a:spcAft>
                <a:spcPts val="0"/>
              </a:spcAft>
              <a:defRPr/>
            </a:pPr>
            <a:fld id="{4ABDCABE-3F10-B64C-92F1-862014417034}" type="slidenum">
              <a:rPr lang="en-US" sz="900" b="0" smtClean="0">
                <a:solidFill>
                  <a:srgbClr val="929293"/>
                </a:solidFill>
                <a:latin typeface="+mn-lt"/>
                <a:ea typeface="+mn-ea"/>
                <a:cs typeface="Arial" panose="020B0604020202020204" pitchFamily="34" charset="0"/>
              </a:rPr>
              <a:pPr algn="l" defTabSz="610744" rtl="0" fontAlgn="auto">
                <a:spcBef>
                  <a:spcPts val="0"/>
                </a:spcBef>
                <a:spcAft>
                  <a:spcPts val="0"/>
                </a:spcAft>
                <a:defRPr/>
              </a:pPr>
              <a:t>‹#›</a:t>
            </a:fld>
            <a:endParaRPr lang="en-US" sz="900" b="0">
              <a:solidFill>
                <a:srgbClr val="929293"/>
              </a:solidFill>
              <a:latin typeface="+mn-lt"/>
              <a:ea typeface="+mn-ea"/>
              <a:cs typeface="Arial" panose="020B0604020202020204" pitchFamily="34" charset="0"/>
            </a:endParaRPr>
          </a:p>
        </p:txBody>
      </p:sp>
      <p:pic>
        <p:nvPicPr>
          <p:cNvPr id="6" name="Picture 5" descr="Vitafoods Asia | 17 - 19 Sept 2025 | Nutraceutical Trade Show">
            <a:extLst>
              <a:ext uri="{FF2B5EF4-FFF2-40B4-BE49-F238E27FC236}">
                <a16:creationId xmlns:a16="http://schemas.microsoft.com/office/drawing/2014/main" id="{CA077457-4EBF-097D-425A-19A5FC5E57A3}"/>
              </a:ext>
            </a:extLst>
          </p:cNvPr>
          <p:cNvPicPr>
            <a:picLocks noChangeAspect="1" noChangeArrowheads="1"/>
          </p:cNvPicPr>
          <p:nvPr userDrawn="1"/>
        </p:nvPicPr>
        <p:blipFill rotWithShape="1">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l="10354" t="12333" r="10254" b="23240"/>
          <a:stretch/>
        </p:blipFill>
        <p:spPr bwMode="ltGray">
          <a:xfrm>
            <a:off x="10878885" y="6310312"/>
            <a:ext cx="758380" cy="3983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31767894"/>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1843215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6" y="172212"/>
            <a:ext cx="5065776" cy="384721"/>
          </a:xfrm>
        </p:spPr>
        <p:txBody>
          <a:bodyPr vert="horz">
            <a:spAutoFit/>
          </a:bodyPr>
          <a:lstStyle>
            <a:lvl1pPr rtl="0">
              <a:defRPr>
                <a:solidFill>
                  <a:schemeClr val="tx1"/>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5" y="637721"/>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880237" y="650644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tx1"/>
                </a:solidFill>
                <a:cs typeface="+mn-cs"/>
              </a:defRPr>
            </a:lvl1pPr>
          </a:lstStyle>
          <a:p>
            <a:pPr lvl="0">
              <a:buNone/>
            </a:pPr>
            <a:r>
              <a:rPr lang="en-US"/>
              <a:t>Add tracker</a:t>
            </a:r>
          </a:p>
        </p:txBody>
      </p:sp>
      <p:sp>
        <p:nvSpPr>
          <p:cNvPr id="4" name="Slide Number">
            <a:extLst>
              <a:ext uri="{FF2B5EF4-FFF2-40B4-BE49-F238E27FC236}">
                <a16:creationId xmlns:a16="http://schemas.microsoft.com/office/drawing/2014/main" id="{B6E5FFB9-4885-D886-5276-CA1AAACF5D8A}"/>
              </a:ext>
            </a:extLst>
          </p:cNvPr>
          <p:cNvSpPr>
            <a:spLocks noChangeArrowheads="1"/>
          </p:cNvSpPr>
          <p:nvPr userDrawn="1">
            <p:custDataLst>
              <p:tags r:id="rId8"/>
            </p:custDataLst>
          </p:nvPr>
        </p:nvSpPr>
        <p:spPr bwMode="black">
          <a:xfrm>
            <a:off x="554736" y="6498754"/>
            <a:ext cx="325501" cy="138499"/>
          </a:xfrm>
          <a:prstGeom prst="rect">
            <a:avLst/>
          </a:prstGeom>
          <a:noFill/>
          <a:ln w="9525" algn="ctr">
            <a:noFill/>
            <a:miter lim="800000"/>
            <a:headEnd/>
            <a:tailEnd/>
          </a:ln>
          <a:effectLst/>
        </p:spPr>
        <p:txBody>
          <a:bodyPr wrap="square" lIns="0" tIns="0" rIns="0" bIns="0" anchor="b">
            <a:spAutoFit/>
          </a:bodyPr>
          <a:lstStyle/>
          <a:p>
            <a:pPr algn="l"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pic>
        <p:nvPicPr>
          <p:cNvPr id="5" name="Picture 4" descr="Vitafoods Asia | 17 - 19 Sept 2025 | Nutraceutical Trade Show">
            <a:extLst>
              <a:ext uri="{FF2B5EF4-FFF2-40B4-BE49-F238E27FC236}">
                <a16:creationId xmlns:a16="http://schemas.microsoft.com/office/drawing/2014/main" id="{8C2B9B2F-EBFF-C872-6CE0-41E184DCF17A}"/>
              </a:ext>
            </a:extLst>
          </p:cNvPr>
          <p:cNvPicPr>
            <a:picLocks noChangeAspect="1" noChangeArrowheads="1"/>
          </p:cNvPicPr>
          <p:nvPr userDrawn="1"/>
        </p:nvPicPr>
        <p:blipFill rotWithShape="1">
          <a:blip r:embed="rId12" cstate="print">
            <a:extLst>
              <a:ext uri="{28A0092B-C50C-407E-A947-70E740481C1C}">
                <a14:useLocalDpi xmlns:a14="http://schemas.microsoft.com/office/drawing/2010/main" val="0"/>
              </a:ext>
            </a:extLst>
          </a:blip>
          <a:srcRect l="10354" t="12333" r="10254" b="23240"/>
          <a:stretch/>
        </p:blipFill>
        <p:spPr bwMode="ltGray">
          <a:xfrm>
            <a:off x="10878885" y="6310312"/>
            <a:ext cx="758380" cy="3983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707849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1683223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4"/>
            </p:custDataLst>
          </p:nvPr>
        </p:nvSpPr>
        <p:spPr>
          <a:xfrm>
            <a:off x="880237" y="6506448"/>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5"/>
            </p:custDataLst>
          </p:nvPr>
        </p:nvSpPr>
        <p:spPr>
          <a:xfrm>
            <a:off x="554735" y="41597"/>
            <a:ext cx="3465576"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A2A8C6A2-26B8-46D0-B6A4-4D8C91B2772E}"/>
              </a:ext>
            </a:extLst>
          </p:cNvPr>
          <p:cNvSpPr>
            <a:spLocks noGrp="1"/>
          </p:cNvSpPr>
          <p:nvPr>
            <p:ph type="title"/>
            <p:custDataLst>
              <p:tags r:id="rId6"/>
            </p:custDataLst>
          </p:nvPr>
        </p:nvSpPr>
        <p:spPr>
          <a:xfrm>
            <a:off x="554736" y="2744369"/>
            <a:ext cx="3465576" cy="769441"/>
          </a:xfrm>
          <a:prstGeom prst="rect">
            <a:avLst/>
          </a:prstGeom>
        </p:spPr>
        <p:txBody>
          <a:bodyPr vert="horz" wrap="square" anchor="b">
            <a:noAutofit/>
          </a:bodyPr>
          <a:lstStyle>
            <a:lvl1pPr algn="l" rtl="0">
              <a:defRPr>
                <a:solidFill>
                  <a:schemeClr val="tx1"/>
                </a:solidFill>
              </a:defRPr>
            </a:lvl1pPr>
          </a:lstStyle>
          <a:p>
            <a:r>
              <a:rPr lang="en-US"/>
              <a:t>Click to edit Master title style</a:t>
            </a:r>
          </a:p>
        </p:txBody>
      </p:sp>
      <p:sp>
        <p:nvSpPr>
          <p:cNvPr id="12" name="3. Subtitle">
            <a:extLst>
              <a:ext uri="{FF2B5EF4-FFF2-40B4-BE49-F238E27FC236}">
                <a16:creationId xmlns:a16="http://schemas.microsoft.com/office/drawing/2014/main" id="{63DE0353-99BC-4322-9D9F-E3C1556B87A4}"/>
              </a:ext>
            </a:extLst>
          </p:cNvPr>
          <p:cNvSpPr>
            <a:spLocks noGrp="1"/>
          </p:cNvSpPr>
          <p:nvPr>
            <p:ph type="subTitle" idx="1"/>
            <p:custDataLst>
              <p:tags r:id="rId7"/>
            </p:custDataLst>
          </p:nvPr>
        </p:nvSpPr>
        <p:spPr>
          <a:xfrm>
            <a:off x="554734" y="3659644"/>
            <a:ext cx="3465576"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 name="Slide Number">
            <a:extLst>
              <a:ext uri="{FF2B5EF4-FFF2-40B4-BE49-F238E27FC236}">
                <a16:creationId xmlns:a16="http://schemas.microsoft.com/office/drawing/2014/main" id="{89A42E0E-4814-3CC0-852A-B3770BF2011F}"/>
              </a:ext>
            </a:extLst>
          </p:cNvPr>
          <p:cNvSpPr>
            <a:spLocks noChangeArrowheads="1"/>
          </p:cNvSpPr>
          <p:nvPr userDrawn="1">
            <p:custDataLst>
              <p:tags r:id="rId8"/>
            </p:custDataLst>
          </p:nvPr>
        </p:nvSpPr>
        <p:spPr bwMode="black">
          <a:xfrm>
            <a:off x="554736" y="6498754"/>
            <a:ext cx="325501" cy="138499"/>
          </a:xfrm>
          <a:prstGeom prst="rect">
            <a:avLst/>
          </a:prstGeom>
          <a:noFill/>
          <a:ln w="9525" algn="ctr">
            <a:noFill/>
            <a:miter lim="800000"/>
            <a:headEnd/>
            <a:tailEnd/>
          </a:ln>
          <a:effectLst/>
        </p:spPr>
        <p:txBody>
          <a:bodyPr wrap="square" lIns="0" tIns="0" rIns="0" bIns="0" anchor="b">
            <a:spAutoFit/>
          </a:bodyPr>
          <a:lstStyle/>
          <a:p>
            <a:pPr algn="l"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pic>
        <p:nvPicPr>
          <p:cNvPr id="5" name="Picture 4" descr="Vitafoods Asia | 17 - 19 Sept 2025 | Nutraceutical Trade Show">
            <a:extLst>
              <a:ext uri="{FF2B5EF4-FFF2-40B4-BE49-F238E27FC236}">
                <a16:creationId xmlns:a16="http://schemas.microsoft.com/office/drawing/2014/main" id="{5F5FA5BF-95FC-8D8D-E1D2-A87060585EC8}"/>
              </a:ext>
            </a:extLst>
          </p:cNvPr>
          <p:cNvPicPr>
            <a:picLocks noChangeAspect="1" noChangeArrowheads="1"/>
          </p:cNvPicPr>
          <p:nvPr userDrawn="1"/>
        </p:nvPicPr>
        <p:blipFill rotWithShape="1">
          <a:blip r:embed="rId12" cstate="print">
            <a:extLst>
              <a:ext uri="{28A0092B-C50C-407E-A947-70E740481C1C}">
                <a14:useLocalDpi xmlns:a14="http://schemas.microsoft.com/office/drawing/2010/main" val="0"/>
              </a:ext>
            </a:extLst>
          </a:blip>
          <a:srcRect l="10354" t="12333" r="10254" b="23240"/>
          <a:stretch/>
        </p:blipFill>
        <p:spPr bwMode="ltGray">
          <a:xfrm>
            <a:off x="10878885" y="6310312"/>
            <a:ext cx="758380" cy="3983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70111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text and image widescreen ">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A3FA6939-066A-055F-D10A-B1204127D547}"/>
              </a:ext>
            </a:extLst>
          </p:cNvPr>
          <p:cNvSpPr>
            <a:spLocks noGrp="1"/>
          </p:cNvSpPr>
          <p:nvPr>
            <p:ph type="pic" sz="quarter" idx="20"/>
          </p:nvPr>
        </p:nvSpPr>
        <p:spPr>
          <a:xfrm>
            <a:off x="585206" y="557369"/>
            <a:ext cx="11021588" cy="3925012"/>
          </a:xfrm>
          <a:prstGeom prst="roundRect">
            <a:avLst>
              <a:gd name="adj" fmla="val 4041"/>
            </a:avLst>
          </a:prstGeom>
          <a:solidFill>
            <a:schemeClr val="tx1">
              <a:lumMod val="20000"/>
              <a:lumOff val="80000"/>
            </a:schemeClr>
          </a:solidFill>
        </p:spPr>
        <p:txBody>
          <a:bodyPr wrap="square" tIns="396000">
            <a:noAutofit/>
          </a:bodyPr>
          <a:lstStyle>
            <a:lvl1pPr marL="0" indent="0" algn="ctr">
              <a:buNone/>
              <a:defRPr/>
            </a:lvl1pPr>
          </a:lstStyle>
          <a:p>
            <a:r>
              <a:rPr lang="en-US"/>
              <a:t>Click icon to add picture</a:t>
            </a:r>
            <a:endParaRPr lang="en-GB"/>
          </a:p>
        </p:txBody>
      </p:sp>
      <p:sp>
        <p:nvSpPr>
          <p:cNvPr id="8" name="Milkwave">
            <a:extLst>
              <a:ext uri="{FF2B5EF4-FFF2-40B4-BE49-F238E27FC236}">
                <a16:creationId xmlns:a16="http://schemas.microsoft.com/office/drawing/2014/main" id="{E14F8055-96B8-4E6A-9377-41C022A5F457}"/>
              </a:ext>
            </a:extLst>
          </p:cNvPr>
          <p:cNvSpPr>
            <a:spLocks noGrp="1"/>
          </p:cNvSpPr>
          <p:nvPr>
            <p:ph type="body" sz="quarter" idx="14" hasCustomPrompt="1"/>
          </p:nvPr>
        </p:nvSpPr>
        <p:spPr>
          <a:xfrm>
            <a:off x="2020331" y="3069311"/>
            <a:ext cx="9044596" cy="2999173"/>
          </a:xfrm>
          <a:prstGeom prst="roundRect">
            <a:avLst>
              <a:gd name="adj" fmla="val 5289"/>
            </a:avLst>
          </a:prstGeom>
          <a:solidFill>
            <a:schemeClr val="accent1">
              <a:alpha val="70000"/>
            </a:schemeClr>
          </a:solidFill>
        </p:spPr>
        <p:txBody>
          <a:bodyPr wrap="square">
            <a:noAutofit/>
          </a:bodyPr>
          <a:lstStyle>
            <a:lvl1pPr marL="0" indent="0">
              <a:buNone/>
              <a:defRPr sz="133">
                <a:solidFill>
                  <a:schemeClr val="bg1"/>
                </a:solidFill>
              </a:defRPr>
            </a:lvl1pPr>
          </a:lstStyle>
          <a:p>
            <a:pPr lvl="0"/>
            <a:r>
              <a:rPr lang="en-GB"/>
              <a:t>.</a:t>
            </a:r>
          </a:p>
        </p:txBody>
      </p:sp>
      <p:sp>
        <p:nvSpPr>
          <p:cNvPr id="2" name="Title 1">
            <a:extLst>
              <a:ext uri="{FF2B5EF4-FFF2-40B4-BE49-F238E27FC236}">
                <a16:creationId xmlns:a16="http://schemas.microsoft.com/office/drawing/2014/main" id="{132FF2D7-2114-4325-91AC-85537DFE5DCA}"/>
              </a:ext>
            </a:extLst>
          </p:cNvPr>
          <p:cNvSpPr>
            <a:spLocks noGrp="1"/>
          </p:cNvSpPr>
          <p:nvPr>
            <p:ph type="title" hasCustomPrompt="1"/>
          </p:nvPr>
        </p:nvSpPr>
        <p:spPr>
          <a:xfrm>
            <a:off x="2020331" y="3069311"/>
            <a:ext cx="9044596" cy="2999173"/>
          </a:xfrm>
          <a:prstGeom prst="roundRect">
            <a:avLst>
              <a:gd name="adj" fmla="val 5289"/>
            </a:avLst>
          </a:prstGeom>
          <a:solidFill>
            <a:srgbClr val="74BDE9"/>
          </a:solidFill>
        </p:spPr>
        <p:txBody>
          <a:bodyPr wrap="none" lIns="216000" tIns="288000" rIns="216000"/>
          <a:lstStyle>
            <a:lvl1pPr>
              <a:defRPr>
                <a:solidFill>
                  <a:schemeClr val="bg1"/>
                </a:solidFill>
              </a:defRPr>
            </a:lvl1pPr>
          </a:lstStyle>
          <a:p>
            <a:r>
              <a:rPr lang="en-GB"/>
              <a:t>Click to add title (max. 1 line)</a:t>
            </a:r>
          </a:p>
        </p:txBody>
      </p:sp>
      <p:sp>
        <p:nvSpPr>
          <p:cNvPr id="9" name="Date Placeholder 8">
            <a:extLst>
              <a:ext uri="{FF2B5EF4-FFF2-40B4-BE49-F238E27FC236}">
                <a16:creationId xmlns:a16="http://schemas.microsoft.com/office/drawing/2014/main" id="{DC633999-0D2D-4805-A25C-58E62F837679}"/>
              </a:ext>
            </a:extLst>
          </p:cNvPr>
          <p:cNvSpPr>
            <a:spLocks noGrp="1"/>
          </p:cNvSpPr>
          <p:nvPr>
            <p:ph type="dt" sz="half" idx="15"/>
          </p:nvPr>
        </p:nvSpPr>
        <p:spPr/>
        <p:txBody>
          <a:bodyPr/>
          <a:lstStyle/>
          <a:p>
            <a:fld id="{5E59FE55-C83E-4C7C-BC1E-8676E447CE57}" type="datetime1">
              <a:rPr lang="en-GB" smtClean="0"/>
              <a:t>18/04/2025</a:t>
            </a:fld>
            <a:endParaRPr lang="en-GB"/>
          </a:p>
        </p:txBody>
      </p:sp>
      <p:sp>
        <p:nvSpPr>
          <p:cNvPr id="10" name="Footer Placeholder 9">
            <a:extLst>
              <a:ext uri="{FF2B5EF4-FFF2-40B4-BE49-F238E27FC236}">
                <a16:creationId xmlns:a16="http://schemas.microsoft.com/office/drawing/2014/main" id="{D449560D-79FE-45D7-B225-8727D895F7E8}"/>
              </a:ext>
            </a:extLst>
          </p:cNvPr>
          <p:cNvSpPr>
            <a:spLocks noGrp="1"/>
          </p:cNvSpPr>
          <p:nvPr>
            <p:ph type="ftr" sz="quarter" idx="16"/>
          </p:nvPr>
        </p:nvSpPr>
        <p:spPr/>
        <p:txBody>
          <a:bodyPr/>
          <a:lstStyle/>
          <a:p>
            <a:r>
              <a:rPr lang="en-GB"/>
              <a:t>Draft | Internal use only | Confidential</a:t>
            </a:r>
          </a:p>
        </p:txBody>
      </p:sp>
      <p:sp>
        <p:nvSpPr>
          <p:cNvPr id="11" name="Slide Number Placeholder 10">
            <a:extLst>
              <a:ext uri="{FF2B5EF4-FFF2-40B4-BE49-F238E27FC236}">
                <a16:creationId xmlns:a16="http://schemas.microsoft.com/office/drawing/2014/main" id="{97D3D688-1ABC-4F56-B112-D327CB7C11C2}"/>
              </a:ext>
            </a:extLst>
          </p:cNvPr>
          <p:cNvSpPr>
            <a:spLocks noGrp="1"/>
          </p:cNvSpPr>
          <p:nvPr>
            <p:ph type="sldNum" sz="quarter" idx="17"/>
          </p:nvPr>
        </p:nvSpPr>
        <p:spPr/>
        <p:txBody>
          <a:bodyPr/>
          <a:lstStyle/>
          <a:p>
            <a:fld id="{9BE0E23E-9022-4929-B297-EB2777CDBB1F}" type="slidenum">
              <a:rPr lang="en-GB" smtClean="0"/>
              <a:pPr/>
              <a:t>‹#›</a:t>
            </a:fld>
            <a:endParaRPr lang="en-GB"/>
          </a:p>
        </p:txBody>
      </p:sp>
      <p:sp>
        <p:nvSpPr>
          <p:cNvPr id="15" name="FClogo">
            <a:extLst>
              <a:ext uri="{FF2B5EF4-FFF2-40B4-BE49-F238E27FC236}">
                <a16:creationId xmlns:a16="http://schemas.microsoft.com/office/drawing/2014/main" id="{2F88B5D8-C550-40B5-B605-A822C5D64890}"/>
              </a:ext>
            </a:extLst>
          </p:cNvPr>
          <p:cNvSpPr>
            <a:spLocks noGrp="1"/>
          </p:cNvSpPr>
          <p:nvPr>
            <p:ph type="body" sz="quarter" idx="18" hasCustomPrompt="1"/>
          </p:nvPr>
        </p:nvSpPr>
        <p:spPr>
          <a:xfrm>
            <a:off x="12187200" y="6968213"/>
            <a:ext cx="4800" cy="4800"/>
          </a:xfrm>
          <a:noFill/>
        </p:spPr>
        <p:txBody>
          <a:bodyPr/>
          <a:lstStyle>
            <a:lvl1pPr marL="0" indent="0">
              <a:buNone/>
              <a:defRPr sz="133">
                <a:solidFill>
                  <a:schemeClr val="bg1"/>
                </a:solidFill>
              </a:defRPr>
            </a:lvl1pPr>
          </a:lstStyle>
          <a:p>
            <a:pPr lvl="0"/>
            <a:r>
              <a:rPr lang="en-GB"/>
              <a:t>.</a:t>
            </a:r>
          </a:p>
        </p:txBody>
      </p:sp>
      <p:sp>
        <p:nvSpPr>
          <p:cNvPr id="4" name="Text Placeholder 3">
            <a:extLst>
              <a:ext uri="{FF2B5EF4-FFF2-40B4-BE49-F238E27FC236}">
                <a16:creationId xmlns:a16="http://schemas.microsoft.com/office/drawing/2014/main" id="{52EF136C-394A-4F9E-806B-21DB8E39114F}"/>
              </a:ext>
            </a:extLst>
          </p:cNvPr>
          <p:cNvSpPr>
            <a:spLocks noGrp="1"/>
          </p:cNvSpPr>
          <p:nvPr>
            <p:ph type="body" sz="quarter" idx="19" hasCustomPrompt="1"/>
          </p:nvPr>
        </p:nvSpPr>
        <p:spPr>
          <a:xfrm>
            <a:off x="2365853" y="3997537"/>
            <a:ext cx="8353553" cy="1742017"/>
          </a:xfrm>
        </p:spPr>
        <p:txBody>
          <a:bodyPr/>
          <a:lstStyle>
            <a:lvl1pPr>
              <a:buClrTx/>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GB"/>
              <a:t>Click to add text</a:t>
            </a:r>
          </a:p>
          <a:p>
            <a:pPr lvl="1"/>
            <a:r>
              <a:rPr lang="en-GB"/>
              <a:t>Text level 2</a:t>
            </a:r>
          </a:p>
          <a:p>
            <a:pPr lvl="2"/>
            <a:r>
              <a:rPr lang="en-GB"/>
              <a:t>Text level 3</a:t>
            </a:r>
          </a:p>
          <a:p>
            <a:pPr lvl="3"/>
            <a:r>
              <a:rPr lang="en-GB"/>
              <a:t>Text level 4</a:t>
            </a:r>
          </a:p>
          <a:p>
            <a:pPr lvl="4"/>
            <a:r>
              <a:rPr lang="en-GB"/>
              <a:t>Text level 5</a:t>
            </a:r>
          </a:p>
        </p:txBody>
      </p:sp>
    </p:spTree>
    <p:extLst>
      <p:ext uri="{BB962C8B-B14F-4D97-AF65-F5344CB8AC3E}">
        <p14:creationId xmlns:p14="http://schemas.microsoft.com/office/powerpoint/2010/main" val="973304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4" pos="508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1064824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0"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4"/>
            </p:custDataLst>
          </p:nvPr>
        </p:nvSpPr>
        <p:spPr>
          <a:xfrm>
            <a:off x="880237" y="650644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5"/>
            </p:custDataLst>
          </p:nvPr>
        </p:nvSpPr>
        <p:spPr>
          <a:xfrm>
            <a:off x="554735" y="41597"/>
            <a:ext cx="2514600"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6"/>
            </p:custDataLst>
          </p:nvPr>
        </p:nvSpPr>
        <p:spPr>
          <a:xfrm>
            <a:off x="554736" y="2744369"/>
            <a:ext cx="2514600" cy="769441"/>
          </a:xfrm>
        </p:spPr>
        <p:txBody>
          <a:bodyPr vert="horz" anchor="b">
            <a:noAutofit/>
          </a:bodyPr>
          <a:lstStyle>
            <a:lvl1pPr rtl="0">
              <a:defRPr>
                <a:solidFill>
                  <a:schemeClr val="tx1"/>
                </a:solidFill>
              </a:defRPr>
            </a:lvl1pPr>
          </a:lstStyle>
          <a:p>
            <a:r>
              <a:rPr lang="en-US"/>
              <a:t>Click to edit Master tit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7"/>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 name="Slide Number">
            <a:extLst>
              <a:ext uri="{FF2B5EF4-FFF2-40B4-BE49-F238E27FC236}">
                <a16:creationId xmlns:a16="http://schemas.microsoft.com/office/drawing/2014/main" id="{8BE603B7-DE77-DE51-D9BA-5E5ED435F00C}"/>
              </a:ext>
            </a:extLst>
          </p:cNvPr>
          <p:cNvSpPr>
            <a:spLocks noChangeArrowheads="1"/>
          </p:cNvSpPr>
          <p:nvPr userDrawn="1">
            <p:custDataLst>
              <p:tags r:id="rId8"/>
            </p:custDataLst>
          </p:nvPr>
        </p:nvSpPr>
        <p:spPr bwMode="black">
          <a:xfrm>
            <a:off x="554736" y="6498754"/>
            <a:ext cx="325501" cy="138499"/>
          </a:xfrm>
          <a:prstGeom prst="rect">
            <a:avLst/>
          </a:prstGeom>
          <a:noFill/>
          <a:ln w="9525" algn="ctr">
            <a:noFill/>
            <a:miter lim="800000"/>
            <a:headEnd/>
            <a:tailEnd/>
          </a:ln>
          <a:effectLst/>
        </p:spPr>
        <p:txBody>
          <a:bodyPr wrap="square" lIns="0" tIns="0" rIns="0" bIns="0" anchor="b">
            <a:spAutoFit/>
          </a:bodyPr>
          <a:lstStyle/>
          <a:p>
            <a:pPr algn="l"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pic>
        <p:nvPicPr>
          <p:cNvPr id="5" name="Picture 4" descr="Vitafoods Asia | 17 - 19 Sept 2025 | Nutraceutical Trade Show">
            <a:extLst>
              <a:ext uri="{FF2B5EF4-FFF2-40B4-BE49-F238E27FC236}">
                <a16:creationId xmlns:a16="http://schemas.microsoft.com/office/drawing/2014/main" id="{1E7A8EB6-C55E-E880-B6A2-26A8D6CB356D}"/>
              </a:ext>
            </a:extLst>
          </p:cNvPr>
          <p:cNvPicPr>
            <a:picLocks noChangeAspect="1" noChangeArrowheads="1"/>
          </p:cNvPicPr>
          <p:nvPr userDrawn="1"/>
        </p:nvPicPr>
        <p:blipFill rotWithShape="1">
          <a:blip r:embed="rId12" cstate="print">
            <a:extLst>
              <a:ext uri="{28A0092B-C50C-407E-A947-70E740481C1C}">
                <a14:useLocalDpi xmlns:a14="http://schemas.microsoft.com/office/drawing/2010/main" val="0"/>
              </a:ext>
            </a:extLst>
          </a:blip>
          <a:srcRect l="10354" t="12333" r="10254" b="23240"/>
          <a:stretch/>
        </p:blipFill>
        <p:spPr bwMode="ltGray">
          <a:xfrm>
            <a:off x="10878885" y="6310312"/>
            <a:ext cx="758380" cy="3983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5897371"/>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extLst>
              <p:ext uri="{D42A27DB-BD31-4B8C-83A1-F6EECF244321}">
                <p14:modId xmlns:p14="http://schemas.microsoft.com/office/powerpoint/2010/main" val="2087530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8" name="Sticker" hidden="1">
            <a:extLst>
              <a:ext uri="{FF2B5EF4-FFF2-40B4-BE49-F238E27FC236}">
                <a16:creationId xmlns:a16="http://schemas.microsoft.com/office/drawing/2014/main" id="{02AE8CE4-BD27-40D4-AB6E-9F41E7636086}"/>
              </a:ext>
            </a:extLst>
          </p:cNvPr>
          <p:cNvSpPr txBox="1"/>
          <p:nvPr userDrawn="1"/>
        </p:nvSpPr>
        <p:spPr>
          <a:xfrm>
            <a:off x="558489" y="1401800"/>
            <a:ext cx="501740"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a:t>STICKER</a:t>
            </a: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hasCustomPrompt="1"/>
            <p:custDataLst>
              <p:tags r:id="rId3"/>
            </p:custDataLst>
          </p:nvPr>
        </p:nvSpPr>
        <p:spPr>
          <a:xfrm>
            <a:off x="554736" y="172212"/>
            <a:ext cx="11082528" cy="1154162"/>
          </a:xfrm>
        </p:spPr>
        <p:txBody>
          <a:bodyPr vert="horz">
            <a:spAutoFit/>
          </a:bodyPr>
          <a:lstStyle>
            <a:lvl1pPr rtl="0">
              <a:defRPr/>
            </a:lvl1pPr>
          </a:lstStyle>
          <a:p>
            <a:r>
              <a:rPr lang="en-US"/>
              <a:t>Click to edit Master title style</a:t>
            </a:r>
            <a:br>
              <a:rPr lang="en-US"/>
            </a:br>
            <a:br>
              <a:rPr lang="en-US"/>
            </a:br>
            <a:endParaRPr lang="en-US"/>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4"/>
            </p:custDataLst>
          </p:nvPr>
        </p:nvSpPr>
        <p:spPr>
          <a:xfrm>
            <a:off x="880237" y="650644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B5C5F547-1B1B-411D-99AF-7DE767A71F19}"/>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5" name="Slide Number">
            <a:extLst>
              <a:ext uri="{FF2B5EF4-FFF2-40B4-BE49-F238E27FC236}">
                <a16:creationId xmlns:a16="http://schemas.microsoft.com/office/drawing/2014/main" id="{BCBC18E8-FB0A-F3A4-332C-5B365854F415}"/>
              </a:ext>
            </a:extLst>
          </p:cNvPr>
          <p:cNvSpPr>
            <a:spLocks noChangeArrowheads="1"/>
          </p:cNvSpPr>
          <p:nvPr userDrawn="1">
            <p:custDataLst>
              <p:tags r:id="rId6"/>
            </p:custDataLst>
          </p:nvPr>
        </p:nvSpPr>
        <p:spPr bwMode="black">
          <a:xfrm>
            <a:off x="554736" y="6498754"/>
            <a:ext cx="325501" cy="138499"/>
          </a:xfrm>
          <a:prstGeom prst="rect">
            <a:avLst/>
          </a:prstGeom>
          <a:noFill/>
          <a:ln w="9525" algn="ctr">
            <a:noFill/>
            <a:miter lim="800000"/>
            <a:headEnd/>
            <a:tailEnd/>
          </a:ln>
          <a:effectLst/>
        </p:spPr>
        <p:txBody>
          <a:bodyPr wrap="square" lIns="0" tIns="0" rIns="0" bIns="0" anchor="b">
            <a:spAutoFit/>
          </a:bodyPr>
          <a:lstStyle/>
          <a:p>
            <a:pPr algn="l"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pic>
        <p:nvPicPr>
          <p:cNvPr id="6" name="Picture 5" descr="Vitafoods Asia | 17 - 19 Sept 2025 | Nutraceutical Trade Show">
            <a:extLst>
              <a:ext uri="{FF2B5EF4-FFF2-40B4-BE49-F238E27FC236}">
                <a16:creationId xmlns:a16="http://schemas.microsoft.com/office/drawing/2014/main" id="{9459D6B9-13E1-9240-DAE1-A1E3E7B9D337}"/>
              </a:ext>
            </a:extLst>
          </p:cNvPr>
          <p:cNvPicPr>
            <a:picLocks noChangeAspect="1" noChangeArrowheads="1"/>
          </p:cNvPicPr>
          <p:nvPr userDrawn="1"/>
        </p:nvPicPr>
        <p:blipFill rotWithShape="1">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l="10354" t="12333" r="10254" b="23240"/>
          <a:stretch/>
        </p:blipFill>
        <p:spPr bwMode="ltGray">
          <a:xfrm>
            <a:off x="10878885" y="6310312"/>
            <a:ext cx="758380" cy="3983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5201568"/>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1860085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5. Source" hidden="1">
            <a:extLst>
              <a:ext uri="{FF2B5EF4-FFF2-40B4-BE49-F238E27FC236}">
                <a16:creationId xmlns:a16="http://schemas.microsoft.com/office/drawing/2014/main" id="{48684DB6-320C-4E95-A29C-791B412C8164}"/>
              </a:ext>
            </a:extLst>
          </p:cNvPr>
          <p:cNvSpPr txBox="1"/>
          <p:nvPr userDrawn="1">
            <p:custDataLst>
              <p:tags r:id="rId2"/>
            </p:custDataLst>
          </p:nvPr>
        </p:nvSpPr>
        <p:spPr>
          <a:xfrm>
            <a:off x="880237" y="6506448"/>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7" name="1. On-page tracker">
            <a:extLst>
              <a:ext uri="{FF2B5EF4-FFF2-40B4-BE49-F238E27FC236}">
                <a16:creationId xmlns:a16="http://schemas.microsoft.com/office/drawing/2014/main" id="{E9E206AB-587F-4AC2-9EF7-AA339899F4BB}"/>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3" name="Slide Number">
            <a:extLst>
              <a:ext uri="{FF2B5EF4-FFF2-40B4-BE49-F238E27FC236}">
                <a16:creationId xmlns:a16="http://schemas.microsoft.com/office/drawing/2014/main" id="{75A7050A-C004-0BC6-D252-ED81EE61F22C}"/>
              </a:ext>
            </a:extLst>
          </p:cNvPr>
          <p:cNvSpPr>
            <a:spLocks noChangeArrowheads="1"/>
          </p:cNvSpPr>
          <p:nvPr userDrawn="1">
            <p:custDataLst>
              <p:tags r:id="rId4"/>
            </p:custDataLst>
          </p:nvPr>
        </p:nvSpPr>
        <p:spPr bwMode="black">
          <a:xfrm>
            <a:off x="554736" y="6498754"/>
            <a:ext cx="325501" cy="138499"/>
          </a:xfrm>
          <a:prstGeom prst="rect">
            <a:avLst/>
          </a:prstGeom>
          <a:noFill/>
          <a:ln w="9525" algn="ctr">
            <a:noFill/>
            <a:miter lim="800000"/>
            <a:headEnd/>
            <a:tailEnd/>
          </a:ln>
          <a:effectLst/>
        </p:spPr>
        <p:txBody>
          <a:bodyPr wrap="square" lIns="0" tIns="0" rIns="0" bIns="0" anchor="b">
            <a:spAutoFit/>
          </a:bodyPr>
          <a:lstStyle/>
          <a:p>
            <a:pPr algn="l"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pic>
        <p:nvPicPr>
          <p:cNvPr id="4" name="Picture 3" descr="Vitafoods Asia | 17 - 19 Sept 2025 | Nutraceutical Trade Show">
            <a:extLst>
              <a:ext uri="{FF2B5EF4-FFF2-40B4-BE49-F238E27FC236}">
                <a16:creationId xmlns:a16="http://schemas.microsoft.com/office/drawing/2014/main" id="{2AD20D1B-8071-0185-8FB6-94D23BE98FFC}"/>
              </a:ext>
            </a:extLst>
          </p:cNvPr>
          <p:cNvPicPr>
            <a:picLocks noChangeAspect="1" noChangeArrowheads="1"/>
          </p:cNvPicPr>
          <p:nvPr userDrawn="1"/>
        </p:nvPicPr>
        <p:blipFill rotWithShape="1">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l="10354" t="12333" r="10254" b="23240"/>
          <a:stretch/>
        </p:blipFill>
        <p:spPr bwMode="ltGray">
          <a:xfrm>
            <a:off x="10878885" y="6310312"/>
            <a:ext cx="758380" cy="3983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0003054"/>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extLst>
              <p:ext uri="{D42A27DB-BD31-4B8C-83A1-F6EECF244321}">
                <p14:modId xmlns:p14="http://schemas.microsoft.com/office/powerpoint/2010/main" val="778582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5. Source" hidden="1">
            <a:extLst>
              <a:ext uri="{FF2B5EF4-FFF2-40B4-BE49-F238E27FC236}">
                <a16:creationId xmlns:a16="http://schemas.microsoft.com/office/drawing/2014/main" id="{EED9D83D-9CC3-45F3-876D-CC42BC0B70E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3" name="Picture 4" descr="Vitafoods Asia | 17 - 19 Sept 2025 | Nutraceutical Trade Show">
            <a:extLst>
              <a:ext uri="{FF2B5EF4-FFF2-40B4-BE49-F238E27FC236}">
                <a16:creationId xmlns:a16="http://schemas.microsoft.com/office/drawing/2014/main" id="{DCB642E9-B1B5-04C1-B340-EB6DACF1E48D}"/>
              </a:ext>
            </a:extLst>
          </p:cNvPr>
          <p:cNvPicPr>
            <a:picLocks noChangeAspect="1" noChangeArrowheads="1"/>
          </p:cNvPicPr>
          <p:nvPr userDrawn="1"/>
        </p:nvPicPr>
        <p:blipFill rotWithShape="1">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l="10354" t="12333" r="10254" b="23240"/>
          <a:stretch/>
        </p:blipFill>
        <p:spPr bwMode="auto">
          <a:xfrm>
            <a:off x="4305300" y="2488344"/>
            <a:ext cx="3581400" cy="18813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211523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Title slide - Picture">
    <p:spTree>
      <p:nvGrpSpPr>
        <p:cNvPr id="1" name=""/>
        <p:cNvGrpSpPr/>
        <p:nvPr/>
      </p:nvGrpSpPr>
      <p:grpSpPr>
        <a:xfrm>
          <a:off x="0" y="0"/>
          <a:ext cx="0" cy="0"/>
          <a:chOff x="0" y="0"/>
          <a:chExt cx="0" cy="0"/>
        </a:xfrm>
      </p:grpSpPr>
      <p:sp>
        <p:nvSpPr>
          <p:cNvPr id="10" name="Tijdelijke aanduiding voor afbeelding 7">
            <a:extLst>
              <a:ext uri="{FF2B5EF4-FFF2-40B4-BE49-F238E27FC236}">
                <a16:creationId xmlns:a16="http://schemas.microsoft.com/office/drawing/2014/main" id="{4DAEAD04-C1FD-4924-B727-1FF08B2835E8}"/>
              </a:ext>
            </a:extLst>
          </p:cNvPr>
          <p:cNvSpPr>
            <a:spLocks noGrp="1"/>
          </p:cNvSpPr>
          <p:nvPr>
            <p:ph type="pic" sz="quarter" idx="13" hasCustomPrompt="1"/>
          </p:nvPr>
        </p:nvSpPr>
        <p:spPr>
          <a:xfrm>
            <a:off x="0" y="0"/>
            <a:ext cx="12192000" cy="6858000"/>
          </a:xfrm>
          <a:solidFill>
            <a:schemeClr val="tx1">
              <a:lumMod val="20000"/>
              <a:lumOff val="80000"/>
            </a:schemeClr>
          </a:solidFill>
        </p:spPr>
        <p:txBody>
          <a:bodyPr/>
          <a:lstStyle>
            <a:lvl1pPr marL="0" indent="0" algn="ctr">
              <a:buNone/>
              <a:defRPr>
                <a:solidFill>
                  <a:schemeClr val="accent1"/>
                </a:solidFill>
              </a:defRPr>
            </a:lvl1pPr>
          </a:lstStyle>
          <a:p>
            <a:r>
              <a:rPr lang="en-GB"/>
              <a:t>Image</a:t>
            </a:r>
          </a:p>
        </p:txBody>
      </p:sp>
      <p:sp>
        <p:nvSpPr>
          <p:cNvPr id="15" name="Tijdelijke aanduiding voor tekst 17">
            <a:extLst>
              <a:ext uri="{FF2B5EF4-FFF2-40B4-BE49-F238E27FC236}">
                <a16:creationId xmlns:a16="http://schemas.microsoft.com/office/drawing/2014/main" id="{30D87D28-D257-424B-AB30-F929E1A73AE4}"/>
              </a:ext>
            </a:extLst>
          </p:cNvPr>
          <p:cNvSpPr>
            <a:spLocks noGrp="1"/>
          </p:cNvSpPr>
          <p:nvPr>
            <p:ph type="body" sz="quarter" idx="18" hasCustomPrompt="1"/>
          </p:nvPr>
        </p:nvSpPr>
        <p:spPr>
          <a:xfrm>
            <a:off x="336554" y="1"/>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4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2"/>
            <a:ext cx="3168651"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Subtitle</a:t>
            </a:r>
          </a:p>
        </p:txBody>
      </p:sp>
      <p:sp>
        <p:nvSpPr>
          <p:cNvPr id="22" name="Tijdelijke aanduiding voor tekst 21">
            <a:extLst>
              <a:ext uri="{FF2B5EF4-FFF2-40B4-BE49-F238E27FC236}">
                <a16:creationId xmlns:a16="http://schemas.microsoft.com/office/drawing/2014/main" id="{FB8EC1E8-CA61-4781-B9FD-8B2A398367C1}"/>
              </a:ext>
            </a:extLst>
          </p:cNvPr>
          <p:cNvSpPr>
            <a:spLocks noGrp="1"/>
          </p:cNvSpPr>
          <p:nvPr>
            <p:ph type="body" sz="quarter" idx="19" hasCustomPrompt="1"/>
          </p:nvPr>
        </p:nvSpPr>
        <p:spPr>
          <a:xfrm>
            <a:off x="662400" y="374400"/>
            <a:ext cx="1737600" cy="1046400"/>
          </a:xfrm>
          <a:blipFill>
            <a:blip r:embed="rId2" cstate="print">
              <a:extLst>
                <a:ext uri="{28A0092B-C50C-407E-A947-70E740481C1C}">
                  <a14:useLocalDpi xmlns:a14="http://schemas.microsoft.com/office/drawing/2010/main" val="0"/>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en-GB"/>
              <a:t>.</a:t>
            </a:r>
          </a:p>
        </p:txBody>
      </p:sp>
      <p:grpSp>
        <p:nvGrpSpPr>
          <p:cNvPr id="11" name="Groep 10">
            <a:extLst>
              <a:ext uri="{FF2B5EF4-FFF2-40B4-BE49-F238E27FC236}">
                <a16:creationId xmlns:a16="http://schemas.microsoft.com/office/drawing/2014/main" id="{00535BFA-E28A-45B6-9D3C-16EA9D769715}"/>
              </a:ext>
            </a:extLst>
          </p:cNvPr>
          <p:cNvGrpSpPr/>
          <p:nvPr userDrawn="1"/>
        </p:nvGrpSpPr>
        <p:grpSpPr>
          <a:xfrm>
            <a:off x="12262862" y="575999"/>
            <a:ext cx="1130143" cy="757167"/>
            <a:chOff x="9197145" y="1199569"/>
            <a:chExt cx="847607" cy="567875"/>
          </a:xfrm>
        </p:grpSpPr>
        <p:sp>
          <p:nvSpPr>
            <p:cNvPr id="12" name="Freeform 20">
              <a:extLst>
                <a:ext uri="{FF2B5EF4-FFF2-40B4-BE49-F238E27FC236}">
                  <a16:creationId xmlns:a16="http://schemas.microsoft.com/office/drawing/2014/main" id="{873BFFE2-A199-4561-84F5-D9D0C64EAFC0}"/>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4" name="Tekstvak 13">
              <a:extLst>
                <a:ext uri="{FF2B5EF4-FFF2-40B4-BE49-F238E27FC236}">
                  <a16:creationId xmlns:a16="http://schemas.microsoft.com/office/drawing/2014/main" id="{B4D24D63-913D-4B46-A3FA-1CF82CD08E8D}"/>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58929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Title slide - Brand - 1">
    <p:spTree>
      <p:nvGrpSpPr>
        <p:cNvPr id="1" name=""/>
        <p:cNvGrpSpPr/>
        <p:nvPr/>
      </p:nvGrpSpPr>
      <p:grpSpPr>
        <a:xfrm>
          <a:off x="0" y="0"/>
          <a:ext cx="0" cy="0"/>
          <a:chOff x="0" y="0"/>
          <a:chExt cx="0" cy="0"/>
        </a:xfrm>
      </p:grpSpPr>
      <p:pic>
        <p:nvPicPr>
          <p:cNvPr id="10" name="Tijdelijke aanduiding voor afbeelding 6" descr="Afbeelding met muur, vloer, kamer&#10;&#10;Automatisch gegenereerde beschrijving">
            <a:extLst>
              <a:ext uri="{FF2B5EF4-FFF2-40B4-BE49-F238E27FC236}">
                <a16:creationId xmlns:a16="http://schemas.microsoft.com/office/drawing/2014/main" id="{6A3F958D-5DB0-4E7E-B918-F1C3F15729F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1" name="Tijdelijke aanduiding voor tekst 17">
            <a:extLst>
              <a:ext uri="{FF2B5EF4-FFF2-40B4-BE49-F238E27FC236}">
                <a16:creationId xmlns:a16="http://schemas.microsoft.com/office/drawing/2014/main" id="{7F567F10-7A93-46F7-90D8-D9902B50EADD}"/>
              </a:ext>
            </a:extLst>
          </p:cNvPr>
          <p:cNvSpPr>
            <a:spLocks noGrp="1"/>
          </p:cNvSpPr>
          <p:nvPr>
            <p:ph type="body" sz="quarter" idx="18" hasCustomPrompt="1"/>
          </p:nvPr>
        </p:nvSpPr>
        <p:spPr>
          <a:xfrm>
            <a:off x="336554" y="1"/>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2"/>
            <a:ext cx="3168651"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Subtitle</a:t>
            </a:r>
          </a:p>
        </p:txBody>
      </p:sp>
      <p:sp>
        <p:nvSpPr>
          <p:cNvPr id="22" name="Tijdelijke aanduiding voor tekst 21">
            <a:extLst>
              <a:ext uri="{FF2B5EF4-FFF2-40B4-BE49-F238E27FC236}">
                <a16:creationId xmlns:a16="http://schemas.microsoft.com/office/drawing/2014/main" id="{FB8EC1E8-CA61-4781-B9FD-8B2A398367C1}"/>
              </a:ext>
            </a:extLst>
          </p:cNvPr>
          <p:cNvSpPr>
            <a:spLocks noGrp="1"/>
          </p:cNvSpPr>
          <p:nvPr>
            <p:ph type="body" sz="quarter" idx="19" hasCustomPrompt="1"/>
          </p:nvPr>
        </p:nvSpPr>
        <p:spPr>
          <a:xfrm>
            <a:off x="662400" y="374400"/>
            <a:ext cx="1737600" cy="1046400"/>
          </a:xfrm>
          <a:blipFill>
            <a:blip r:embed="rId3" cstate="print">
              <a:extLst>
                <a:ext uri="{28A0092B-C50C-407E-A947-70E740481C1C}">
                  <a14:useLocalDpi xmlns:a14="http://schemas.microsoft.com/office/drawing/2010/main" val="0"/>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en-GB"/>
              <a:t>.</a:t>
            </a:r>
          </a:p>
        </p:txBody>
      </p:sp>
      <p:grpSp>
        <p:nvGrpSpPr>
          <p:cNvPr id="12" name="Groep 11">
            <a:extLst>
              <a:ext uri="{FF2B5EF4-FFF2-40B4-BE49-F238E27FC236}">
                <a16:creationId xmlns:a16="http://schemas.microsoft.com/office/drawing/2014/main" id="{2E99C67E-E082-4382-83CF-8A9DC5D68CE8}"/>
              </a:ext>
            </a:extLst>
          </p:cNvPr>
          <p:cNvGrpSpPr/>
          <p:nvPr userDrawn="1"/>
        </p:nvGrpSpPr>
        <p:grpSpPr>
          <a:xfrm>
            <a:off x="12262862" y="575999"/>
            <a:ext cx="1130143" cy="757167"/>
            <a:chOff x="9197145" y="1199569"/>
            <a:chExt cx="847607" cy="567875"/>
          </a:xfrm>
        </p:grpSpPr>
        <p:sp>
          <p:nvSpPr>
            <p:cNvPr id="14" name="Freeform 20">
              <a:extLst>
                <a:ext uri="{FF2B5EF4-FFF2-40B4-BE49-F238E27FC236}">
                  <a16:creationId xmlns:a16="http://schemas.microsoft.com/office/drawing/2014/main" id="{E78238A7-D9EF-4A46-8AB6-C32646D7F048}"/>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5" name="Tekstvak 14">
              <a:extLst>
                <a:ext uri="{FF2B5EF4-FFF2-40B4-BE49-F238E27FC236}">
                  <a16:creationId xmlns:a16="http://schemas.microsoft.com/office/drawing/2014/main" id="{968821E9-D123-4775-A120-259ED7D1EC50}"/>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1519477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Title slide - Brand - 2">
    <p:spTree>
      <p:nvGrpSpPr>
        <p:cNvPr id="1" name=""/>
        <p:cNvGrpSpPr/>
        <p:nvPr/>
      </p:nvGrpSpPr>
      <p:grpSpPr>
        <a:xfrm>
          <a:off x="0" y="0"/>
          <a:ext cx="0" cy="0"/>
          <a:chOff x="0" y="0"/>
          <a:chExt cx="0" cy="0"/>
        </a:xfrm>
      </p:grpSpPr>
      <p:pic>
        <p:nvPicPr>
          <p:cNvPr id="11" name="Tijdelijke aanduiding voor afbeelding 6" descr="Afbeelding met man, muur, buiten, lucht&#10;&#10;Automatisch gegenereerde beschrijving">
            <a:extLst>
              <a:ext uri="{FF2B5EF4-FFF2-40B4-BE49-F238E27FC236}">
                <a16:creationId xmlns:a16="http://schemas.microsoft.com/office/drawing/2014/main" id="{EC68116D-9A6B-4DCE-8FF8-C73772025D5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0" y="0"/>
            <a:ext cx="12192000" cy="6858000"/>
          </a:xfrm>
          <a:prstGeom prst="rect">
            <a:avLst/>
          </a:prstGeom>
        </p:spPr>
      </p:pic>
      <p:sp>
        <p:nvSpPr>
          <p:cNvPr id="10" name="Tijdelijke aanduiding voor tekst 17">
            <a:extLst>
              <a:ext uri="{FF2B5EF4-FFF2-40B4-BE49-F238E27FC236}">
                <a16:creationId xmlns:a16="http://schemas.microsoft.com/office/drawing/2014/main" id="{7E7E7EE5-C2DE-4A64-8808-F02FC5AA5DD5}"/>
              </a:ext>
            </a:extLst>
          </p:cNvPr>
          <p:cNvSpPr>
            <a:spLocks noGrp="1"/>
          </p:cNvSpPr>
          <p:nvPr>
            <p:ph type="body" sz="quarter" idx="18" hasCustomPrompt="1"/>
          </p:nvPr>
        </p:nvSpPr>
        <p:spPr>
          <a:xfrm>
            <a:off x="336554" y="1"/>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2"/>
            <a:ext cx="3168651"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Subtitle</a:t>
            </a:r>
          </a:p>
        </p:txBody>
      </p:sp>
      <p:sp>
        <p:nvSpPr>
          <p:cNvPr id="22" name="Tijdelijke aanduiding voor tekst 21">
            <a:extLst>
              <a:ext uri="{FF2B5EF4-FFF2-40B4-BE49-F238E27FC236}">
                <a16:creationId xmlns:a16="http://schemas.microsoft.com/office/drawing/2014/main" id="{FB8EC1E8-CA61-4781-B9FD-8B2A398367C1}"/>
              </a:ext>
            </a:extLst>
          </p:cNvPr>
          <p:cNvSpPr>
            <a:spLocks noGrp="1"/>
          </p:cNvSpPr>
          <p:nvPr>
            <p:ph type="body" sz="quarter" idx="19" hasCustomPrompt="1"/>
          </p:nvPr>
        </p:nvSpPr>
        <p:spPr>
          <a:xfrm>
            <a:off x="662400" y="374400"/>
            <a:ext cx="1737600" cy="1046400"/>
          </a:xfrm>
          <a:blipFill>
            <a:blip r:embed="rId3" cstate="print">
              <a:extLst>
                <a:ext uri="{28A0092B-C50C-407E-A947-70E740481C1C}">
                  <a14:useLocalDpi xmlns:a14="http://schemas.microsoft.com/office/drawing/2010/main" val="0"/>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en-GB"/>
              <a:t>.</a:t>
            </a:r>
          </a:p>
        </p:txBody>
      </p:sp>
      <p:grpSp>
        <p:nvGrpSpPr>
          <p:cNvPr id="12" name="Groep 11">
            <a:extLst>
              <a:ext uri="{FF2B5EF4-FFF2-40B4-BE49-F238E27FC236}">
                <a16:creationId xmlns:a16="http://schemas.microsoft.com/office/drawing/2014/main" id="{F34E7E5D-83FD-4F48-B0DA-AC19BC7FD52A}"/>
              </a:ext>
            </a:extLst>
          </p:cNvPr>
          <p:cNvGrpSpPr/>
          <p:nvPr userDrawn="1"/>
        </p:nvGrpSpPr>
        <p:grpSpPr>
          <a:xfrm>
            <a:off x="12262862" y="575999"/>
            <a:ext cx="1130143" cy="757167"/>
            <a:chOff x="9197145" y="1199569"/>
            <a:chExt cx="847607" cy="567875"/>
          </a:xfrm>
        </p:grpSpPr>
        <p:sp>
          <p:nvSpPr>
            <p:cNvPr id="14" name="Freeform 20">
              <a:extLst>
                <a:ext uri="{FF2B5EF4-FFF2-40B4-BE49-F238E27FC236}">
                  <a16:creationId xmlns:a16="http://schemas.microsoft.com/office/drawing/2014/main" id="{2E059584-51EF-4EC6-ADE2-F521AF1DC19A}"/>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5" name="Tekstvak 14">
              <a:extLst>
                <a:ext uri="{FF2B5EF4-FFF2-40B4-BE49-F238E27FC236}">
                  <a16:creationId xmlns:a16="http://schemas.microsoft.com/office/drawing/2014/main" id="{87C655A2-E2F5-40DF-B17C-94A26B4C3721}"/>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 </a:t>
              </a:r>
            </a:p>
          </p:txBody>
        </p:sp>
      </p:grpSp>
    </p:spTree>
    <p:extLst>
      <p:ext uri="{BB962C8B-B14F-4D97-AF65-F5344CB8AC3E}">
        <p14:creationId xmlns:p14="http://schemas.microsoft.com/office/powerpoint/2010/main" val="95444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Title slide - Brand - 3">
    <p:spTree>
      <p:nvGrpSpPr>
        <p:cNvPr id="1" name=""/>
        <p:cNvGrpSpPr/>
        <p:nvPr/>
      </p:nvGrpSpPr>
      <p:grpSpPr>
        <a:xfrm>
          <a:off x="0" y="0"/>
          <a:ext cx="0" cy="0"/>
          <a:chOff x="0" y="0"/>
          <a:chExt cx="0" cy="0"/>
        </a:xfrm>
      </p:grpSpPr>
      <p:pic>
        <p:nvPicPr>
          <p:cNvPr id="10" name="Tijdelijke aanduiding voor afbeelding 4">
            <a:extLst>
              <a:ext uri="{FF2B5EF4-FFF2-40B4-BE49-F238E27FC236}">
                <a16:creationId xmlns:a16="http://schemas.microsoft.com/office/drawing/2014/main" id="{AA1D9A3A-374F-43FA-8CC7-CCA513065EF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18" name="Tijdelijke aanduiding voor tekst 17">
            <a:extLst>
              <a:ext uri="{FF2B5EF4-FFF2-40B4-BE49-F238E27FC236}">
                <a16:creationId xmlns:a16="http://schemas.microsoft.com/office/drawing/2014/main" id="{134848E4-6B17-49A0-B7F6-34867199C050}"/>
              </a:ext>
            </a:extLst>
          </p:cNvPr>
          <p:cNvSpPr>
            <a:spLocks noGrp="1"/>
          </p:cNvSpPr>
          <p:nvPr>
            <p:ph type="body" sz="quarter" idx="18" hasCustomPrompt="1"/>
          </p:nvPr>
        </p:nvSpPr>
        <p:spPr>
          <a:xfrm>
            <a:off x="336554" y="1"/>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3" name="Subtitle 2"/>
          <p:cNvSpPr>
            <a:spLocks noGrp="1"/>
          </p:cNvSpPr>
          <p:nvPr>
            <p:ph type="subTitle" idx="1" hasCustomPrompt="1"/>
          </p:nvPr>
        </p:nvSpPr>
        <p:spPr>
          <a:xfrm>
            <a:off x="1007533" y="3885842"/>
            <a:ext cx="3168651"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Subtitle</a:t>
            </a:r>
          </a:p>
        </p:txBody>
      </p:sp>
      <p:sp>
        <p:nvSpPr>
          <p:cNvPr id="22" name="Tijdelijke aanduiding voor tekst 21">
            <a:extLst>
              <a:ext uri="{FF2B5EF4-FFF2-40B4-BE49-F238E27FC236}">
                <a16:creationId xmlns:a16="http://schemas.microsoft.com/office/drawing/2014/main" id="{FB8EC1E8-CA61-4781-B9FD-8B2A398367C1}"/>
              </a:ext>
            </a:extLst>
          </p:cNvPr>
          <p:cNvSpPr>
            <a:spLocks noGrp="1"/>
          </p:cNvSpPr>
          <p:nvPr>
            <p:ph type="body" sz="quarter" idx="19" hasCustomPrompt="1"/>
          </p:nvPr>
        </p:nvSpPr>
        <p:spPr>
          <a:xfrm>
            <a:off x="662400" y="374400"/>
            <a:ext cx="1737600" cy="1046400"/>
          </a:xfrm>
          <a:blipFill>
            <a:blip r:embed="rId3" cstate="print">
              <a:extLst>
                <a:ext uri="{28A0092B-C50C-407E-A947-70E740481C1C}">
                  <a14:useLocalDpi xmlns:a14="http://schemas.microsoft.com/office/drawing/2010/main" val="0"/>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en-GB"/>
              <a:t>.</a:t>
            </a:r>
          </a:p>
        </p:txBody>
      </p:sp>
      <p:grpSp>
        <p:nvGrpSpPr>
          <p:cNvPr id="12" name="Groep 11">
            <a:extLst>
              <a:ext uri="{FF2B5EF4-FFF2-40B4-BE49-F238E27FC236}">
                <a16:creationId xmlns:a16="http://schemas.microsoft.com/office/drawing/2014/main" id="{F34E7E5D-83FD-4F48-B0DA-AC19BC7FD52A}"/>
              </a:ext>
            </a:extLst>
          </p:cNvPr>
          <p:cNvGrpSpPr/>
          <p:nvPr userDrawn="1"/>
        </p:nvGrpSpPr>
        <p:grpSpPr>
          <a:xfrm>
            <a:off x="12262862" y="575999"/>
            <a:ext cx="1130143" cy="757167"/>
            <a:chOff x="9197145" y="1199569"/>
            <a:chExt cx="847607" cy="567875"/>
          </a:xfrm>
        </p:grpSpPr>
        <p:sp>
          <p:nvSpPr>
            <p:cNvPr id="14" name="Freeform 20">
              <a:extLst>
                <a:ext uri="{FF2B5EF4-FFF2-40B4-BE49-F238E27FC236}">
                  <a16:creationId xmlns:a16="http://schemas.microsoft.com/office/drawing/2014/main" id="{2E059584-51EF-4EC6-ADE2-F521AF1DC19A}"/>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5" name="Tekstvak 14">
              <a:extLst>
                <a:ext uri="{FF2B5EF4-FFF2-40B4-BE49-F238E27FC236}">
                  <a16:creationId xmlns:a16="http://schemas.microsoft.com/office/drawing/2014/main" id="{87C655A2-E2F5-40DF-B17C-94A26B4C3721}"/>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3142607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Title slide - Brand - 4">
    <p:spTree>
      <p:nvGrpSpPr>
        <p:cNvPr id="1" name=""/>
        <p:cNvGrpSpPr/>
        <p:nvPr/>
      </p:nvGrpSpPr>
      <p:grpSpPr>
        <a:xfrm>
          <a:off x="0" y="0"/>
          <a:ext cx="0" cy="0"/>
          <a:chOff x="0" y="0"/>
          <a:chExt cx="0" cy="0"/>
        </a:xfrm>
      </p:grpSpPr>
      <p:pic>
        <p:nvPicPr>
          <p:cNvPr id="10" name="Tijdelijke aanduiding voor afbeelding 6" descr="Afbeelding met muur, man, binnen, vloer&#10;&#10;Automatisch gegenereerde beschrijving">
            <a:extLst>
              <a:ext uri="{FF2B5EF4-FFF2-40B4-BE49-F238E27FC236}">
                <a16:creationId xmlns:a16="http://schemas.microsoft.com/office/drawing/2014/main" id="{34A0D159-6198-489D-B700-FD07D424C90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1" name="Tijdelijke aanduiding voor tekst 17">
            <a:extLst>
              <a:ext uri="{FF2B5EF4-FFF2-40B4-BE49-F238E27FC236}">
                <a16:creationId xmlns:a16="http://schemas.microsoft.com/office/drawing/2014/main" id="{2E806245-70A0-4A2A-ACD4-FAB62C0564D6}"/>
              </a:ext>
            </a:extLst>
          </p:cNvPr>
          <p:cNvSpPr>
            <a:spLocks noGrp="1"/>
          </p:cNvSpPr>
          <p:nvPr>
            <p:ph type="body" sz="quarter" idx="18" hasCustomPrompt="1"/>
          </p:nvPr>
        </p:nvSpPr>
        <p:spPr>
          <a:xfrm>
            <a:off x="336554" y="1"/>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2"/>
            <a:ext cx="3168651"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Subtitle</a:t>
            </a:r>
          </a:p>
        </p:txBody>
      </p:sp>
      <p:sp>
        <p:nvSpPr>
          <p:cNvPr id="22" name="Tijdelijke aanduiding voor tekst 21">
            <a:extLst>
              <a:ext uri="{FF2B5EF4-FFF2-40B4-BE49-F238E27FC236}">
                <a16:creationId xmlns:a16="http://schemas.microsoft.com/office/drawing/2014/main" id="{FB8EC1E8-CA61-4781-B9FD-8B2A398367C1}"/>
              </a:ext>
            </a:extLst>
          </p:cNvPr>
          <p:cNvSpPr>
            <a:spLocks noGrp="1"/>
          </p:cNvSpPr>
          <p:nvPr>
            <p:ph type="body" sz="quarter" idx="19" hasCustomPrompt="1"/>
          </p:nvPr>
        </p:nvSpPr>
        <p:spPr>
          <a:xfrm>
            <a:off x="662400" y="374400"/>
            <a:ext cx="1737600" cy="1046400"/>
          </a:xfrm>
          <a:blipFill>
            <a:blip r:embed="rId3" cstate="print">
              <a:extLst>
                <a:ext uri="{28A0092B-C50C-407E-A947-70E740481C1C}">
                  <a14:useLocalDpi xmlns:a14="http://schemas.microsoft.com/office/drawing/2010/main" val="0"/>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en-GB"/>
              <a:t>.</a:t>
            </a:r>
          </a:p>
        </p:txBody>
      </p:sp>
      <p:grpSp>
        <p:nvGrpSpPr>
          <p:cNvPr id="12" name="Groep 11">
            <a:extLst>
              <a:ext uri="{FF2B5EF4-FFF2-40B4-BE49-F238E27FC236}">
                <a16:creationId xmlns:a16="http://schemas.microsoft.com/office/drawing/2014/main" id="{2ADDB6F1-9239-410D-9E94-70C869EBB25E}"/>
              </a:ext>
            </a:extLst>
          </p:cNvPr>
          <p:cNvGrpSpPr/>
          <p:nvPr userDrawn="1"/>
        </p:nvGrpSpPr>
        <p:grpSpPr>
          <a:xfrm>
            <a:off x="12262862" y="575999"/>
            <a:ext cx="1130143" cy="757167"/>
            <a:chOff x="9197145" y="1199569"/>
            <a:chExt cx="847607" cy="567875"/>
          </a:xfrm>
        </p:grpSpPr>
        <p:sp>
          <p:nvSpPr>
            <p:cNvPr id="14" name="Freeform 20">
              <a:extLst>
                <a:ext uri="{FF2B5EF4-FFF2-40B4-BE49-F238E27FC236}">
                  <a16:creationId xmlns:a16="http://schemas.microsoft.com/office/drawing/2014/main" id="{C2A087DB-B328-455C-8DD9-BAC7DD1D56C2}"/>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5" name="Tekstvak 14">
              <a:extLst>
                <a:ext uri="{FF2B5EF4-FFF2-40B4-BE49-F238E27FC236}">
                  <a16:creationId xmlns:a16="http://schemas.microsoft.com/office/drawing/2014/main" id="{87E12922-FC28-4314-8FE5-B2227B8EF627}"/>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3783253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Title slide - Brand - 5">
    <p:spTree>
      <p:nvGrpSpPr>
        <p:cNvPr id="1" name=""/>
        <p:cNvGrpSpPr/>
        <p:nvPr/>
      </p:nvGrpSpPr>
      <p:grpSpPr>
        <a:xfrm>
          <a:off x="0" y="0"/>
          <a:ext cx="0" cy="0"/>
          <a:chOff x="0" y="0"/>
          <a:chExt cx="0" cy="0"/>
        </a:xfrm>
      </p:grpSpPr>
      <p:pic>
        <p:nvPicPr>
          <p:cNvPr id="11" name="Picture Placeholder 2" descr="A person sitting on the floor&#10;&#10;Description automatically generated with low confidence">
            <a:extLst>
              <a:ext uri="{FF2B5EF4-FFF2-40B4-BE49-F238E27FC236}">
                <a16:creationId xmlns:a16="http://schemas.microsoft.com/office/drawing/2014/main" id="{FC24F780-DD22-4876-842E-973833B0081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0" name="Tijdelijke aanduiding voor tekst 17">
            <a:extLst>
              <a:ext uri="{FF2B5EF4-FFF2-40B4-BE49-F238E27FC236}">
                <a16:creationId xmlns:a16="http://schemas.microsoft.com/office/drawing/2014/main" id="{F13B337B-9858-4763-ADED-229100D444B4}"/>
              </a:ext>
            </a:extLst>
          </p:cNvPr>
          <p:cNvSpPr>
            <a:spLocks noGrp="1"/>
          </p:cNvSpPr>
          <p:nvPr>
            <p:ph type="body" sz="quarter" idx="18" hasCustomPrompt="1"/>
          </p:nvPr>
        </p:nvSpPr>
        <p:spPr>
          <a:xfrm>
            <a:off x="336554" y="1"/>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2"/>
            <a:ext cx="3168651"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Subtitle</a:t>
            </a:r>
          </a:p>
        </p:txBody>
      </p:sp>
      <p:sp>
        <p:nvSpPr>
          <p:cNvPr id="22" name="Tijdelijke aanduiding voor tekst 21">
            <a:extLst>
              <a:ext uri="{FF2B5EF4-FFF2-40B4-BE49-F238E27FC236}">
                <a16:creationId xmlns:a16="http://schemas.microsoft.com/office/drawing/2014/main" id="{FB8EC1E8-CA61-4781-B9FD-8B2A398367C1}"/>
              </a:ext>
            </a:extLst>
          </p:cNvPr>
          <p:cNvSpPr>
            <a:spLocks noGrp="1"/>
          </p:cNvSpPr>
          <p:nvPr>
            <p:ph type="body" sz="quarter" idx="19" hasCustomPrompt="1"/>
          </p:nvPr>
        </p:nvSpPr>
        <p:spPr>
          <a:xfrm>
            <a:off x="662400" y="374400"/>
            <a:ext cx="1737600" cy="1046400"/>
          </a:xfrm>
          <a:blipFill>
            <a:blip r:embed="rId3" cstate="print">
              <a:extLst>
                <a:ext uri="{28A0092B-C50C-407E-A947-70E740481C1C}">
                  <a14:useLocalDpi xmlns:a14="http://schemas.microsoft.com/office/drawing/2010/main" val="0"/>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en-GB"/>
              <a:t>.</a:t>
            </a:r>
          </a:p>
        </p:txBody>
      </p:sp>
      <p:grpSp>
        <p:nvGrpSpPr>
          <p:cNvPr id="12" name="Groep 11">
            <a:extLst>
              <a:ext uri="{FF2B5EF4-FFF2-40B4-BE49-F238E27FC236}">
                <a16:creationId xmlns:a16="http://schemas.microsoft.com/office/drawing/2014/main" id="{2ADDB6F1-9239-410D-9E94-70C869EBB25E}"/>
              </a:ext>
            </a:extLst>
          </p:cNvPr>
          <p:cNvGrpSpPr/>
          <p:nvPr userDrawn="1"/>
        </p:nvGrpSpPr>
        <p:grpSpPr>
          <a:xfrm>
            <a:off x="12262862" y="575999"/>
            <a:ext cx="1130143" cy="757167"/>
            <a:chOff x="9197145" y="1199569"/>
            <a:chExt cx="847607" cy="567875"/>
          </a:xfrm>
        </p:grpSpPr>
        <p:sp>
          <p:nvSpPr>
            <p:cNvPr id="14" name="Freeform 20">
              <a:extLst>
                <a:ext uri="{FF2B5EF4-FFF2-40B4-BE49-F238E27FC236}">
                  <a16:creationId xmlns:a16="http://schemas.microsoft.com/office/drawing/2014/main" id="{C2A087DB-B328-455C-8DD9-BAC7DD1D56C2}"/>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5" name="Tekstvak 14">
              <a:extLst>
                <a:ext uri="{FF2B5EF4-FFF2-40B4-BE49-F238E27FC236}">
                  <a16:creationId xmlns:a16="http://schemas.microsoft.com/office/drawing/2014/main" id="{87E12922-FC28-4314-8FE5-B2227B8EF627}"/>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1656028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wave, image widescreen -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58EB6CBC-0323-4C01-1DAC-7CDECB6ADE2E}"/>
              </a:ext>
            </a:extLst>
          </p:cNvPr>
          <p:cNvSpPr>
            <a:spLocks noGrp="1"/>
          </p:cNvSpPr>
          <p:nvPr>
            <p:ph type="pic" sz="quarter" idx="19"/>
          </p:nvPr>
        </p:nvSpPr>
        <p:spPr>
          <a:xfrm>
            <a:off x="0" y="0"/>
            <a:ext cx="12192000" cy="6858000"/>
          </a:xfrm>
          <a:prstGeom prst="rect">
            <a:avLst/>
          </a:prstGeom>
          <a:solidFill>
            <a:schemeClr val="tx1">
              <a:lumMod val="20000"/>
              <a:lumOff val="80000"/>
            </a:schemeClr>
          </a:solidFill>
        </p:spPr>
        <p:txBody>
          <a:bodyPr wrap="square" tIns="396000" rIns="0">
            <a:noAutofit/>
          </a:bodyPr>
          <a:lstStyle>
            <a:lvl1pPr marL="0" indent="0" algn="ctr">
              <a:buNone/>
              <a:defRPr/>
            </a:lvl1pPr>
          </a:lstStyle>
          <a:p>
            <a:r>
              <a:rPr lang="en-US"/>
              <a:t>Click icon to add picture</a:t>
            </a:r>
            <a:endParaRPr lang="en-GB"/>
          </a:p>
        </p:txBody>
      </p:sp>
      <p:sp>
        <p:nvSpPr>
          <p:cNvPr id="8" name="Milkwave">
            <a:extLst>
              <a:ext uri="{FF2B5EF4-FFF2-40B4-BE49-F238E27FC236}">
                <a16:creationId xmlns:a16="http://schemas.microsoft.com/office/drawing/2014/main" id="{E14F8055-96B8-4E6A-9377-41C022A5F457}"/>
              </a:ext>
            </a:extLst>
          </p:cNvPr>
          <p:cNvSpPr>
            <a:spLocks noGrp="1"/>
          </p:cNvSpPr>
          <p:nvPr>
            <p:ph type="body" sz="quarter" idx="14" hasCustomPrompt="1"/>
          </p:nvPr>
        </p:nvSpPr>
        <p:spPr>
          <a:xfrm flipV="1">
            <a:off x="0" y="4491665"/>
            <a:ext cx="12167936" cy="2364383"/>
          </a:xfrm>
          <a:custGeom>
            <a:avLst/>
            <a:gdLst>
              <a:gd name="connsiteX0" fmla="*/ 0 w 3991782"/>
              <a:gd name="connsiteY0" fmla="*/ 0 h 2824976"/>
              <a:gd name="connsiteX1" fmla="*/ 3991782 w 3991782"/>
              <a:gd name="connsiteY1" fmla="*/ 0 h 2824976"/>
              <a:gd name="connsiteX2" fmla="*/ 3991782 w 3991782"/>
              <a:gd name="connsiteY2" fmla="*/ 2824976 h 2824976"/>
              <a:gd name="connsiteX3" fmla="*/ 0 w 3991782"/>
              <a:gd name="connsiteY3" fmla="*/ 2824976 h 2824976"/>
            </a:gdLst>
            <a:ahLst/>
            <a:cxnLst>
              <a:cxn ang="0">
                <a:pos x="connsiteX0" y="connsiteY0"/>
              </a:cxn>
              <a:cxn ang="0">
                <a:pos x="connsiteX1" y="connsiteY1"/>
              </a:cxn>
              <a:cxn ang="0">
                <a:pos x="connsiteX2" y="connsiteY2"/>
              </a:cxn>
              <a:cxn ang="0">
                <a:pos x="connsiteX3" y="connsiteY3"/>
              </a:cxn>
            </a:cxnLst>
            <a:rect l="l" t="t" r="r" b="b"/>
            <a:pathLst>
              <a:path w="3991782" h="2824976">
                <a:moveTo>
                  <a:pt x="0" y="0"/>
                </a:moveTo>
                <a:lnTo>
                  <a:pt x="3991782" y="0"/>
                </a:lnTo>
                <a:lnTo>
                  <a:pt x="3991782" y="2824976"/>
                </a:lnTo>
                <a:lnTo>
                  <a:pt x="0" y="2824976"/>
                </a:lnTo>
                <a:close/>
              </a:path>
            </a:pathLst>
          </a:custGeom>
          <a:blipFill dpi="0" rotWithShape="1">
            <a:blip r:embed="rId2">
              <a:extLst>
                <a:ext uri="{28A0092B-C50C-407E-A947-70E740481C1C}">
                  <a14:useLocalDpi xmlns:a14="http://schemas.microsoft.com/office/drawing/2010/main" val="0"/>
                </a:ext>
              </a:extLst>
            </a:blip>
            <a:srcRect/>
            <a:stretch>
              <a:fillRect l="-198" t="-1100"/>
            </a:stretch>
          </a:blipFill>
        </p:spPr>
        <p:txBody>
          <a:bodyPr wrap="square">
            <a:noAutofit/>
          </a:bodyPr>
          <a:lstStyle>
            <a:lvl1pPr marL="0" indent="0">
              <a:buNone/>
              <a:defRPr sz="133">
                <a:solidFill>
                  <a:schemeClr val="bg1"/>
                </a:solidFill>
              </a:defRPr>
            </a:lvl1pPr>
          </a:lstStyle>
          <a:p>
            <a:pPr lvl="0"/>
            <a:r>
              <a:rPr lang="en-GB"/>
              <a:t>.</a:t>
            </a:r>
          </a:p>
        </p:txBody>
      </p:sp>
      <p:sp>
        <p:nvSpPr>
          <p:cNvPr id="2" name="Title 1">
            <a:extLst>
              <a:ext uri="{FF2B5EF4-FFF2-40B4-BE49-F238E27FC236}">
                <a16:creationId xmlns:a16="http://schemas.microsoft.com/office/drawing/2014/main" id="{132FF2D7-2114-4325-91AC-85537DFE5DCA}"/>
              </a:ext>
            </a:extLst>
          </p:cNvPr>
          <p:cNvSpPr>
            <a:spLocks noGrp="1"/>
          </p:cNvSpPr>
          <p:nvPr>
            <p:ph type="title" hasCustomPrompt="1"/>
          </p:nvPr>
        </p:nvSpPr>
        <p:spPr>
          <a:xfrm>
            <a:off x="580293" y="5296136"/>
            <a:ext cx="6463975" cy="979297"/>
          </a:xfrm>
        </p:spPr>
        <p:txBody>
          <a:bodyPr/>
          <a:lstStyle/>
          <a:p>
            <a:r>
              <a:rPr lang="en-GB"/>
              <a:t>Click to add title</a:t>
            </a:r>
          </a:p>
        </p:txBody>
      </p:sp>
      <p:sp>
        <p:nvSpPr>
          <p:cNvPr id="9" name="Date Placeholder 8">
            <a:extLst>
              <a:ext uri="{FF2B5EF4-FFF2-40B4-BE49-F238E27FC236}">
                <a16:creationId xmlns:a16="http://schemas.microsoft.com/office/drawing/2014/main" id="{DC633999-0D2D-4805-A25C-58E62F837679}"/>
              </a:ext>
            </a:extLst>
          </p:cNvPr>
          <p:cNvSpPr>
            <a:spLocks noGrp="1"/>
          </p:cNvSpPr>
          <p:nvPr>
            <p:ph type="dt" sz="half" idx="15"/>
          </p:nvPr>
        </p:nvSpPr>
        <p:spPr/>
        <p:txBody>
          <a:bodyPr/>
          <a:lstStyle/>
          <a:p>
            <a:fld id="{C372D187-16D5-484A-AEA4-23D4CD9DC564}" type="datetime1">
              <a:rPr lang="en-GB" smtClean="0"/>
              <a:t>18/04/2025</a:t>
            </a:fld>
            <a:endParaRPr lang="en-GB"/>
          </a:p>
        </p:txBody>
      </p:sp>
      <p:sp>
        <p:nvSpPr>
          <p:cNvPr id="10" name="Footer Placeholder 9">
            <a:extLst>
              <a:ext uri="{FF2B5EF4-FFF2-40B4-BE49-F238E27FC236}">
                <a16:creationId xmlns:a16="http://schemas.microsoft.com/office/drawing/2014/main" id="{D449560D-79FE-45D7-B225-8727D895F7E8}"/>
              </a:ext>
            </a:extLst>
          </p:cNvPr>
          <p:cNvSpPr>
            <a:spLocks noGrp="1"/>
          </p:cNvSpPr>
          <p:nvPr>
            <p:ph type="ftr" sz="quarter" idx="16"/>
          </p:nvPr>
        </p:nvSpPr>
        <p:spPr/>
        <p:txBody>
          <a:bodyPr/>
          <a:lstStyle/>
          <a:p>
            <a:r>
              <a:rPr lang="en-GB"/>
              <a:t>Draft | Internal use only | Confidential</a:t>
            </a:r>
          </a:p>
        </p:txBody>
      </p:sp>
      <p:sp>
        <p:nvSpPr>
          <p:cNvPr id="11" name="Slide Number Placeholder 10">
            <a:extLst>
              <a:ext uri="{FF2B5EF4-FFF2-40B4-BE49-F238E27FC236}">
                <a16:creationId xmlns:a16="http://schemas.microsoft.com/office/drawing/2014/main" id="{97D3D688-1ABC-4F56-B112-D327CB7C11C2}"/>
              </a:ext>
            </a:extLst>
          </p:cNvPr>
          <p:cNvSpPr>
            <a:spLocks noGrp="1"/>
          </p:cNvSpPr>
          <p:nvPr>
            <p:ph type="sldNum" sz="quarter" idx="17"/>
          </p:nvPr>
        </p:nvSpPr>
        <p:spPr/>
        <p:txBody>
          <a:bodyPr/>
          <a:lstStyle/>
          <a:p>
            <a:fld id="{9BE0E23E-9022-4929-B297-EB2777CDBB1F}" type="slidenum">
              <a:rPr lang="en-GB" smtClean="0"/>
              <a:pPr/>
              <a:t>‹#›</a:t>
            </a:fld>
            <a:endParaRPr lang="en-GB"/>
          </a:p>
        </p:txBody>
      </p:sp>
      <p:sp>
        <p:nvSpPr>
          <p:cNvPr id="15" name="FClogo">
            <a:extLst>
              <a:ext uri="{FF2B5EF4-FFF2-40B4-BE49-F238E27FC236}">
                <a16:creationId xmlns:a16="http://schemas.microsoft.com/office/drawing/2014/main" id="{2F88B5D8-C550-40B5-B605-A822C5D64890}"/>
              </a:ext>
            </a:extLst>
          </p:cNvPr>
          <p:cNvSpPr>
            <a:spLocks noGrp="1"/>
          </p:cNvSpPr>
          <p:nvPr>
            <p:ph type="body" sz="quarter" idx="18" hasCustomPrompt="1"/>
          </p:nvPr>
        </p:nvSpPr>
        <p:spPr>
          <a:xfrm>
            <a:off x="12187200" y="6979859"/>
            <a:ext cx="4800" cy="4800"/>
          </a:xfrm>
          <a:noFill/>
        </p:spPr>
        <p:txBody>
          <a:bodyPr/>
          <a:lstStyle>
            <a:lvl1pPr marL="0" indent="0">
              <a:buNone/>
              <a:defRPr sz="133">
                <a:solidFill>
                  <a:schemeClr val="bg1"/>
                </a:solidFill>
              </a:defRPr>
            </a:lvl1pPr>
          </a:lstStyle>
          <a:p>
            <a:pPr lvl="0"/>
            <a:r>
              <a:rPr lang="en-GB"/>
              <a:t>.</a:t>
            </a:r>
          </a:p>
        </p:txBody>
      </p:sp>
    </p:spTree>
    <p:extLst>
      <p:ext uri="{BB962C8B-B14F-4D97-AF65-F5344CB8AC3E}">
        <p14:creationId xmlns:p14="http://schemas.microsoft.com/office/powerpoint/2010/main" val="252762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Title slide - Brand - 6">
    <p:spTree>
      <p:nvGrpSpPr>
        <p:cNvPr id="1" name=""/>
        <p:cNvGrpSpPr/>
        <p:nvPr/>
      </p:nvGrpSpPr>
      <p:grpSpPr>
        <a:xfrm>
          <a:off x="0" y="0"/>
          <a:ext cx="0" cy="0"/>
          <a:chOff x="0" y="0"/>
          <a:chExt cx="0" cy="0"/>
        </a:xfrm>
      </p:grpSpPr>
      <p:pic>
        <p:nvPicPr>
          <p:cNvPr id="10" name="Picture Placeholder 2" descr="A person holding an orange umbrella&#10;&#10;Description automatically generated">
            <a:extLst>
              <a:ext uri="{FF2B5EF4-FFF2-40B4-BE49-F238E27FC236}">
                <a16:creationId xmlns:a16="http://schemas.microsoft.com/office/drawing/2014/main" id="{6A2470EC-D18A-4C2F-878A-75FBF0C6CD7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0"/>
            <a:ext cx="12192000" cy="6858000"/>
          </a:xfrm>
          <a:prstGeom prst="rect">
            <a:avLst/>
          </a:prstGeom>
        </p:spPr>
      </p:pic>
      <p:sp>
        <p:nvSpPr>
          <p:cNvPr id="11" name="Tijdelijke aanduiding voor tekst 17">
            <a:extLst>
              <a:ext uri="{FF2B5EF4-FFF2-40B4-BE49-F238E27FC236}">
                <a16:creationId xmlns:a16="http://schemas.microsoft.com/office/drawing/2014/main" id="{809CD212-EF63-4674-8354-FD63FB011413}"/>
              </a:ext>
            </a:extLst>
          </p:cNvPr>
          <p:cNvSpPr>
            <a:spLocks noGrp="1"/>
          </p:cNvSpPr>
          <p:nvPr>
            <p:ph type="body" sz="quarter" idx="18" hasCustomPrompt="1"/>
          </p:nvPr>
        </p:nvSpPr>
        <p:spPr>
          <a:xfrm>
            <a:off x="336554" y="1"/>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2"/>
            <a:ext cx="3168651"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Subtitle</a:t>
            </a:r>
          </a:p>
        </p:txBody>
      </p:sp>
      <p:sp>
        <p:nvSpPr>
          <p:cNvPr id="22" name="Tijdelijke aanduiding voor tekst 21">
            <a:extLst>
              <a:ext uri="{FF2B5EF4-FFF2-40B4-BE49-F238E27FC236}">
                <a16:creationId xmlns:a16="http://schemas.microsoft.com/office/drawing/2014/main" id="{FB8EC1E8-CA61-4781-B9FD-8B2A398367C1}"/>
              </a:ext>
            </a:extLst>
          </p:cNvPr>
          <p:cNvSpPr>
            <a:spLocks noGrp="1"/>
          </p:cNvSpPr>
          <p:nvPr>
            <p:ph type="body" sz="quarter" idx="19" hasCustomPrompt="1"/>
          </p:nvPr>
        </p:nvSpPr>
        <p:spPr>
          <a:xfrm>
            <a:off x="662400" y="374400"/>
            <a:ext cx="1737600" cy="1046400"/>
          </a:xfrm>
          <a:blipFill>
            <a:blip r:embed="rId3" cstate="print">
              <a:extLst>
                <a:ext uri="{28A0092B-C50C-407E-A947-70E740481C1C}">
                  <a14:useLocalDpi xmlns:a14="http://schemas.microsoft.com/office/drawing/2010/main" val="0"/>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en-GB"/>
              <a:t>.</a:t>
            </a:r>
          </a:p>
        </p:txBody>
      </p:sp>
      <p:grpSp>
        <p:nvGrpSpPr>
          <p:cNvPr id="12" name="Groep 11">
            <a:extLst>
              <a:ext uri="{FF2B5EF4-FFF2-40B4-BE49-F238E27FC236}">
                <a16:creationId xmlns:a16="http://schemas.microsoft.com/office/drawing/2014/main" id="{2ADDB6F1-9239-410D-9E94-70C869EBB25E}"/>
              </a:ext>
            </a:extLst>
          </p:cNvPr>
          <p:cNvGrpSpPr/>
          <p:nvPr userDrawn="1"/>
        </p:nvGrpSpPr>
        <p:grpSpPr>
          <a:xfrm>
            <a:off x="12262862" y="575999"/>
            <a:ext cx="1130143" cy="757167"/>
            <a:chOff x="9197145" y="1199569"/>
            <a:chExt cx="847607" cy="567875"/>
          </a:xfrm>
        </p:grpSpPr>
        <p:sp>
          <p:nvSpPr>
            <p:cNvPr id="14" name="Freeform 20">
              <a:extLst>
                <a:ext uri="{FF2B5EF4-FFF2-40B4-BE49-F238E27FC236}">
                  <a16:creationId xmlns:a16="http://schemas.microsoft.com/office/drawing/2014/main" id="{C2A087DB-B328-455C-8DD9-BAC7DD1D56C2}"/>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5" name="Tekstvak 14">
              <a:extLst>
                <a:ext uri="{FF2B5EF4-FFF2-40B4-BE49-F238E27FC236}">
                  <a16:creationId xmlns:a16="http://schemas.microsoft.com/office/drawing/2014/main" id="{87E12922-FC28-4314-8FE5-B2227B8EF627}"/>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4250564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Title slide - Brand - 7">
    <p:spTree>
      <p:nvGrpSpPr>
        <p:cNvPr id="1" name=""/>
        <p:cNvGrpSpPr/>
        <p:nvPr/>
      </p:nvGrpSpPr>
      <p:grpSpPr>
        <a:xfrm>
          <a:off x="0" y="0"/>
          <a:ext cx="0" cy="0"/>
          <a:chOff x="0" y="0"/>
          <a:chExt cx="0" cy="0"/>
        </a:xfrm>
      </p:grpSpPr>
      <p:pic>
        <p:nvPicPr>
          <p:cNvPr id="9" name="Picture Placeholder 2" descr="A picture containing text&#10;&#10;Description automatically generated">
            <a:extLst>
              <a:ext uri="{FF2B5EF4-FFF2-40B4-BE49-F238E27FC236}">
                <a16:creationId xmlns:a16="http://schemas.microsoft.com/office/drawing/2014/main" id="{34E7E205-0AB1-426E-ACF0-760956D381F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0" name="Tijdelijke aanduiding voor tekst 17">
            <a:extLst>
              <a:ext uri="{FF2B5EF4-FFF2-40B4-BE49-F238E27FC236}">
                <a16:creationId xmlns:a16="http://schemas.microsoft.com/office/drawing/2014/main" id="{236EE252-1DDE-4046-BB3A-EB8A80D030F9}"/>
              </a:ext>
            </a:extLst>
          </p:cNvPr>
          <p:cNvSpPr>
            <a:spLocks noGrp="1"/>
          </p:cNvSpPr>
          <p:nvPr>
            <p:ph type="body" sz="quarter" idx="18" hasCustomPrompt="1"/>
          </p:nvPr>
        </p:nvSpPr>
        <p:spPr>
          <a:xfrm>
            <a:off x="336554" y="1"/>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2"/>
            <a:ext cx="3168651"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Subtitle</a:t>
            </a:r>
          </a:p>
        </p:txBody>
      </p:sp>
      <p:sp>
        <p:nvSpPr>
          <p:cNvPr id="22" name="Tijdelijke aanduiding voor tekst 21">
            <a:extLst>
              <a:ext uri="{FF2B5EF4-FFF2-40B4-BE49-F238E27FC236}">
                <a16:creationId xmlns:a16="http://schemas.microsoft.com/office/drawing/2014/main" id="{FB8EC1E8-CA61-4781-B9FD-8B2A398367C1}"/>
              </a:ext>
            </a:extLst>
          </p:cNvPr>
          <p:cNvSpPr>
            <a:spLocks noGrp="1"/>
          </p:cNvSpPr>
          <p:nvPr>
            <p:ph type="body" sz="quarter" idx="19" hasCustomPrompt="1"/>
          </p:nvPr>
        </p:nvSpPr>
        <p:spPr>
          <a:xfrm>
            <a:off x="662400" y="374400"/>
            <a:ext cx="1737600" cy="1046400"/>
          </a:xfrm>
          <a:blipFill>
            <a:blip r:embed="rId3" cstate="print">
              <a:extLst>
                <a:ext uri="{28A0092B-C50C-407E-A947-70E740481C1C}">
                  <a14:useLocalDpi xmlns:a14="http://schemas.microsoft.com/office/drawing/2010/main" val="0"/>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en-GB"/>
              <a:t>.</a:t>
            </a:r>
          </a:p>
        </p:txBody>
      </p:sp>
      <p:grpSp>
        <p:nvGrpSpPr>
          <p:cNvPr id="12" name="Groep 11">
            <a:extLst>
              <a:ext uri="{FF2B5EF4-FFF2-40B4-BE49-F238E27FC236}">
                <a16:creationId xmlns:a16="http://schemas.microsoft.com/office/drawing/2014/main" id="{2ADDB6F1-9239-410D-9E94-70C869EBB25E}"/>
              </a:ext>
            </a:extLst>
          </p:cNvPr>
          <p:cNvGrpSpPr/>
          <p:nvPr userDrawn="1"/>
        </p:nvGrpSpPr>
        <p:grpSpPr>
          <a:xfrm>
            <a:off x="12262862" y="575999"/>
            <a:ext cx="1130143" cy="757167"/>
            <a:chOff x="9197145" y="1199569"/>
            <a:chExt cx="847607" cy="567875"/>
          </a:xfrm>
        </p:grpSpPr>
        <p:sp>
          <p:nvSpPr>
            <p:cNvPr id="14" name="Freeform 20">
              <a:extLst>
                <a:ext uri="{FF2B5EF4-FFF2-40B4-BE49-F238E27FC236}">
                  <a16:creationId xmlns:a16="http://schemas.microsoft.com/office/drawing/2014/main" id="{C2A087DB-B328-455C-8DD9-BAC7DD1D56C2}"/>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5" name="Tekstvak 14">
              <a:extLst>
                <a:ext uri="{FF2B5EF4-FFF2-40B4-BE49-F238E27FC236}">
                  <a16:creationId xmlns:a16="http://schemas.microsoft.com/office/drawing/2014/main" id="{87E12922-FC28-4314-8FE5-B2227B8EF627}"/>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643478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Title slide - EarlyLife - 1 ">
    <p:spTree>
      <p:nvGrpSpPr>
        <p:cNvPr id="1" name=""/>
        <p:cNvGrpSpPr/>
        <p:nvPr/>
      </p:nvGrpSpPr>
      <p:grpSpPr>
        <a:xfrm>
          <a:off x="0" y="0"/>
          <a:ext cx="0" cy="0"/>
          <a:chOff x="0" y="0"/>
          <a:chExt cx="0" cy="0"/>
        </a:xfrm>
      </p:grpSpPr>
      <p:pic>
        <p:nvPicPr>
          <p:cNvPr id="19" name="Picture Placeholder 6">
            <a:extLst>
              <a:ext uri="{FF2B5EF4-FFF2-40B4-BE49-F238E27FC236}">
                <a16:creationId xmlns:a16="http://schemas.microsoft.com/office/drawing/2014/main" id="{3224570E-3DE3-4AFB-9C8D-655FD2EAE4F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4" name="Tijdelijke aanduiding voor tekst 17">
            <a:extLst>
              <a:ext uri="{FF2B5EF4-FFF2-40B4-BE49-F238E27FC236}">
                <a16:creationId xmlns:a16="http://schemas.microsoft.com/office/drawing/2014/main" id="{401C9FF4-207E-4DD6-9F3A-FEE678AE61AE}"/>
              </a:ext>
            </a:extLst>
          </p:cNvPr>
          <p:cNvSpPr>
            <a:spLocks noGrp="1"/>
          </p:cNvSpPr>
          <p:nvPr>
            <p:ph type="body" sz="quarter" idx="18" hasCustomPrompt="1"/>
          </p:nvPr>
        </p:nvSpPr>
        <p:spPr>
          <a:xfrm>
            <a:off x="336554" y="1"/>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2"/>
            <a:ext cx="3168651"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Subtitle</a:t>
            </a:r>
          </a:p>
        </p:txBody>
      </p:sp>
      <p:sp>
        <p:nvSpPr>
          <p:cNvPr id="11" name="Tijdelijke aanduiding voor tekst 21">
            <a:extLst>
              <a:ext uri="{FF2B5EF4-FFF2-40B4-BE49-F238E27FC236}">
                <a16:creationId xmlns:a16="http://schemas.microsoft.com/office/drawing/2014/main" id="{864B06FA-CA70-4595-8439-FEB797046608}"/>
              </a:ext>
            </a:extLst>
          </p:cNvPr>
          <p:cNvSpPr>
            <a:spLocks noGrp="1"/>
          </p:cNvSpPr>
          <p:nvPr>
            <p:ph type="body" sz="quarter" idx="19" hasCustomPrompt="1"/>
          </p:nvPr>
        </p:nvSpPr>
        <p:spPr>
          <a:xfrm>
            <a:off x="662400" y="374400"/>
            <a:ext cx="1737600" cy="1046400"/>
          </a:xfrm>
          <a:blipFill>
            <a:blip r:embed="rId3" cstate="print">
              <a:extLst>
                <a:ext uri="{28A0092B-C50C-407E-A947-70E740481C1C}">
                  <a14:useLocalDpi xmlns:a14="http://schemas.microsoft.com/office/drawing/2010/main" val="0"/>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en-GB"/>
              <a:t>.</a:t>
            </a:r>
          </a:p>
        </p:txBody>
      </p:sp>
      <p:grpSp>
        <p:nvGrpSpPr>
          <p:cNvPr id="10" name="Groep 9">
            <a:extLst>
              <a:ext uri="{FF2B5EF4-FFF2-40B4-BE49-F238E27FC236}">
                <a16:creationId xmlns:a16="http://schemas.microsoft.com/office/drawing/2014/main" id="{2D3B3783-BF87-416D-8312-A253A1630159}"/>
              </a:ext>
            </a:extLst>
          </p:cNvPr>
          <p:cNvGrpSpPr/>
          <p:nvPr userDrawn="1"/>
        </p:nvGrpSpPr>
        <p:grpSpPr>
          <a:xfrm>
            <a:off x="12262862" y="575999"/>
            <a:ext cx="1130143" cy="757167"/>
            <a:chOff x="9197145" y="1199569"/>
            <a:chExt cx="847607" cy="567875"/>
          </a:xfrm>
        </p:grpSpPr>
        <p:sp>
          <p:nvSpPr>
            <p:cNvPr id="16" name="Freeform 20">
              <a:extLst>
                <a:ext uri="{FF2B5EF4-FFF2-40B4-BE49-F238E27FC236}">
                  <a16:creationId xmlns:a16="http://schemas.microsoft.com/office/drawing/2014/main" id="{B92E4F29-1E59-41AA-8B6A-AB0CE0321FCD}"/>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8F013AE7-A940-4288-807D-4C6C090D30BE}"/>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3752275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Title slide - EarlyLife - 2 ">
    <p:spTree>
      <p:nvGrpSpPr>
        <p:cNvPr id="1" name=""/>
        <p:cNvGrpSpPr/>
        <p:nvPr/>
      </p:nvGrpSpPr>
      <p:grpSpPr>
        <a:xfrm>
          <a:off x="0" y="0"/>
          <a:ext cx="0" cy="0"/>
          <a:chOff x="0" y="0"/>
          <a:chExt cx="0" cy="0"/>
        </a:xfrm>
      </p:grpSpPr>
      <p:pic>
        <p:nvPicPr>
          <p:cNvPr id="12" name="Picture Placeholder 6" descr="A picture containing outdoor&#10;&#10;Description automatically generated">
            <a:extLst>
              <a:ext uri="{FF2B5EF4-FFF2-40B4-BE49-F238E27FC236}">
                <a16:creationId xmlns:a16="http://schemas.microsoft.com/office/drawing/2014/main" id="{F917A6FA-E1F9-427E-8B31-F11188C601B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4" name="Tijdelijke aanduiding voor tekst 17">
            <a:extLst>
              <a:ext uri="{FF2B5EF4-FFF2-40B4-BE49-F238E27FC236}">
                <a16:creationId xmlns:a16="http://schemas.microsoft.com/office/drawing/2014/main" id="{3369DF5E-A601-452D-AD82-D126A0174EAF}"/>
              </a:ext>
            </a:extLst>
          </p:cNvPr>
          <p:cNvSpPr>
            <a:spLocks noGrp="1"/>
          </p:cNvSpPr>
          <p:nvPr>
            <p:ph type="body" sz="quarter" idx="18" hasCustomPrompt="1"/>
          </p:nvPr>
        </p:nvSpPr>
        <p:spPr>
          <a:xfrm>
            <a:off x="336554" y="1"/>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2"/>
            <a:ext cx="3168651"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Subtitle</a:t>
            </a:r>
          </a:p>
        </p:txBody>
      </p:sp>
      <p:sp>
        <p:nvSpPr>
          <p:cNvPr id="11" name="Tijdelijke aanduiding voor tekst 21">
            <a:extLst>
              <a:ext uri="{FF2B5EF4-FFF2-40B4-BE49-F238E27FC236}">
                <a16:creationId xmlns:a16="http://schemas.microsoft.com/office/drawing/2014/main" id="{864B06FA-CA70-4595-8439-FEB797046608}"/>
              </a:ext>
            </a:extLst>
          </p:cNvPr>
          <p:cNvSpPr>
            <a:spLocks noGrp="1"/>
          </p:cNvSpPr>
          <p:nvPr>
            <p:ph type="body" sz="quarter" idx="19" hasCustomPrompt="1"/>
          </p:nvPr>
        </p:nvSpPr>
        <p:spPr>
          <a:xfrm>
            <a:off x="662400" y="374400"/>
            <a:ext cx="1737600" cy="1046400"/>
          </a:xfrm>
          <a:blipFill>
            <a:blip r:embed="rId3" cstate="print">
              <a:extLst>
                <a:ext uri="{28A0092B-C50C-407E-A947-70E740481C1C}">
                  <a14:useLocalDpi xmlns:a14="http://schemas.microsoft.com/office/drawing/2010/main" val="0"/>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en-GB"/>
              <a:t>.</a:t>
            </a:r>
          </a:p>
        </p:txBody>
      </p:sp>
      <p:grpSp>
        <p:nvGrpSpPr>
          <p:cNvPr id="10" name="Groep 9">
            <a:extLst>
              <a:ext uri="{FF2B5EF4-FFF2-40B4-BE49-F238E27FC236}">
                <a16:creationId xmlns:a16="http://schemas.microsoft.com/office/drawing/2014/main" id="{2D3B3783-BF87-416D-8312-A253A1630159}"/>
              </a:ext>
            </a:extLst>
          </p:cNvPr>
          <p:cNvGrpSpPr/>
          <p:nvPr userDrawn="1"/>
        </p:nvGrpSpPr>
        <p:grpSpPr>
          <a:xfrm>
            <a:off x="12262862" y="575999"/>
            <a:ext cx="1130143" cy="757167"/>
            <a:chOff x="9197145" y="1199569"/>
            <a:chExt cx="847607" cy="567875"/>
          </a:xfrm>
        </p:grpSpPr>
        <p:sp>
          <p:nvSpPr>
            <p:cNvPr id="16" name="Freeform 20">
              <a:extLst>
                <a:ext uri="{FF2B5EF4-FFF2-40B4-BE49-F238E27FC236}">
                  <a16:creationId xmlns:a16="http://schemas.microsoft.com/office/drawing/2014/main" id="{B92E4F29-1E59-41AA-8B6A-AB0CE0321FCD}"/>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8F013AE7-A940-4288-807D-4C6C090D30BE}"/>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1477000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Title slide - EarlyLife - 3 ">
    <p:spTree>
      <p:nvGrpSpPr>
        <p:cNvPr id="1" name=""/>
        <p:cNvGrpSpPr/>
        <p:nvPr/>
      </p:nvGrpSpPr>
      <p:grpSpPr>
        <a:xfrm>
          <a:off x="0" y="0"/>
          <a:ext cx="0" cy="0"/>
          <a:chOff x="0" y="0"/>
          <a:chExt cx="0" cy="0"/>
        </a:xfrm>
      </p:grpSpPr>
      <p:pic>
        <p:nvPicPr>
          <p:cNvPr id="12" name="Picture Placeholder 12" descr="A picture containing graphical user interface&#10;&#10;Description automatically generated">
            <a:extLst>
              <a:ext uri="{FF2B5EF4-FFF2-40B4-BE49-F238E27FC236}">
                <a16:creationId xmlns:a16="http://schemas.microsoft.com/office/drawing/2014/main" id="{27C3A090-2F8D-454E-82E3-B8C823F27A2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4" name="Tijdelijke aanduiding voor tekst 17">
            <a:extLst>
              <a:ext uri="{FF2B5EF4-FFF2-40B4-BE49-F238E27FC236}">
                <a16:creationId xmlns:a16="http://schemas.microsoft.com/office/drawing/2014/main" id="{9ADBB5D2-3CBD-4936-A104-1503029A591F}"/>
              </a:ext>
            </a:extLst>
          </p:cNvPr>
          <p:cNvSpPr>
            <a:spLocks noGrp="1"/>
          </p:cNvSpPr>
          <p:nvPr>
            <p:ph type="body" sz="quarter" idx="18" hasCustomPrompt="1"/>
          </p:nvPr>
        </p:nvSpPr>
        <p:spPr>
          <a:xfrm>
            <a:off x="336554" y="1"/>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8002"/>
            <a:ext cx="3168000"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Subtitle</a:t>
            </a:r>
          </a:p>
        </p:txBody>
      </p:sp>
      <p:sp>
        <p:nvSpPr>
          <p:cNvPr id="11" name="Tijdelijke aanduiding voor tekst 21">
            <a:extLst>
              <a:ext uri="{FF2B5EF4-FFF2-40B4-BE49-F238E27FC236}">
                <a16:creationId xmlns:a16="http://schemas.microsoft.com/office/drawing/2014/main" id="{864B06FA-CA70-4595-8439-FEB797046608}"/>
              </a:ext>
            </a:extLst>
          </p:cNvPr>
          <p:cNvSpPr>
            <a:spLocks noGrp="1"/>
          </p:cNvSpPr>
          <p:nvPr>
            <p:ph type="body" sz="quarter" idx="19" hasCustomPrompt="1"/>
          </p:nvPr>
        </p:nvSpPr>
        <p:spPr>
          <a:xfrm>
            <a:off x="662400" y="374400"/>
            <a:ext cx="1737600" cy="1046400"/>
          </a:xfrm>
          <a:blipFill>
            <a:blip r:embed="rId3" cstate="print">
              <a:extLst>
                <a:ext uri="{28A0092B-C50C-407E-A947-70E740481C1C}">
                  <a14:useLocalDpi xmlns:a14="http://schemas.microsoft.com/office/drawing/2010/main" val="0"/>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en-GB"/>
              <a:t>.</a:t>
            </a:r>
          </a:p>
        </p:txBody>
      </p:sp>
      <p:grpSp>
        <p:nvGrpSpPr>
          <p:cNvPr id="10" name="Groep 9">
            <a:extLst>
              <a:ext uri="{FF2B5EF4-FFF2-40B4-BE49-F238E27FC236}">
                <a16:creationId xmlns:a16="http://schemas.microsoft.com/office/drawing/2014/main" id="{2D3B3783-BF87-416D-8312-A253A1630159}"/>
              </a:ext>
            </a:extLst>
          </p:cNvPr>
          <p:cNvGrpSpPr/>
          <p:nvPr userDrawn="1"/>
        </p:nvGrpSpPr>
        <p:grpSpPr>
          <a:xfrm>
            <a:off x="12262862" y="575999"/>
            <a:ext cx="1130143" cy="757167"/>
            <a:chOff x="9197145" y="1199569"/>
            <a:chExt cx="847607" cy="567875"/>
          </a:xfrm>
        </p:grpSpPr>
        <p:sp>
          <p:nvSpPr>
            <p:cNvPr id="16" name="Freeform 20">
              <a:extLst>
                <a:ext uri="{FF2B5EF4-FFF2-40B4-BE49-F238E27FC236}">
                  <a16:creationId xmlns:a16="http://schemas.microsoft.com/office/drawing/2014/main" id="{B92E4F29-1E59-41AA-8B6A-AB0CE0321FCD}"/>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8F013AE7-A940-4288-807D-4C6C090D30BE}"/>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4276375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Title slide - EarlyLife - 4">
    <p:spTree>
      <p:nvGrpSpPr>
        <p:cNvPr id="1" name=""/>
        <p:cNvGrpSpPr/>
        <p:nvPr/>
      </p:nvGrpSpPr>
      <p:grpSpPr>
        <a:xfrm>
          <a:off x="0" y="0"/>
          <a:ext cx="0" cy="0"/>
          <a:chOff x="0" y="0"/>
          <a:chExt cx="0" cy="0"/>
        </a:xfrm>
      </p:grpSpPr>
      <p:pic>
        <p:nvPicPr>
          <p:cNvPr id="14" name="Tijdelijke aanduiding voor afbeelding 6" descr="Afbeelding met vrouw&#10;&#10;Automatisch gegenereerde beschrijving">
            <a:extLst>
              <a:ext uri="{FF2B5EF4-FFF2-40B4-BE49-F238E27FC236}">
                <a16:creationId xmlns:a16="http://schemas.microsoft.com/office/drawing/2014/main" id="{6EBB7A92-5C59-47C2-8570-E6B780A6502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2" name="Tijdelijke aanduiding voor tekst 17">
            <a:extLst>
              <a:ext uri="{FF2B5EF4-FFF2-40B4-BE49-F238E27FC236}">
                <a16:creationId xmlns:a16="http://schemas.microsoft.com/office/drawing/2014/main" id="{E79216D0-F90F-40EA-829C-6188DE98A9A3}"/>
              </a:ext>
            </a:extLst>
          </p:cNvPr>
          <p:cNvSpPr>
            <a:spLocks noGrp="1"/>
          </p:cNvSpPr>
          <p:nvPr>
            <p:ph type="body" sz="quarter" idx="18" hasCustomPrompt="1"/>
          </p:nvPr>
        </p:nvSpPr>
        <p:spPr>
          <a:xfrm>
            <a:off x="336554" y="1"/>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2"/>
            <a:ext cx="3168651"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Subtitle</a:t>
            </a:r>
          </a:p>
        </p:txBody>
      </p:sp>
      <p:sp>
        <p:nvSpPr>
          <p:cNvPr id="11" name="Tijdelijke aanduiding voor tekst 21">
            <a:extLst>
              <a:ext uri="{FF2B5EF4-FFF2-40B4-BE49-F238E27FC236}">
                <a16:creationId xmlns:a16="http://schemas.microsoft.com/office/drawing/2014/main" id="{864B06FA-CA70-4595-8439-FEB797046608}"/>
              </a:ext>
            </a:extLst>
          </p:cNvPr>
          <p:cNvSpPr>
            <a:spLocks noGrp="1"/>
          </p:cNvSpPr>
          <p:nvPr>
            <p:ph type="body" sz="quarter" idx="19" hasCustomPrompt="1"/>
          </p:nvPr>
        </p:nvSpPr>
        <p:spPr>
          <a:xfrm>
            <a:off x="662400" y="374400"/>
            <a:ext cx="1737600" cy="1046400"/>
          </a:xfrm>
          <a:blipFill>
            <a:blip r:embed="rId3" cstate="print">
              <a:extLst>
                <a:ext uri="{28A0092B-C50C-407E-A947-70E740481C1C}">
                  <a14:useLocalDpi xmlns:a14="http://schemas.microsoft.com/office/drawing/2010/main" val="0"/>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en-GB"/>
              <a:t>.</a:t>
            </a:r>
          </a:p>
        </p:txBody>
      </p:sp>
      <p:grpSp>
        <p:nvGrpSpPr>
          <p:cNvPr id="10" name="Groep 9">
            <a:extLst>
              <a:ext uri="{FF2B5EF4-FFF2-40B4-BE49-F238E27FC236}">
                <a16:creationId xmlns:a16="http://schemas.microsoft.com/office/drawing/2014/main" id="{2D3B3783-BF87-416D-8312-A253A1630159}"/>
              </a:ext>
            </a:extLst>
          </p:cNvPr>
          <p:cNvGrpSpPr/>
          <p:nvPr userDrawn="1"/>
        </p:nvGrpSpPr>
        <p:grpSpPr>
          <a:xfrm>
            <a:off x="12262862" y="575999"/>
            <a:ext cx="1130143" cy="757167"/>
            <a:chOff x="9197145" y="1199569"/>
            <a:chExt cx="847607" cy="567875"/>
          </a:xfrm>
        </p:grpSpPr>
        <p:sp>
          <p:nvSpPr>
            <p:cNvPr id="16" name="Freeform 20">
              <a:extLst>
                <a:ext uri="{FF2B5EF4-FFF2-40B4-BE49-F238E27FC236}">
                  <a16:creationId xmlns:a16="http://schemas.microsoft.com/office/drawing/2014/main" id="{B92E4F29-1E59-41AA-8B6A-AB0CE0321FCD}"/>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8F013AE7-A940-4288-807D-4C6C090D30BE}"/>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346905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Title slide - EarlyLife - 5">
    <p:spTree>
      <p:nvGrpSpPr>
        <p:cNvPr id="1" name=""/>
        <p:cNvGrpSpPr/>
        <p:nvPr/>
      </p:nvGrpSpPr>
      <p:grpSpPr>
        <a:xfrm>
          <a:off x="0" y="0"/>
          <a:ext cx="0" cy="0"/>
          <a:chOff x="0" y="0"/>
          <a:chExt cx="0" cy="0"/>
        </a:xfrm>
      </p:grpSpPr>
      <p:pic>
        <p:nvPicPr>
          <p:cNvPr id="12" name="Tijdelijke aanduiding voor afbeelding 6">
            <a:extLst>
              <a:ext uri="{FF2B5EF4-FFF2-40B4-BE49-F238E27FC236}">
                <a16:creationId xmlns:a16="http://schemas.microsoft.com/office/drawing/2014/main" id="{62C5A7AF-EB24-4D48-AE42-4F1FB5B44225}"/>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a:fillRect/>
          </a:stretch>
        </p:blipFill>
        <p:spPr>
          <a:xfrm flipH="1">
            <a:off x="0" y="0"/>
            <a:ext cx="12192000" cy="6858000"/>
          </a:xfrm>
          <a:prstGeom prst="rect">
            <a:avLst/>
          </a:prstGeom>
        </p:spPr>
      </p:pic>
      <p:sp>
        <p:nvSpPr>
          <p:cNvPr id="14" name="Tijdelijke aanduiding voor tekst 17">
            <a:extLst>
              <a:ext uri="{FF2B5EF4-FFF2-40B4-BE49-F238E27FC236}">
                <a16:creationId xmlns:a16="http://schemas.microsoft.com/office/drawing/2014/main" id="{653624E7-643B-4F10-A014-6C20C5F24A7A}"/>
              </a:ext>
            </a:extLst>
          </p:cNvPr>
          <p:cNvSpPr>
            <a:spLocks noGrp="1"/>
          </p:cNvSpPr>
          <p:nvPr>
            <p:ph type="body" sz="quarter" idx="18" hasCustomPrompt="1"/>
          </p:nvPr>
        </p:nvSpPr>
        <p:spPr>
          <a:xfrm>
            <a:off x="336554" y="1"/>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2"/>
            <a:ext cx="3168651"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Subtitle</a:t>
            </a:r>
          </a:p>
        </p:txBody>
      </p:sp>
      <p:sp>
        <p:nvSpPr>
          <p:cNvPr id="11" name="Tijdelijke aanduiding voor tekst 21">
            <a:extLst>
              <a:ext uri="{FF2B5EF4-FFF2-40B4-BE49-F238E27FC236}">
                <a16:creationId xmlns:a16="http://schemas.microsoft.com/office/drawing/2014/main" id="{864B06FA-CA70-4595-8439-FEB797046608}"/>
              </a:ext>
            </a:extLst>
          </p:cNvPr>
          <p:cNvSpPr>
            <a:spLocks noGrp="1"/>
          </p:cNvSpPr>
          <p:nvPr>
            <p:ph type="body" sz="quarter" idx="19" hasCustomPrompt="1"/>
          </p:nvPr>
        </p:nvSpPr>
        <p:spPr>
          <a:xfrm>
            <a:off x="662400" y="374400"/>
            <a:ext cx="1737600" cy="1046400"/>
          </a:xfrm>
          <a:blipFill>
            <a:blip r:embed="rId3" cstate="print">
              <a:extLst>
                <a:ext uri="{28A0092B-C50C-407E-A947-70E740481C1C}">
                  <a14:useLocalDpi xmlns:a14="http://schemas.microsoft.com/office/drawing/2010/main" val="0"/>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en-GB"/>
              <a:t>.</a:t>
            </a:r>
          </a:p>
        </p:txBody>
      </p:sp>
      <p:grpSp>
        <p:nvGrpSpPr>
          <p:cNvPr id="10" name="Groep 9">
            <a:extLst>
              <a:ext uri="{FF2B5EF4-FFF2-40B4-BE49-F238E27FC236}">
                <a16:creationId xmlns:a16="http://schemas.microsoft.com/office/drawing/2014/main" id="{2D3B3783-BF87-416D-8312-A253A1630159}"/>
              </a:ext>
            </a:extLst>
          </p:cNvPr>
          <p:cNvGrpSpPr/>
          <p:nvPr userDrawn="1"/>
        </p:nvGrpSpPr>
        <p:grpSpPr>
          <a:xfrm>
            <a:off x="12262862" y="575999"/>
            <a:ext cx="1130143" cy="757167"/>
            <a:chOff x="9197145" y="1199569"/>
            <a:chExt cx="847607" cy="567875"/>
          </a:xfrm>
        </p:grpSpPr>
        <p:sp>
          <p:nvSpPr>
            <p:cNvPr id="16" name="Freeform 20">
              <a:extLst>
                <a:ext uri="{FF2B5EF4-FFF2-40B4-BE49-F238E27FC236}">
                  <a16:creationId xmlns:a16="http://schemas.microsoft.com/office/drawing/2014/main" id="{B92E4F29-1E59-41AA-8B6A-AB0CE0321FCD}"/>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8F013AE7-A940-4288-807D-4C6C090D30BE}"/>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2331671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Title slide - Active - 1 ">
    <p:spTree>
      <p:nvGrpSpPr>
        <p:cNvPr id="1" name=""/>
        <p:cNvGrpSpPr/>
        <p:nvPr/>
      </p:nvGrpSpPr>
      <p:grpSpPr>
        <a:xfrm>
          <a:off x="0" y="0"/>
          <a:ext cx="0" cy="0"/>
          <a:chOff x="0" y="0"/>
          <a:chExt cx="0" cy="0"/>
        </a:xfrm>
      </p:grpSpPr>
      <p:pic>
        <p:nvPicPr>
          <p:cNvPr id="14" name="Tijdelijke aanduiding voor afbeelding 6" descr="Afbeelding met binnen, muur&#10;&#10;Automatisch gegenereerde beschrijving">
            <a:extLst>
              <a:ext uri="{FF2B5EF4-FFF2-40B4-BE49-F238E27FC236}">
                <a16:creationId xmlns:a16="http://schemas.microsoft.com/office/drawing/2014/main" id="{3F0055B5-4F8F-4010-8BC1-28C25208941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1" name="Tijdelijke aanduiding voor tekst 17">
            <a:extLst>
              <a:ext uri="{FF2B5EF4-FFF2-40B4-BE49-F238E27FC236}">
                <a16:creationId xmlns:a16="http://schemas.microsoft.com/office/drawing/2014/main" id="{F2987DBE-F20D-4E14-8FBE-B884FFEC2C9F}"/>
              </a:ext>
            </a:extLst>
          </p:cNvPr>
          <p:cNvSpPr>
            <a:spLocks noGrp="1"/>
          </p:cNvSpPr>
          <p:nvPr>
            <p:ph type="body" sz="quarter" idx="18" hasCustomPrompt="1"/>
          </p:nvPr>
        </p:nvSpPr>
        <p:spPr>
          <a:xfrm>
            <a:off x="336554" y="1"/>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2"/>
            <a:ext cx="3168651"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Subtitle</a:t>
            </a:r>
          </a:p>
        </p:txBody>
      </p:sp>
      <p:grpSp>
        <p:nvGrpSpPr>
          <p:cNvPr id="15" name="Groep 14">
            <a:extLst>
              <a:ext uri="{FF2B5EF4-FFF2-40B4-BE49-F238E27FC236}">
                <a16:creationId xmlns:a16="http://schemas.microsoft.com/office/drawing/2014/main" id="{5719CCBA-0A8C-4DA3-A2BF-6F4EFD7ECA57}"/>
              </a:ext>
            </a:extLst>
          </p:cNvPr>
          <p:cNvGrpSpPr/>
          <p:nvPr userDrawn="1"/>
        </p:nvGrpSpPr>
        <p:grpSpPr>
          <a:xfrm>
            <a:off x="12262862" y="575999"/>
            <a:ext cx="1130143" cy="757167"/>
            <a:chOff x="9197145" y="1199569"/>
            <a:chExt cx="847607" cy="567875"/>
          </a:xfrm>
        </p:grpSpPr>
        <p:sp>
          <p:nvSpPr>
            <p:cNvPr id="16" name="Freeform 20">
              <a:extLst>
                <a:ext uri="{FF2B5EF4-FFF2-40B4-BE49-F238E27FC236}">
                  <a16:creationId xmlns:a16="http://schemas.microsoft.com/office/drawing/2014/main" id="{E613E7A1-9EE6-403B-A778-AAEC3C3F1F2D}"/>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C3750E03-2E3B-4B06-AEBC-30BD5F6674C9}"/>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
        <p:nvSpPr>
          <p:cNvPr id="10" name="Tijdelijke aanduiding voor tekst nw">
            <a:extLst>
              <a:ext uri="{FF2B5EF4-FFF2-40B4-BE49-F238E27FC236}">
                <a16:creationId xmlns:a16="http://schemas.microsoft.com/office/drawing/2014/main" id="{E435EC13-FDF2-4EC6-B669-C547E72F5F9C}"/>
              </a:ext>
            </a:extLst>
          </p:cNvPr>
          <p:cNvSpPr>
            <a:spLocks noGrp="1"/>
          </p:cNvSpPr>
          <p:nvPr>
            <p:ph type="body" sz="quarter" idx="19" hasCustomPrompt="1"/>
          </p:nvPr>
        </p:nvSpPr>
        <p:spPr>
          <a:xfrm>
            <a:off x="662400" y="374400"/>
            <a:ext cx="1737600" cy="1046400"/>
          </a:xfrm>
          <a:blipFill>
            <a:blip r:embed="rId3" cstate="print">
              <a:extLst>
                <a:ext uri="{28A0092B-C50C-407E-A947-70E740481C1C}">
                  <a14:useLocalDpi xmlns:a14="http://schemas.microsoft.com/office/drawing/2010/main" val="0"/>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en-GB"/>
              <a:t>.</a:t>
            </a:r>
          </a:p>
        </p:txBody>
      </p:sp>
    </p:spTree>
    <p:extLst>
      <p:ext uri="{BB962C8B-B14F-4D97-AF65-F5344CB8AC3E}">
        <p14:creationId xmlns:p14="http://schemas.microsoft.com/office/powerpoint/2010/main" val="168920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Title slide - Active - 2">
    <p:spTree>
      <p:nvGrpSpPr>
        <p:cNvPr id="1" name=""/>
        <p:cNvGrpSpPr/>
        <p:nvPr/>
      </p:nvGrpSpPr>
      <p:grpSpPr>
        <a:xfrm>
          <a:off x="0" y="0"/>
          <a:ext cx="0" cy="0"/>
          <a:chOff x="0" y="0"/>
          <a:chExt cx="0" cy="0"/>
        </a:xfrm>
      </p:grpSpPr>
      <p:pic>
        <p:nvPicPr>
          <p:cNvPr id="10" name="Picture Placeholder 6" descr="A person and person sitting on a bench&#10;&#10;Description automatically generated with low confidence">
            <a:extLst>
              <a:ext uri="{FF2B5EF4-FFF2-40B4-BE49-F238E27FC236}">
                <a16:creationId xmlns:a16="http://schemas.microsoft.com/office/drawing/2014/main" id="{A13B8CCE-C87F-42F4-8FA1-028F5EEACA0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2" name="Tijdelijke aanduiding voor tekst 17">
            <a:extLst>
              <a:ext uri="{FF2B5EF4-FFF2-40B4-BE49-F238E27FC236}">
                <a16:creationId xmlns:a16="http://schemas.microsoft.com/office/drawing/2014/main" id="{A9DFDAC0-C70A-483A-A0B7-254638501253}"/>
              </a:ext>
            </a:extLst>
          </p:cNvPr>
          <p:cNvSpPr>
            <a:spLocks noGrp="1"/>
          </p:cNvSpPr>
          <p:nvPr>
            <p:ph type="body" sz="quarter" idx="18" hasCustomPrompt="1"/>
          </p:nvPr>
        </p:nvSpPr>
        <p:spPr>
          <a:xfrm>
            <a:off x="336554" y="1"/>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2"/>
            <a:ext cx="3168651"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Subtitle</a:t>
            </a:r>
          </a:p>
        </p:txBody>
      </p:sp>
      <p:sp>
        <p:nvSpPr>
          <p:cNvPr id="11" name="Tijdelijke aanduiding voor tekst 21">
            <a:extLst>
              <a:ext uri="{FF2B5EF4-FFF2-40B4-BE49-F238E27FC236}">
                <a16:creationId xmlns:a16="http://schemas.microsoft.com/office/drawing/2014/main" id="{864B06FA-CA70-4595-8439-FEB797046608}"/>
              </a:ext>
            </a:extLst>
          </p:cNvPr>
          <p:cNvSpPr>
            <a:spLocks noGrp="1"/>
          </p:cNvSpPr>
          <p:nvPr>
            <p:ph type="body" sz="quarter" idx="19" hasCustomPrompt="1"/>
          </p:nvPr>
        </p:nvSpPr>
        <p:spPr>
          <a:xfrm>
            <a:off x="662400" y="374400"/>
            <a:ext cx="1737600" cy="1046400"/>
          </a:xfrm>
          <a:blipFill>
            <a:blip r:embed="rId3" cstate="print">
              <a:extLst>
                <a:ext uri="{28A0092B-C50C-407E-A947-70E740481C1C}">
                  <a14:useLocalDpi xmlns:a14="http://schemas.microsoft.com/office/drawing/2010/main" val="0"/>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en-GB"/>
              <a:t>.</a:t>
            </a:r>
          </a:p>
        </p:txBody>
      </p:sp>
      <p:grpSp>
        <p:nvGrpSpPr>
          <p:cNvPr id="15" name="Groep 14">
            <a:extLst>
              <a:ext uri="{FF2B5EF4-FFF2-40B4-BE49-F238E27FC236}">
                <a16:creationId xmlns:a16="http://schemas.microsoft.com/office/drawing/2014/main" id="{26B582DD-85D3-4396-A1BD-1FE9E211CE2B}"/>
              </a:ext>
            </a:extLst>
          </p:cNvPr>
          <p:cNvGrpSpPr/>
          <p:nvPr userDrawn="1"/>
        </p:nvGrpSpPr>
        <p:grpSpPr>
          <a:xfrm>
            <a:off x="12262862" y="575999"/>
            <a:ext cx="1130143" cy="757167"/>
            <a:chOff x="9197145" y="1199569"/>
            <a:chExt cx="847607" cy="567875"/>
          </a:xfrm>
        </p:grpSpPr>
        <p:sp>
          <p:nvSpPr>
            <p:cNvPr id="16" name="Freeform 20">
              <a:extLst>
                <a:ext uri="{FF2B5EF4-FFF2-40B4-BE49-F238E27FC236}">
                  <a16:creationId xmlns:a16="http://schemas.microsoft.com/office/drawing/2014/main" id="{040EC359-9BDD-4775-A957-4137B57732A5}"/>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6F63FEC7-0371-4FD8-952D-795EC110286B}"/>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209739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Title slide - Performance - 1 ">
    <p:spTree>
      <p:nvGrpSpPr>
        <p:cNvPr id="1" name=""/>
        <p:cNvGrpSpPr/>
        <p:nvPr/>
      </p:nvGrpSpPr>
      <p:grpSpPr>
        <a:xfrm>
          <a:off x="0" y="0"/>
          <a:ext cx="0" cy="0"/>
          <a:chOff x="0" y="0"/>
          <a:chExt cx="0" cy="0"/>
        </a:xfrm>
      </p:grpSpPr>
      <p:pic>
        <p:nvPicPr>
          <p:cNvPr id="14" name="Tijdelijke aanduiding voor afbeelding 6">
            <a:extLst>
              <a:ext uri="{FF2B5EF4-FFF2-40B4-BE49-F238E27FC236}">
                <a16:creationId xmlns:a16="http://schemas.microsoft.com/office/drawing/2014/main" id="{3F0055B5-4F8F-4010-8BC1-28C25208941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192000" cy="6858000"/>
          </a:xfrm>
          <a:prstGeom prst="rect">
            <a:avLst/>
          </a:prstGeom>
        </p:spPr>
      </p:pic>
      <p:sp>
        <p:nvSpPr>
          <p:cNvPr id="10" name="Tijdelijke aanduiding voor tekst 17">
            <a:extLst>
              <a:ext uri="{FF2B5EF4-FFF2-40B4-BE49-F238E27FC236}">
                <a16:creationId xmlns:a16="http://schemas.microsoft.com/office/drawing/2014/main" id="{9910016A-8BEF-4B94-83A2-63DB595320AD}"/>
              </a:ext>
            </a:extLst>
          </p:cNvPr>
          <p:cNvSpPr>
            <a:spLocks noGrp="1"/>
          </p:cNvSpPr>
          <p:nvPr>
            <p:ph type="body" sz="quarter" idx="18" hasCustomPrompt="1"/>
          </p:nvPr>
        </p:nvSpPr>
        <p:spPr>
          <a:xfrm>
            <a:off x="336554" y="1"/>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2"/>
            <a:ext cx="3168651"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Subtitle</a:t>
            </a:r>
          </a:p>
        </p:txBody>
      </p:sp>
      <p:grpSp>
        <p:nvGrpSpPr>
          <p:cNvPr id="15" name="Groep 14">
            <a:extLst>
              <a:ext uri="{FF2B5EF4-FFF2-40B4-BE49-F238E27FC236}">
                <a16:creationId xmlns:a16="http://schemas.microsoft.com/office/drawing/2014/main" id="{5719CCBA-0A8C-4DA3-A2BF-6F4EFD7ECA57}"/>
              </a:ext>
            </a:extLst>
          </p:cNvPr>
          <p:cNvGrpSpPr/>
          <p:nvPr userDrawn="1"/>
        </p:nvGrpSpPr>
        <p:grpSpPr>
          <a:xfrm>
            <a:off x="12262862" y="575999"/>
            <a:ext cx="1130143" cy="757167"/>
            <a:chOff x="9197145" y="1199569"/>
            <a:chExt cx="847607" cy="567875"/>
          </a:xfrm>
        </p:grpSpPr>
        <p:sp>
          <p:nvSpPr>
            <p:cNvPr id="16" name="Freeform 20">
              <a:extLst>
                <a:ext uri="{FF2B5EF4-FFF2-40B4-BE49-F238E27FC236}">
                  <a16:creationId xmlns:a16="http://schemas.microsoft.com/office/drawing/2014/main" id="{E613E7A1-9EE6-403B-A778-AAEC3C3F1F2D}"/>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C3750E03-2E3B-4B06-AEBC-30BD5F6674C9}"/>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
        <p:nvSpPr>
          <p:cNvPr id="11" name="Tijdelijke aanduiding voor tekst nw1">
            <a:extLst>
              <a:ext uri="{FF2B5EF4-FFF2-40B4-BE49-F238E27FC236}">
                <a16:creationId xmlns:a16="http://schemas.microsoft.com/office/drawing/2014/main" id="{8AB4CD50-3116-41B0-A75A-9CB826D08176}"/>
              </a:ext>
            </a:extLst>
          </p:cNvPr>
          <p:cNvSpPr>
            <a:spLocks noGrp="1"/>
          </p:cNvSpPr>
          <p:nvPr>
            <p:ph type="body" sz="quarter" idx="19" hasCustomPrompt="1"/>
          </p:nvPr>
        </p:nvSpPr>
        <p:spPr>
          <a:xfrm>
            <a:off x="662400" y="374400"/>
            <a:ext cx="1737600" cy="1046400"/>
          </a:xfrm>
          <a:blipFill>
            <a:blip r:embed="rId3" cstate="print">
              <a:extLst>
                <a:ext uri="{28A0092B-C50C-407E-A947-70E740481C1C}">
                  <a14:useLocalDpi xmlns:a14="http://schemas.microsoft.com/office/drawing/2010/main" val="0"/>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en-GB"/>
              <a:t>.</a:t>
            </a:r>
          </a:p>
        </p:txBody>
      </p:sp>
    </p:spTree>
    <p:extLst>
      <p:ext uri="{BB962C8B-B14F-4D97-AF65-F5344CB8AC3E}">
        <p14:creationId xmlns:p14="http://schemas.microsoft.com/office/powerpoint/2010/main" val="466467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0F2F5BE-C297-1D62-E1A3-700EAD2051EC}"/>
              </a:ext>
            </a:extLst>
          </p:cNvPr>
          <p:cNvSpPr>
            <a:spLocks noGrp="1"/>
          </p:cNvSpPr>
          <p:nvPr>
            <p:ph type="pic" sz="quarter" idx="14"/>
          </p:nvPr>
        </p:nvSpPr>
        <p:spPr>
          <a:xfrm>
            <a:off x="768352" y="1701801"/>
            <a:ext cx="10847915" cy="3233615"/>
          </a:xfrm>
          <a:prstGeom prst="roundRect">
            <a:avLst>
              <a:gd name="adj" fmla="val 5981"/>
            </a:avLst>
          </a:prstGeom>
          <a:solidFill>
            <a:schemeClr val="tx1">
              <a:lumMod val="20000"/>
              <a:lumOff val="80000"/>
            </a:schemeClr>
          </a:solidFill>
        </p:spPr>
        <p:txBody>
          <a:bodyPr wrap="square" tIns="396000">
            <a:noAutofit/>
          </a:bodyPr>
          <a:lstStyle>
            <a:lvl1pPr marL="0" indent="0" algn="ctr">
              <a:buNone/>
              <a:defRPr/>
            </a:lvl1pPr>
          </a:lstStyle>
          <a:p>
            <a:r>
              <a:rPr lang="en-US"/>
              <a:t>Click icon to add picture</a:t>
            </a:r>
            <a:endParaRPr lang="en-GB"/>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768352" y="6536947"/>
            <a:ext cx="1356140"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3 </a:t>
            </a:r>
            <a:r>
              <a:rPr lang="en-GB" sz="800" kern="1200" err="1">
                <a:solidFill>
                  <a:schemeClr val="tx1">
                    <a:tint val="75000"/>
                  </a:schemeClr>
                </a:solidFill>
                <a:latin typeface="+mn-lt"/>
                <a:ea typeface="+mn-ea"/>
                <a:cs typeface="+mn-cs"/>
              </a:rPr>
              <a:t>FrieslandCampina</a:t>
            </a:r>
            <a:endParaRPr lang="en-GB" sz="800" kern="1200">
              <a:solidFill>
                <a:schemeClr val="tx1">
                  <a:tint val="75000"/>
                </a:schemeClr>
              </a:solidFill>
              <a:latin typeface="+mn-lt"/>
              <a:ea typeface="+mn-ea"/>
              <a:cs typeface="+mn-cs"/>
            </a:endParaRPr>
          </a:p>
        </p:txBody>
      </p:sp>
      <p:pic>
        <p:nvPicPr>
          <p:cNvPr id="6" name="Picture 2" descr="G:\Corporate Communication\Logo's\FrieslandCampina\Nourishing by Nature tagline\Nbn_tag_with_FC_final.png">
            <a:extLst>
              <a:ext uri="{FF2B5EF4-FFF2-40B4-BE49-F238E27FC236}">
                <a16:creationId xmlns:a16="http://schemas.microsoft.com/office/drawing/2014/main" id="{6F6D29C9-0B5C-1B7C-2F68-596284469566}"/>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13972" y="305786"/>
            <a:ext cx="2332873" cy="123665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4039891" y="4463513"/>
            <a:ext cx="7576375" cy="1591159"/>
          </a:xfrm>
          <a:prstGeom prst="roundRect">
            <a:avLst>
              <a:gd name="adj" fmla="val 16414"/>
            </a:avLst>
          </a:prstGeom>
          <a:solidFill>
            <a:srgbClr val="004A6D"/>
          </a:solidFill>
        </p:spPr>
        <p:txBody>
          <a:bodyPr wrap="none" lIns="180000" tIns="288000" rIns="180000" bIns="180000" anchor="t" anchorCtr="0"/>
          <a:lstStyle>
            <a:lvl1pPr algn="l">
              <a:defRPr sz="3200">
                <a:solidFill>
                  <a:schemeClr val="bg1"/>
                </a:solidFill>
              </a:defRPr>
            </a:lvl1pPr>
          </a:lstStyle>
          <a:p>
            <a:r>
              <a:rPr lang="en-GB"/>
              <a:t>Click to add title (max. 1 line)</a:t>
            </a:r>
          </a:p>
        </p:txBody>
      </p:sp>
      <p:sp>
        <p:nvSpPr>
          <p:cNvPr id="3" name="Subtitle 2"/>
          <p:cNvSpPr>
            <a:spLocks noGrp="1"/>
          </p:cNvSpPr>
          <p:nvPr>
            <p:ph type="subTitle" idx="1" hasCustomPrompt="1"/>
          </p:nvPr>
        </p:nvSpPr>
        <p:spPr>
          <a:xfrm>
            <a:off x="4338320" y="5382299"/>
            <a:ext cx="6915413" cy="314920"/>
          </a:xfrm>
        </p:spPr>
        <p:txBody>
          <a:bodyPr wrap="none" lIns="0" rIns="0">
            <a:noAutofit/>
          </a:bodyPr>
          <a:lstStyle>
            <a:lvl1pPr marL="0" indent="0" algn="l">
              <a:buNone/>
              <a:defRPr sz="1867">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Subtitle</a:t>
            </a:r>
          </a:p>
        </p:txBody>
      </p:sp>
      <p:grpSp>
        <p:nvGrpSpPr>
          <p:cNvPr id="9" name="Groep 4">
            <a:extLst>
              <a:ext uri="{FF2B5EF4-FFF2-40B4-BE49-F238E27FC236}">
                <a16:creationId xmlns:a16="http://schemas.microsoft.com/office/drawing/2014/main" id="{57F33125-D565-69D4-AA31-CD844E250D93}"/>
              </a:ext>
            </a:extLst>
          </p:cNvPr>
          <p:cNvGrpSpPr/>
          <p:nvPr userDrawn="1"/>
        </p:nvGrpSpPr>
        <p:grpSpPr>
          <a:xfrm>
            <a:off x="12262861" y="1863585"/>
            <a:ext cx="1130143" cy="757167"/>
            <a:chOff x="9197145" y="1199569"/>
            <a:chExt cx="847607" cy="567875"/>
          </a:xfrm>
        </p:grpSpPr>
        <p:sp>
          <p:nvSpPr>
            <p:cNvPr id="10" name="Freeform 20">
              <a:extLst>
                <a:ext uri="{FF2B5EF4-FFF2-40B4-BE49-F238E27FC236}">
                  <a16:creationId xmlns:a16="http://schemas.microsoft.com/office/drawing/2014/main" id="{A1C8F0C8-4A57-492D-0C5F-544101B7A775}"/>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rgbClr val="760E12"/>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1" name="Tekstvak 3">
              <a:extLst>
                <a:ext uri="{FF2B5EF4-FFF2-40B4-BE49-F238E27FC236}">
                  <a16:creationId xmlns:a16="http://schemas.microsoft.com/office/drawing/2014/main" id="{BE829BF5-6BCC-6613-DB8F-739170722A3A}"/>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1438201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3">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and wave, image widescreen - 2">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A502EA0-D83D-16A4-DB4E-7219EA1EAC0E}"/>
              </a:ext>
            </a:extLst>
          </p:cNvPr>
          <p:cNvSpPr>
            <a:spLocks noGrp="1"/>
          </p:cNvSpPr>
          <p:nvPr>
            <p:ph type="pic" sz="quarter" idx="19"/>
          </p:nvPr>
        </p:nvSpPr>
        <p:spPr>
          <a:xfrm>
            <a:off x="0" y="0"/>
            <a:ext cx="12192000" cy="6858000"/>
          </a:xfrm>
          <a:prstGeom prst="rect">
            <a:avLst/>
          </a:prstGeom>
          <a:solidFill>
            <a:schemeClr val="tx1">
              <a:lumMod val="20000"/>
              <a:lumOff val="80000"/>
            </a:schemeClr>
          </a:solidFill>
        </p:spPr>
        <p:txBody>
          <a:bodyPr wrap="square" lIns="432000" tIns="396000" rIns="0">
            <a:noAutofit/>
          </a:bodyPr>
          <a:lstStyle>
            <a:lvl1pPr marL="0" indent="0" algn="l">
              <a:buNone/>
              <a:defRPr/>
            </a:lvl1pPr>
          </a:lstStyle>
          <a:p>
            <a:r>
              <a:rPr lang="en-US"/>
              <a:t>Click icon to add picture</a:t>
            </a:r>
            <a:endParaRPr lang="en-GB"/>
          </a:p>
        </p:txBody>
      </p:sp>
      <p:sp>
        <p:nvSpPr>
          <p:cNvPr id="7" name="Text Placeholder 20">
            <a:extLst>
              <a:ext uri="{FF2B5EF4-FFF2-40B4-BE49-F238E27FC236}">
                <a16:creationId xmlns:a16="http://schemas.microsoft.com/office/drawing/2014/main" id="{266AE978-B013-4124-936B-004A81FA2DDF}"/>
              </a:ext>
            </a:extLst>
          </p:cNvPr>
          <p:cNvSpPr>
            <a:spLocks noGrp="1"/>
          </p:cNvSpPr>
          <p:nvPr>
            <p:ph type="body" sz="quarter" idx="14" hasCustomPrompt="1"/>
          </p:nvPr>
        </p:nvSpPr>
        <p:spPr>
          <a:xfrm flipH="1">
            <a:off x="3488533" y="0"/>
            <a:ext cx="8703467" cy="2333056"/>
          </a:xfrm>
          <a:custGeom>
            <a:avLst/>
            <a:gdLst>
              <a:gd name="connsiteX0" fmla="*/ 0 w 3991782"/>
              <a:gd name="connsiteY0" fmla="*/ 0 h 2824976"/>
              <a:gd name="connsiteX1" fmla="*/ 3991782 w 3991782"/>
              <a:gd name="connsiteY1" fmla="*/ 0 h 2824976"/>
              <a:gd name="connsiteX2" fmla="*/ 3991782 w 3991782"/>
              <a:gd name="connsiteY2" fmla="*/ 2824976 h 2824976"/>
              <a:gd name="connsiteX3" fmla="*/ 0 w 3991782"/>
              <a:gd name="connsiteY3" fmla="*/ 2824976 h 2824976"/>
            </a:gdLst>
            <a:ahLst/>
            <a:cxnLst>
              <a:cxn ang="0">
                <a:pos x="connsiteX0" y="connsiteY0"/>
              </a:cxn>
              <a:cxn ang="0">
                <a:pos x="connsiteX1" y="connsiteY1"/>
              </a:cxn>
              <a:cxn ang="0">
                <a:pos x="connsiteX2" y="connsiteY2"/>
              </a:cxn>
              <a:cxn ang="0">
                <a:pos x="connsiteX3" y="connsiteY3"/>
              </a:cxn>
            </a:cxnLst>
            <a:rect l="l" t="t" r="r" b="b"/>
            <a:pathLst>
              <a:path w="3991782" h="2824976">
                <a:moveTo>
                  <a:pt x="0" y="0"/>
                </a:moveTo>
                <a:lnTo>
                  <a:pt x="3991782" y="0"/>
                </a:lnTo>
                <a:lnTo>
                  <a:pt x="3991782" y="2824976"/>
                </a:lnTo>
                <a:lnTo>
                  <a:pt x="0" y="2824976"/>
                </a:lnTo>
                <a:close/>
              </a:path>
            </a:pathLst>
          </a:custGeom>
          <a:blipFill dpi="0" rotWithShape="1">
            <a:blip r:embed="rId2">
              <a:extLst>
                <a:ext uri="{28A0092B-C50C-407E-A947-70E740481C1C}">
                  <a14:useLocalDpi xmlns:a14="http://schemas.microsoft.com/office/drawing/2010/main" val="0"/>
                </a:ext>
              </a:extLst>
            </a:blip>
            <a:srcRect/>
            <a:stretch>
              <a:fillRect l="-276" t="-1031" b="1"/>
            </a:stretch>
          </a:blipFill>
        </p:spPr>
        <p:txBody>
          <a:bodyPr wrap="square">
            <a:noAutofit/>
          </a:bodyPr>
          <a:lstStyle>
            <a:lvl1pPr marL="0" indent="0">
              <a:buNone/>
              <a:defRPr sz="133">
                <a:solidFill>
                  <a:schemeClr val="bg1"/>
                </a:solidFill>
              </a:defRPr>
            </a:lvl1pPr>
          </a:lstStyle>
          <a:p>
            <a:pPr lvl="0"/>
            <a:r>
              <a:rPr lang="en-GB"/>
              <a:t>.</a:t>
            </a:r>
          </a:p>
        </p:txBody>
      </p:sp>
      <p:sp>
        <p:nvSpPr>
          <p:cNvPr id="2" name="Title 1">
            <a:extLst>
              <a:ext uri="{FF2B5EF4-FFF2-40B4-BE49-F238E27FC236}">
                <a16:creationId xmlns:a16="http://schemas.microsoft.com/office/drawing/2014/main" id="{ABB7349F-CB96-4DCF-A606-1837C14A752C}"/>
              </a:ext>
            </a:extLst>
          </p:cNvPr>
          <p:cNvSpPr>
            <a:spLocks noGrp="1"/>
          </p:cNvSpPr>
          <p:nvPr>
            <p:ph type="title" hasCustomPrompt="1"/>
          </p:nvPr>
        </p:nvSpPr>
        <p:spPr>
          <a:xfrm>
            <a:off x="7306213" y="548218"/>
            <a:ext cx="4310055" cy="1056215"/>
          </a:xfrm>
        </p:spPr>
        <p:txBody>
          <a:bodyPr/>
          <a:lstStyle>
            <a:lvl1pPr algn="r">
              <a:defRPr/>
            </a:lvl1pPr>
          </a:lstStyle>
          <a:p>
            <a:r>
              <a:rPr lang="en-GB"/>
              <a:t>Click to add a short title</a:t>
            </a:r>
          </a:p>
        </p:txBody>
      </p:sp>
    </p:spTree>
    <p:extLst>
      <p:ext uri="{BB962C8B-B14F-4D97-AF65-F5344CB8AC3E}">
        <p14:creationId xmlns:p14="http://schemas.microsoft.com/office/powerpoint/2010/main" val="2339280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Title slide - Performance - 2">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BF0DDFC9-0860-48BA-A78B-BE14E8D6017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192000" cy="6858000"/>
          </a:xfrm>
          <a:prstGeom prst="rect">
            <a:avLst/>
          </a:prstGeom>
        </p:spPr>
      </p:pic>
      <p:sp>
        <p:nvSpPr>
          <p:cNvPr id="10" name="Tijdelijke aanduiding voor tekst 17">
            <a:extLst>
              <a:ext uri="{FF2B5EF4-FFF2-40B4-BE49-F238E27FC236}">
                <a16:creationId xmlns:a16="http://schemas.microsoft.com/office/drawing/2014/main" id="{68440ABF-9560-47F3-A588-3084E1DC61D7}"/>
              </a:ext>
            </a:extLst>
          </p:cNvPr>
          <p:cNvSpPr>
            <a:spLocks noGrp="1"/>
          </p:cNvSpPr>
          <p:nvPr>
            <p:ph type="body" sz="quarter" idx="18" hasCustomPrompt="1"/>
          </p:nvPr>
        </p:nvSpPr>
        <p:spPr>
          <a:xfrm>
            <a:off x="336554" y="1"/>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4 FrieslandCampina Ingredients</a:t>
            </a:r>
          </a:p>
        </p:txBody>
      </p:sp>
      <p:sp>
        <p:nvSpPr>
          <p:cNvPr id="3" name="Subtitle 2"/>
          <p:cNvSpPr>
            <a:spLocks noGrp="1"/>
          </p:cNvSpPr>
          <p:nvPr>
            <p:ph type="subTitle" idx="1" hasCustomPrompt="1"/>
          </p:nvPr>
        </p:nvSpPr>
        <p:spPr>
          <a:xfrm>
            <a:off x="1007533" y="3885842"/>
            <a:ext cx="3168651"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Subtitle</a:t>
            </a:r>
          </a:p>
        </p:txBody>
      </p:sp>
      <p:grpSp>
        <p:nvGrpSpPr>
          <p:cNvPr id="15" name="Groep 14">
            <a:extLst>
              <a:ext uri="{FF2B5EF4-FFF2-40B4-BE49-F238E27FC236}">
                <a16:creationId xmlns:a16="http://schemas.microsoft.com/office/drawing/2014/main" id="{5719CCBA-0A8C-4DA3-A2BF-6F4EFD7ECA57}"/>
              </a:ext>
            </a:extLst>
          </p:cNvPr>
          <p:cNvGrpSpPr/>
          <p:nvPr userDrawn="1"/>
        </p:nvGrpSpPr>
        <p:grpSpPr>
          <a:xfrm>
            <a:off x="12262862" y="575999"/>
            <a:ext cx="1130143" cy="757167"/>
            <a:chOff x="9197145" y="1199569"/>
            <a:chExt cx="847607" cy="567875"/>
          </a:xfrm>
        </p:grpSpPr>
        <p:sp>
          <p:nvSpPr>
            <p:cNvPr id="16" name="Freeform 20">
              <a:extLst>
                <a:ext uri="{FF2B5EF4-FFF2-40B4-BE49-F238E27FC236}">
                  <a16:creationId xmlns:a16="http://schemas.microsoft.com/office/drawing/2014/main" id="{E613E7A1-9EE6-403B-A778-AAEC3C3F1F2D}"/>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C3750E03-2E3B-4B06-AEBC-30BD5F6674C9}"/>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
        <p:nvSpPr>
          <p:cNvPr id="11" name="Tijdelijke aanduiding voor tekst nw1">
            <a:extLst>
              <a:ext uri="{FF2B5EF4-FFF2-40B4-BE49-F238E27FC236}">
                <a16:creationId xmlns:a16="http://schemas.microsoft.com/office/drawing/2014/main" id="{8AB4CD50-3116-41B0-A75A-9CB826D08176}"/>
              </a:ext>
            </a:extLst>
          </p:cNvPr>
          <p:cNvSpPr>
            <a:spLocks noGrp="1"/>
          </p:cNvSpPr>
          <p:nvPr>
            <p:ph type="body" sz="quarter" idx="19" hasCustomPrompt="1"/>
          </p:nvPr>
        </p:nvSpPr>
        <p:spPr>
          <a:xfrm>
            <a:off x="662400" y="374400"/>
            <a:ext cx="1737600" cy="1046400"/>
          </a:xfrm>
          <a:blipFill>
            <a:blip r:embed="rId3" cstate="print">
              <a:extLst>
                <a:ext uri="{28A0092B-C50C-407E-A947-70E740481C1C}">
                  <a14:useLocalDpi xmlns:a14="http://schemas.microsoft.com/office/drawing/2010/main" val="0"/>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en-GB"/>
              <a:t>.</a:t>
            </a:r>
          </a:p>
        </p:txBody>
      </p:sp>
    </p:spTree>
    <p:extLst>
      <p:ext uri="{BB962C8B-B14F-4D97-AF65-F5344CB8AC3E}">
        <p14:creationId xmlns:p14="http://schemas.microsoft.com/office/powerpoint/2010/main" val="3661635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Title slide - Performance - 3">
    <p:spTree>
      <p:nvGrpSpPr>
        <p:cNvPr id="1" name=""/>
        <p:cNvGrpSpPr/>
        <p:nvPr/>
      </p:nvGrpSpPr>
      <p:grpSpPr>
        <a:xfrm>
          <a:off x="0" y="0"/>
          <a:ext cx="0" cy="0"/>
          <a:chOff x="0" y="0"/>
          <a:chExt cx="0" cy="0"/>
        </a:xfrm>
      </p:grpSpPr>
      <p:pic>
        <p:nvPicPr>
          <p:cNvPr id="12" name="Picture Placeholder 6" descr="A skier going down a slope&#10;&#10;Description automatically generated with low confidence">
            <a:extLst>
              <a:ext uri="{FF2B5EF4-FFF2-40B4-BE49-F238E27FC236}">
                <a16:creationId xmlns:a16="http://schemas.microsoft.com/office/drawing/2014/main" id="{559323DD-AA67-40D2-B826-185626C1C23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4" name="Tijdelijke aanduiding voor tekst 17">
            <a:extLst>
              <a:ext uri="{FF2B5EF4-FFF2-40B4-BE49-F238E27FC236}">
                <a16:creationId xmlns:a16="http://schemas.microsoft.com/office/drawing/2014/main" id="{5F101D7A-90DD-406F-903A-337FCC62749F}"/>
              </a:ext>
            </a:extLst>
          </p:cNvPr>
          <p:cNvSpPr>
            <a:spLocks noGrp="1"/>
          </p:cNvSpPr>
          <p:nvPr>
            <p:ph type="body" sz="quarter" idx="18" hasCustomPrompt="1"/>
          </p:nvPr>
        </p:nvSpPr>
        <p:spPr>
          <a:xfrm>
            <a:off x="336554" y="1"/>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2"/>
            <a:ext cx="3168651"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Subtitle</a:t>
            </a:r>
          </a:p>
        </p:txBody>
      </p:sp>
      <p:grpSp>
        <p:nvGrpSpPr>
          <p:cNvPr id="15" name="Groep 14">
            <a:extLst>
              <a:ext uri="{FF2B5EF4-FFF2-40B4-BE49-F238E27FC236}">
                <a16:creationId xmlns:a16="http://schemas.microsoft.com/office/drawing/2014/main" id="{5719CCBA-0A8C-4DA3-A2BF-6F4EFD7ECA57}"/>
              </a:ext>
            </a:extLst>
          </p:cNvPr>
          <p:cNvGrpSpPr/>
          <p:nvPr userDrawn="1"/>
        </p:nvGrpSpPr>
        <p:grpSpPr>
          <a:xfrm>
            <a:off x="12262862" y="575999"/>
            <a:ext cx="1130143" cy="757167"/>
            <a:chOff x="9197145" y="1199569"/>
            <a:chExt cx="847607" cy="567875"/>
          </a:xfrm>
        </p:grpSpPr>
        <p:sp>
          <p:nvSpPr>
            <p:cNvPr id="16" name="Freeform 20">
              <a:extLst>
                <a:ext uri="{FF2B5EF4-FFF2-40B4-BE49-F238E27FC236}">
                  <a16:creationId xmlns:a16="http://schemas.microsoft.com/office/drawing/2014/main" id="{E613E7A1-9EE6-403B-A778-AAEC3C3F1F2D}"/>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C3750E03-2E3B-4B06-AEBC-30BD5F6674C9}"/>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
        <p:nvSpPr>
          <p:cNvPr id="11" name="Tijdelijke aanduiding voor tekst nw1">
            <a:extLst>
              <a:ext uri="{FF2B5EF4-FFF2-40B4-BE49-F238E27FC236}">
                <a16:creationId xmlns:a16="http://schemas.microsoft.com/office/drawing/2014/main" id="{8AB4CD50-3116-41B0-A75A-9CB826D08176}"/>
              </a:ext>
            </a:extLst>
          </p:cNvPr>
          <p:cNvSpPr>
            <a:spLocks noGrp="1"/>
          </p:cNvSpPr>
          <p:nvPr>
            <p:ph type="body" sz="quarter" idx="19" hasCustomPrompt="1"/>
          </p:nvPr>
        </p:nvSpPr>
        <p:spPr>
          <a:xfrm>
            <a:off x="662400" y="374400"/>
            <a:ext cx="1737600" cy="1046400"/>
          </a:xfrm>
          <a:blipFill>
            <a:blip r:embed="rId3" cstate="print">
              <a:extLst>
                <a:ext uri="{28A0092B-C50C-407E-A947-70E740481C1C}">
                  <a14:useLocalDpi xmlns:a14="http://schemas.microsoft.com/office/drawing/2010/main" val="0"/>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en-GB"/>
              <a:t>.</a:t>
            </a:r>
          </a:p>
        </p:txBody>
      </p:sp>
    </p:spTree>
    <p:extLst>
      <p:ext uri="{BB962C8B-B14F-4D97-AF65-F5344CB8AC3E}">
        <p14:creationId xmlns:p14="http://schemas.microsoft.com/office/powerpoint/2010/main" val="1029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Title slide - Performance - 4">
    <p:spTree>
      <p:nvGrpSpPr>
        <p:cNvPr id="1" name=""/>
        <p:cNvGrpSpPr/>
        <p:nvPr/>
      </p:nvGrpSpPr>
      <p:grpSpPr>
        <a:xfrm>
          <a:off x="0" y="0"/>
          <a:ext cx="0" cy="0"/>
          <a:chOff x="0" y="0"/>
          <a:chExt cx="0" cy="0"/>
        </a:xfrm>
      </p:grpSpPr>
      <p:pic>
        <p:nvPicPr>
          <p:cNvPr id="4" name="Picture 3" descr="A person skiing down a mountain&#10;&#10;Description automatically generated with low confidence">
            <a:extLst>
              <a:ext uri="{FF2B5EF4-FFF2-40B4-BE49-F238E27FC236}">
                <a16:creationId xmlns:a16="http://schemas.microsoft.com/office/drawing/2014/main" id="{72788981-1A3C-41F7-848A-67B12D9AE3F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0"/>
            <a:ext cx="12192001" cy="6858000"/>
          </a:xfrm>
          <a:prstGeom prst="rect">
            <a:avLst/>
          </a:prstGeom>
        </p:spPr>
      </p:pic>
      <p:sp>
        <p:nvSpPr>
          <p:cNvPr id="10" name="Tijdelijke aanduiding voor tekst 17">
            <a:extLst>
              <a:ext uri="{FF2B5EF4-FFF2-40B4-BE49-F238E27FC236}">
                <a16:creationId xmlns:a16="http://schemas.microsoft.com/office/drawing/2014/main" id="{5736CF6D-A5D6-4CEB-9FF5-2AAB68EE2CDD}"/>
              </a:ext>
            </a:extLst>
          </p:cNvPr>
          <p:cNvSpPr>
            <a:spLocks noGrp="1"/>
          </p:cNvSpPr>
          <p:nvPr>
            <p:ph type="body" sz="quarter" idx="18" hasCustomPrompt="1"/>
          </p:nvPr>
        </p:nvSpPr>
        <p:spPr>
          <a:xfrm>
            <a:off x="336554" y="1"/>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2"/>
            <a:ext cx="3168651"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Subtitle</a:t>
            </a:r>
          </a:p>
        </p:txBody>
      </p:sp>
      <p:grpSp>
        <p:nvGrpSpPr>
          <p:cNvPr id="15" name="Groep 14">
            <a:extLst>
              <a:ext uri="{FF2B5EF4-FFF2-40B4-BE49-F238E27FC236}">
                <a16:creationId xmlns:a16="http://schemas.microsoft.com/office/drawing/2014/main" id="{5719CCBA-0A8C-4DA3-A2BF-6F4EFD7ECA57}"/>
              </a:ext>
            </a:extLst>
          </p:cNvPr>
          <p:cNvGrpSpPr/>
          <p:nvPr userDrawn="1"/>
        </p:nvGrpSpPr>
        <p:grpSpPr>
          <a:xfrm>
            <a:off x="12262862" y="575999"/>
            <a:ext cx="1130143" cy="757167"/>
            <a:chOff x="9197145" y="1199569"/>
            <a:chExt cx="847607" cy="567875"/>
          </a:xfrm>
        </p:grpSpPr>
        <p:sp>
          <p:nvSpPr>
            <p:cNvPr id="16" name="Freeform 20">
              <a:extLst>
                <a:ext uri="{FF2B5EF4-FFF2-40B4-BE49-F238E27FC236}">
                  <a16:creationId xmlns:a16="http://schemas.microsoft.com/office/drawing/2014/main" id="{E613E7A1-9EE6-403B-A778-AAEC3C3F1F2D}"/>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C3750E03-2E3B-4B06-AEBC-30BD5F6674C9}"/>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
        <p:nvSpPr>
          <p:cNvPr id="11" name="Tijdelijke aanduiding voor tekst nw1">
            <a:extLst>
              <a:ext uri="{FF2B5EF4-FFF2-40B4-BE49-F238E27FC236}">
                <a16:creationId xmlns:a16="http://schemas.microsoft.com/office/drawing/2014/main" id="{8AB4CD50-3116-41B0-A75A-9CB826D08176}"/>
              </a:ext>
            </a:extLst>
          </p:cNvPr>
          <p:cNvSpPr>
            <a:spLocks noGrp="1"/>
          </p:cNvSpPr>
          <p:nvPr>
            <p:ph type="body" sz="quarter" idx="19" hasCustomPrompt="1"/>
          </p:nvPr>
        </p:nvSpPr>
        <p:spPr>
          <a:xfrm>
            <a:off x="662400" y="374400"/>
            <a:ext cx="1737600" cy="1046400"/>
          </a:xfrm>
          <a:blipFill>
            <a:blip r:embed="rId3" cstate="print">
              <a:extLst>
                <a:ext uri="{28A0092B-C50C-407E-A947-70E740481C1C}">
                  <a14:useLocalDpi xmlns:a14="http://schemas.microsoft.com/office/drawing/2010/main" val="0"/>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en-GB"/>
              <a:t>.</a:t>
            </a:r>
          </a:p>
        </p:txBody>
      </p:sp>
    </p:spTree>
    <p:extLst>
      <p:ext uri="{BB962C8B-B14F-4D97-AF65-F5344CB8AC3E}">
        <p14:creationId xmlns:p14="http://schemas.microsoft.com/office/powerpoint/2010/main" val="490611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Title slide - Performance - 5">
    <p:spTree>
      <p:nvGrpSpPr>
        <p:cNvPr id="1" name=""/>
        <p:cNvGrpSpPr/>
        <p:nvPr/>
      </p:nvGrpSpPr>
      <p:grpSpPr>
        <a:xfrm>
          <a:off x="0" y="0"/>
          <a:ext cx="0" cy="0"/>
          <a:chOff x="0" y="0"/>
          <a:chExt cx="0" cy="0"/>
        </a:xfrm>
      </p:grpSpPr>
      <p:pic>
        <p:nvPicPr>
          <p:cNvPr id="12" name="Picture Placeholder 2">
            <a:extLst>
              <a:ext uri="{FF2B5EF4-FFF2-40B4-BE49-F238E27FC236}">
                <a16:creationId xmlns:a16="http://schemas.microsoft.com/office/drawing/2014/main" id="{76DAE823-89C2-40ED-8D69-348F7A5A727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0" name="Tijdelijke aanduiding voor tekst 17">
            <a:extLst>
              <a:ext uri="{FF2B5EF4-FFF2-40B4-BE49-F238E27FC236}">
                <a16:creationId xmlns:a16="http://schemas.microsoft.com/office/drawing/2014/main" id="{06322AB3-A7DD-4C99-A0C0-E8D3A2051DBD}"/>
              </a:ext>
            </a:extLst>
          </p:cNvPr>
          <p:cNvSpPr>
            <a:spLocks noGrp="1"/>
          </p:cNvSpPr>
          <p:nvPr>
            <p:ph type="body" sz="quarter" idx="18" hasCustomPrompt="1"/>
          </p:nvPr>
        </p:nvSpPr>
        <p:spPr>
          <a:xfrm>
            <a:off x="336554" y="1"/>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4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2"/>
            <a:ext cx="3168651"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Subtitle</a:t>
            </a:r>
          </a:p>
        </p:txBody>
      </p:sp>
      <p:sp>
        <p:nvSpPr>
          <p:cNvPr id="11" name="Tijdelijke aanduiding voor tekst 21">
            <a:extLst>
              <a:ext uri="{FF2B5EF4-FFF2-40B4-BE49-F238E27FC236}">
                <a16:creationId xmlns:a16="http://schemas.microsoft.com/office/drawing/2014/main" id="{864B06FA-CA70-4595-8439-FEB797046608}"/>
              </a:ext>
            </a:extLst>
          </p:cNvPr>
          <p:cNvSpPr>
            <a:spLocks noGrp="1"/>
          </p:cNvSpPr>
          <p:nvPr>
            <p:ph type="body" sz="quarter" idx="19" hasCustomPrompt="1"/>
          </p:nvPr>
        </p:nvSpPr>
        <p:spPr>
          <a:xfrm>
            <a:off x="662400" y="374400"/>
            <a:ext cx="1737600" cy="1046400"/>
          </a:xfrm>
          <a:blipFill>
            <a:blip r:embed="rId3" cstate="print">
              <a:extLst>
                <a:ext uri="{28A0092B-C50C-407E-A947-70E740481C1C}">
                  <a14:useLocalDpi xmlns:a14="http://schemas.microsoft.com/office/drawing/2010/main" val="0"/>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en-GB"/>
              <a:t>.</a:t>
            </a:r>
          </a:p>
        </p:txBody>
      </p:sp>
      <p:grpSp>
        <p:nvGrpSpPr>
          <p:cNvPr id="15" name="Groep 14">
            <a:extLst>
              <a:ext uri="{FF2B5EF4-FFF2-40B4-BE49-F238E27FC236}">
                <a16:creationId xmlns:a16="http://schemas.microsoft.com/office/drawing/2014/main" id="{5719CCBA-0A8C-4DA3-A2BF-6F4EFD7ECA57}"/>
              </a:ext>
            </a:extLst>
          </p:cNvPr>
          <p:cNvGrpSpPr/>
          <p:nvPr userDrawn="1"/>
        </p:nvGrpSpPr>
        <p:grpSpPr>
          <a:xfrm>
            <a:off x="12262862" y="575999"/>
            <a:ext cx="1130143" cy="757167"/>
            <a:chOff x="9197145" y="1199569"/>
            <a:chExt cx="847607" cy="567875"/>
          </a:xfrm>
        </p:grpSpPr>
        <p:sp>
          <p:nvSpPr>
            <p:cNvPr id="16" name="Freeform 20">
              <a:extLst>
                <a:ext uri="{FF2B5EF4-FFF2-40B4-BE49-F238E27FC236}">
                  <a16:creationId xmlns:a16="http://schemas.microsoft.com/office/drawing/2014/main" id="{E613E7A1-9EE6-403B-A778-AAEC3C3F1F2D}"/>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C3750E03-2E3B-4B06-AEBC-30BD5F6674C9}"/>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3624259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Title slide - Medical">
    <p:spTree>
      <p:nvGrpSpPr>
        <p:cNvPr id="1" name=""/>
        <p:cNvGrpSpPr/>
        <p:nvPr/>
      </p:nvGrpSpPr>
      <p:grpSpPr>
        <a:xfrm>
          <a:off x="0" y="0"/>
          <a:ext cx="0" cy="0"/>
          <a:chOff x="0" y="0"/>
          <a:chExt cx="0" cy="0"/>
        </a:xfrm>
      </p:grpSpPr>
      <p:pic>
        <p:nvPicPr>
          <p:cNvPr id="10" name="Picture Placeholder 6" descr="A person and person sitting on a pink chair&#10;&#10;Description automatically generated with low confidence">
            <a:extLst>
              <a:ext uri="{FF2B5EF4-FFF2-40B4-BE49-F238E27FC236}">
                <a16:creationId xmlns:a16="http://schemas.microsoft.com/office/drawing/2014/main" id="{B9369420-5C99-49AF-B3BD-721BD79A1AA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2" name="Tijdelijke aanduiding voor tekst 17">
            <a:extLst>
              <a:ext uri="{FF2B5EF4-FFF2-40B4-BE49-F238E27FC236}">
                <a16:creationId xmlns:a16="http://schemas.microsoft.com/office/drawing/2014/main" id="{0A94012A-1853-4898-91AB-00F634F8E600}"/>
              </a:ext>
            </a:extLst>
          </p:cNvPr>
          <p:cNvSpPr>
            <a:spLocks noGrp="1"/>
          </p:cNvSpPr>
          <p:nvPr>
            <p:ph type="body" sz="quarter" idx="18" hasCustomPrompt="1"/>
          </p:nvPr>
        </p:nvSpPr>
        <p:spPr>
          <a:xfrm>
            <a:off x="336554" y="1"/>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4 FrieslandCampina Ingredients</a:t>
            </a:r>
          </a:p>
        </p:txBody>
      </p:sp>
      <p:sp>
        <p:nvSpPr>
          <p:cNvPr id="3" name="Subtitle 2"/>
          <p:cNvSpPr>
            <a:spLocks noGrp="1"/>
          </p:cNvSpPr>
          <p:nvPr>
            <p:ph type="subTitle" idx="1" hasCustomPrompt="1"/>
          </p:nvPr>
        </p:nvSpPr>
        <p:spPr>
          <a:xfrm>
            <a:off x="1007533" y="3885842"/>
            <a:ext cx="3168651"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Subtitle</a:t>
            </a:r>
          </a:p>
        </p:txBody>
      </p:sp>
      <p:sp>
        <p:nvSpPr>
          <p:cNvPr id="11" name="Tijdelijke aanduiding voor tekst 21">
            <a:extLst>
              <a:ext uri="{FF2B5EF4-FFF2-40B4-BE49-F238E27FC236}">
                <a16:creationId xmlns:a16="http://schemas.microsoft.com/office/drawing/2014/main" id="{864B06FA-CA70-4595-8439-FEB797046608}"/>
              </a:ext>
            </a:extLst>
          </p:cNvPr>
          <p:cNvSpPr>
            <a:spLocks noGrp="1"/>
          </p:cNvSpPr>
          <p:nvPr>
            <p:ph type="body" sz="quarter" idx="19" hasCustomPrompt="1"/>
          </p:nvPr>
        </p:nvSpPr>
        <p:spPr>
          <a:xfrm>
            <a:off x="662400" y="374400"/>
            <a:ext cx="1737600" cy="1046400"/>
          </a:xfrm>
          <a:blipFill>
            <a:blip r:embed="rId3" cstate="print">
              <a:extLst>
                <a:ext uri="{28A0092B-C50C-407E-A947-70E740481C1C}">
                  <a14:useLocalDpi xmlns:a14="http://schemas.microsoft.com/office/drawing/2010/main" val="0"/>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en-GB"/>
              <a:t>.</a:t>
            </a:r>
          </a:p>
        </p:txBody>
      </p:sp>
      <p:grpSp>
        <p:nvGrpSpPr>
          <p:cNvPr id="15" name="Groep 14">
            <a:extLst>
              <a:ext uri="{FF2B5EF4-FFF2-40B4-BE49-F238E27FC236}">
                <a16:creationId xmlns:a16="http://schemas.microsoft.com/office/drawing/2014/main" id="{BAA1BCD9-45E9-4B83-9FEE-F1CE98E92DE8}"/>
              </a:ext>
            </a:extLst>
          </p:cNvPr>
          <p:cNvGrpSpPr/>
          <p:nvPr userDrawn="1"/>
        </p:nvGrpSpPr>
        <p:grpSpPr>
          <a:xfrm>
            <a:off x="12262862" y="575999"/>
            <a:ext cx="1130143" cy="757167"/>
            <a:chOff x="9197145" y="1199569"/>
            <a:chExt cx="847607" cy="567875"/>
          </a:xfrm>
        </p:grpSpPr>
        <p:sp>
          <p:nvSpPr>
            <p:cNvPr id="16" name="Freeform 20">
              <a:extLst>
                <a:ext uri="{FF2B5EF4-FFF2-40B4-BE49-F238E27FC236}">
                  <a16:creationId xmlns:a16="http://schemas.microsoft.com/office/drawing/2014/main" id="{81354EDD-EEE1-4FF1-B136-EAA3435011DC}"/>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652A80FE-093A-4450-AE3E-50E28D0164D7}"/>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4151352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Title slide - Cell">
    <p:spTree>
      <p:nvGrpSpPr>
        <p:cNvPr id="1" name=""/>
        <p:cNvGrpSpPr/>
        <p:nvPr/>
      </p:nvGrpSpPr>
      <p:grpSpPr>
        <a:xfrm>
          <a:off x="0" y="0"/>
          <a:ext cx="0" cy="0"/>
          <a:chOff x="0" y="0"/>
          <a:chExt cx="0" cy="0"/>
        </a:xfrm>
      </p:grpSpPr>
      <p:pic>
        <p:nvPicPr>
          <p:cNvPr id="12" name="Tijdelijke aanduiding voor afbeelding 6" descr="Afbeelding met muur, binnen, kast, persoon&#10;&#10;Automatisch gegenereerde beschrijving">
            <a:extLst>
              <a:ext uri="{FF2B5EF4-FFF2-40B4-BE49-F238E27FC236}">
                <a16:creationId xmlns:a16="http://schemas.microsoft.com/office/drawing/2014/main" id="{013A8E42-82FC-4EBB-A3D0-38C2FB54F43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0" name="Tijdelijke aanduiding voor tekst 17">
            <a:extLst>
              <a:ext uri="{FF2B5EF4-FFF2-40B4-BE49-F238E27FC236}">
                <a16:creationId xmlns:a16="http://schemas.microsoft.com/office/drawing/2014/main" id="{A9DD9BC4-EB8A-49DE-8A79-E9C776578677}"/>
              </a:ext>
            </a:extLst>
          </p:cNvPr>
          <p:cNvSpPr>
            <a:spLocks noGrp="1"/>
          </p:cNvSpPr>
          <p:nvPr>
            <p:ph type="body" sz="quarter" idx="18" hasCustomPrompt="1"/>
          </p:nvPr>
        </p:nvSpPr>
        <p:spPr>
          <a:xfrm>
            <a:off x="336554" y="1"/>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2"/>
            <a:ext cx="3168651"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Subtitle</a:t>
            </a:r>
          </a:p>
        </p:txBody>
      </p:sp>
      <p:sp>
        <p:nvSpPr>
          <p:cNvPr id="11" name="Tijdelijke aanduiding voor tekst 21">
            <a:extLst>
              <a:ext uri="{FF2B5EF4-FFF2-40B4-BE49-F238E27FC236}">
                <a16:creationId xmlns:a16="http://schemas.microsoft.com/office/drawing/2014/main" id="{864B06FA-CA70-4595-8439-FEB797046608}"/>
              </a:ext>
            </a:extLst>
          </p:cNvPr>
          <p:cNvSpPr>
            <a:spLocks noGrp="1"/>
          </p:cNvSpPr>
          <p:nvPr>
            <p:ph type="body" sz="quarter" idx="19" hasCustomPrompt="1"/>
          </p:nvPr>
        </p:nvSpPr>
        <p:spPr>
          <a:xfrm>
            <a:off x="662400" y="374400"/>
            <a:ext cx="1737600" cy="1046400"/>
          </a:xfrm>
          <a:blipFill>
            <a:blip r:embed="rId3" cstate="print">
              <a:extLst>
                <a:ext uri="{28A0092B-C50C-407E-A947-70E740481C1C}">
                  <a14:useLocalDpi xmlns:a14="http://schemas.microsoft.com/office/drawing/2010/main" val="0"/>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en-GB"/>
              <a:t>.</a:t>
            </a:r>
          </a:p>
        </p:txBody>
      </p:sp>
      <p:grpSp>
        <p:nvGrpSpPr>
          <p:cNvPr id="15" name="Groep 14">
            <a:extLst>
              <a:ext uri="{FF2B5EF4-FFF2-40B4-BE49-F238E27FC236}">
                <a16:creationId xmlns:a16="http://schemas.microsoft.com/office/drawing/2014/main" id="{ED4C5031-7AC8-4BE5-BE89-140AA1F475CE}"/>
              </a:ext>
            </a:extLst>
          </p:cNvPr>
          <p:cNvGrpSpPr/>
          <p:nvPr userDrawn="1"/>
        </p:nvGrpSpPr>
        <p:grpSpPr>
          <a:xfrm>
            <a:off x="12262862" y="575999"/>
            <a:ext cx="1130143" cy="757167"/>
            <a:chOff x="9197145" y="1199569"/>
            <a:chExt cx="847607" cy="567875"/>
          </a:xfrm>
        </p:grpSpPr>
        <p:sp>
          <p:nvSpPr>
            <p:cNvPr id="16" name="Freeform 20">
              <a:extLst>
                <a:ext uri="{FF2B5EF4-FFF2-40B4-BE49-F238E27FC236}">
                  <a16:creationId xmlns:a16="http://schemas.microsoft.com/office/drawing/2014/main" id="{F19F2DF6-D9C0-48E9-BED6-6107F241BAC5}"/>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8A6F57C1-1B96-437A-88E0-A356DD482312}"/>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420332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Title slide - 2">
    <p:spTree>
      <p:nvGrpSpPr>
        <p:cNvPr id="1" name=""/>
        <p:cNvGrpSpPr/>
        <p:nvPr/>
      </p:nvGrpSpPr>
      <p:grpSpPr>
        <a:xfrm>
          <a:off x="0" y="0"/>
          <a:ext cx="0" cy="0"/>
          <a:chOff x="0" y="0"/>
          <a:chExt cx="0" cy="0"/>
        </a:xfrm>
      </p:grpSpPr>
      <p:sp>
        <p:nvSpPr>
          <p:cNvPr id="2" name="Title 1"/>
          <p:cNvSpPr>
            <a:spLocks noGrp="1"/>
          </p:cNvSpPr>
          <p:nvPr>
            <p:ph type="ctrTitle"/>
          </p:nvPr>
        </p:nvSpPr>
        <p:spPr>
          <a:xfrm>
            <a:off x="1007533" y="1701803"/>
            <a:ext cx="3168651" cy="3366069"/>
          </a:xfrm>
        </p:spPr>
        <p:txBody>
          <a:bodyPr wrap="square" anchor="b"/>
          <a:lstStyle>
            <a:lvl1pPr algn="l">
              <a:lnSpc>
                <a:spcPct val="112000"/>
              </a:lnSpc>
              <a:defRPr sz="3200"/>
            </a:lvl1pPr>
          </a:lstStyle>
          <a:p>
            <a:r>
              <a:rPr lang="en-GB"/>
              <a:t>Click to edit Master title style</a:t>
            </a:r>
          </a:p>
        </p:txBody>
      </p:sp>
      <p:sp>
        <p:nvSpPr>
          <p:cNvPr id="3" name="Subtitle 2"/>
          <p:cNvSpPr>
            <a:spLocks noGrp="1"/>
          </p:cNvSpPr>
          <p:nvPr>
            <p:ph type="subTitle" idx="1"/>
          </p:nvPr>
        </p:nvSpPr>
        <p:spPr>
          <a:xfrm>
            <a:off x="1007535" y="5240497"/>
            <a:ext cx="3168676" cy="644296"/>
          </a:xfrm>
        </p:spPr>
        <p:txBody>
          <a:bodyPr wrap="square">
            <a:noAutofit/>
          </a:bodyPr>
          <a:lstStyle>
            <a:lvl1pPr marL="0" indent="0" algn="l">
              <a:buNone/>
              <a:defRPr sz="1867"/>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7535" y="6536949"/>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grpSp>
        <p:nvGrpSpPr>
          <p:cNvPr id="5" name="Groep 4">
            <a:extLst>
              <a:ext uri="{FF2B5EF4-FFF2-40B4-BE49-F238E27FC236}">
                <a16:creationId xmlns:a16="http://schemas.microsoft.com/office/drawing/2014/main" id="{D5A2D930-4F05-43DA-8F93-DEAFE1096447}"/>
              </a:ext>
            </a:extLst>
          </p:cNvPr>
          <p:cNvGrpSpPr/>
          <p:nvPr userDrawn="1"/>
        </p:nvGrpSpPr>
        <p:grpSpPr>
          <a:xfrm>
            <a:off x="12262862" y="575999"/>
            <a:ext cx="1130143" cy="757167"/>
            <a:chOff x="9197145" y="1199569"/>
            <a:chExt cx="847607" cy="567875"/>
          </a:xfrm>
        </p:grpSpPr>
        <p:sp>
          <p:nvSpPr>
            <p:cNvPr id="7" name="Freeform 20">
              <a:extLst>
                <a:ext uri="{FF2B5EF4-FFF2-40B4-BE49-F238E27FC236}">
                  <a16:creationId xmlns:a16="http://schemas.microsoft.com/office/drawing/2014/main" id="{EC6D8501-6CE5-4E1D-B8D6-010E436AF741}"/>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4" name="Tekstvak 3">
              <a:extLst>
                <a:ext uri="{FF2B5EF4-FFF2-40B4-BE49-F238E27FC236}">
                  <a16:creationId xmlns:a16="http://schemas.microsoft.com/office/drawing/2014/main" id="{2565ADC4-81D8-4B71-BCBD-613626D2F4F6}"/>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pic>
        <p:nvPicPr>
          <p:cNvPr id="8" name="Afbeelding 7">
            <a:extLst>
              <a:ext uri="{FF2B5EF4-FFF2-40B4-BE49-F238E27FC236}">
                <a16:creationId xmlns:a16="http://schemas.microsoft.com/office/drawing/2014/main" id="{98B43D0B-1546-47CD-A118-64DC48F2343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48002" y="374400"/>
            <a:ext cx="1727615" cy="1046400"/>
          </a:xfrm>
          <a:prstGeom prst="rect">
            <a:avLst/>
          </a:prstGeom>
        </p:spPr>
      </p:pic>
      <p:sp>
        <p:nvSpPr>
          <p:cNvPr id="18" name="Tijdelijke aanduiding voor afbeelding 17">
            <a:extLst>
              <a:ext uri="{FF2B5EF4-FFF2-40B4-BE49-F238E27FC236}">
                <a16:creationId xmlns:a16="http://schemas.microsoft.com/office/drawing/2014/main" id="{6E9B25BF-2C2A-4C2A-B366-1212A42A49B8}"/>
              </a:ext>
            </a:extLst>
          </p:cNvPr>
          <p:cNvSpPr>
            <a:spLocks noGrp="1"/>
          </p:cNvSpPr>
          <p:nvPr>
            <p:ph type="pic" sz="quarter" idx="14" hasCustomPrompt="1"/>
          </p:nvPr>
        </p:nvSpPr>
        <p:spPr>
          <a:xfrm>
            <a:off x="4526471" y="2"/>
            <a:ext cx="7665532" cy="5884793"/>
          </a:xfrm>
          <a:custGeom>
            <a:avLst/>
            <a:gdLst>
              <a:gd name="connsiteX0" fmla="*/ 0 w 5749149"/>
              <a:gd name="connsiteY0" fmla="*/ 0 h 4413595"/>
              <a:gd name="connsiteX1" fmla="*/ 5749148 w 5749149"/>
              <a:gd name="connsiteY1" fmla="*/ 0 h 4413595"/>
              <a:gd name="connsiteX2" fmla="*/ 5749148 w 5749149"/>
              <a:gd name="connsiteY2" fmla="*/ 712034 h 4413595"/>
              <a:gd name="connsiteX3" fmla="*/ 5749149 w 5749149"/>
              <a:gd name="connsiteY3" fmla="*/ 712034 h 4413595"/>
              <a:gd name="connsiteX4" fmla="*/ 5749149 w 5749149"/>
              <a:gd name="connsiteY4" fmla="*/ 4413595 h 4413595"/>
              <a:gd name="connsiteX5" fmla="*/ 616959 w 5749149"/>
              <a:gd name="connsiteY5" fmla="*/ 4413595 h 4413595"/>
              <a:gd name="connsiteX6" fmla="*/ 20 w 5749149"/>
              <a:gd name="connsiteY6" fmla="*/ 3796656 h 4413595"/>
              <a:gd name="connsiteX7" fmla="*/ 20 w 5749149"/>
              <a:gd name="connsiteY7" fmla="*/ 3452501 h 4413595"/>
              <a:gd name="connsiteX8" fmla="*/ 0 w 5749149"/>
              <a:gd name="connsiteY8" fmla="*/ 3452501 h 441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49149" h="4413595">
                <a:moveTo>
                  <a:pt x="0" y="0"/>
                </a:moveTo>
                <a:lnTo>
                  <a:pt x="5749148" y="0"/>
                </a:lnTo>
                <a:lnTo>
                  <a:pt x="5749148" y="712034"/>
                </a:lnTo>
                <a:lnTo>
                  <a:pt x="5749149" y="712034"/>
                </a:lnTo>
                <a:lnTo>
                  <a:pt x="5749149" y="4413595"/>
                </a:lnTo>
                <a:lnTo>
                  <a:pt x="616959" y="4413595"/>
                </a:lnTo>
                <a:cubicBezTo>
                  <a:pt x="276233" y="4413595"/>
                  <a:pt x="20" y="4137382"/>
                  <a:pt x="20" y="3796656"/>
                </a:cubicBezTo>
                <a:lnTo>
                  <a:pt x="20" y="3452501"/>
                </a:lnTo>
                <a:lnTo>
                  <a:pt x="0" y="3452501"/>
                </a:lnTo>
                <a:close/>
              </a:path>
            </a:pathLst>
          </a:custGeom>
          <a:solidFill>
            <a:schemeClr val="tx1">
              <a:lumMod val="20000"/>
              <a:lumOff val="80000"/>
            </a:schemeClr>
          </a:solidFill>
        </p:spPr>
        <p:txBody>
          <a:bodyPr wrap="square">
            <a:noAutofit/>
          </a:bodyPr>
          <a:lstStyle>
            <a:lvl1pPr marL="0" indent="0" algn="ctr">
              <a:buNone/>
              <a:defRPr>
                <a:solidFill>
                  <a:schemeClr val="accent1"/>
                </a:solidFill>
              </a:defRPr>
            </a:lvl1pPr>
          </a:lstStyle>
          <a:p>
            <a:r>
              <a:rPr lang="en-GB"/>
              <a:t>Image</a:t>
            </a:r>
          </a:p>
        </p:txBody>
      </p:sp>
    </p:spTree>
    <p:extLst>
      <p:ext uri="{BB962C8B-B14F-4D97-AF65-F5344CB8AC3E}">
        <p14:creationId xmlns:p14="http://schemas.microsoft.com/office/powerpoint/2010/main" val="2292947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3">
          <p15:clr>
            <a:srgbClr val="5ACBF0"/>
          </p15:clr>
        </p15:guide>
        <p15:guide id="2" pos="476">
          <p15:clr>
            <a:srgbClr val="5ACBF0"/>
          </p15:clr>
        </p15:guide>
        <p15:guide id="3" orient="horz" pos="2346">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Breaker">
    <p:spTree>
      <p:nvGrpSpPr>
        <p:cNvPr id="1" name=""/>
        <p:cNvGrpSpPr/>
        <p:nvPr/>
      </p:nvGrpSpPr>
      <p:grpSpPr>
        <a:xfrm>
          <a:off x="0" y="0"/>
          <a:ext cx="0" cy="0"/>
          <a:chOff x="0" y="0"/>
          <a:chExt cx="0" cy="0"/>
        </a:xfrm>
      </p:grpSpPr>
      <p:sp>
        <p:nvSpPr>
          <p:cNvPr id="10" name="Tijdelijke aanduiding voor afbeelding 7">
            <a:extLst>
              <a:ext uri="{FF2B5EF4-FFF2-40B4-BE49-F238E27FC236}">
                <a16:creationId xmlns:a16="http://schemas.microsoft.com/office/drawing/2014/main" id="{4DAEAD04-C1FD-4924-B727-1FF08B2835E8}"/>
              </a:ext>
            </a:extLst>
          </p:cNvPr>
          <p:cNvSpPr>
            <a:spLocks noGrp="1"/>
          </p:cNvSpPr>
          <p:nvPr>
            <p:ph type="pic" sz="quarter" idx="13" hasCustomPrompt="1"/>
          </p:nvPr>
        </p:nvSpPr>
        <p:spPr>
          <a:xfrm>
            <a:off x="0" y="0"/>
            <a:ext cx="12192000" cy="6858000"/>
          </a:xfrm>
          <a:solidFill>
            <a:schemeClr val="tx1">
              <a:lumMod val="20000"/>
              <a:lumOff val="80000"/>
            </a:schemeClr>
          </a:solidFill>
        </p:spPr>
        <p:txBody>
          <a:bodyPr/>
          <a:lstStyle>
            <a:lvl1pPr marL="0" indent="0" algn="ctr">
              <a:buNone/>
              <a:defRPr>
                <a:solidFill>
                  <a:schemeClr val="accent1"/>
                </a:solidFill>
              </a:defRPr>
            </a:lvl1pPr>
          </a:lstStyle>
          <a:p>
            <a:r>
              <a:rPr lang="en-GB"/>
              <a:t>Image</a:t>
            </a:r>
          </a:p>
        </p:txBody>
      </p:sp>
      <p:sp>
        <p:nvSpPr>
          <p:cNvPr id="18" name="Tijdelijke aanduiding voor tekst 17">
            <a:extLst>
              <a:ext uri="{FF2B5EF4-FFF2-40B4-BE49-F238E27FC236}">
                <a16:creationId xmlns:a16="http://schemas.microsoft.com/office/drawing/2014/main" id="{134848E4-6B17-49A0-B7F6-34867199C050}"/>
              </a:ext>
            </a:extLst>
          </p:cNvPr>
          <p:cNvSpPr>
            <a:spLocks noGrp="1"/>
          </p:cNvSpPr>
          <p:nvPr>
            <p:ph type="body" sz="quarter" idx="18" hasCustomPrompt="1"/>
          </p:nvPr>
        </p:nvSpPr>
        <p:spPr>
          <a:xfrm>
            <a:off x="336552" y="3070800"/>
            <a:ext cx="3839632" cy="3787200"/>
          </a:xfrm>
          <a:prstGeom prst="round1Rect">
            <a:avLst/>
          </a:prstGeom>
          <a:solidFill>
            <a:srgbClr val="FFFFFF">
              <a:alpha val="85098"/>
            </a:srgbClr>
          </a:solidFill>
        </p:spPr>
        <p:txBody>
          <a:bodyPr wrap="square" lIns="288000" tIns="468000" rIns="72000" bIns="252000">
            <a:noAutofit/>
          </a:bodyPr>
          <a:lstStyle>
            <a:lvl1pPr marL="0" indent="0">
              <a:spcBef>
                <a:spcPts val="0"/>
              </a:spcBef>
              <a:buNone/>
              <a:defRPr sz="3200">
                <a:solidFill>
                  <a:schemeClr val="accent1"/>
                </a:solidFill>
              </a:defRPr>
            </a:lvl1pPr>
          </a:lstStyle>
          <a:p>
            <a:pPr lvl="0"/>
            <a:r>
              <a:rPr lang="en-GB"/>
              <a:t>Breaker text</a:t>
            </a:r>
          </a:p>
        </p:txBody>
      </p:sp>
    </p:spTree>
    <p:extLst>
      <p:ext uri="{BB962C8B-B14F-4D97-AF65-F5344CB8AC3E}">
        <p14:creationId xmlns:p14="http://schemas.microsoft.com/office/powerpoint/2010/main" val="748924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Breaker - Sustainability - 1">
    <p:spTree>
      <p:nvGrpSpPr>
        <p:cNvPr id="1" name=""/>
        <p:cNvGrpSpPr/>
        <p:nvPr/>
      </p:nvGrpSpPr>
      <p:grpSpPr>
        <a:xfrm>
          <a:off x="0" y="0"/>
          <a:ext cx="0" cy="0"/>
          <a:chOff x="0" y="0"/>
          <a:chExt cx="0" cy="0"/>
        </a:xfrm>
      </p:grpSpPr>
      <p:pic>
        <p:nvPicPr>
          <p:cNvPr id="6" name="Tijdelijke aanduiding voor afbeelding 4" descr="Afbeelding met man, muur, binnen, persoon&#10;&#10;Automatisch gegenereerde beschrijving">
            <a:extLst>
              <a:ext uri="{FF2B5EF4-FFF2-40B4-BE49-F238E27FC236}">
                <a16:creationId xmlns:a16="http://schemas.microsoft.com/office/drawing/2014/main" id="{5666F016-DEDE-4115-9CB0-6E425EC45CC4}"/>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Tijdelijke aanduiding voor tekst 17">
            <a:extLst>
              <a:ext uri="{FF2B5EF4-FFF2-40B4-BE49-F238E27FC236}">
                <a16:creationId xmlns:a16="http://schemas.microsoft.com/office/drawing/2014/main" id="{34B2F4B7-36EA-417A-B12D-F6CDC6FD31B7}"/>
              </a:ext>
            </a:extLst>
          </p:cNvPr>
          <p:cNvSpPr>
            <a:spLocks noGrp="1"/>
          </p:cNvSpPr>
          <p:nvPr>
            <p:ph type="body" sz="quarter" idx="18" hasCustomPrompt="1"/>
          </p:nvPr>
        </p:nvSpPr>
        <p:spPr>
          <a:xfrm>
            <a:off x="336552" y="3070800"/>
            <a:ext cx="3839632" cy="3787200"/>
          </a:xfrm>
          <a:prstGeom prst="round1Rect">
            <a:avLst/>
          </a:prstGeom>
          <a:solidFill>
            <a:srgbClr val="FFFFFF">
              <a:alpha val="85098"/>
            </a:srgbClr>
          </a:solidFill>
        </p:spPr>
        <p:txBody>
          <a:bodyPr wrap="square" lIns="288000" tIns="468000" rIns="72000" bIns="252000">
            <a:noAutofit/>
          </a:bodyPr>
          <a:lstStyle>
            <a:lvl1pPr marL="0" indent="0">
              <a:spcBef>
                <a:spcPts val="0"/>
              </a:spcBef>
              <a:buNone/>
              <a:defRPr sz="3200">
                <a:solidFill>
                  <a:schemeClr val="accent1"/>
                </a:solidFill>
              </a:defRPr>
            </a:lvl1pPr>
          </a:lstStyle>
          <a:p>
            <a:pPr lvl="0"/>
            <a:r>
              <a:rPr lang="en-GB"/>
              <a:t>Breaker text</a:t>
            </a:r>
          </a:p>
        </p:txBody>
      </p:sp>
    </p:spTree>
    <p:extLst>
      <p:ext uri="{BB962C8B-B14F-4D97-AF65-F5344CB8AC3E}">
        <p14:creationId xmlns:p14="http://schemas.microsoft.com/office/powerpoint/2010/main" val="1017955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Breaker - Sustainability - 2">
    <p:spTree>
      <p:nvGrpSpPr>
        <p:cNvPr id="1" name=""/>
        <p:cNvGrpSpPr/>
        <p:nvPr/>
      </p:nvGrpSpPr>
      <p:grpSpPr>
        <a:xfrm>
          <a:off x="0" y="0"/>
          <a:ext cx="0" cy="0"/>
          <a:chOff x="0" y="0"/>
          <a:chExt cx="0" cy="0"/>
        </a:xfrm>
      </p:grpSpPr>
      <p:pic>
        <p:nvPicPr>
          <p:cNvPr id="8" name="Tijdelijke aanduiding voor afbeelding 4" descr="Afbeelding met muur, binnen, staand, man&#10;&#10;Automatisch gegenereerde beschrijving">
            <a:extLst>
              <a:ext uri="{FF2B5EF4-FFF2-40B4-BE49-F238E27FC236}">
                <a16:creationId xmlns:a16="http://schemas.microsoft.com/office/drawing/2014/main" id="{C2F280A5-C404-4589-B38B-35E808D5E831}"/>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a:fillRect/>
          </a:stretch>
        </p:blipFill>
        <p:spPr>
          <a:xfrm>
            <a:off x="0" y="0"/>
            <a:ext cx="12192000" cy="6858000"/>
          </a:xfrm>
          <a:prstGeom prst="rect">
            <a:avLst/>
          </a:prstGeom>
        </p:spPr>
      </p:pic>
      <p:sp>
        <p:nvSpPr>
          <p:cNvPr id="5" name="Tijdelijke aanduiding voor tekst 17">
            <a:extLst>
              <a:ext uri="{FF2B5EF4-FFF2-40B4-BE49-F238E27FC236}">
                <a16:creationId xmlns:a16="http://schemas.microsoft.com/office/drawing/2014/main" id="{934913D2-2BD7-4D5C-9A52-9D6706141DD8}"/>
              </a:ext>
            </a:extLst>
          </p:cNvPr>
          <p:cNvSpPr>
            <a:spLocks noGrp="1"/>
          </p:cNvSpPr>
          <p:nvPr>
            <p:ph type="body" sz="quarter" idx="18" hasCustomPrompt="1"/>
          </p:nvPr>
        </p:nvSpPr>
        <p:spPr>
          <a:xfrm>
            <a:off x="336552" y="3070800"/>
            <a:ext cx="3839632" cy="3787200"/>
          </a:xfrm>
          <a:prstGeom prst="round1Rect">
            <a:avLst/>
          </a:prstGeom>
          <a:solidFill>
            <a:srgbClr val="FFFFFF">
              <a:alpha val="85098"/>
            </a:srgbClr>
          </a:solidFill>
        </p:spPr>
        <p:txBody>
          <a:bodyPr wrap="square" lIns="288000" tIns="468000" rIns="72000" bIns="252000">
            <a:noAutofit/>
          </a:bodyPr>
          <a:lstStyle>
            <a:lvl1pPr marL="0" indent="0">
              <a:spcBef>
                <a:spcPts val="0"/>
              </a:spcBef>
              <a:buNone/>
              <a:defRPr sz="3200">
                <a:solidFill>
                  <a:schemeClr val="accent1"/>
                </a:solidFill>
              </a:defRPr>
            </a:lvl1pPr>
          </a:lstStyle>
          <a:p>
            <a:pPr lvl="0"/>
            <a:r>
              <a:rPr lang="en-GB"/>
              <a:t>Breaker text</a:t>
            </a:r>
          </a:p>
        </p:txBody>
      </p:sp>
    </p:spTree>
    <p:extLst>
      <p:ext uri="{BB962C8B-B14F-4D97-AF65-F5344CB8AC3E}">
        <p14:creationId xmlns:p14="http://schemas.microsoft.com/office/powerpoint/2010/main" val="239123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objec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a:t>Click to add title</a:t>
            </a:r>
          </a:p>
        </p:txBody>
      </p:sp>
      <p:sp>
        <p:nvSpPr>
          <p:cNvPr id="3" name="Content Placeholder 2"/>
          <p:cNvSpPr>
            <a:spLocks noGrp="1"/>
          </p:cNvSpPr>
          <p:nvPr>
            <p:ph idx="1" hasCustomPrompt="1"/>
          </p:nvPr>
        </p:nvSpPr>
        <p:spPr>
          <a:xfrm>
            <a:off x="580291" y="1701801"/>
            <a:ext cx="11035975" cy="4366684"/>
          </a:xfrm>
        </p:spPr>
        <p:txBody>
          <a:bodyPr/>
          <a:lstStyle/>
          <a:p>
            <a:pPr lvl="0"/>
            <a:r>
              <a:rPr lang="en-GB"/>
              <a:t>Click to add text or object</a:t>
            </a:r>
          </a:p>
          <a:p>
            <a:pPr lvl="1"/>
            <a:r>
              <a:rPr lang="en-GB"/>
              <a:t>Text level 2</a:t>
            </a:r>
          </a:p>
          <a:p>
            <a:pPr lvl="2"/>
            <a:r>
              <a:rPr lang="en-GB"/>
              <a:t>Text level 3</a:t>
            </a:r>
          </a:p>
          <a:p>
            <a:pPr lvl="3"/>
            <a:r>
              <a:rPr lang="en-GB"/>
              <a:t>Text level 4</a:t>
            </a:r>
          </a:p>
          <a:p>
            <a:pPr lvl="4"/>
            <a:r>
              <a:rPr lang="en-GB"/>
              <a:t>Text level 5</a:t>
            </a:r>
          </a:p>
        </p:txBody>
      </p:sp>
      <p:sp>
        <p:nvSpPr>
          <p:cNvPr id="4" name="Date Placeholder 3"/>
          <p:cNvSpPr>
            <a:spLocks noGrp="1"/>
          </p:cNvSpPr>
          <p:nvPr>
            <p:ph type="dt" sz="half" idx="10"/>
          </p:nvPr>
        </p:nvSpPr>
        <p:spPr/>
        <p:txBody>
          <a:bodyPr/>
          <a:lstStyle/>
          <a:p>
            <a:fld id="{7381821D-2339-4248-8565-4CF40D280926}" type="datetime1">
              <a:rPr lang="en-GB" smtClean="0"/>
              <a:t>18/04/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Tree>
    <p:extLst>
      <p:ext uri="{BB962C8B-B14F-4D97-AF65-F5344CB8AC3E}">
        <p14:creationId xmlns:p14="http://schemas.microsoft.com/office/powerpoint/2010/main" val="337166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Breaker - Sustainability 3">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69C679A2-B3B6-4430-9CDA-E92B50EAFBF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6" name="Tijdelijke aanduiding voor tekst 17">
            <a:extLst>
              <a:ext uri="{FF2B5EF4-FFF2-40B4-BE49-F238E27FC236}">
                <a16:creationId xmlns:a16="http://schemas.microsoft.com/office/drawing/2014/main" id="{845C6ED4-5203-474D-B0E3-EE3169CF37C7}"/>
              </a:ext>
            </a:extLst>
          </p:cNvPr>
          <p:cNvSpPr>
            <a:spLocks noGrp="1"/>
          </p:cNvSpPr>
          <p:nvPr>
            <p:ph type="body" sz="quarter" idx="18" hasCustomPrompt="1"/>
          </p:nvPr>
        </p:nvSpPr>
        <p:spPr>
          <a:xfrm>
            <a:off x="336552" y="3070800"/>
            <a:ext cx="3839632" cy="3787200"/>
          </a:xfrm>
          <a:prstGeom prst="round1Rect">
            <a:avLst/>
          </a:prstGeom>
          <a:solidFill>
            <a:srgbClr val="FFFFFF">
              <a:alpha val="85098"/>
            </a:srgbClr>
          </a:solidFill>
        </p:spPr>
        <p:txBody>
          <a:bodyPr wrap="square" lIns="288000" tIns="468000" rIns="72000" bIns="252000">
            <a:noAutofit/>
          </a:bodyPr>
          <a:lstStyle>
            <a:lvl1pPr marL="0" indent="0">
              <a:spcBef>
                <a:spcPts val="0"/>
              </a:spcBef>
              <a:buNone/>
              <a:defRPr sz="3200">
                <a:solidFill>
                  <a:schemeClr val="accent1"/>
                </a:solidFill>
              </a:defRPr>
            </a:lvl1pPr>
          </a:lstStyle>
          <a:p>
            <a:pPr lvl="0"/>
            <a:r>
              <a:rPr lang="en-GB"/>
              <a:t>Breaker text</a:t>
            </a:r>
          </a:p>
        </p:txBody>
      </p:sp>
    </p:spTree>
    <p:extLst>
      <p:ext uri="{BB962C8B-B14F-4D97-AF65-F5344CB8AC3E}">
        <p14:creationId xmlns:p14="http://schemas.microsoft.com/office/powerpoint/2010/main" val="2739257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Breaker - R&amp;D">
    <p:spTree>
      <p:nvGrpSpPr>
        <p:cNvPr id="1" name=""/>
        <p:cNvGrpSpPr/>
        <p:nvPr/>
      </p:nvGrpSpPr>
      <p:grpSpPr>
        <a:xfrm>
          <a:off x="0" y="0"/>
          <a:ext cx="0" cy="0"/>
          <a:chOff x="0" y="0"/>
          <a:chExt cx="0" cy="0"/>
        </a:xfrm>
      </p:grpSpPr>
      <p:pic>
        <p:nvPicPr>
          <p:cNvPr id="7" name="Tijdelijke aanduiding voor afbeelding 4" descr="Afbeelding met muur, binnen, man, kast&#10;&#10;Automatisch gegenereerde beschrijving">
            <a:extLst>
              <a:ext uri="{FF2B5EF4-FFF2-40B4-BE49-F238E27FC236}">
                <a16:creationId xmlns:a16="http://schemas.microsoft.com/office/drawing/2014/main" id="{6FE5F232-D9F7-4D5C-8553-EF43D6694C32}"/>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a:fillRect/>
          </a:stretch>
        </p:blipFill>
        <p:spPr>
          <a:xfrm>
            <a:off x="0" y="0"/>
            <a:ext cx="12192000" cy="6858000"/>
          </a:xfrm>
          <a:prstGeom prst="rect">
            <a:avLst/>
          </a:prstGeom>
        </p:spPr>
      </p:pic>
      <p:sp>
        <p:nvSpPr>
          <p:cNvPr id="5" name="Tijdelijke aanduiding voor tekst 17">
            <a:extLst>
              <a:ext uri="{FF2B5EF4-FFF2-40B4-BE49-F238E27FC236}">
                <a16:creationId xmlns:a16="http://schemas.microsoft.com/office/drawing/2014/main" id="{A5260415-F4F8-491F-A12A-E8E28553D8D3}"/>
              </a:ext>
            </a:extLst>
          </p:cNvPr>
          <p:cNvSpPr>
            <a:spLocks noGrp="1"/>
          </p:cNvSpPr>
          <p:nvPr>
            <p:ph type="body" sz="quarter" idx="18" hasCustomPrompt="1"/>
          </p:nvPr>
        </p:nvSpPr>
        <p:spPr>
          <a:xfrm>
            <a:off x="336552" y="3070800"/>
            <a:ext cx="3839632" cy="3787200"/>
          </a:xfrm>
          <a:prstGeom prst="round1Rect">
            <a:avLst/>
          </a:prstGeom>
          <a:solidFill>
            <a:srgbClr val="FFFFFF">
              <a:alpha val="85098"/>
            </a:srgbClr>
          </a:solidFill>
        </p:spPr>
        <p:txBody>
          <a:bodyPr wrap="square" lIns="288000" tIns="468000" rIns="72000" bIns="252000">
            <a:noAutofit/>
          </a:bodyPr>
          <a:lstStyle>
            <a:lvl1pPr marL="0" indent="0">
              <a:spcBef>
                <a:spcPts val="0"/>
              </a:spcBef>
              <a:buNone/>
              <a:defRPr sz="3200">
                <a:solidFill>
                  <a:schemeClr val="accent1"/>
                </a:solidFill>
              </a:defRPr>
            </a:lvl1pPr>
          </a:lstStyle>
          <a:p>
            <a:pPr lvl="0"/>
            <a:r>
              <a:rPr lang="en-GB"/>
              <a:t>Breaker text</a:t>
            </a:r>
          </a:p>
        </p:txBody>
      </p:sp>
    </p:spTree>
    <p:extLst>
      <p:ext uri="{BB962C8B-B14F-4D97-AF65-F5344CB8AC3E}">
        <p14:creationId xmlns:p14="http://schemas.microsoft.com/office/powerpoint/2010/main" val="3439422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Breaker - Collaboration - 1">
    <p:spTree>
      <p:nvGrpSpPr>
        <p:cNvPr id="1" name=""/>
        <p:cNvGrpSpPr/>
        <p:nvPr/>
      </p:nvGrpSpPr>
      <p:grpSpPr>
        <a:xfrm>
          <a:off x="0" y="0"/>
          <a:ext cx="0" cy="0"/>
          <a:chOff x="0" y="0"/>
          <a:chExt cx="0" cy="0"/>
        </a:xfrm>
      </p:grpSpPr>
      <p:pic>
        <p:nvPicPr>
          <p:cNvPr id="7" name="Tijdelijke aanduiding voor afbeelding 4" descr="Afbeelding met muur&#10;&#10;Automatisch gegenereerde beschrijving">
            <a:extLst>
              <a:ext uri="{FF2B5EF4-FFF2-40B4-BE49-F238E27FC236}">
                <a16:creationId xmlns:a16="http://schemas.microsoft.com/office/drawing/2014/main" id="{B7C05AA1-1AB3-4A67-A102-A71347837EC4}"/>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a:fillRect/>
          </a:stretch>
        </p:blipFill>
        <p:spPr>
          <a:xfrm>
            <a:off x="0" y="0"/>
            <a:ext cx="12192000" cy="6858000"/>
          </a:xfrm>
          <a:prstGeom prst="rect">
            <a:avLst/>
          </a:prstGeom>
        </p:spPr>
      </p:pic>
      <p:sp>
        <p:nvSpPr>
          <p:cNvPr id="5" name="Tijdelijke aanduiding voor tekst 17">
            <a:extLst>
              <a:ext uri="{FF2B5EF4-FFF2-40B4-BE49-F238E27FC236}">
                <a16:creationId xmlns:a16="http://schemas.microsoft.com/office/drawing/2014/main" id="{DFB2AE59-8362-4C8B-A8BB-641B82F8AD46}"/>
              </a:ext>
            </a:extLst>
          </p:cNvPr>
          <p:cNvSpPr>
            <a:spLocks noGrp="1"/>
          </p:cNvSpPr>
          <p:nvPr>
            <p:ph type="body" sz="quarter" idx="18" hasCustomPrompt="1"/>
          </p:nvPr>
        </p:nvSpPr>
        <p:spPr>
          <a:xfrm>
            <a:off x="336552" y="3070800"/>
            <a:ext cx="3839632" cy="3787200"/>
          </a:xfrm>
          <a:prstGeom prst="round1Rect">
            <a:avLst/>
          </a:prstGeom>
          <a:solidFill>
            <a:srgbClr val="FFFFFF">
              <a:alpha val="85098"/>
            </a:srgbClr>
          </a:solidFill>
        </p:spPr>
        <p:txBody>
          <a:bodyPr wrap="square" lIns="288000" tIns="468000" rIns="72000" bIns="252000">
            <a:noAutofit/>
          </a:bodyPr>
          <a:lstStyle>
            <a:lvl1pPr marL="0" indent="0">
              <a:spcBef>
                <a:spcPts val="0"/>
              </a:spcBef>
              <a:buNone/>
              <a:defRPr sz="3200">
                <a:solidFill>
                  <a:schemeClr val="accent1"/>
                </a:solidFill>
              </a:defRPr>
            </a:lvl1pPr>
          </a:lstStyle>
          <a:p>
            <a:pPr lvl="0"/>
            <a:r>
              <a:rPr lang="en-GB"/>
              <a:t>Breaker text</a:t>
            </a:r>
          </a:p>
        </p:txBody>
      </p:sp>
    </p:spTree>
    <p:extLst>
      <p:ext uri="{BB962C8B-B14F-4D97-AF65-F5344CB8AC3E}">
        <p14:creationId xmlns:p14="http://schemas.microsoft.com/office/powerpoint/2010/main" val="3682291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Breaker - Collaboration - 2">
    <p:spTree>
      <p:nvGrpSpPr>
        <p:cNvPr id="1" name=""/>
        <p:cNvGrpSpPr/>
        <p:nvPr/>
      </p:nvGrpSpPr>
      <p:grpSpPr>
        <a:xfrm>
          <a:off x="0" y="0"/>
          <a:ext cx="0" cy="0"/>
          <a:chOff x="0" y="0"/>
          <a:chExt cx="0" cy="0"/>
        </a:xfrm>
      </p:grpSpPr>
      <p:pic>
        <p:nvPicPr>
          <p:cNvPr id="7" name="Tijdelijke aanduiding voor afbeelding 4">
            <a:extLst>
              <a:ext uri="{FF2B5EF4-FFF2-40B4-BE49-F238E27FC236}">
                <a16:creationId xmlns:a16="http://schemas.microsoft.com/office/drawing/2014/main" id="{B7C05AA1-1AB3-4A67-A102-A71347837EC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Tijdelijke aanduiding voor tekst 17">
            <a:extLst>
              <a:ext uri="{FF2B5EF4-FFF2-40B4-BE49-F238E27FC236}">
                <a16:creationId xmlns:a16="http://schemas.microsoft.com/office/drawing/2014/main" id="{834A538F-AFC5-4D9D-91DC-5D03FE955860}"/>
              </a:ext>
            </a:extLst>
          </p:cNvPr>
          <p:cNvSpPr>
            <a:spLocks noGrp="1"/>
          </p:cNvSpPr>
          <p:nvPr>
            <p:ph type="body" sz="quarter" idx="18" hasCustomPrompt="1"/>
          </p:nvPr>
        </p:nvSpPr>
        <p:spPr>
          <a:xfrm>
            <a:off x="336552" y="3070800"/>
            <a:ext cx="3839632" cy="3787200"/>
          </a:xfrm>
          <a:prstGeom prst="round1Rect">
            <a:avLst/>
          </a:prstGeom>
          <a:solidFill>
            <a:srgbClr val="FFFFFF">
              <a:alpha val="85098"/>
            </a:srgbClr>
          </a:solidFill>
        </p:spPr>
        <p:txBody>
          <a:bodyPr wrap="square" lIns="288000" tIns="468000" rIns="72000" bIns="252000">
            <a:noAutofit/>
          </a:bodyPr>
          <a:lstStyle>
            <a:lvl1pPr marL="0" indent="0">
              <a:spcBef>
                <a:spcPts val="0"/>
              </a:spcBef>
              <a:buNone/>
              <a:defRPr sz="3200">
                <a:solidFill>
                  <a:schemeClr val="accent1"/>
                </a:solidFill>
              </a:defRPr>
            </a:lvl1pPr>
          </a:lstStyle>
          <a:p>
            <a:pPr lvl="0"/>
            <a:r>
              <a:rPr lang="en-GB"/>
              <a:t>Breaker text</a:t>
            </a:r>
          </a:p>
        </p:txBody>
      </p:sp>
    </p:spTree>
    <p:extLst>
      <p:ext uri="{BB962C8B-B14F-4D97-AF65-F5344CB8AC3E}">
        <p14:creationId xmlns:p14="http://schemas.microsoft.com/office/powerpoint/2010/main" val="40845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Breaker - Supply Chain - 1">
    <p:spTree>
      <p:nvGrpSpPr>
        <p:cNvPr id="1" name=""/>
        <p:cNvGrpSpPr/>
        <p:nvPr/>
      </p:nvGrpSpPr>
      <p:grpSpPr>
        <a:xfrm>
          <a:off x="0" y="0"/>
          <a:ext cx="0" cy="0"/>
          <a:chOff x="0" y="0"/>
          <a:chExt cx="0" cy="0"/>
        </a:xfrm>
      </p:grpSpPr>
      <p:pic>
        <p:nvPicPr>
          <p:cNvPr id="4" name="Picture Placeholder 4" descr="A close-up of a factory&#10;&#10;Description automatically generated with low confidence">
            <a:extLst>
              <a:ext uri="{FF2B5EF4-FFF2-40B4-BE49-F238E27FC236}">
                <a16:creationId xmlns:a16="http://schemas.microsoft.com/office/drawing/2014/main" id="{02C78875-50CD-457D-BE8F-ACE1B867F28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0"/>
            <a:ext cx="12192000" cy="6858000"/>
          </a:xfrm>
          <a:prstGeom prst="rect">
            <a:avLst/>
          </a:prstGeom>
        </p:spPr>
      </p:pic>
      <p:sp>
        <p:nvSpPr>
          <p:cNvPr id="7" name="Tijdelijke aanduiding voor tekst 17">
            <a:extLst>
              <a:ext uri="{FF2B5EF4-FFF2-40B4-BE49-F238E27FC236}">
                <a16:creationId xmlns:a16="http://schemas.microsoft.com/office/drawing/2014/main" id="{EB178381-191C-4711-99D2-2EBC5481F9E3}"/>
              </a:ext>
            </a:extLst>
          </p:cNvPr>
          <p:cNvSpPr>
            <a:spLocks noGrp="1"/>
          </p:cNvSpPr>
          <p:nvPr>
            <p:ph type="body" sz="quarter" idx="18" hasCustomPrompt="1"/>
          </p:nvPr>
        </p:nvSpPr>
        <p:spPr>
          <a:xfrm>
            <a:off x="336552" y="3070800"/>
            <a:ext cx="3839632" cy="3787200"/>
          </a:xfrm>
          <a:prstGeom prst="round1Rect">
            <a:avLst/>
          </a:prstGeom>
          <a:solidFill>
            <a:srgbClr val="FFFFFF">
              <a:alpha val="85098"/>
            </a:srgbClr>
          </a:solidFill>
        </p:spPr>
        <p:txBody>
          <a:bodyPr wrap="square" lIns="288000" tIns="468000" rIns="72000" bIns="252000">
            <a:noAutofit/>
          </a:bodyPr>
          <a:lstStyle>
            <a:lvl1pPr marL="0" indent="0">
              <a:spcBef>
                <a:spcPts val="0"/>
              </a:spcBef>
              <a:buNone/>
              <a:defRPr sz="3200">
                <a:solidFill>
                  <a:schemeClr val="accent1"/>
                </a:solidFill>
              </a:defRPr>
            </a:lvl1pPr>
          </a:lstStyle>
          <a:p>
            <a:pPr lvl="0"/>
            <a:r>
              <a:rPr lang="en-GB"/>
              <a:t>Breaker text</a:t>
            </a:r>
          </a:p>
        </p:txBody>
      </p:sp>
    </p:spTree>
    <p:extLst>
      <p:ext uri="{BB962C8B-B14F-4D97-AF65-F5344CB8AC3E}">
        <p14:creationId xmlns:p14="http://schemas.microsoft.com/office/powerpoint/2010/main" val="2640306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Breaker - Supply Chain - 2">
    <p:spTree>
      <p:nvGrpSpPr>
        <p:cNvPr id="1" name=""/>
        <p:cNvGrpSpPr/>
        <p:nvPr/>
      </p:nvGrpSpPr>
      <p:grpSpPr>
        <a:xfrm>
          <a:off x="0" y="0"/>
          <a:ext cx="0" cy="0"/>
          <a:chOff x="0" y="0"/>
          <a:chExt cx="0" cy="0"/>
        </a:xfrm>
      </p:grpSpPr>
      <p:pic>
        <p:nvPicPr>
          <p:cNvPr id="5" name="Picture Placeholder 8" descr="A picture containing sky, outdoor, parked&#10;&#10;Description automatically generated">
            <a:extLst>
              <a:ext uri="{FF2B5EF4-FFF2-40B4-BE49-F238E27FC236}">
                <a16:creationId xmlns:a16="http://schemas.microsoft.com/office/drawing/2014/main" id="{E75D20D3-E820-4BAF-800F-09FA2E751FC8}"/>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0"/>
            <a:ext cx="12192000" cy="6858000"/>
          </a:xfrm>
          <a:prstGeom prst="rect">
            <a:avLst/>
          </a:prstGeom>
        </p:spPr>
      </p:pic>
      <p:sp>
        <p:nvSpPr>
          <p:cNvPr id="7" name="Tijdelijke aanduiding voor tekst 17">
            <a:extLst>
              <a:ext uri="{FF2B5EF4-FFF2-40B4-BE49-F238E27FC236}">
                <a16:creationId xmlns:a16="http://schemas.microsoft.com/office/drawing/2014/main" id="{EB178381-191C-4711-99D2-2EBC5481F9E3}"/>
              </a:ext>
            </a:extLst>
          </p:cNvPr>
          <p:cNvSpPr>
            <a:spLocks noGrp="1"/>
          </p:cNvSpPr>
          <p:nvPr>
            <p:ph type="body" sz="quarter" idx="18" hasCustomPrompt="1"/>
          </p:nvPr>
        </p:nvSpPr>
        <p:spPr>
          <a:xfrm>
            <a:off x="336552" y="3070800"/>
            <a:ext cx="3839632" cy="3787200"/>
          </a:xfrm>
          <a:prstGeom prst="round1Rect">
            <a:avLst/>
          </a:prstGeom>
          <a:solidFill>
            <a:srgbClr val="FFFFFF">
              <a:alpha val="85098"/>
            </a:srgbClr>
          </a:solidFill>
        </p:spPr>
        <p:txBody>
          <a:bodyPr wrap="square" lIns="288000" tIns="468000" rIns="72000" bIns="252000">
            <a:noAutofit/>
          </a:bodyPr>
          <a:lstStyle>
            <a:lvl1pPr marL="0" indent="0">
              <a:spcBef>
                <a:spcPts val="0"/>
              </a:spcBef>
              <a:buNone/>
              <a:defRPr sz="3200">
                <a:solidFill>
                  <a:schemeClr val="accent1"/>
                </a:solidFill>
              </a:defRPr>
            </a:lvl1pPr>
          </a:lstStyle>
          <a:p>
            <a:pPr lvl="0"/>
            <a:r>
              <a:rPr lang="en-GB"/>
              <a:t>Breaker text</a:t>
            </a:r>
          </a:p>
        </p:txBody>
      </p:sp>
    </p:spTree>
    <p:extLst>
      <p:ext uri="{BB962C8B-B14F-4D97-AF65-F5344CB8AC3E}">
        <p14:creationId xmlns:p14="http://schemas.microsoft.com/office/powerpoint/2010/main" val="1026380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Breaker - Supply Chain - 3">
    <p:spTree>
      <p:nvGrpSpPr>
        <p:cNvPr id="1" name=""/>
        <p:cNvGrpSpPr/>
        <p:nvPr/>
      </p:nvGrpSpPr>
      <p:grpSpPr>
        <a:xfrm>
          <a:off x="0" y="0"/>
          <a:ext cx="0" cy="0"/>
          <a:chOff x="0" y="0"/>
          <a:chExt cx="0" cy="0"/>
        </a:xfrm>
      </p:grpSpPr>
      <p:pic>
        <p:nvPicPr>
          <p:cNvPr id="5" name="Picture Placeholder 12">
            <a:extLst>
              <a:ext uri="{FF2B5EF4-FFF2-40B4-BE49-F238E27FC236}">
                <a16:creationId xmlns:a16="http://schemas.microsoft.com/office/drawing/2014/main" id="{664633FB-AF1B-49E6-8F9E-E9F809C4538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0"/>
            <a:ext cx="12192000" cy="6858000"/>
          </a:xfrm>
          <a:prstGeom prst="rect">
            <a:avLst/>
          </a:prstGeom>
        </p:spPr>
      </p:pic>
      <p:sp>
        <p:nvSpPr>
          <p:cNvPr id="7" name="Tijdelijke aanduiding voor tekst 17">
            <a:extLst>
              <a:ext uri="{FF2B5EF4-FFF2-40B4-BE49-F238E27FC236}">
                <a16:creationId xmlns:a16="http://schemas.microsoft.com/office/drawing/2014/main" id="{EB178381-191C-4711-99D2-2EBC5481F9E3}"/>
              </a:ext>
            </a:extLst>
          </p:cNvPr>
          <p:cNvSpPr>
            <a:spLocks noGrp="1"/>
          </p:cNvSpPr>
          <p:nvPr>
            <p:ph type="body" sz="quarter" idx="18" hasCustomPrompt="1"/>
          </p:nvPr>
        </p:nvSpPr>
        <p:spPr>
          <a:xfrm>
            <a:off x="336552" y="3070800"/>
            <a:ext cx="3839632" cy="3787200"/>
          </a:xfrm>
          <a:prstGeom prst="round1Rect">
            <a:avLst/>
          </a:prstGeom>
          <a:solidFill>
            <a:srgbClr val="FFFFFF">
              <a:alpha val="85098"/>
            </a:srgbClr>
          </a:solidFill>
        </p:spPr>
        <p:txBody>
          <a:bodyPr wrap="square" lIns="288000" tIns="468000" rIns="72000" bIns="252000">
            <a:noAutofit/>
          </a:bodyPr>
          <a:lstStyle>
            <a:lvl1pPr marL="0" indent="0">
              <a:spcBef>
                <a:spcPts val="0"/>
              </a:spcBef>
              <a:buNone/>
              <a:defRPr sz="3200">
                <a:solidFill>
                  <a:schemeClr val="accent1"/>
                </a:solidFill>
              </a:defRPr>
            </a:lvl1pPr>
          </a:lstStyle>
          <a:p>
            <a:pPr lvl="0"/>
            <a:r>
              <a:rPr lang="en-GB"/>
              <a:t>Breaker text</a:t>
            </a:r>
          </a:p>
        </p:txBody>
      </p:sp>
    </p:spTree>
    <p:extLst>
      <p:ext uri="{BB962C8B-B14F-4D97-AF65-F5344CB8AC3E}">
        <p14:creationId xmlns:p14="http://schemas.microsoft.com/office/powerpoint/2010/main" val="2975317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Breaker - Supply Chain - 5">
    <p:spTree>
      <p:nvGrpSpPr>
        <p:cNvPr id="1" name=""/>
        <p:cNvGrpSpPr/>
        <p:nvPr/>
      </p:nvGrpSpPr>
      <p:grpSpPr>
        <a:xfrm>
          <a:off x="0" y="0"/>
          <a:ext cx="0" cy="0"/>
          <a:chOff x="0" y="0"/>
          <a:chExt cx="0" cy="0"/>
        </a:xfrm>
      </p:grpSpPr>
      <p:pic>
        <p:nvPicPr>
          <p:cNvPr id="3" name="Picture 2" descr="A picture containing text, building, metal&#10;&#10;Description automatically generated">
            <a:extLst>
              <a:ext uri="{FF2B5EF4-FFF2-40B4-BE49-F238E27FC236}">
                <a16:creationId xmlns:a16="http://schemas.microsoft.com/office/drawing/2014/main" id="{666F5477-C8C2-4EDB-887B-F024B1CD5F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ijdelijke aanduiding voor tekst 17">
            <a:extLst>
              <a:ext uri="{FF2B5EF4-FFF2-40B4-BE49-F238E27FC236}">
                <a16:creationId xmlns:a16="http://schemas.microsoft.com/office/drawing/2014/main" id="{EB178381-191C-4711-99D2-2EBC5481F9E3}"/>
              </a:ext>
            </a:extLst>
          </p:cNvPr>
          <p:cNvSpPr>
            <a:spLocks noGrp="1"/>
          </p:cNvSpPr>
          <p:nvPr>
            <p:ph type="body" sz="quarter" idx="18" hasCustomPrompt="1"/>
          </p:nvPr>
        </p:nvSpPr>
        <p:spPr>
          <a:xfrm>
            <a:off x="336552" y="3070800"/>
            <a:ext cx="3839632" cy="3787200"/>
          </a:xfrm>
          <a:prstGeom prst="round1Rect">
            <a:avLst/>
          </a:prstGeom>
          <a:solidFill>
            <a:srgbClr val="FFFFFF">
              <a:alpha val="85098"/>
            </a:srgbClr>
          </a:solidFill>
        </p:spPr>
        <p:txBody>
          <a:bodyPr wrap="square" lIns="288000" tIns="468000" rIns="72000" bIns="252000">
            <a:noAutofit/>
          </a:bodyPr>
          <a:lstStyle>
            <a:lvl1pPr marL="0" indent="0">
              <a:spcBef>
                <a:spcPts val="0"/>
              </a:spcBef>
              <a:buNone/>
              <a:defRPr sz="3200">
                <a:solidFill>
                  <a:schemeClr val="accent1"/>
                </a:solidFill>
              </a:defRPr>
            </a:lvl1pPr>
          </a:lstStyle>
          <a:p>
            <a:pPr lvl="0"/>
            <a:r>
              <a:rPr lang="en-GB"/>
              <a:t>Breaker text</a:t>
            </a:r>
          </a:p>
        </p:txBody>
      </p:sp>
    </p:spTree>
    <p:extLst>
      <p:ext uri="{BB962C8B-B14F-4D97-AF65-F5344CB8AC3E}">
        <p14:creationId xmlns:p14="http://schemas.microsoft.com/office/powerpoint/2010/main" val="3061248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object, image left - 1">
    <p:spTree>
      <p:nvGrpSpPr>
        <p:cNvPr id="1" name=""/>
        <p:cNvGrpSpPr/>
        <p:nvPr/>
      </p:nvGrpSpPr>
      <p:grpSpPr>
        <a:xfrm>
          <a:off x="0" y="0"/>
          <a:ext cx="0" cy="0"/>
          <a:chOff x="0" y="0"/>
          <a:chExt cx="0" cy="0"/>
        </a:xfrm>
      </p:grpSpPr>
      <p:sp>
        <p:nvSpPr>
          <p:cNvPr id="8" name="Tijdelijke aanduiding voor afbeelding 7">
            <a:extLst>
              <a:ext uri="{FF2B5EF4-FFF2-40B4-BE49-F238E27FC236}">
                <a16:creationId xmlns:a16="http://schemas.microsoft.com/office/drawing/2014/main" id="{F720B503-17F8-4237-9A82-0CEE6CD5AC31}"/>
              </a:ext>
            </a:extLst>
          </p:cNvPr>
          <p:cNvSpPr>
            <a:spLocks noGrp="1"/>
          </p:cNvSpPr>
          <p:nvPr>
            <p:ph type="pic" sz="quarter" idx="13" hasCustomPrompt="1"/>
          </p:nvPr>
        </p:nvSpPr>
        <p:spPr>
          <a:xfrm>
            <a:off x="-1" y="0"/>
            <a:ext cx="4176185" cy="6858000"/>
          </a:xfrm>
          <a:solidFill>
            <a:schemeClr val="tx1">
              <a:lumMod val="20000"/>
              <a:lumOff val="80000"/>
            </a:schemeClr>
          </a:solidFill>
        </p:spPr>
        <p:txBody>
          <a:bodyPr/>
          <a:lstStyle>
            <a:lvl1pPr marL="0" indent="0" algn="ctr">
              <a:buNone/>
              <a:defRPr>
                <a:solidFill>
                  <a:schemeClr val="accent1"/>
                </a:solidFill>
              </a:defRPr>
            </a:lvl1pPr>
          </a:lstStyle>
          <a:p>
            <a:r>
              <a:rPr lang="en-GB"/>
              <a:t>Image</a:t>
            </a:r>
          </a:p>
        </p:txBody>
      </p:sp>
      <p:sp>
        <p:nvSpPr>
          <p:cNvPr id="2" name="Title 1"/>
          <p:cNvSpPr>
            <a:spLocks noGrp="1"/>
          </p:cNvSpPr>
          <p:nvPr>
            <p:ph type="title"/>
          </p:nvPr>
        </p:nvSpPr>
        <p:spPr>
          <a:xfrm>
            <a:off x="4512734" y="548219"/>
            <a:ext cx="7103532" cy="1036965"/>
          </a:xfrm>
        </p:spPr>
        <p:txBody>
          <a:bodyPr/>
          <a:lstStyle/>
          <a:p>
            <a:r>
              <a:rPr lang="en-GB"/>
              <a:t>Click to edit Master title style</a:t>
            </a:r>
          </a:p>
        </p:txBody>
      </p:sp>
      <p:sp>
        <p:nvSpPr>
          <p:cNvPr id="3" name="Content Placeholder 2"/>
          <p:cNvSpPr>
            <a:spLocks noGrp="1"/>
          </p:cNvSpPr>
          <p:nvPr>
            <p:ph idx="1" hasCustomPrompt="1"/>
          </p:nvPr>
        </p:nvSpPr>
        <p:spPr>
          <a:xfrm>
            <a:off x="4512735" y="1701801"/>
            <a:ext cx="7103532" cy="417618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10"/>
          </p:nvPr>
        </p:nvSpPr>
        <p:spPr/>
        <p:txBody>
          <a:bodyPr/>
          <a:lstStyle/>
          <a:p>
            <a:fld id="{A5D629F7-B288-4AA7-8A09-8B890562E4EF}" type="datetime1">
              <a:rPr lang="en-US" smtClean="0"/>
              <a:t>4/18/2025</a:t>
            </a:fld>
            <a:endParaRPr lang="en-GB"/>
          </a:p>
        </p:txBody>
      </p:sp>
      <p:sp>
        <p:nvSpPr>
          <p:cNvPr id="5" name="Footer Placeholder 4"/>
          <p:cNvSpPr>
            <a:spLocks noGrp="1"/>
          </p:cNvSpPr>
          <p:nvPr>
            <p:ph type="ftr" sz="quarter" idx="11"/>
          </p:nvPr>
        </p:nvSpPr>
        <p:spPr>
          <a:xfrm>
            <a:off x="4792233" y="6491432"/>
            <a:ext cx="1652163" cy="102592"/>
          </a:xfrm>
        </p:spPr>
        <p:txBody>
          <a:bodyPr/>
          <a:lstStyle/>
          <a:p>
            <a:r>
              <a:rPr lang="en-GB"/>
              <a:t>Draft | Internal use only | Confidential</a:t>
            </a:r>
          </a:p>
        </p:txBody>
      </p:sp>
      <p:sp>
        <p:nvSpPr>
          <p:cNvPr id="6" name="Slide Number Placeholder 5"/>
          <p:cNvSpPr>
            <a:spLocks noGrp="1"/>
          </p:cNvSpPr>
          <p:nvPr>
            <p:ph type="sldNum" sz="quarter" idx="12"/>
          </p:nvPr>
        </p:nvSpPr>
        <p:spPr>
          <a:xfrm>
            <a:off x="4523663" y="6491432"/>
            <a:ext cx="147477" cy="102592"/>
          </a:xfrm>
        </p:spPr>
        <p:txBody>
          <a:bodyPr/>
          <a:lstStyle/>
          <a:p>
            <a:fld id="{9BE0E23E-9022-4929-B297-EB2777CDBB1F}" type="slidenum">
              <a:rPr lang="en-GB" smtClean="0"/>
              <a:t>‹#›</a:t>
            </a:fld>
            <a:endParaRPr lang="en-GB"/>
          </a:p>
        </p:txBody>
      </p:sp>
    </p:spTree>
    <p:extLst>
      <p:ext uri="{BB962C8B-B14F-4D97-AF65-F5344CB8AC3E}">
        <p14:creationId xmlns:p14="http://schemas.microsoft.com/office/powerpoint/2010/main" val="3111761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object, image left - 2">
    <p:spTree>
      <p:nvGrpSpPr>
        <p:cNvPr id="1" name=""/>
        <p:cNvGrpSpPr/>
        <p:nvPr/>
      </p:nvGrpSpPr>
      <p:grpSpPr>
        <a:xfrm>
          <a:off x="0" y="0"/>
          <a:ext cx="0" cy="0"/>
          <a:chOff x="0" y="0"/>
          <a:chExt cx="0" cy="0"/>
        </a:xfrm>
      </p:grpSpPr>
      <p:sp>
        <p:nvSpPr>
          <p:cNvPr id="2" name="Title 1"/>
          <p:cNvSpPr>
            <a:spLocks noGrp="1"/>
          </p:cNvSpPr>
          <p:nvPr>
            <p:ph type="title"/>
          </p:nvPr>
        </p:nvSpPr>
        <p:spPr>
          <a:xfrm>
            <a:off x="4512734" y="548219"/>
            <a:ext cx="7103532" cy="1036965"/>
          </a:xfrm>
        </p:spPr>
        <p:txBody>
          <a:bodyPr/>
          <a:lstStyle/>
          <a:p>
            <a:r>
              <a:rPr lang="en-GB"/>
              <a:t>Click to edit Master title style</a:t>
            </a:r>
          </a:p>
        </p:txBody>
      </p:sp>
      <p:sp>
        <p:nvSpPr>
          <p:cNvPr id="3" name="Content Placeholder 2"/>
          <p:cNvSpPr>
            <a:spLocks noGrp="1"/>
          </p:cNvSpPr>
          <p:nvPr>
            <p:ph idx="1" hasCustomPrompt="1"/>
          </p:nvPr>
        </p:nvSpPr>
        <p:spPr>
          <a:xfrm>
            <a:off x="4512735" y="1701801"/>
            <a:ext cx="7103532" cy="417618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Tijdelijke aanduiding voor afbeelding 12">
            <a:extLst>
              <a:ext uri="{FF2B5EF4-FFF2-40B4-BE49-F238E27FC236}">
                <a16:creationId xmlns:a16="http://schemas.microsoft.com/office/drawing/2014/main" id="{C9C4C5E8-F340-46D4-A2A8-4A34C5C580DB}"/>
              </a:ext>
            </a:extLst>
          </p:cNvPr>
          <p:cNvSpPr>
            <a:spLocks noGrp="1"/>
          </p:cNvSpPr>
          <p:nvPr>
            <p:ph type="pic" sz="quarter" idx="15" hasCustomPrompt="1"/>
          </p:nvPr>
        </p:nvSpPr>
        <p:spPr>
          <a:xfrm>
            <a:off x="2" y="-1"/>
            <a:ext cx="4176183" cy="5877984"/>
          </a:xfrm>
          <a:custGeom>
            <a:avLst/>
            <a:gdLst>
              <a:gd name="connsiteX0" fmla="*/ 0 w 3132137"/>
              <a:gd name="connsiteY0" fmla="*/ 0 h 4408488"/>
              <a:gd name="connsiteX1" fmla="*/ 3132137 w 3132137"/>
              <a:gd name="connsiteY1" fmla="*/ 0 h 4408488"/>
              <a:gd name="connsiteX2" fmla="*/ 3132137 w 3132137"/>
              <a:gd name="connsiteY2" fmla="*/ 3886455 h 4408488"/>
              <a:gd name="connsiteX3" fmla="*/ 2610104 w 3132137"/>
              <a:gd name="connsiteY3" fmla="*/ 4408488 h 4408488"/>
              <a:gd name="connsiteX4" fmla="*/ 0 w 3132137"/>
              <a:gd name="connsiteY4" fmla="*/ 4408488 h 4408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2137" h="4408488">
                <a:moveTo>
                  <a:pt x="0" y="0"/>
                </a:moveTo>
                <a:lnTo>
                  <a:pt x="3132137" y="0"/>
                </a:lnTo>
                <a:lnTo>
                  <a:pt x="3132137" y="3886455"/>
                </a:lnTo>
                <a:cubicBezTo>
                  <a:pt x="3132137" y="4174766"/>
                  <a:pt x="2898415" y="4408488"/>
                  <a:pt x="2610104" y="4408488"/>
                </a:cubicBezTo>
                <a:lnTo>
                  <a:pt x="0" y="4408488"/>
                </a:lnTo>
                <a:close/>
              </a:path>
            </a:pathLst>
          </a:custGeom>
          <a:solidFill>
            <a:schemeClr val="tx1">
              <a:lumMod val="20000"/>
              <a:lumOff val="80000"/>
            </a:schemeClr>
          </a:solidFill>
        </p:spPr>
        <p:txBody>
          <a:bodyPr wrap="square">
            <a:noAutofit/>
          </a:bodyPr>
          <a:lstStyle>
            <a:lvl1pPr marL="0" indent="0" algn="ctr">
              <a:buNone/>
              <a:defRPr>
                <a:solidFill>
                  <a:schemeClr val="accent1"/>
                </a:solidFill>
              </a:defRPr>
            </a:lvl1pPr>
          </a:lstStyle>
          <a:p>
            <a:r>
              <a:rPr lang="en-GB"/>
              <a:t>Image</a:t>
            </a:r>
          </a:p>
        </p:txBody>
      </p:sp>
      <p:sp>
        <p:nvSpPr>
          <p:cNvPr id="7" name="Date Placeholder 6">
            <a:extLst>
              <a:ext uri="{FF2B5EF4-FFF2-40B4-BE49-F238E27FC236}">
                <a16:creationId xmlns:a16="http://schemas.microsoft.com/office/drawing/2014/main" id="{79F1B4CB-680A-489C-BD69-19B6EDFF4BD9}"/>
              </a:ext>
            </a:extLst>
          </p:cNvPr>
          <p:cNvSpPr>
            <a:spLocks noGrp="1"/>
          </p:cNvSpPr>
          <p:nvPr>
            <p:ph type="dt" sz="half" idx="16"/>
          </p:nvPr>
        </p:nvSpPr>
        <p:spPr/>
        <p:txBody>
          <a:bodyPr/>
          <a:lstStyle/>
          <a:p>
            <a:fld id="{5A5CC9D3-03C3-4819-A886-52CD92BD4228}" type="datetime1">
              <a:rPr lang="en-US" smtClean="0"/>
              <a:t>4/18/2025</a:t>
            </a:fld>
            <a:endParaRPr lang="en-GB"/>
          </a:p>
        </p:txBody>
      </p:sp>
      <p:sp>
        <p:nvSpPr>
          <p:cNvPr id="8" name="Footer Placeholder 7">
            <a:extLst>
              <a:ext uri="{FF2B5EF4-FFF2-40B4-BE49-F238E27FC236}">
                <a16:creationId xmlns:a16="http://schemas.microsoft.com/office/drawing/2014/main" id="{01831E48-6544-4001-B45E-82A7AF5CCD81}"/>
              </a:ext>
            </a:extLst>
          </p:cNvPr>
          <p:cNvSpPr>
            <a:spLocks noGrp="1"/>
          </p:cNvSpPr>
          <p:nvPr>
            <p:ph type="ftr" sz="quarter" idx="17"/>
          </p:nvPr>
        </p:nvSpPr>
        <p:spPr/>
        <p:txBody>
          <a:bodyPr/>
          <a:lstStyle/>
          <a:p>
            <a:r>
              <a:rPr lang="en-GB"/>
              <a:t>Draft | Internal use only | Confidential</a:t>
            </a:r>
          </a:p>
        </p:txBody>
      </p:sp>
      <p:sp>
        <p:nvSpPr>
          <p:cNvPr id="9" name="Slide Number Placeholder 8">
            <a:extLst>
              <a:ext uri="{FF2B5EF4-FFF2-40B4-BE49-F238E27FC236}">
                <a16:creationId xmlns:a16="http://schemas.microsoft.com/office/drawing/2014/main" id="{CE133AC7-8800-4EE2-902B-26DE58D4D622}"/>
              </a:ext>
            </a:extLst>
          </p:cNvPr>
          <p:cNvSpPr>
            <a:spLocks noGrp="1"/>
          </p:cNvSpPr>
          <p:nvPr>
            <p:ph type="sldNum" sz="quarter" idx="18"/>
          </p:nvPr>
        </p:nvSpPr>
        <p:spPr/>
        <p:txBody>
          <a:bodyPr/>
          <a:lstStyle/>
          <a:p>
            <a:fld id="{9BE0E23E-9022-4929-B297-EB2777CDBB1F}" type="slidenum">
              <a:rPr lang="en-GB" smtClean="0"/>
              <a:pPr/>
              <a:t>‹#›</a:t>
            </a:fld>
            <a:endParaRPr lang="en-GB"/>
          </a:p>
        </p:txBody>
      </p:sp>
    </p:spTree>
    <p:extLst>
      <p:ext uri="{BB962C8B-B14F-4D97-AF65-F5344CB8AC3E}">
        <p14:creationId xmlns:p14="http://schemas.microsoft.com/office/powerpoint/2010/main" val="479666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ubtitle and objec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a:t>Click to add title</a:t>
            </a:r>
          </a:p>
        </p:txBody>
      </p:sp>
      <p:sp>
        <p:nvSpPr>
          <p:cNvPr id="3" name="Content Placeholder 2"/>
          <p:cNvSpPr>
            <a:spLocks noGrp="1"/>
          </p:cNvSpPr>
          <p:nvPr>
            <p:ph idx="1" hasCustomPrompt="1"/>
          </p:nvPr>
        </p:nvSpPr>
        <p:spPr>
          <a:xfrm>
            <a:off x="580291" y="2077593"/>
            <a:ext cx="11035975" cy="3990892"/>
          </a:xfrm>
        </p:spPr>
        <p:txBody>
          <a:bodyPr/>
          <a:lstStyle/>
          <a:p>
            <a:pPr lvl="0"/>
            <a:r>
              <a:rPr lang="en-GB"/>
              <a:t>Click to add text or object</a:t>
            </a:r>
          </a:p>
          <a:p>
            <a:pPr lvl="1"/>
            <a:r>
              <a:rPr lang="en-GB"/>
              <a:t>Text level 2</a:t>
            </a:r>
          </a:p>
          <a:p>
            <a:pPr lvl="2"/>
            <a:r>
              <a:rPr lang="en-GB"/>
              <a:t>Text level 3</a:t>
            </a:r>
          </a:p>
          <a:p>
            <a:pPr lvl="3"/>
            <a:r>
              <a:rPr lang="en-GB"/>
              <a:t>Text level 4</a:t>
            </a:r>
          </a:p>
          <a:p>
            <a:pPr lvl="4"/>
            <a:r>
              <a:rPr lang="en-GB"/>
              <a:t>Text level 5</a:t>
            </a:r>
          </a:p>
        </p:txBody>
      </p:sp>
      <p:sp>
        <p:nvSpPr>
          <p:cNvPr id="4" name="Date Placeholder 3"/>
          <p:cNvSpPr>
            <a:spLocks noGrp="1"/>
          </p:cNvSpPr>
          <p:nvPr>
            <p:ph type="dt" sz="half" idx="10"/>
          </p:nvPr>
        </p:nvSpPr>
        <p:spPr/>
        <p:txBody>
          <a:bodyPr/>
          <a:lstStyle/>
          <a:p>
            <a:fld id="{0D2601AF-1654-4E18-9CC1-FD024274AAAE}" type="datetime1">
              <a:rPr lang="en-GB" smtClean="0"/>
              <a:t>18/04/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8" name="Tijdelijke aanduiding voor tekst 7">
            <a:extLst>
              <a:ext uri="{FF2B5EF4-FFF2-40B4-BE49-F238E27FC236}">
                <a16:creationId xmlns:a16="http://schemas.microsoft.com/office/drawing/2014/main" id="{F7DBD289-E124-4653-9BF3-FE57FA1AC736}"/>
              </a:ext>
            </a:extLst>
          </p:cNvPr>
          <p:cNvSpPr>
            <a:spLocks noGrp="1"/>
          </p:cNvSpPr>
          <p:nvPr>
            <p:ph type="body" sz="quarter" idx="13" hasCustomPrompt="1"/>
          </p:nvPr>
        </p:nvSpPr>
        <p:spPr>
          <a:xfrm>
            <a:off x="580291" y="1701800"/>
            <a:ext cx="11035200" cy="375792"/>
          </a:xfrm>
        </p:spPr>
        <p:txBody>
          <a:bodyPr wrap="none"/>
          <a:lstStyle>
            <a:lvl1pPr marL="0" indent="0">
              <a:buNone/>
              <a:defRPr>
                <a:solidFill>
                  <a:schemeClr val="accent1"/>
                </a:solidFill>
              </a:defRPr>
            </a:lvl1pPr>
          </a:lstStyle>
          <a:p>
            <a:pPr lvl="0"/>
            <a:r>
              <a:rPr lang="en-GB"/>
              <a:t>Subtitle</a:t>
            </a:r>
          </a:p>
        </p:txBody>
      </p:sp>
    </p:spTree>
    <p:extLst>
      <p:ext uri="{BB962C8B-B14F-4D97-AF65-F5344CB8AC3E}">
        <p14:creationId xmlns:p14="http://schemas.microsoft.com/office/powerpoint/2010/main" val="2952932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object, image left - 3">
    <p:spTree>
      <p:nvGrpSpPr>
        <p:cNvPr id="1" name=""/>
        <p:cNvGrpSpPr/>
        <p:nvPr/>
      </p:nvGrpSpPr>
      <p:grpSpPr>
        <a:xfrm>
          <a:off x="0" y="0"/>
          <a:ext cx="0" cy="0"/>
          <a:chOff x="0" y="0"/>
          <a:chExt cx="0" cy="0"/>
        </a:xfrm>
      </p:grpSpPr>
      <p:sp>
        <p:nvSpPr>
          <p:cNvPr id="8" name="Tijdelijke aanduiding voor afbeelding 7">
            <a:extLst>
              <a:ext uri="{FF2B5EF4-FFF2-40B4-BE49-F238E27FC236}">
                <a16:creationId xmlns:a16="http://schemas.microsoft.com/office/drawing/2014/main" id="{F720B503-17F8-4237-9A82-0CEE6CD5AC31}"/>
              </a:ext>
            </a:extLst>
          </p:cNvPr>
          <p:cNvSpPr>
            <a:spLocks noGrp="1"/>
          </p:cNvSpPr>
          <p:nvPr>
            <p:ph type="pic" sz="quarter" idx="13" hasCustomPrompt="1"/>
          </p:nvPr>
        </p:nvSpPr>
        <p:spPr>
          <a:xfrm>
            <a:off x="0" y="0"/>
            <a:ext cx="6096000" cy="6858000"/>
          </a:xfrm>
          <a:solidFill>
            <a:schemeClr val="tx1">
              <a:lumMod val="20000"/>
              <a:lumOff val="80000"/>
            </a:schemeClr>
          </a:solidFill>
        </p:spPr>
        <p:txBody>
          <a:bodyPr/>
          <a:lstStyle>
            <a:lvl1pPr marL="0" indent="0" algn="ctr">
              <a:buNone/>
              <a:defRPr>
                <a:solidFill>
                  <a:schemeClr val="accent1"/>
                </a:solidFill>
              </a:defRPr>
            </a:lvl1pPr>
          </a:lstStyle>
          <a:p>
            <a:r>
              <a:rPr lang="en-GB"/>
              <a:t>Image</a:t>
            </a:r>
          </a:p>
        </p:txBody>
      </p:sp>
      <p:sp>
        <p:nvSpPr>
          <p:cNvPr id="2" name="Title 1"/>
          <p:cNvSpPr>
            <a:spLocks noGrp="1"/>
          </p:cNvSpPr>
          <p:nvPr>
            <p:ph type="title"/>
          </p:nvPr>
        </p:nvSpPr>
        <p:spPr>
          <a:xfrm>
            <a:off x="6356683" y="548219"/>
            <a:ext cx="5257804" cy="1036965"/>
          </a:xfrm>
        </p:spPr>
        <p:txBody>
          <a:bodyPr/>
          <a:lstStyle/>
          <a:p>
            <a:r>
              <a:rPr lang="en-GB"/>
              <a:t>Click to edit Master title style</a:t>
            </a:r>
          </a:p>
        </p:txBody>
      </p:sp>
      <p:sp>
        <p:nvSpPr>
          <p:cNvPr id="3" name="Content Placeholder 2"/>
          <p:cNvSpPr>
            <a:spLocks noGrp="1"/>
          </p:cNvSpPr>
          <p:nvPr>
            <p:ph idx="1" hasCustomPrompt="1"/>
          </p:nvPr>
        </p:nvSpPr>
        <p:spPr>
          <a:xfrm>
            <a:off x="6361242" y="1701801"/>
            <a:ext cx="5257804" cy="417618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CC2C5BB5-310F-42D7-BCEC-775E6B1386D6}"/>
              </a:ext>
            </a:extLst>
          </p:cNvPr>
          <p:cNvSpPr>
            <a:spLocks noGrp="1"/>
          </p:cNvSpPr>
          <p:nvPr>
            <p:ph type="dt" sz="half" idx="14"/>
          </p:nvPr>
        </p:nvSpPr>
        <p:spPr/>
        <p:txBody>
          <a:bodyPr/>
          <a:lstStyle/>
          <a:p>
            <a:fld id="{1EA5F9BF-D470-4E81-8CE3-303F6789DD0B}" type="datetime1">
              <a:rPr lang="en-US" smtClean="0"/>
              <a:t>4/18/2025</a:t>
            </a:fld>
            <a:endParaRPr lang="en-GB"/>
          </a:p>
        </p:txBody>
      </p:sp>
      <p:sp>
        <p:nvSpPr>
          <p:cNvPr id="9" name="Footer Placeholder 8">
            <a:extLst>
              <a:ext uri="{FF2B5EF4-FFF2-40B4-BE49-F238E27FC236}">
                <a16:creationId xmlns:a16="http://schemas.microsoft.com/office/drawing/2014/main" id="{B2EEFD6A-40FF-4329-86FD-ADEF6B391865}"/>
              </a:ext>
            </a:extLst>
          </p:cNvPr>
          <p:cNvSpPr>
            <a:spLocks noGrp="1"/>
          </p:cNvSpPr>
          <p:nvPr>
            <p:ph type="ftr" sz="quarter" idx="15"/>
          </p:nvPr>
        </p:nvSpPr>
        <p:spPr/>
        <p:txBody>
          <a:bodyPr/>
          <a:lstStyle/>
          <a:p>
            <a:r>
              <a:rPr lang="en-GB"/>
              <a:t>Draft | Internal use only | Confidential</a:t>
            </a:r>
          </a:p>
        </p:txBody>
      </p:sp>
      <p:sp>
        <p:nvSpPr>
          <p:cNvPr id="10" name="Slide Number Placeholder 9">
            <a:extLst>
              <a:ext uri="{FF2B5EF4-FFF2-40B4-BE49-F238E27FC236}">
                <a16:creationId xmlns:a16="http://schemas.microsoft.com/office/drawing/2014/main" id="{C5182FC2-EAAE-4086-BE94-154B6502E857}"/>
              </a:ext>
            </a:extLst>
          </p:cNvPr>
          <p:cNvSpPr>
            <a:spLocks noGrp="1"/>
          </p:cNvSpPr>
          <p:nvPr>
            <p:ph type="sldNum" sz="quarter" idx="16"/>
          </p:nvPr>
        </p:nvSpPr>
        <p:spPr/>
        <p:txBody>
          <a:bodyPr/>
          <a:lstStyle/>
          <a:p>
            <a:fld id="{9BE0E23E-9022-4929-B297-EB2777CDBB1F}" type="slidenum">
              <a:rPr lang="en-GB" smtClean="0"/>
              <a:pPr/>
              <a:t>‹#›</a:t>
            </a:fld>
            <a:endParaRPr lang="en-GB"/>
          </a:p>
        </p:txBody>
      </p:sp>
    </p:spTree>
    <p:extLst>
      <p:ext uri="{BB962C8B-B14F-4D97-AF65-F5344CB8AC3E}">
        <p14:creationId xmlns:p14="http://schemas.microsoft.com/office/powerpoint/2010/main" val="2949492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object, image left - 4">
    <p:spTree>
      <p:nvGrpSpPr>
        <p:cNvPr id="1" name=""/>
        <p:cNvGrpSpPr/>
        <p:nvPr/>
      </p:nvGrpSpPr>
      <p:grpSpPr>
        <a:xfrm>
          <a:off x="0" y="0"/>
          <a:ext cx="0" cy="0"/>
          <a:chOff x="0" y="0"/>
          <a:chExt cx="0" cy="0"/>
        </a:xfrm>
      </p:grpSpPr>
      <p:sp>
        <p:nvSpPr>
          <p:cNvPr id="10" name="Tijdelijke aanduiding voor afbeelding 9">
            <a:extLst>
              <a:ext uri="{FF2B5EF4-FFF2-40B4-BE49-F238E27FC236}">
                <a16:creationId xmlns:a16="http://schemas.microsoft.com/office/drawing/2014/main" id="{DFCEA526-81FA-4002-B45C-BC3F7FFAF64E}"/>
              </a:ext>
            </a:extLst>
          </p:cNvPr>
          <p:cNvSpPr>
            <a:spLocks noGrp="1"/>
          </p:cNvSpPr>
          <p:nvPr>
            <p:ph type="pic" sz="quarter" idx="14" hasCustomPrompt="1"/>
          </p:nvPr>
        </p:nvSpPr>
        <p:spPr>
          <a:xfrm flipH="1">
            <a:off x="0" y="0"/>
            <a:ext cx="6096000" cy="5877984"/>
          </a:xfrm>
          <a:custGeom>
            <a:avLst/>
            <a:gdLst>
              <a:gd name="connsiteX0" fmla="*/ 0 w 4572000"/>
              <a:gd name="connsiteY0" fmla="*/ 0 h 4408488"/>
              <a:gd name="connsiteX1" fmla="*/ 4572000 w 4572000"/>
              <a:gd name="connsiteY1" fmla="*/ 0 h 4408488"/>
              <a:gd name="connsiteX2" fmla="*/ 4572000 w 4572000"/>
              <a:gd name="connsiteY2" fmla="*/ 4408488 h 4408488"/>
              <a:gd name="connsiteX3" fmla="*/ 734763 w 4572000"/>
              <a:gd name="connsiteY3" fmla="*/ 4408488 h 4408488"/>
              <a:gd name="connsiteX4" fmla="*/ 0 w 4572000"/>
              <a:gd name="connsiteY4" fmla="*/ 3673725 h 4408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0" h="4408488">
                <a:moveTo>
                  <a:pt x="0" y="0"/>
                </a:moveTo>
                <a:lnTo>
                  <a:pt x="4572000" y="0"/>
                </a:lnTo>
                <a:lnTo>
                  <a:pt x="4572000" y="4408488"/>
                </a:lnTo>
                <a:lnTo>
                  <a:pt x="734763" y="4408488"/>
                </a:lnTo>
                <a:cubicBezTo>
                  <a:pt x="328965" y="4408488"/>
                  <a:pt x="0" y="4079523"/>
                  <a:pt x="0" y="3673725"/>
                </a:cubicBezTo>
                <a:close/>
              </a:path>
            </a:pathLst>
          </a:custGeom>
          <a:solidFill>
            <a:schemeClr val="tx1">
              <a:lumMod val="20000"/>
              <a:lumOff val="80000"/>
            </a:schemeClr>
          </a:solidFill>
        </p:spPr>
        <p:txBody>
          <a:bodyPr wrap="square">
            <a:noAutofit/>
          </a:bodyPr>
          <a:lstStyle>
            <a:lvl1pPr marL="0" indent="0" algn="ctr">
              <a:buNone/>
              <a:defRPr>
                <a:solidFill>
                  <a:schemeClr val="accent1"/>
                </a:solidFill>
              </a:defRPr>
            </a:lvl1pPr>
          </a:lstStyle>
          <a:p>
            <a:r>
              <a:rPr lang="en-GB"/>
              <a:t>Image</a:t>
            </a:r>
          </a:p>
        </p:txBody>
      </p:sp>
      <p:sp>
        <p:nvSpPr>
          <p:cNvPr id="2" name="Title 1"/>
          <p:cNvSpPr>
            <a:spLocks noGrp="1"/>
          </p:cNvSpPr>
          <p:nvPr>
            <p:ph type="title"/>
          </p:nvPr>
        </p:nvSpPr>
        <p:spPr>
          <a:xfrm>
            <a:off x="6355335" y="548219"/>
            <a:ext cx="5257804" cy="1036965"/>
          </a:xfrm>
        </p:spPr>
        <p:txBody>
          <a:bodyPr/>
          <a:lstStyle/>
          <a:p>
            <a:r>
              <a:rPr lang="en-GB"/>
              <a:t>Click to edit Master title style</a:t>
            </a:r>
          </a:p>
        </p:txBody>
      </p:sp>
      <p:sp>
        <p:nvSpPr>
          <p:cNvPr id="3" name="Content Placeholder 2"/>
          <p:cNvSpPr>
            <a:spLocks noGrp="1"/>
          </p:cNvSpPr>
          <p:nvPr>
            <p:ph idx="1" hasCustomPrompt="1"/>
          </p:nvPr>
        </p:nvSpPr>
        <p:spPr>
          <a:xfrm>
            <a:off x="6359894" y="1701801"/>
            <a:ext cx="5257804" cy="417618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078C19A8-BD80-47FC-9B2A-4C688EF5E8F3}"/>
              </a:ext>
            </a:extLst>
          </p:cNvPr>
          <p:cNvSpPr>
            <a:spLocks noGrp="1"/>
          </p:cNvSpPr>
          <p:nvPr>
            <p:ph type="dt" sz="half" idx="15"/>
          </p:nvPr>
        </p:nvSpPr>
        <p:spPr/>
        <p:txBody>
          <a:bodyPr/>
          <a:lstStyle/>
          <a:p>
            <a:fld id="{3B41E4C4-975F-42BF-A58C-759C3460E790}" type="datetime1">
              <a:rPr lang="en-US" smtClean="0"/>
              <a:t>4/18/2025</a:t>
            </a:fld>
            <a:endParaRPr lang="en-GB"/>
          </a:p>
        </p:txBody>
      </p:sp>
      <p:sp>
        <p:nvSpPr>
          <p:cNvPr id="8" name="Footer Placeholder 7">
            <a:extLst>
              <a:ext uri="{FF2B5EF4-FFF2-40B4-BE49-F238E27FC236}">
                <a16:creationId xmlns:a16="http://schemas.microsoft.com/office/drawing/2014/main" id="{76085339-6207-4265-AF28-D7E1ED9B5A45}"/>
              </a:ext>
            </a:extLst>
          </p:cNvPr>
          <p:cNvSpPr>
            <a:spLocks noGrp="1"/>
          </p:cNvSpPr>
          <p:nvPr>
            <p:ph type="ftr" sz="quarter" idx="16"/>
          </p:nvPr>
        </p:nvSpPr>
        <p:spPr/>
        <p:txBody>
          <a:bodyPr/>
          <a:lstStyle/>
          <a:p>
            <a:r>
              <a:rPr lang="en-GB"/>
              <a:t>Draft | Internal use only | Confidential</a:t>
            </a:r>
          </a:p>
        </p:txBody>
      </p:sp>
      <p:sp>
        <p:nvSpPr>
          <p:cNvPr id="9" name="Slide Number Placeholder 8">
            <a:extLst>
              <a:ext uri="{FF2B5EF4-FFF2-40B4-BE49-F238E27FC236}">
                <a16:creationId xmlns:a16="http://schemas.microsoft.com/office/drawing/2014/main" id="{20645EF5-7369-471D-9DFE-F382AB83D164}"/>
              </a:ext>
            </a:extLst>
          </p:cNvPr>
          <p:cNvSpPr>
            <a:spLocks noGrp="1"/>
          </p:cNvSpPr>
          <p:nvPr>
            <p:ph type="sldNum" sz="quarter" idx="17"/>
          </p:nvPr>
        </p:nvSpPr>
        <p:spPr/>
        <p:txBody>
          <a:bodyPr/>
          <a:lstStyle/>
          <a:p>
            <a:fld id="{9BE0E23E-9022-4929-B297-EB2777CDBB1F}" type="slidenum">
              <a:rPr lang="en-GB" smtClean="0"/>
              <a:pPr/>
              <a:t>‹#›</a:t>
            </a:fld>
            <a:endParaRPr lang="en-GB"/>
          </a:p>
        </p:txBody>
      </p:sp>
    </p:spTree>
    <p:extLst>
      <p:ext uri="{BB962C8B-B14F-4D97-AF65-F5344CB8AC3E}">
        <p14:creationId xmlns:p14="http://schemas.microsoft.com/office/powerpoint/2010/main" val="2538488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object, image right - 1">
    <p:spTree>
      <p:nvGrpSpPr>
        <p:cNvPr id="1" name=""/>
        <p:cNvGrpSpPr/>
        <p:nvPr/>
      </p:nvGrpSpPr>
      <p:grpSpPr>
        <a:xfrm>
          <a:off x="0" y="0"/>
          <a:ext cx="0" cy="0"/>
          <a:chOff x="0" y="0"/>
          <a:chExt cx="0" cy="0"/>
        </a:xfrm>
      </p:grpSpPr>
      <p:sp>
        <p:nvSpPr>
          <p:cNvPr id="8" name="Tijdelijke aanduiding voor afbeelding 7">
            <a:extLst>
              <a:ext uri="{FF2B5EF4-FFF2-40B4-BE49-F238E27FC236}">
                <a16:creationId xmlns:a16="http://schemas.microsoft.com/office/drawing/2014/main" id="{F720B503-17F8-4237-9A82-0CEE6CD5AC31}"/>
              </a:ext>
            </a:extLst>
          </p:cNvPr>
          <p:cNvSpPr>
            <a:spLocks noGrp="1"/>
          </p:cNvSpPr>
          <p:nvPr>
            <p:ph type="pic" sz="quarter" idx="13" hasCustomPrompt="1"/>
          </p:nvPr>
        </p:nvSpPr>
        <p:spPr>
          <a:xfrm>
            <a:off x="8015818" y="0"/>
            <a:ext cx="4176183" cy="6858000"/>
          </a:xfrm>
          <a:solidFill>
            <a:schemeClr val="tx1">
              <a:lumMod val="20000"/>
              <a:lumOff val="80000"/>
            </a:schemeClr>
          </a:solidFill>
        </p:spPr>
        <p:txBody>
          <a:bodyPr/>
          <a:lstStyle>
            <a:lvl1pPr marL="0" indent="0" algn="ctr">
              <a:buNone/>
              <a:defRPr>
                <a:solidFill>
                  <a:schemeClr val="accent1"/>
                </a:solidFill>
              </a:defRPr>
            </a:lvl1pPr>
          </a:lstStyle>
          <a:p>
            <a:r>
              <a:rPr lang="en-GB"/>
              <a:t>Image</a:t>
            </a:r>
          </a:p>
        </p:txBody>
      </p:sp>
      <p:sp>
        <p:nvSpPr>
          <p:cNvPr id="2" name="Title 1"/>
          <p:cNvSpPr>
            <a:spLocks noGrp="1"/>
          </p:cNvSpPr>
          <p:nvPr>
            <p:ph type="title"/>
          </p:nvPr>
        </p:nvSpPr>
        <p:spPr>
          <a:xfrm>
            <a:off x="575735" y="548219"/>
            <a:ext cx="7096356" cy="1036965"/>
          </a:xfrm>
        </p:spPr>
        <p:txBody>
          <a:bodyPr/>
          <a:lstStyle/>
          <a:p>
            <a:r>
              <a:rPr lang="en-GB"/>
              <a:t>Click to edit Master title style</a:t>
            </a:r>
          </a:p>
        </p:txBody>
      </p:sp>
      <p:sp>
        <p:nvSpPr>
          <p:cNvPr id="3" name="Content Placeholder 2"/>
          <p:cNvSpPr>
            <a:spLocks noGrp="1"/>
          </p:cNvSpPr>
          <p:nvPr>
            <p:ph idx="1" hasCustomPrompt="1"/>
          </p:nvPr>
        </p:nvSpPr>
        <p:spPr>
          <a:xfrm>
            <a:off x="580292" y="1701801"/>
            <a:ext cx="7096355" cy="417618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10"/>
          </p:nvPr>
        </p:nvSpPr>
        <p:spPr>
          <a:xfrm>
            <a:off x="7218188" y="6491401"/>
            <a:ext cx="458459" cy="102657"/>
          </a:xfrm>
        </p:spPr>
        <p:txBody>
          <a:bodyPr/>
          <a:lstStyle/>
          <a:p>
            <a:fld id="{6020216D-0595-4880-A8FF-C331FD9EF150}" type="datetime1">
              <a:rPr lang="en-US" smtClean="0"/>
              <a:t>4/18/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Tree>
    <p:extLst>
      <p:ext uri="{BB962C8B-B14F-4D97-AF65-F5344CB8AC3E}">
        <p14:creationId xmlns:p14="http://schemas.microsoft.com/office/powerpoint/2010/main" val="1870677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object, image right - 2">
    <p:spTree>
      <p:nvGrpSpPr>
        <p:cNvPr id="1" name=""/>
        <p:cNvGrpSpPr/>
        <p:nvPr/>
      </p:nvGrpSpPr>
      <p:grpSpPr>
        <a:xfrm>
          <a:off x="0" y="0"/>
          <a:ext cx="0" cy="0"/>
          <a:chOff x="0" y="0"/>
          <a:chExt cx="0" cy="0"/>
        </a:xfrm>
      </p:grpSpPr>
      <p:sp>
        <p:nvSpPr>
          <p:cNvPr id="2" name="Title 1"/>
          <p:cNvSpPr>
            <a:spLocks noGrp="1"/>
          </p:cNvSpPr>
          <p:nvPr>
            <p:ph type="title"/>
          </p:nvPr>
        </p:nvSpPr>
        <p:spPr>
          <a:xfrm>
            <a:off x="575735" y="548219"/>
            <a:ext cx="7096356" cy="1036965"/>
          </a:xfrm>
        </p:spPr>
        <p:txBody>
          <a:bodyPr/>
          <a:lstStyle/>
          <a:p>
            <a:r>
              <a:rPr lang="en-GB"/>
              <a:t>Click to edit Master title style</a:t>
            </a:r>
          </a:p>
        </p:txBody>
      </p:sp>
      <p:sp>
        <p:nvSpPr>
          <p:cNvPr id="3" name="Content Placeholder 2"/>
          <p:cNvSpPr>
            <a:spLocks noGrp="1"/>
          </p:cNvSpPr>
          <p:nvPr>
            <p:ph idx="1" hasCustomPrompt="1"/>
          </p:nvPr>
        </p:nvSpPr>
        <p:spPr>
          <a:xfrm>
            <a:off x="580292" y="1701801"/>
            <a:ext cx="7096355" cy="417618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CD0681F5-EDA1-4026-910A-363A595F1D41}"/>
              </a:ext>
            </a:extLst>
          </p:cNvPr>
          <p:cNvSpPr>
            <a:spLocks noGrp="1"/>
          </p:cNvSpPr>
          <p:nvPr>
            <p:ph type="dt" sz="half" idx="15"/>
          </p:nvPr>
        </p:nvSpPr>
        <p:spPr/>
        <p:txBody>
          <a:bodyPr/>
          <a:lstStyle/>
          <a:p>
            <a:fld id="{BD7B5899-8B70-4FDE-8D04-CC3B4BA93525}" type="datetime1">
              <a:rPr lang="en-US" smtClean="0"/>
              <a:t>4/18/2025</a:t>
            </a:fld>
            <a:endParaRPr lang="en-GB"/>
          </a:p>
        </p:txBody>
      </p:sp>
      <p:sp>
        <p:nvSpPr>
          <p:cNvPr id="8" name="Footer Placeholder 7">
            <a:extLst>
              <a:ext uri="{FF2B5EF4-FFF2-40B4-BE49-F238E27FC236}">
                <a16:creationId xmlns:a16="http://schemas.microsoft.com/office/drawing/2014/main" id="{57242038-6053-470C-BB99-293A4CF25213}"/>
              </a:ext>
            </a:extLst>
          </p:cNvPr>
          <p:cNvSpPr>
            <a:spLocks noGrp="1"/>
          </p:cNvSpPr>
          <p:nvPr>
            <p:ph type="ftr" sz="quarter" idx="16"/>
          </p:nvPr>
        </p:nvSpPr>
        <p:spPr/>
        <p:txBody>
          <a:bodyPr/>
          <a:lstStyle/>
          <a:p>
            <a:r>
              <a:rPr lang="en-GB"/>
              <a:t>Draft | Internal use only | Confidential</a:t>
            </a:r>
          </a:p>
        </p:txBody>
      </p:sp>
      <p:sp>
        <p:nvSpPr>
          <p:cNvPr id="9" name="Slide Number Placeholder 8">
            <a:extLst>
              <a:ext uri="{FF2B5EF4-FFF2-40B4-BE49-F238E27FC236}">
                <a16:creationId xmlns:a16="http://schemas.microsoft.com/office/drawing/2014/main" id="{304EA08E-FB46-4B48-968F-705BEF45349A}"/>
              </a:ext>
            </a:extLst>
          </p:cNvPr>
          <p:cNvSpPr>
            <a:spLocks noGrp="1"/>
          </p:cNvSpPr>
          <p:nvPr>
            <p:ph type="sldNum" sz="quarter" idx="17"/>
          </p:nvPr>
        </p:nvSpPr>
        <p:spPr/>
        <p:txBody>
          <a:bodyPr/>
          <a:lstStyle/>
          <a:p>
            <a:fld id="{9BE0E23E-9022-4929-B297-EB2777CDBB1F}" type="slidenum">
              <a:rPr lang="en-GB" smtClean="0"/>
              <a:pPr/>
              <a:t>‹#›</a:t>
            </a:fld>
            <a:endParaRPr lang="en-GB"/>
          </a:p>
        </p:txBody>
      </p:sp>
      <p:sp>
        <p:nvSpPr>
          <p:cNvPr id="12" name="Picture Placeholder 11">
            <a:extLst>
              <a:ext uri="{FF2B5EF4-FFF2-40B4-BE49-F238E27FC236}">
                <a16:creationId xmlns:a16="http://schemas.microsoft.com/office/drawing/2014/main" id="{882D5BAD-2FA6-4711-A473-BE9F6C23627A}"/>
              </a:ext>
            </a:extLst>
          </p:cNvPr>
          <p:cNvSpPr>
            <a:spLocks noGrp="1"/>
          </p:cNvSpPr>
          <p:nvPr>
            <p:ph type="pic" sz="quarter" idx="13" hasCustomPrompt="1"/>
          </p:nvPr>
        </p:nvSpPr>
        <p:spPr>
          <a:xfrm>
            <a:off x="8015818" y="-1"/>
            <a:ext cx="4176183" cy="5877984"/>
          </a:xfrm>
          <a:custGeom>
            <a:avLst/>
            <a:gdLst>
              <a:gd name="connsiteX0" fmla="*/ 0 w 3132137"/>
              <a:gd name="connsiteY0" fmla="*/ 0 h 4408488"/>
              <a:gd name="connsiteX1" fmla="*/ 3132137 w 3132137"/>
              <a:gd name="connsiteY1" fmla="*/ 0 h 4408488"/>
              <a:gd name="connsiteX2" fmla="*/ 3132137 w 3132137"/>
              <a:gd name="connsiteY2" fmla="*/ 1 h 4408488"/>
              <a:gd name="connsiteX3" fmla="*/ 3132137 w 3132137"/>
              <a:gd name="connsiteY3" fmla="*/ 2356339 h 4408488"/>
              <a:gd name="connsiteX4" fmla="*/ 3132137 w 3132137"/>
              <a:gd name="connsiteY4" fmla="*/ 4408488 h 4408488"/>
              <a:gd name="connsiteX5" fmla="*/ 522033 w 3132137"/>
              <a:gd name="connsiteY5" fmla="*/ 4408488 h 4408488"/>
              <a:gd name="connsiteX6" fmla="*/ 0 w 3132137"/>
              <a:gd name="connsiteY6" fmla="*/ 3886455 h 4408488"/>
              <a:gd name="connsiteX7" fmla="*/ 0 w 3132137"/>
              <a:gd name="connsiteY7" fmla="*/ 2356339 h 4408488"/>
              <a:gd name="connsiteX8" fmla="*/ 0 w 3132137"/>
              <a:gd name="connsiteY8" fmla="*/ 1 h 4408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2137" h="4408488">
                <a:moveTo>
                  <a:pt x="0" y="0"/>
                </a:moveTo>
                <a:lnTo>
                  <a:pt x="3132137" y="0"/>
                </a:lnTo>
                <a:lnTo>
                  <a:pt x="3132137" y="1"/>
                </a:lnTo>
                <a:lnTo>
                  <a:pt x="3132137" y="2356339"/>
                </a:lnTo>
                <a:lnTo>
                  <a:pt x="3132137" y="4408488"/>
                </a:lnTo>
                <a:lnTo>
                  <a:pt x="522033" y="4408488"/>
                </a:lnTo>
                <a:cubicBezTo>
                  <a:pt x="233722" y="4408488"/>
                  <a:pt x="0" y="4174766"/>
                  <a:pt x="0" y="3886455"/>
                </a:cubicBezTo>
                <a:lnTo>
                  <a:pt x="0" y="2356339"/>
                </a:lnTo>
                <a:lnTo>
                  <a:pt x="0" y="1"/>
                </a:lnTo>
                <a:close/>
              </a:path>
            </a:pathLst>
          </a:custGeom>
          <a:solidFill>
            <a:schemeClr val="tx1">
              <a:lumMod val="20000"/>
              <a:lumOff val="80000"/>
            </a:schemeClr>
          </a:solidFill>
        </p:spPr>
        <p:txBody>
          <a:bodyPr wrap="square">
            <a:noAutofit/>
          </a:bodyPr>
          <a:lstStyle>
            <a:lvl1pPr marL="0" indent="0" algn="ctr">
              <a:buNone/>
              <a:defRPr>
                <a:solidFill>
                  <a:schemeClr val="accent1"/>
                </a:solidFill>
              </a:defRPr>
            </a:lvl1pPr>
          </a:lstStyle>
          <a:p>
            <a:r>
              <a:rPr lang="en-GB"/>
              <a:t>Image</a:t>
            </a:r>
          </a:p>
        </p:txBody>
      </p:sp>
    </p:spTree>
    <p:extLst>
      <p:ext uri="{BB962C8B-B14F-4D97-AF65-F5344CB8AC3E}">
        <p14:creationId xmlns:p14="http://schemas.microsoft.com/office/powerpoint/2010/main" val="320862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object, image right - 3">
    <p:spTree>
      <p:nvGrpSpPr>
        <p:cNvPr id="1" name=""/>
        <p:cNvGrpSpPr/>
        <p:nvPr/>
      </p:nvGrpSpPr>
      <p:grpSpPr>
        <a:xfrm>
          <a:off x="0" y="0"/>
          <a:ext cx="0" cy="0"/>
          <a:chOff x="0" y="0"/>
          <a:chExt cx="0" cy="0"/>
        </a:xfrm>
      </p:grpSpPr>
      <p:sp>
        <p:nvSpPr>
          <p:cNvPr id="2" name="Title 1"/>
          <p:cNvSpPr>
            <a:spLocks noGrp="1"/>
          </p:cNvSpPr>
          <p:nvPr>
            <p:ph type="title"/>
          </p:nvPr>
        </p:nvSpPr>
        <p:spPr>
          <a:xfrm>
            <a:off x="575735" y="548219"/>
            <a:ext cx="5257804" cy="1036965"/>
          </a:xfrm>
        </p:spPr>
        <p:txBody>
          <a:bodyPr/>
          <a:lstStyle/>
          <a:p>
            <a:r>
              <a:rPr lang="en-GB"/>
              <a:t>Click to edit Master title style</a:t>
            </a:r>
          </a:p>
        </p:txBody>
      </p:sp>
      <p:sp>
        <p:nvSpPr>
          <p:cNvPr id="3" name="Content Placeholder 2"/>
          <p:cNvSpPr>
            <a:spLocks noGrp="1"/>
          </p:cNvSpPr>
          <p:nvPr>
            <p:ph idx="1" hasCustomPrompt="1"/>
          </p:nvPr>
        </p:nvSpPr>
        <p:spPr>
          <a:xfrm>
            <a:off x="580294" y="1701801"/>
            <a:ext cx="5257804" cy="417618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10"/>
          </p:nvPr>
        </p:nvSpPr>
        <p:spPr>
          <a:xfrm>
            <a:off x="5379639" y="6491401"/>
            <a:ext cx="458459" cy="102657"/>
          </a:xfrm>
        </p:spPr>
        <p:txBody>
          <a:bodyPr/>
          <a:lstStyle/>
          <a:p>
            <a:fld id="{41A07DDE-CA80-4549-A385-7C01145FBAF3}" type="datetime1">
              <a:rPr lang="en-US" smtClean="0"/>
              <a:t>4/18/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8" name="Tijdelijke aanduiding voor afbeelding 7">
            <a:extLst>
              <a:ext uri="{FF2B5EF4-FFF2-40B4-BE49-F238E27FC236}">
                <a16:creationId xmlns:a16="http://schemas.microsoft.com/office/drawing/2014/main" id="{F720B503-17F8-4237-9A82-0CEE6CD5AC31}"/>
              </a:ext>
            </a:extLst>
          </p:cNvPr>
          <p:cNvSpPr>
            <a:spLocks noGrp="1"/>
          </p:cNvSpPr>
          <p:nvPr>
            <p:ph type="pic" sz="quarter" idx="13" hasCustomPrompt="1"/>
          </p:nvPr>
        </p:nvSpPr>
        <p:spPr>
          <a:xfrm>
            <a:off x="6096000" y="0"/>
            <a:ext cx="6096000" cy="6858000"/>
          </a:xfrm>
          <a:solidFill>
            <a:schemeClr val="tx1">
              <a:lumMod val="20000"/>
              <a:lumOff val="80000"/>
            </a:schemeClr>
          </a:solidFill>
        </p:spPr>
        <p:txBody>
          <a:bodyPr/>
          <a:lstStyle>
            <a:lvl1pPr marL="0" indent="0" algn="ctr">
              <a:buNone/>
              <a:defRPr>
                <a:solidFill>
                  <a:schemeClr val="accent1"/>
                </a:solidFill>
              </a:defRPr>
            </a:lvl1pPr>
          </a:lstStyle>
          <a:p>
            <a:r>
              <a:rPr lang="en-GB"/>
              <a:t>Image</a:t>
            </a:r>
          </a:p>
        </p:txBody>
      </p:sp>
    </p:spTree>
    <p:extLst>
      <p:ext uri="{BB962C8B-B14F-4D97-AF65-F5344CB8AC3E}">
        <p14:creationId xmlns:p14="http://schemas.microsoft.com/office/powerpoint/2010/main" val="1602872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object, image right - 4">
    <p:spTree>
      <p:nvGrpSpPr>
        <p:cNvPr id="1" name=""/>
        <p:cNvGrpSpPr/>
        <p:nvPr/>
      </p:nvGrpSpPr>
      <p:grpSpPr>
        <a:xfrm>
          <a:off x="0" y="0"/>
          <a:ext cx="0" cy="0"/>
          <a:chOff x="0" y="0"/>
          <a:chExt cx="0" cy="0"/>
        </a:xfrm>
      </p:grpSpPr>
      <p:sp>
        <p:nvSpPr>
          <p:cNvPr id="2" name="Title 1"/>
          <p:cNvSpPr>
            <a:spLocks noGrp="1"/>
          </p:cNvSpPr>
          <p:nvPr>
            <p:ph type="title"/>
          </p:nvPr>
        </p:nvSpPr>
        <p:spPr>
          <a:xfrm>
            <a:off x="575735" y="548219"/>
            <a:ext cx="5257804" cy="1036965"/>
          </a:xfrm>
        </p:spPr>
        <p:txBody>
          <a:bodyPr/>
          <a:lstStyle/>
          <a:p>
            <a:r>
              <a:rPr lang="en-GB"/>
              <a:t>Click to edit Master title style</a:t>
            </a:r>
          </a:p>
        </p:txBody>
      </p:sp>
      <p:sp>
        <p:nvSpPr>
          <p:cNvPr id="3" name="Content Placeholder 2"/>
          <p:cNvSpPr>
            <a:spLocks noGrp="1"/>
          </p:cNvSpPr>
          <p:nvPr>
            <p:ph idx="1" hasCustomPrompt="1"/>
          </p:nvPr>
        </p:nvSpPr>
        <p:spPr>
          <a:xfrm>
            <a:off x="580294" y="1701801"/>
            <a:ext cx="5257804" cy="417618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52EA21D7-1005-4EDE-841E-88045C88545D}"/>
              </a:ext>
            </a:extLst>
          </p:cNvPr>
          <p:cNvSpPr>
            <a:spLocks noGrp="1"/>
          </p:cNvSpPr>
          <p:nvPr>
            <p:ph type="dt" sz="half" idx="15"/>
          </p:nvPr>
        </p:nvSpPr>
        <p:spPr/>
        <p:txBody>
          <a:bodyPr/>
          <a:lstStyle/>
          <a:p>
            <a:fld id="{7E05895C-6CD6-4A39-BC2D-4626A979A96A}" type="datetime1">
              <a:rPr lang="en-US" smtClean="0"/>
              <a:t>4/18/2025</a:t>
            </a:fld>
            <a:endParaRPr lang="en-GB"/>
          </a:p>
        </p:txBody>
      </p:sp>
      <p:sp>
        <p:nvSpPr>
          <p:cNvPr id="8" name="Footer Placeholder 7">
            <a:extLst>
              <a:ext uri="{FF2B5EF4-FFF2-40B4-BE49-F238E27FC236}">
                <a16:creationId xmlns:a16="http://schemas.microsoft.com/office/drawing/2014/main" id="{C2778027-0E63-4A63-883B-42853C952A7D}"/>
              </a:ext>
            </a:extLst>
          </p:cNvPr>
          <p:cNvSpPr>
            <a:spLocks noGrp="1"/>
          </p:cNvSpPr>
          <p:nvPr>
            <p:ph type="ftr" sz="quarter" idx="16"/>
          </p:nvPr>
        </p:nvSpPr>
        <p:spPr/>
        <p:txBody>
          <a:bodyPr/>
          <a:lstStyle/>
          <a:p>
            <a:r>
              <a:rPr lang="en-GB"/>
              <a:t>Draft | Internal use only | Confidential</a:t>
            </a:r>
          </a:p>
        </p:txBody>
      </p:sp>
      <p:sp>
        <p:nvSpPr>
          <p:cNvPr id="9" name="Slide Number Placeholder 8">
            <a:extLst>
              <a:ext uri="{FF2B5EF4-FFF2-40B4-BE49-F238E27FC236}">
                <a16:creationId xmlns:a16="http://schemas.microsoft.com/office/drawing/2014/main" id="{1B0E8294-B9BA-4A85-9AF3-814ECE43C083}"/>
              </a:ext>
            </a:extLst>
          </p:cNvPr>
          <p:cNvSpPr>
            <a:spLocks noGrp="1"/>
          </p:cNvSpPr>
          <p:nvPr>
            <p:ph type="sldNum" sz="quarter" idx="17"/>
          </p:nvPr>
        </p:nvSpPr>
        <p:spPr/>
        <p:txBody>
          <a:bodyPr/>
          <a:lstStyle/>
          <a:p>
            <a:fld id="{9BE0E23E-9022-4929-B297-EB2777CDBB1F}" type="slidenum">
              <a:rPr lang="en-GB" smtClean="0"/>
              <a:pPr/>
              <a:t>‹#›</a:t>
            </a:fld>
            <a:endParaRPr lang="en-GB"/>
          </a:p>
        </p:txBody>
      </p:sp>
      <p:sp>
        <p:nvSpPr>
          <p:cNvPr id="12" name="Picture Placeholder 11">
            <a:extLst>
              <a:ext uri="{FF2B5EF4-FFF2-40B4-BE49-F238E27FC236}">
                <a16:creationId xmlns:a16="http://schemas.microsoft.com/office/drawing/2014/main" id="{37B97ABC-BA74-4B06-AE01-DA83D0C01F86}"/>
              </a:ext>
            </a:extLst>
          </p:cNvPr>
          <p:cNvSpPr>
            <a:spLocks noGrp="1"/>
          </p:cNvSpPr>
          <p:nvPr>
            <p:ph type="pic" sz="quarter" idx="13" hasCustomPrompt="1"/>
          </p:nvPr>
        </p:nvSpPr>
        <p:spPr>
          <a:xfrm>
            <a:off x="6095997" y="-1"/>
            <a:ext cx="6096000" cy="5877984"/>
          </a:xfrm>
          <a:custGeom>
            <a:avLst/>
            <a:gdLst>
              <a:gd name="connsiteX0" fmla="*/ 0 w 4572000"/>
              <a:gd name="connsiteY0" fmla="*/ 0 h 4408488"/>
              <a:gd name="connsiteX1" fmla="*/ 1439863 w 4572000"/>
              <a:gd name="connsiteY1" fmla="*/ 0 h 4408488"/>
              <a:gd name="connsiteX2" fmla="*/ 4572000 w 4572000"/>
              <a:gd name="connsiteY2" fmla="*/ 0 h 4408488"/>
              <a:gd name="connsiteX3" fmla="*/ 4572000 w 4572000"/>
              <a:gd name="connsiteY3" fmla="*/ 1505243 h 4408488"/>
              <a:gd name="connsiteX4" fmla="*/ 4572000 w 4572000"/>
              <a:gd name="connsiteY4" fmla="*/ 4408488 h 4408488"/>
              <a:gd name="connsiteX5" fmla="*/ 734763 w 4572000"/>
              <a:gd name="connsiteY5" fmla="*/ 4408488 h 4408488"/>
              <a:gd name="connsiteX6" fmla="*/ 0 w 4572000"/>
              <a:gd name="connsiteY6" fmla="*/ 3673725 h 4408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2000" h="4408488">
                <a:moveTo>
                  <a:pt x="0" y="0"/>
                </a:moveTo>
                <a:lnTo>
                  <a:pt x="1439863" y="0"/>
                </a:lnTo>
                <a:lnTo>
                  <a:pt x="4572000" y="0"/>
                </a:lnTo>
                <a:lnTo>
                  <a:pt x="4572000" y="1505243"/>
                </a:lnTo>
                <a:lnTo>
                  <a:pt x="4572000" y="4408488"/>
                </a:lnTo>
                <a:lnTo>
                  <a:pt x="734763" y="4408488"/>
                </a:lnTo>
                <a:cubicBezTo>
                  <a:pt x="328965" y="4408488"/>
                  <a:pt x="0" y="4079523"/>
                  <a:pt x="0" y="3673725"/>
                </a:cubicBezTo>
                <a:close/>
              </a:path>
            </a:pathLst>
          </a:custGeom>
          <a:solidFill>
            <a:schemeClr val="tx1">
              <a:lumMod val="20000"/>
              <a:lumOff val="80000"/>
            </a:schemeClr>
          </a:solidFill>
        </p:spPr>
        <p:txBody>
          <a:bodyPr wrap="square">
            <a:noAutofit/>
          </a:bodyPr>
          <a:lstStyle>
            <a:lvl1pPr marL="0" indent="0" algn="ctr">
              <a:buNone/>
              <a:defRPr>
                <a:solidFill>
                  <a:schemeClr val="accent1"/>
                </a:solidFill>
              </a:defRPr>
            </a:lvl1pPr>
          </a:lstStyle>
          <a:p>
            <a:r>
              <a:rPr lang="en-GB"/>
              <a:t>Image</a:t>
            </a:r>
          </a:p>
        </p:txBody>
      </p:sp>
    </p:spTree>
    <p:extLst>
      <p:ext uri="{BB962C8B-B14F-4D97-AF65-F5344CB8AC3E}">
        <p14:creationId xmlns:p14="http://schemas.microsoft.com/office/powerpoint/2010/main" val="1458196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object + Performance image">
    <p:spTree>
      <p:nvGrpSpPr>
        <p:cNvPr id="1" name=""/>
        <p:cNvGrpSpPr/>
        <p:nvPr/>
      </p:nvGrpSpPr>
      <p:grpSpPr>
        <a:xfrm>
          <a:off x="0" y="0"/>
          <a:ext cx="0" cy="0"/>
          <a:chOff x="0" y="0"/>
          <a:chExt cx="0" cy="0"/>
        </a:xfrm>
      </p:grpSpPr>
      <p:sp>
        <p:nvSpPr>
          <p:cNvPr id="2" name="Title 1"/>
          <p:cNvSpPr>
            <a:spLocks noGrp="1"/>
          </p:cNvSpPr>
          <p:nvPr>
            <p:ph type="title"/>
          </p:nvPr>
        </p:nvSpPr>
        <p:spPr>
          <a:xfrm>
            <a:off x="4521865" y="548219"/>
            <a:ext cx="7094400" cy="1036965"/>
          </a:xfrm>
        </p:spPr>
        <p:txBody>
          <a:bodyPr/>
          <a:lstStyle/>
          <a:p>
            <a:r>
              <a:rPr lang="en-GB"/>
              <a:t>Click to edit Master title style</a:t>
            </a:r>
          </a:p>
        </p:txBody>
      </p:sp>
      <p:sp>
        <p:nvSpPr>
          <p:cNvPr id="4" name="Date Placeholder 3"/>
          <p:cNvSpPr>
            <a:spLocks noGrp="1"/>
          </p:cNvSpPr>
          <p:nvPr>
            <p:ph type="dt" sz="half" idx="10"/>
          </p:nvPr>
        </p:nvSpPr>
        <p:spPr>
          <a:xfrm>
            <a:off x="7216520" y="6491401"/>
            <a:ext cx="458459" cy="102657"/>
          </a:xfrm>
        </p:spPr>
        <p:txBody>
          <a:bodyPr/>
          <a:lstStyle/>
          <a:p>
            <a:fld id="{819008ED-5B91-4D4B-B903-D6550505399D}" type="datetime1">
              <a:rPr lang="en-US" smtClean="0"/>
              <a:t>4/18/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pic>
        <p:nvPicPr>
          <p:cNvPr id="10" name="Picture Placeholder 6" descr="A picture containing wall, indoor, room&#10;&#10;Description automatically generated">
            <a:extLst>
              <a:ext uri="{FF2B5EF4-FFF2-40B4-BE49-F238E27FC236}">
                <a16:creationId xmlns:a16="http://schemas.microsoft.com/office/drawing/2014/main" id="{ADA701CE-DA74-411B-AC05-5C868C27EFC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a:fillRect/>
          </a:stretch>
        </p:blipFill>
        <p:spPr>
          <a:xfrm>
            <a:off x="-1" y="0"/>
            <a:ext cx="4176185" cy="6858000"/>
          </a:xfrm>
          <a:prstGeom prst="rect">
            <a:avLst/>
          </a:prstGeom>
        </p:spPr>
      </p:pic>
      <p:sp>
        <p:nvSpPr>
          <p:cNvPr id="11" name="Content Placeholder 2">
            <a:extLst>
              <a:ext uri="{FF2B5EF4-FFF2-40B4-BE49-F238E27FC236}">
                <a16:creationId xmlns:a16="http://schemas.microsoft.com/office/drawing/2014/main" id="{C8FC07B1-6062-451E-972E-548690A18E37}"/>
              </a:ext>
            </a:extLst>
          </p:cNvPr>
          <p:cNvSpPr>
            <a:spLocks noGrp="1"/>
          </p:cNvSpPr>
          <p:nvPr>
            <p:ph idx="1" hasCustomPrompt="1"/>
          </p:nvPr>
        </p:nvSpPr>
        <p:spPr>
          <a:xfrm>
            <a:off x="4512735" y="1701801"/>
            <a:ext cx="7103532" cy="417618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740066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object + Medical image">
    <p:spTree>
      <p:nvGrpSpPr>
        <p:cNvPr id="1" name=""/>
        <p:cNvGrpSpPr/>
        <p:nvPr/>
      </p:nvGrpSpPr>
      <p:grpSpPr>
        <a:xfrm>
          <a:off x="0" y="0"/>
          <a:ext cx="0" cy="0"/>
          <a:chOff x="0" y="0"/>
          <a:chExt cx="0" cy="0"/>
        </a:xfrm>
      </p:grpSpPr>
      <p:sp>
        <p:nvSpPr>
          <p:cNvPr id="2" name="Title 1"/>
          <p:cNvSpPr>
            <a:spLocks noGrp="1"/>
          </p:cNvSpPr>
          <p:nvPr>
            <p:ph type="title"/>
          </p:nvPr>
        </p:nvSpPr>
        <p:spPr>
          <a:xfrm>
            <a:off x="575732" y="548219"/>
            <a:ext cx="7094400" cy="1036965"/>
          </a:xfrm>
        </p:spPr>
        <p:txBody>
          <a:bodyPr/>
          <a:lstStyle/>
          <a:p>
            <a:r>
              <a:rPr lang="en-GB"/>
              <a:t>Click to edit Master title style</a:t>
            </a:r>
          </a:p>
        </p:txBody>
      </p:sp>
      <p:sp>
        <p:nvSpPr>
          <p:cNvPr id="3" name="Content Placeholder 2"/>
          <p:cNvSpPr>
            <a:spLocks noGrp="1"/>
          </p:cNvSpPr>
          <p:nvPr>
            <p:ph idx="1" hasCustomPrompt="1"/>
          </p:nvPr>
        </p:nvSpPr>
        <p:spPr>
          <a:xfrm>
            <a:off x="580291" y="1701801"/>
            <a:ext cx="7094400" cy="417618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10"/>
          </p:nvPr>
        </p:nvSpPr>
        <p:spPr>
          <a:xfrm>
            <a:off x="7216520" y="6491401"/>
            <a:ext cx="458459" cy="102657"/>
          </a:xfrm>
        </p:spPr>
        <p:txBody>
          <a:bodyPr/>
          <a:lstStyle/>
          <a:p>
            <a:fld id="{B29C466D-F5B7-4669-A0DE-782492D3AC20}" type="datetime1">
              <a:rPr lang="en-US" smtClean="0"/>
              <a:t>4/18/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pic>
        <p:nvPicPr>
          <p:cNvPr id="10" name="Picture Placeholder 6" descr="A person and person sitting on a pink chair&#10;&#10;Description automatically generated with low confidence">
            <a:extLst>
              <a:ext uri="{FF2B5EF4-FFF2-40B4-BE49-F238E27FC236}">
                <a16:creationId xmlns:a16="http://schemas.microsoft.com/office/drawing/2014/main" id="{28D39303-1151-453C-9552-7D460EC5ADB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8015819" y="0"/>
            <a:ext cx="4176183" cy="6858000"/>
          </a:xfrm>
          <a:prstGeom prst="rect">
            <a:avLst/>
          </a:prstGeom>
        </p:spPr>
      </p:pic>
    </p:spTree>
    <p:extLst>
      <p:ext uri="{BB962C8B-B14F-4D97-AF65-F5344CB8AC3E}">
        <p14:creationId xmlns:p14="http://schemas.microsoft.com/office/powerpoint/2010/main" val="1604630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object + Active image">
    <p:spTree>
      <p:nvGrpSpPr>
        <p:cNvPr id="1" name=""/>
        <p:cNvGrpSpPr/>
        <p:nvPr/>
      </p:nvGrpSpPr>
      <p:grpSpPr>
        <a:xfrm>
          <a:off x="0" y="0"/>
          <a:ext cx="0" cy="0"/>
          <a:chOff x="0" y="0"/>
          <a:chExt cx="0" cy="0"/>
        </a:xfrm>
      </p:grpSpPr>
      <p:sp>
        <p:nvSpPr>
          <p:cNvPr id="2" name="Title 1"/>
          <p:cNvSpPr>
            <a:spLocks noGrp="1"/>
          </p:cNvSpPr>
          <p:nvPr>
            <p:ph type="title"/>
          </p:nvPr>
        </p:nvSpPr>
        <p:spPr>
          <a:xfrm>
            <a:off x="4521865" y="548219"/>
            <a:ext cx="7094400" cy="1036965"/>
          </a:xfrm>
        </p:spPr>
        <p:txBody>
          <a:bodyPr/>
          <a:lstStyle/>
          <a:p>
            <a:r>
              <a:rPr lang="en-GB"/>
              <a:t>Click to edit Master title style</a:t>
            </a:r>
          </a:p>
        </p:txBody>
      </p:sp>
      <p:sp>
        <p:nvSpPr>
          <p:cNvPr id="4" name="Date Placeholder 3"/>
          <p:cNvSpPr>
            <a:spLocks noGrp="1"/>
          </p:cNvSpPr>
          <p:nvPr>
            <p:ph type="dt" sz="half" idx="10"/>
          </p:nvPr>
        </p:nvSpPr>
        <p:spPr>
          <a:xfrm>
            <a:off x="7216520" y="6491401"/>
            <a:ext cx="458459" cy="102657"/>
          </a:xfrm>
        </p:spPr>
        <p:txBody>
          <a:bodyPr/>
          <a:lstStyle/>
          <a:p>
            <a:fld id="{D59ADFCD-6D7E-4A0E-9DBB-CB414D8FDB43}" type="datetime1">
              <a:rPr lang="en-US" smtClean="0"/>
              <a:t>4/18/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11" name="Content Placeholder 2">
            <a:extLst>
              <a:ext uri="{FF2B5EF4-FFF2-40B4-BE49-F238E27FC236}">
                <a16:creationId xmlns:a16="http://schemas.microsoft.com/office/drawing/2014/main" id="{C8FC07B1-6062-451E-972E-548690A18E37}"/>
              </a:ext>
            </a:extLst>
          </p:cNvPr>
          <p:cNvSpPr>
            <a:spLocks noGrp="1"/>
          </p:cNvSpPr>
          <p:nvPr>
            <p:ph idx="1" hasCustomPrompt="1"/>
          </p:nvPr>
        </p:nvSpPr>
        <p:spPr>
          <a:xfrm>
            <a:off x="4512735" y="1701801"/>
            <a:ext cx="7103532" cy="417618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Tijdelijke aanduiding voor afbeelding 6" descr="Afbeelding met binnen, muur&#10;&#10;Automatisch gegenereerde beschrijving">
            <a:extLst>
              <a:ext uri="{FF2B5EF4-FFF2-40B4-BE49-F238E27FC236}">
                <a16:creationId xmlns:a16="http://schemas.microsoft.com/office/drawing/2014/main" id="{13BD5D15-A5A8-4DD9-9726-84F34FCE141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4176184" cy="6858000"/>
          </a:xfrm>
          <a:prstGeom prst="rect">
            <a:avLst/>
          </a:prstGeom>
        </p:spPr>
      </p:pic>
    </p:spTree>
    <p:extLst>
      <p:ext uri="{BB962C8B-B14F-4D97-AF65-F5344CB8AC3E}">
        <p14:creationId xmlns:p14="http://schemas.microsoft.com/office/powerpoint/2010/main" val="898044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object + Early Life image">
    <p:spTree>
      <p:nvGrpSpPr>
        <p:cNvPr id="1" name=""/>
        <p:cNvGrpSpPr/>
        <p:nvPr/>
      </p:nvGrpSpPr>
      <p:grpSpPr>
        <a:xfrm>
          <a:off x="0" y="0"/>
          <a:ext cx="0" cy="0"/>
          <a:chOff x="0" y="0"/>
          <a:chExt cx="0" cy="0"/>
        </a:xfrm>
      </p:grpSpPr>
      <p:sp>
        <p:nvSpPr>
          <p:cNvPr id="2" name="Title 1"/>
          <p:cNvSpPr>
            <a:spLocks noGrp="1"/>
          </p:cNvSpPr>
          <p:nvPr>
            <p:ph type="title"/>
          </p:nvPr>
        </p:nvSpPr>
        <p:spPr>
          <a:xfrm>
            <a:off x="575732" y="548219"/>
            <a:ext cx="7094400" cy="1036965"/>
          </a:xfrm>
        </p:spPr>
        <p:txBody>
          <a:bodyPr/>
          <a:lstStyle/>
          <a:p>
            <a:r>
              <a:rPr lang="en-GB"/>
              <a:t>Click to edit Master title style</a:t>
            </a:r>
          </a:p>
        </p:txBody>
      </p:sp>
      <p:sp>
        <p:nvSpPr>
          <p:cNvPr id="3" name="Content Placeholder 2"/>
          <p:cNvSpPr>
            <a:spLocks noGrp="1"/>
          </p:cNvSpPr>
          <p:nvPr>
            <p:ph idx="1" hasCustomPrompt="1"/>
          </p:nvPr>
        </p:nvSpPr>
        <p:spPr>
          <a:xfrm>
            <a:off x="580291" y="1701801"/>
            <a:ext cx="7094400" cy="417618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10"/>
          </p:nvPr>
        </p:nvSpPr>
        <p:spPr>
          <a:xfrm>
            <a:off x="7216520" y="6491401"/>
            <a:ext cx="458459" cy="102657"/>
          </a:xfrm>
        </p:spPr>
        <p:txBody>
          <a:bodyPr/>
          <a:lstStyle/>
          <a:p>
            <a:fld id="{D0DEB026-E59F-4578-A87C-A25FD3B4E5D2}" type="datetime1">
              <a:rPr lang="en-US" smtClean="0"/>
              <a:t>4/18/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pic>
        <p:nvPicPr>
          <p:cNvPr id="11" name="Tijdelijke aanduiding voor afbeelding 6">
            <a:extLst>
              <a:ext uri="{FF2B5EF4-FFF2-40B4-BE49-F238E27FC236}">
                <a16:creationId xmlns:a16="http://schemas.microsoft.com/office/drawing/2014/main" id="{FF66C79B-FF1B-4315-8EDC-39D7B83D9FE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H="1">
            <a:off x="8015819" y="0"/>
            <a:ext cx="4176183" cy="6858000"/>
          </a:xfrm>
          <a:prstGeom prst="rect">
            <a:avLst/>
          </a:prstGeom>
        </p:spPr>
      </p:pic>
    </p:spTree>
    <p:extLst>
      <p:ext uri="{BB962C8B-B14F-4D97-AF65-F5344CB8AC3E}">
        <p14:creationId xmlns:p14="http://schemas.microsoft.com/office/powerpoint/2010/main" val="1680470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itle and 2 objec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0291" y="548218"/>
            <a:ext cx="11035975" cy="1036965"/>
          </a:xfrm>
        </p:spPr>
        <p:txBody>
          <a:bodyPr/>
          <a:lstStyle/>
          <a:p>
            <a:r>
              <a:rPr lang="en-GB"/>
              <a:t>Click to add title</a:t>
            </a:r>
          </a:p>
        </p:txBody>
      </p:sp>
      <p:sp>
        <p:nvSpPr>
          <p:cNvPr id="3" name="Content Placeholder 2"/>
          <p:cNvSpPr>
            <a:spLocks noGrp="1"/>
          </p:cNvSpPr>
          <p:nvPr>
            <p:ph sz="half" idx="1" hasCustomPrompt="1"/>
          </p:nvPr>
        </p:nvSpPr>
        <p:spPr>
          <a:xfrm>
            <a:off x="580800" y="1703997"/>
            <a:ext cx="5400000" cy="4368000"/>
          </a:xfrm>
        </p:spPr>
        <p:txBody>
          <a:bodyPr/>
          <a:lstStyle/>
          <a:p>
            <a:pPr lvl="0"/>
            <a:r>
              <a:rPr lang="en-GB"/>
              <a:t>Click to add text or object</a:t>
            </a:r>
          </a:p>
          <a:p>
            <a:pPr lvl="1"/>
            <a:r>
              <a:rPr lang="en-GB"/>
              <a:t>Text level 2</a:t>
            </a:r>
          </a:p>
          <a:p>
            <a:pPr lvl="2"/>
            <a:r>
              <a:rPr lang="en-GB"/>
              <a:t>Text level 3</a:t>
            </a:r>
          </a:p>
          <a:p>
            <a:pPr lvl="3"/>
            <a:r>
              <a:rPr lang="en-GB"/>
              <a:t>Text level 4</a:t>
            </a:r>
          </a:p>
          <a:p>
            <a:pPr lvl="4"/>
            <a:r>
              <a:rPr lang="en-GB"/>
              <a:t>Text level 5</a:t>
            </a:r>
          </a:p>
        </p:txBody>
      </p:sp>
      <p:sp>
        <p:nvSpPr>
          <p:cNvPr id="4" name="Content Placeholder 3"/>
          <p:cNvSpPr>
            <a:spLocks noGrp="1"/>
          </p:cNvSpPr>
          <p:nvPr>
            <p:ph sz="half" idx="2" hasCustomPrompt="1"/>
          </p:nvPr>
        </p:nvSpPr>
        <p:spPr>
          <a:xfrm>
            <a:off x="6216264" y="1703997"/>
            <a:ext cx="5400000" cy="4368000"/>
          </a:xfrm>
        </p:spPr>
        <p:txBody>
          <a:bodyPr/>
          <a:lstStyle/>
          <a:p>
            <a:pPr lvl="0"/>
            <a:r>
              <a:rPr lang="en-GB"/>
              <a:t>Click to add text or object</a:t>
            </a:r>
          </a:p>
          <a:p>
            <a:pPr lvl="1"/>
            <a:r>
              <a:rPr lang="en-GB"/>
              <a:t>Text level 2</a:t>
            </a:r>
          </a:p>
          <a:p>
            <a:pPr lvl="2"/>
            <a:r>
              <a:rPr lang="en-GB"/>
              <a:t>Text level 3</a:t>
            </a:r>
          </a:p>
          <a:p>
            <a:pPr lvl="3"/>
            <a:r>
              <a:rPr lang="en-GB"/>
              <a:t>Text level 4</a:t>
            </a:r>
          </a:p>
          <a:p>
            <a:pPr lvl="4"/>
            <a:r>
              <a:rPr lang="en-GB"/>
              <a:t>Text level 5</a:t>
            </a:r>
          </a:p>
        </p:txBody>
      </p:sp>
      <p:sp>
        <p:nvSpPr>
          <p:cNvPr id="5" name="Date Placeholder 4"/>
          <p:cNvSpPr>
            <a:spLocks noGrp="1"/>
          </p:cNvSpPr>
          <p:nvPr>
            <p:ph type="dt" sz="half" idx="10"/>
          </p:nvPr>
        </p:nvSpPr>
        <p:spPr/>
        <p:txBody>
          <a:bodyPr/>
          <a:lstStyle/>
          <a:p>
            <a:fld id="{7E100D04-30DC-457A-BADE-F0CB7856A660}" type="datetime1">
              <a:rPr lang="en-GB" smtClean="0"/>
              <a:t>18/04/2025</a:t>
            </a:fld>
            <a:endParaRPr lang="en-GB"/>
          </a:p>
        </p:txBody>
      </p:sp>
      <p:sp>
        <p:nvSpPr>
          <p:cNvPr id="6" name="Footer Placeholder 5"/>
          <p:cNvSpPr>
            <a:spLocks noGrp="1"/>
          </p:cNvSpPr>
          <p:nvPr>
            <p:ph type="ftr" sz="quarter" idx="11"/>
          </p:nvPr>
        </p:nvSpPr>
        <p:spPr/>
        <p:txBody>
          <a:bodyPr/>
          <a:lstStyle/>
          <a:p>
            <a:r>
              <a:rPr lang="en-GB"/>
              <a:t>Draft | Internal use only | Confidential</a:t>
            </a:r>
          </a:p>
        </p:txBody>
      </p:sp>
      <p:sp>
        <p:nvSpPr>
          <p:cNvPr id="7" name="Slide Number Placeholder 6"/>
          <p:cNvSpPr>
            <a:spLocks noGrp="1"/>
          </p:cNvSpPr>
          <p:nvPr>
            <p:ph type="sldNum" sz="quarter" idx="12"/>
          </p:nvPr>
        </p:nvSpPr>
        <p:spPr/>
        <p:txBody>
          <a:bodyPr/>
          <a:lstStyle/>
          <a:p>
            <a:fld id="{9BE0E23E-9022-4929-B297-EB2777CDBB1F}" type="slidenum">
              <a:rPr lang="en-GB" smtClean="0"/>
              <a:t>‹#›</a:t>
            </a:fld>
            <a:endParaRPr lang="en-GB"/>
          </a:p>
        </p:txBody>
      </p:sp>
    </p:spTree>
    <p:extLst>
      <p:ext uri="{BB962C8B-B14F-4D97-AF65-F5344CB8AC3E}">
        <p14:creationId xmlns:p14="http://schemas.microsoft.com/office/powerpoint/2010/main" val="193939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object + Cell image">
    <p:spTree>
      <p:nvGrpSpPr>
        <p:cNvPr id="1" name=""/>
        <p:cNvGrpSpPr/>
        <p:nvPr/>
      </p:nvGrpSpPr>
      <p:grpSpPr>
        <a:xfrm>
          <a:off x="0" y="0"/>
          <a:ext cx="0" cy="0"/>
          <a:chOff x="0" y="0"/>
          <a:chExt cx="0" cy="0"/>
        </a:xfrm>
      </p:grpSpPr>
      <p:sp>
        <p:nvSpPr>
          <p:cNvPr id="2" name="Title 1"/>
          <p:cNvSpPr>
            <a:spLocks noGrp="1"/>
          </p:cNvSpPr>
          <p:nvPr>
            <p:ph type="title"/>
          </p:nvPr>
        </p:nvSpPr>
        <p:spPr>
          <a:xfrm>
            <a:off x="4521865" y="548219"/>
            <a:ext cx="7094400" cy="1036965"/>
          </a:xfrm>
        </p:spPr>
        <p:txBody>
          <a:bodyPr/>
          <a:lstStyle/>
          <a:p>
            <a:r>
              <a:rPr lang="en-GB"/>
              <a:t>Click to edit Master title style</a:t>
            </a:r>
          </a:p>
        </p:txBody>
      </p:sp>
      <p:sp>
        <p:nvSpPr>
          <p:cNvPr id="4" name="Date Placeholder 3"/>
          <p:cNvSpPr>
            <a:spLocks noGrp="1"/>
          </p:cNvSpPr>
          <p:nvPr>
            <p:ph type="dt" sz="half" idx="10"/>
          </p:nvPr>
        </p:nvSpPr>
        <p:spPr>
          <a:xfrm>
            <a:off x="7216520" y="6491401"/>
            <a:ext cx="458459" cy="102657"/>
          </a:xfrm>
        </p:spPr>
        <p:txBody>
          <a:bodyPr/>
          <a:lstStyle/>
          <a:p>
            <a:fld id="{AD8A1D86-37BF-416A-A384-3550D23D237E}" type="datetime1">
              <a:rPr lang="en-US" smtClean="0"/>
              <a:t>4/18/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11" name="Content Placeholder 2">
            <a:extLst>
              <a:ext uri="{FF2B5EF4-FFF2-40B4-BE49-F238E27FC236}">
                <a16:creationId xmlns:a16="http://schemas.microsoft.com/office/drawing/2014/main" id="{C8FC07B1-6062-451E-972E-548690A18E37}"/>
              </a:ext>
            </a:extLst>
          </p:cNvPr>
          <p:cNvSpPr>
            <a:spLocks noGrp="1"/>
          </p:cNvSpPr>
          <p:nvPr>
            <p:ph idx="1" hasCustomPrompt="1"/>
          </p:nvPr>
        </p:nvSpPr>
        <p:spPr>
          <a:xfrm>
            <a:off x="4512735" y="1701801"/>
            <a:ext cx="7103532" cy="417618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pic>
        <p:nvPicPr>
          <p:cNvPr id="9" name="Tijdelijke aanduiding voor afbeelding 6" descr="Afbeelding met muur, binnen, kast, persoon&#10;&#10;Automatisch gegenereerde beschrijving">
            <a:extLst>
              <a:ext uri="{FF2B5EF4-FFF2-40B4-BE49-F238E27FC236}">
                <a16:creationId xmlns:a16="http://schemas.microsoft.com/office/drawing/2014/main" id="{31406208-2EE4-4A82-9467-09D3A8BB78C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4176184" cy="6858000"/>
          </a:xfrm>
          <a:prstGeom prst="rect">
            <a:avLst/>
          </a:prstGeom>
        </p:spPr>
      </p:pic>
    </p:spTree>
    <p:extLst>
      <p:ext uri="{BB962C8B-B14F-4D97-AF65-F5344CB8AC3E}">
        <p14:creationId xmlns:p14="http://schemas.microsoft.com/office/powerpoint/2010/main" val="3925247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object + Supply Chain image - 1">
    <p:spTree>
      <p:nvGrpSpPr>
        <p:cNvPr id="1" name=""/>
        <p:cNvGrpSpPr/>
        <p:nvPr/>
      </p:nvGrpSpPr>
      <p:grpSpPr>
        <a:xfrm>
          <a:off x="0" y="0"/>
          <a:ext cx="0" cy="0"/>
          <a:chOff x="0" y="0"/>
          <a:chExt cx="0" cy="0"/>
        </a:xfrm>
      </p:grpSpPr>
      <p:sp>
        <p:nvSpPr>
          <p:cNvPr id="2" name="Title 1"/>
          <p:cNvSpPr>
            <a:spLocks noGrp="1"/>
          </p:cNvSpPr>
          <p:nvPr>
            <p:ph type="title"/>
          </p:nvPr>
        </p:nvSpPr>
        <p:spPr>
          <a:xfrm>
            <a:off x="575732" y="548219"/>
            <a:ext cx="7094400" cy="1036965"/>
          </a:xfrm>
        </p:spPr>
        <p:txBody>
          <a:bodyPr/>
          <a:lstStyle/>
          <a:p>
            <a:r>
              <a:rPr lang="en-GB"/>
              <a:t>Click to edit Master title style</a:t>
            </a:r>
          </a:p>
        </p:txBody>
      </p:sp>
      <p:sp>
        <p:nvSpPr>
          <p:cNvPr id="3" name="Content Placeholder 2"/>
          <p:cNvSpPr>
            <a:spLocks noGrp="1"/>
          </p:cNvSpPr>
          <p:nvPr>
            <p:ph idx="1" hasCustomPrompt="1"/>
          </p:nvPr>
        </p:nvSpPr>
        <p:spPr>
          <a:xfrm>
            <a:off x="580291" y="1701801"/>
            <a:ext cx="7094400" cy="417618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10"/>
          </p:nvPr>
        </p:nvSpPr>
        <p:spPr>
          <a:xfrm>
            <a:off x="7216520" y="6491401"/>
            <a:ext cx="458459" cy="102657"/>
          </a:xfrm>
        </p:spPr>
        <p:txBody>
          <a:bodyPr/>
          <a:lstStyle/>
          <a:p>
            <a:fld id="{0A1780AF-C3A2-46AA-882D-B5F3BC2B6485}" type="datetime1">
              <a:rPr lang="en-US" smtClean="0"/>
              <a:t>4/18/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pic>
        <p:nvPicPr>
          <p:cNvPr id="9" name="Picture Placeholder 12" descr="A close-up of a factory&#10;&#10;Description automatically generated with low confidence">
            <a:extLst>
              <a:ext uri="{FF2B5EF4-FFF2-40B4-BE49-F238E27FC236}">
                <a16:creationId xmlns:a16="http://schemas.microsoft.com/office/drawing/2014/main" id="{3E9BB979-DC36-45C0-A028-9AC7780BB7E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8015818" y="0"/>
            <a:ext cx="4176183" cy="6858000"/>
          </a:xfrm>
          <a:prstGeom prst="rect">
            <a:avLst/>
          </a:prstGeom>
        </p:spPr>
      </p:pic>
    </p:spTree>
    <p:extLst>
      <p:ext uri="{BB962C8B-B14F-4D97-AF65-F5344CB8AC3E}">
        <p14:creationId xmlns:p14="http://schemas.microsoft.com/office/powerpoint/2010/main" val="2317186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object + Supply Chain image - 3">
    <p:spTree>
      <p:nvGrpSpPr>
        <p:cNvPr id="1" name=""/>
        <p:cNvGrpSpPr/>
        <p:nvPr/>
      </p:nvGrpSpPr>
      <p:grpSpPr>
        <a:xfrm>
          <a:off x="0" y="0"/>
          <a:ext cx="0" cy="0"/>
          <a:chOff x="0" y="0"/>
          <a:chExt cx="0" cy="0"/>
        </a:xfrm>
      </p:grpSpPr>
      <p:pic>
        <p:nvPicPr>
          <p:cNvPr id="9" name="Picture Placeholder 8" descr="A picture containing sky, outdoor, parked&#10;&#10;Description automatically generated">
            <a:extLst>
              <a:ext uri="{FF2B5EF4-FFF2-40B4-BE49-F238E27FC236}">
                <a16:creationId xmlns:a16="http://schemas.microsoft.com/office/drawing/2014/main" id="{FA4C905D-6654-4E17-9204-3ABBEE9CB9C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8015818" y="0"/>
            <a:ext cx="4176183" cy="6858000"/>
          </a:xfrm>
          <a:prstGeom prst="rect">
            <a:avLst/>
          </a:prstGeom>
        </p:spPr>
      </p:pic>
      <p:sp>
        <p:nvSpPr>
          <p:cNvPr id="2" name="Title 1"/>
          <p:cNvSpPr>
            <a:spLocks noGrp="1"/>
          </p:cNvSpPr>
          <p:nvPr>
            <p:ph type="title"/>
          </p:nvPr>
        </p:nvSpPr>
        <p:spPr>
          <a:xfrm>
            <a:off x="575732" y="548219"/>
            <a:ext cx="7094400" cy="1036965"/>
          </a:xfrm>
        </p:spPr>
        <p:txBody>
          <a:bodyPr/>
          <a:lstStyle/>
          <a:p>
            <a:r>
              <a:rPr lang="en-GB"/>
              <a:t>Click to edit Master title style</a:t>
            </a:r>
          </a:p>
        </p:txBody>
      </p:sp>
      <p:sp>
        <p:nvSpPr>
          <p:cNvPr id="3" name="Content Placeholder 2"/>
          <p:cNvSpPr>
            <a:spLocks noGrp="1"/>
          </p:cNvSpPr>
          <p:nvPr>
            <p:ph idx="1" hasCustomPrompt="1"/>
          </p:nvPr>
        </p:nvSpPr>
        <p:spPr>
          <a:xfrm>
            <a:off x="580291" y="1701801"/>
            <a:ext cx="7094400" cy="417618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10"/>
          </p:nvPr>
        </p:nvSpPr>
        <p:spPr>
          <a:xfrm>
            <a:off x="7216520" y="6491401"/>
            <a:ext cx="458459" cy="102657"/>
          </a:xfrm>
        </p:spPr>
        <p:txBody>
          <a:bodyPr/>
          <a:lstStyle/>
          <a:p>
            <a:fld id="{1708D814-11F4-4843-AB10-AE3D66C171C1}" type="datetime1">
              <a:rPr lang="en-US" smtClean="0"/>
              <a:t>4/18/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Tree>
    <p:extLst>
      <p:ext uri="{BB962C8B-B14F-4D97-AF65-F5344CB8AC3E}">
        <p14:creationId xmlns:p14="http://schemas.microsoft.com/office/powerpoint/2010/main" val="3421088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nd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4" name="Date Placeholder 3"/>
          <p:cNvSpPr>
            <a:spLocks noGrp="1"/>
          </p:cNvSpPr>
          <p:nvPr>
            <p:ph type="dt" sz="half" idx="10"/>
          </p:nvPr>
        </p:nvSpPr>
        <p:spPr/>
        <p:txBody>
          <a:bodyPr/>
          <a:lstStyle/>
          <a:p>
            <a:fld id="{2B6B4791-5CC3-4A33-A8B6-6F9FBF777B7D}" type="datetime1">
              <a:rPr lang="en-US" smtClean="0"/>
              <a:t>4/18/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8" name="Tijdelijke aanduiding voor afbeelding 7">
            <a:extLst>
              <a:ext uri="{FF2B5EF4-FFF2-40B4-BE49-F238E27FC236}">
                <a16:creationId xmlns:a16="http://schemas.microsoft.com/office/drawing/2014/main" id="{F720B503-17F8-4237-9A82-0CEE6CD5AC31}"/>
              </a:ext>
            </a:extLst>
          </p:cNvPr>
          <p:cNvSpPr>
            <a:spLocks noGrp="1"/>
          </p:cNvSpPr>
          <p:nvPr>
            <p:ph type="pic" sz="quarter" idx="13" hasCustomPrompt="1"/>
          </p:nvPr>
        </p:nvSpPr>
        <p:spPr>
          <a:xfrm>
            <a:off x="580293" y="1701801"/>
            <a:ext cx="11035975" cy="4176184"/>
          </a:xfrm>
          <a:solidFill>
            <a:schemeClr val="tx1">
              <a:lumMod val="20000"/>
              <a:lumOff val="80000"/>
            </a:schemeClr>
          </a:solidFill>
        </p:spPr>
        <p:txBody>
          <a:bodyPr/>
          <a:lstStyle>
            <a:lvl1pPr marL="0" indent="0" algn="ctr">
              <a:buNone/>
              <a:defRPr>
                <a:solidFill>
                  <a:schemeClr val="accent1"/>
                </a:solidFill>
              </a:defRPr>
            </a:lvl1pPr>
          </a:lstStyle>
          <a:p>
            <a:r>
              <a:rPr lang="en-GB"/>
              <a:t>Image</a:t>
            </a:r>
          </a:p>
        </p:txBody>
      </p:sp>
    </p:spTree>
    <p:extLst>
      <p:ext uri="{BB962C8B-B14F-4D97-AF65-F5344CB8AC3E}">
        <p14:creationId xmlns:p14="http://schemas.microsoft.com/office/powerpoint/2010/main" val="659622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type="obj" preserve="1">
  <p:cSld name="Title and objec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Content Placeholder 2"/>
          <p:cNvSpPr>
            <a:spLocks noGrp="1"/>
          </p:cNvSpPr>
          <p:nvPr>
            <p:ph idx="1" hasCustomPrompt="1"/>
          </p:nvPr>
        </p:nvSpPr>
        <p:spPr>
          <a:xfrm>
            <a:off x="580293" y="1701801"/>
            <a:ext cx="11035975" cy="417618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10"/>
          </p:nvPr>
        </p:nvSpPr>
        <p:spPr/>
        <p:txBody>
          <a:bodyPr/>
          <a:lstStyle/>
          <a:p>
            <a:fld id="{DAB13388-D74D-419F-84CE-E02995852407}" type="datetime1">
              <a:rPr lang="en-US" smtClean="0"/>
              <a:t>4/18/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Tree>
    <p:extLst>
      <p:ext uri="{BB962C8B-B14F-4D97-AF65-F5344CB8AC3E}">
        <p14:creationId xmlns:p14="http://schemas.microsoft.com/office/powerpoint/2010/main" val="2968357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subtitle and objec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Content Placeholder 2"/>
          <p:cNvSpPr>
            <a:spLocks noGrp="1"/>
          </p:cNvSpPr>
          <p:nvPr>
            <p:ph idx="1" hasCustomPrompt="1"/>
          </p:nvPr>
        </p:nvSpPr>
        <p:spPr>
          <a:xfrm>
            <a:off x="580293" y="2077593"/>
            <a:ext cx="11035975" cy="3800392"/>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10"/>
          </p:nvPr>
        </p:nvSpPr>
        <p:spPr/>
        <p:txBody>
          <a:bodyPr/>
          <a:lstStyle/>
          <a:p>
            <a:fld id="{0B548113-1B7D-4F24-8B96-A5F470C597B8}" type="datetime1">
              <a:rPr lang="en-US" smtClean="0"/>
              <a:t>4/18/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8" name="Tijdelijke aanduiding voor tekst 7">
            <a:extLst>
              <a:ext uri="{FF2B5EF4-FFF2-40B4-BE49-F238E27FC236}">
                <a16:creationId xmlns:a16="http://schemas.microsoft.com/office/drawing/2014/main" id="{F7DBD289-E124-4653-9BF3-FE57FA1AC736}"/>
              </a:ext>
            </a:extLst>
          </p:cNvPr>
          <p:cNvSpPr>
            <a:spLocks noGrp="1"/>
          </p:cNvSpPr>
          <p:nvPr>
            <p:ph type="body" sz="quarter" idx="13" hasCustomPrompt="1"/>
          </p:nvPr>
        </p:nvSpPr>
        <p:spPr>
          <a:xfrm>
            <a:off x="580291" y="1701800"/>
            <a:ext cx="11035200" cy="375792"/>
          </a:xfrm>
        </p:spPr>
        <p:txBody>
          <a:bodyPr wrap="none"/>
          <a:lstStyle>
            <a:lvl1pPr marL="0" indent="0">
              <a:buNone/>
              <a:defRPr>
                <a:solidFill>
                  <a:schemeClr val="accent1"/>
                </a:solidFill>
              </a:defRPr>
            </a:lvl1pPr>
          </a:lstStyle>
          <a:p>
            <a:pPr lvl="0"/>
            <a:r>
              <a:rPr lang="en-GB"/>
              <a:t>Subtitle</a:t>
            </a:r>
          </a:p>
        </p:txBody>
      </p:sp>
    </p:spTree>
    <p:extLst>
      <p:ext uri="{BB962C8B-B14F-4D97-AF65-F5344CB8AC3E}">
        <p14:creationId xmlns:p14="http://schemas.microsoft.com/office/powerpoint/2010/main" val="2802766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and 2 objec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80800" y="1703997"/>
            <a:ext cx="5400000" cy="4173987"/>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hasCustomPrompt="1"/>
          </p:nvPr>
        </p:nvSpPr>
        <p:spPr>
          <a:xfrm>
            <a:off x="6216264" y="1703997"/>
            <a:ext cx="5400000" cy="4173987"/>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p:cNvSpPr>
            <a:spLocks noGrp="1"/>
          </p:cNvSpPr>
          <p:nvPr>
            <p:ph type="dt" sz="half" idx="10"/>
          </p:nvPr>
        </p:nvSpPr>
        <p:spPr/>
        <p:txBody>
          <a:bodyPr/>
          <a:lstStyle/>
          <a:p>
            <a:fld id="{0C4A8155-ED2E-4904-B5D7-BA71A1916B09}" type="datetime1">
              <a:rPr lang="en-US" smtClean="0"/>
              <a:t>4/18/2025</a:t>
            </a:fld>
            <a:endParaRPr lang="en-GB"/>
          </a:p>
        </p:txBody>
      </p:sp>
      <p:sp>
        <p:nvSpPr>
          <p:cNvPr id="6" name="Footer Placeholder 5"/>
          <p:cNvSpPr>
            <a:spLocks noGrp="1"/>
          </p:cNvSpPr>
          <p:nvPr>
            <p:ph type="ftr" sz="quarter" idx="11"/>
          </p:nvPr>
        </p:nvSpPr>
        <p:spPr/>
        <p:txBody>
          <a:bodyPr/>
          <a:lstStyle/>
          <a:p>
            <a:r>
              <a:rPr lang="en-GB"/>
              <a:t>Draft | Internal use only | Confidential</a:t>
            </a:r>
          </a:p>
        </p:txBody>
      </p:sp>
      <p:sp>
        <p:nvSpPr>
          <p:cNvPr id="7" name="Slide Number Placeholder 6"/>
          <p:cNvSpPr>
            <a:spLocks noGrp="1"/>
          </p:cNvSpPr>
          <p:nvPr>
            <p:ph type="sldNum" sz="quarter" idx="12"/>
          </p:nvPr>
        </p:nvSpPr>
        <p:spPr/>
        <p:txBody>
          <a:bodyPr/>
          <a:lstStyle/>
          <a:p>
            <a:fld id="{9BE0E23E-9022-4929-B297-EB2777CDBB1F}" type="slidenum">
              <a:rPr lang="en-GB" smtClean="0"/>
              <a:t>‹#›</a:t>
            </a:fld>
            <a:endParaRPr lang="en-GB"/>
          </a:p>
        </p:txBody>
      </p:sp>
      <p:sp>
        <p:nvSpPr>
          <p:cNvPr id="8" name="Titel 7">
            <a:extLst>
              <a:ext uri="{FF2B5EF4-FFF2-40B4-BE49-F238E27FC236}">
                <a16:creationId xmlns:a16="http://schemas.microsoft.com/office/drawing/2014/main" id="{26BE0271-8E9F-4D14-97DF-D828AE403B0B}"/>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1466396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subtitle, 2 objec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80800" y="2077592"/>
            <a:ext cx="5400000" cy="3800392"/>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hasCustomPrompt="1"/>
          </p:nvPr>
        </p:nvSpPr>
        <p:spPr>
          <a:xfrm>
            <a:off x="6216265" y="2077592"/>
            <a:ext cx="5400000" cy="3800392"/>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p:cNvSpPr>
            <a:spLocks noGrp="1"/>
          </p:cNvSpPr>
          <p:nvPr>
            <p:ph type="dt" sz="half" idx="10"/>
          </p:nvPr>
        </p:nvSpPr>
        <p:spPr/>
        <p:txBody>
          <a:bodyPr/>
          <a:lstStyle/>
          <a:p>
            <a:fld id="{7AC20BD7-BCEE-4FC5-80C2-12C4D62D7365}" type="datetime1">
              <a:rPr lang="en-US" smtClean="0"/>
              <a:t>4/18/2025</a:t>
            </a:fld>
            <a:endParaRPr lang="en-GB"/>
          </a:p>
        </p:txBody>
      </p:sp>
      <p:sp>
        <p:nvSpPr>
          <p:cNvPr id="6" name="Footer Placeholder 5"/>
          <p:cNvSpPr>
            <a:spLocks noGrp="1"/>
          </p:cNvSpPr>
          <p:nvPr>
            <p:ph type="ftr" sz="quarter" idx="11"/>
          </p:nvPr>
        </p:nvSpPr>
        <p:spPr/>
        <p:txBody>
          <a:bodyPr/>
          <a:lstStyle/>
          <a:p>
            <a:r>
              <a:rPr lang="en-GB"/>
              <a:t>Draft | Internal use only | Confidential</a:t>
            </a:r>
          </a:p>
        </p:txBody>
      </p:sp>
      <p:sp>
        <p:nvSpPr>
          <p:cNvPr id="7" name="Slide Number Placeholder 6"/>
          <p:cNvSpPr>
            <a:spLocks noGrp="1"/>
          </p:cNvSpPr>
          <p:nvPr>
            <p:ph type="sldNum" sz="quarter" idx="12"/>
          </p:nvPr>
        </p:nvSpPr>
        <p:spPr/>
        <p:txBody>
          <a:bodyPr/>
          <a:lstStyle/>
          <a:p>
            <a:fld id="{9BE0E23E-9022-4929-B297-EB2777CDBB1F}" type="slidenum">
              <a:rPr lang="en-GB" smtClean="0"/>
              <a:t>‹#›</a:t>
            </a:fld>
            <a:endParaRPr lang="en-GB"/>
          </a:p>
        </p:txBody>
      </p:sp>
      <p:sp>
        <p:nvSpPr>
          <p:cNvPr id="9" name="Tijdelijke aanduiding voor tekst 7">
            <a:extLst>
              <a:ext uri="{FF2B5EF4-FFF2-40B4-BE49-F238E27FC236}">
                <a16:creationId xmlns:a16="http://schemas.microsoft.com/office/drawing/2014/main" id="{27508BEF-285C-40D0-8A0C-EE0B84C47D52}"/>
              </a:ext>
            </a:extLst>
          </p:cNvPr>
          <p:cNvSpPr>
            <a:spLocks noGrp="1"/>
          </p:cNvSpPr>
          <p:nvPr>
            <p:ph type="body" sz="quarter" idx="13" hasCustomPrompt="1"/>
          </p:nvPr>
        </p:nvSpPr>
        <p:spPr>
          <a:xfrm>
            <a:off x="580291" y="1701800"/>
            <a:ext cx="5400000" cy="375792"/>
          </a:xfrm>
        </p:spPr>
        <p:txBody>
          <a:bodyPr wrap="none"/>
          <a:lstStyle>
            <a:lvl1pPr marL="0" indent="0">
              <a:buNone/>
              <a:defRPr>
                <a:solidFill>
                  <a:schemeClr val="accent1"/>
                </a:solidFill>
              </a:defRPr>
            </a:lvl1pPr>
          </a:lstStyle>
          <a:p>
            <a:pPr lvl="0"/>
            <a:r>
              <a:rPr lang="en-GB"/>
              <a:t>Subtitle</a:t>
            </a:r>
          </a:p>
        </p:txBody>
      </p:sp>
      <p:sp>
        <p:nvSpPr>
          <p:cNvPr id="10" name="Tijdelijke aanduiding voor tekst 7">
            <a:extLst>
              <a:ext uri="{FF2B5EF4-FFF2-40B4-BE49-F238E27FC236}">
                <a16:creationId xmlns:a16="http://schemas.microsoft.com/office/drawing/2014/main" id="{9913EE84-7DEC-4A2D-AD57-9B4798154DE0}"/>
              </a:ext>
            </a:extLst>
          </p:cNvPr>
          <p:cNvSpPr>
            <a:spLocks noGrp="1"/>
          </p:cNvSpPr>
          <p:nvPr>
            <p:ph type="body" sz="quarter" idx="14" hasCustomPrompt="1"/>
          </p:nvPr>
        </p:nvSpPr>
        <p:spPr>
          <a:xfrm>
            <a:off x="6216264" y="1703997"/>
            <a:ext cx="5400000" cy="375792"/>
          </a:xfrm>
        </p:spPr>
        <p:txBody>
          <a:bodyPr wrap="none"/>
          <a:lstStyle>
            <a:lvl1pPr marL="0" indent="0">
              <a:buNone/>
              <a:defRPr>
                <a:solidFill>
                  <a:schemeClr val="accent1"/>
                </a:solidFill>
              </a:defRPr>
            </a:lvl1pPr>
          </a:lstStyle>
          <a:p>
            <a:pPr lvl="0"/>
            <a:r>
              <a:rPr lang="en-GB" err="1"/>
              <a:t>Subtitel</a:t>
            </a:r>
            <a:endParaRPr lang="en-GB"/>
          </a:p>
        </p:txBody>
      </p:sp>
      <p:sp>
        <p:nvSpPr>
          <p:cNvPr id="8" name="Titel 7">
            <a:extLst>
              <a:ext uri="{FF2B5EF4-FFF2-40B4-BE49-F238E27FC236}">
                <a16:creationId xmlns:a16="http://schemas.microsoft.com/office/drawing/2014/main" id="{8ABE8B1D-E1F9-4E74-945C-E81D06AF0D78}"/>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1417724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text and tab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80800" y="1703997"/>
            <a:ext cx="5400000" cy="4175419"/>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p:cNvSpPr>
            <a:spLocks noGrp="1"/>
          </p:cNvSpPr>
          <p:nvPr>
            <p:ph type="dt" sz="half" idx="10"/>
          </p:nvPr>
        </p:nvSpPr>
        <p:spPr/>
        <p:txBody>
          <a:bodyPr/>
          <a:lstStyle/>
          <a:p>
            <a:fld id="{3EE1382D-33C7-4A56-89B9-9C5C9F917AF1}" type="datetime1">
              <a:rPr lang="en-US" smtClean="0"/>
              <a:t>4/18/2025</a:t>
            </a:fld>
            <a:endParaRPr lang="en-GB"/>
          </a:p>
        </p:txBody>
      </p:sp>
      <p:sp>
        <p:nvSpPr>
          <p:cNvPr id="6" name="Footer Placeholder 5"/>
          <p:cNvSpPr>
            <a:spLocks noGrp="1"/>
          </p:cNvSpPr>
          <p:nvPr>
            <p:ph type="ftr" sz="quarter" idx="11"/>
          </p:nvPr>
        </p:nvSpPr>
        <p:spPr/>
        <p:txBody>
          <a:bodyPr/>
          <a:lstStyle/>
          <a:p>
            <a:r>
              <a:rPr lang="en-GB"/>
              <a:t>Draft | Internal use only | Confidential</a:t>
            </a:r>
          </a:p>
        </p:txBody>
      </p:sp>
      <p:sp>
        <p:nvSpPr>
          <p:cNvPr id="7" name="Slide Number Placeholder 6"/>
          <p:cNvSpPr>
            <a:spLocks noGrp="1"/>
          </p:cNvSpPr>
          <p:nvPr>
            <p:ph type="sldNum" sz="quarter" idx="12"/>
          </p:nvPr>
        </p:nvSpPr>
        <p:spPr/>
        <p:txBody>
          <a:bodyPr/>
          <a:lstStyle/>
          <a:p>
            <a:fld id="{9BE0E23E-9022-4929-B297-EB2777CDBB1F}" type="slidenum">
              <a:rPr lang="en-GB" smtClean="0"/>
              <a:t>‹#›</a:t>
            </a:fld>
            <a:endParaRPr lang="en-GB"/>
          </a:p>
        </p:txBody>
      </p:sp>
      <p:sp>
        <p:nvSpPr>
          <p:cNvPr id="10" name="Tijdelijke aanduiding voor tabel 8">
            <a:extLst>
              <a:ext uri="{FF2B5EF4-FFF2-40B4-BE49-F238E27FC236}">
                <a16:creationId xmlns:a16="http://schemas.microsoft.com/office/drawing/2014/main" id="{D2E9F6DD-7E2C-4192-BBC9-125146AEF9DA}"/>
              </a:ext>
            </a:extLst>
          </p:cNvPr>
          <p:cNvSpPr>
            <a:spLocks noGrp="1"/>
          </p:cNvSpPr>
          <p:nvPr>
            <p:ph type="tbl" sz="quarter" idx="13"/>
          </p:nvPr>
        </p:nvSpPr>
        <p:spPr>
          <a:xfrm>
            <a:off x="6216652" y="1701800"/>
            <a:ext cx="5394549" cy="4176184"/>
          </a:xfrm>
        </p:spPr>
        <p:txBody>
          <a:bodyPr/>
          <a:lstStyle/>
          <a:p>
            <a:r>
              <a:rPr lang="en-GB"/>
              <a:t>Click icon to add table</a:t>
            </a:r>
          </a:p>
        </p:txBody>
      </p:sp>
      <p:sp>
        <p:nvSpPr>
          <p:cNvPr id="4" name="Titel 3">
            <a:extLst>
              <a:ext uri="{FF2B5EF4-FFF2-40B4-BE49-F238E27FC236}">
                <a16:creationId xmlns:a16="http://schemas.microsoft.com/office/drawing/2014/main" id="{5DE9D13A-D41B-4FAB-8651-676FFDB4FE5F}"/>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570255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4" name="Date Placeholder 3"/>
          <p:cNvSpPr>
            <a:spLocks noGrp="1"/>
          </p:cNvSpPr>
          <p:nvPr>
            <p:ph type="dt" sz="half" idx="10"/>
          </p:nvPr>
        </p:nvSpPr>
        <p:spPr/>
        <p:txBody>
          <a:bodyPr/>
          <a:lstStyle/>
          <a:p>
            <a:fld id="{54F63656-99BD-4CA4-862F-4439BE0B7F30}" type="datetime1">
              <a:rPr lang="en-US" smtClean="0"/>
              <a:t>4/18/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9" name="Tijdelijke aanduiding voor tabel 7">
            <a:extLst>
              <a:ext uri="{FF2B5EF4-FFF2-40B4-BE49-F238E27FC236}">
                <a16:creationId xmlns:a16="http://schemas.microsoft.com/office/drawing/2014/main" id="{DEED083B-6C6C-41E9-9AEE-A277FCC01CE9}"/>
              </a:ext>
            </a:extLst>
          </p:cNvPr>
          <p:cNvSpPr>
            <a:spLocks noGrp="1"/>
          </p:cNvSpPr>
          <p:nvPr>
            <p:ph type="tbl" sz="quarter" idx="13"/>
          </p:nvPr>
        </p:nvSpPr>
        <p:spPr>
          <a:xfrm>
            <a:off x="575735" y="1701801"/>
            <a:ext cx="11040533" cy="4176184"/>
          </a:xfrm>
        </p:spPr>
        <p:txBody>
          <a:bodyPr/>
          <a:lstStyle/>
          <a:p>
            <a:r>
              <a:rPr lang="en-GB"/>
              <a:t>Click icon to add table</a:t>
            </a:r>
          </a:p>
        </p:txBody>
      </p:sp>
    </p:spTree>
    <p:extLst>
      <p:ext uri="{BB962C8B-B14F-4D97-AF65-F5344CB8AC3E}">
        <p14:creationId xmlns:p14="http://schemas.microsoft.com/office/powerpoint/2010/main" val="2503727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ubtitle, 2 objec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0291" y="548218"/>
            <a:ext cx="11035975" cy="1036965"/>
          </a:xfrm>
        </p:spPr>
        <p:txBody>
          <a:bodyPr/>
          <a:lstStyle/>
          <a:p>
            <a:r>
              <a:rPr lang="en-GB"/>
              <a:t>Click to add title</a:t>
            </a:r>
          </a:p>
        </p:txBody>
      </p:sp>
      <p:sp>
        <p:nvSpPr>
          <p:cNvPr id="3" name="Content Placeholder 2"/>
          <p:cNvSpPr>
            <a:spLocks noGrp="1"/>
          </p:cNvSpPr>
          <p:nvPr>
            <p:ph sz="half" idx="1" hasCustomPrompt="1"/>
          </p:nvPr>
        </p:nvSpPr>
        <p:spPr>
          <a:xfrm>
            <a:off x="580800" y="2077592"/>
            <a:ext cx="5400000" cy="3994405"/>
          </a:xfrm>
        </p:spPr>
        <p:txBody>
          <a:bodyPr/>
          <a:lstStyle/>
          <a:p>
            <a:pPr lvl="0"/>
            <a:r>
              <a:rPr lang="en-GB"/>
              <a:t>Click to add text or object</a:t>
            </a:r>
          </a:p>
          <a:p>
            <a:pPr lvl="1"/>
            <a:r>
              <a:rPr lang="en-GB"/>
              <a:t>Text level 2</a:t>
            </a:r>
          </a:p>
          <a:p>
            <a:pPr lvl="2"/>
            <a:r>
              <a:rPr lang="en-GB"/>
              <a:t>Text level 3</a:t>
            </a:r>
          </a:p>
          <a:p>
            <a:pPr lvl="3"/>
            <a:r>
              <a:rPr lang="en-GB"/>
              <a:t>Text level 4</a:t>
            </a:r>
          </a:p>
          <a:p>
            <a:pPr lvl="4"/>
            <a:r>
              <a:rPr lang="en-GB"/>
              <a:t>Text level 5</a:t>
            </a:r>
          </a:p>
        </p:txBody>
      </p:sp>
      <p:sp>
        <p:nvSpPr>
          <p:cNvPr id="4" name="Content Placeholder 3"/>
          <p:cNvSpPr>
            <a:spLocks noGrp="1"/>
          </p:cNvSpPr>
          <p:nvPr>
            <p:ph sz="half" idx="2" hasCustomPrompt="1"/>
          </p:nvPr>
        </p:nvSpPr>
        <p:spPr>
          <a:xfrm>
            <a:off x="6216265" y="2077592"/>
            <a:ext cx="5400000" cy="3994405"/>
          </a:xfrm>
        </p:spPr>
        <p:txBody>
          <a:bodyPr/>
          <a:lstStyle/>
          <a:p>
            <a:pPr lvl="0"/>
            <a:r>
              <a:rPr lang="en-GB"/>
              <a:t>Click to add text or object</a:t>
            </a:r>
          </a:p>
          <a:p>
            <a:pPr lvl="1"/>
            <a:r>
              <a:rPr lang="en-GB"/>
              <a:t>Text level 2</a:t>
            </a:r>
          </a:p>
          <a:p>
            <a:pPr lvl="2"/>
            <a:r>
              <a:rPr lang="en-GB"/>
              <a:t>Text level 3</a:t>
            </a:r>
          </a:p>
          <a:p>
            <a:pPr lvl="3"/>
            <a:r>
              <a:rPr lang="en-GB"/>
              <a:t>Text level 4</a:t>
            </a:r>
          </a:p>
          <a:p>
            <a:pPr lvl="4"/>
            <a:r>
              <a:rPr lang="en-GB"/>
              <a:t>Text level 5</a:t>
            </a:r>
          </a:p>
          <a:p>
            <a:pPr lvl="4"/>
            <a:endParaRPr lang="en-GB"/>
          </a:p>
        </p:txBody>
      </p:sp>
      <p:sp>
        <p:nvSpPr>
          <p:cNvPr id="5" name="Date Placeholder 4"/>
          <p:cNvSpPr>
            <a:spLocks noGrp="1"/>
          </p:cNvSpPr>
          <p:nvPr>
            <p:ph type="dt" sz="half" idx="10"/>
          </p:nvPr>
        </p:nvSpPr>
        <p:spPr/>
        <p:txBody>
          <a:bodyPr/>
          <a:lstStyle/>
          <a:p>
            <a:fld id="{0E79A51E-32BD-4051-8CF5-EDA2D0FC3913}" type="datetime1">
              <a:rPr lang="en-GB" smtClean="0"/>
              <a:t>18/04/2025</a:t>
            </a:fld>
            <a:endParaRPr lang="en-GB"/>
          </a:p>
        </p:txBody>
      </p:sp>
      <p:sp>
        <p:nvSpPr>
          <p:cNvPr id="6" name="Footer Placeholder 5"/>
          <p:cNvSpPr>
            <a:spLocks noGrp="1"/>
          </p:cNvSpPr>
          <p:nvPr>
            <p:ph type="ftr" sz="quarter" idx="11"/>
          </p:nvPr>
        </p:nvSpPr>
        <p:spPr/>
        <p:txBody>
          <a:bodyPr/>
          <a:lstStyle/>
          <a:p>
            <a:r>
              <a:rPr lang="en-GB"/>
              <a:t>Draft | Internal use only | Confidential</a:t>
            </a:r>
          </a:p>
        </p:txBody>
      </p:sp>
      <p:sp>
        <p:nvSpPr>
          <p:cNvPr id="7" name="Slide Number Placeholder 6"/>
          <p:cNvSpPr>
            <a:spLocks noGrp="1"/>
          </p:cNvSpPr>
          <p:nvPr>
            <p:ph type="sldNum" sz="quarter" idx="12"/>
          </p:nvPr>
        </p:nvSpPr>
        <p:spPr/>
        <p:txBody>
          <a:bodyPr/>
          <a:lstStyle/>
          <a:p>
            <a:fld id="{9BE0E23E-9022-4929-B297-EB2777CDBB1F}" type="slidenum">
              <a:rPr lang="en-GB" smtClean="0"/>
              <a:t>‹#›</a:t>
            </a:fld>
            <a:endParaRPr lang="en-GB"/>
          </a:p>
        </p:txBody>
      </p:sp>
      <p:sp>
        <p:nvSpPr>
          <p:cNvPr id="9" name="Tijdelijke aanduiding voor tekst 7">
            <a:extLst>
              <a:ext uri="{FF2B5EF4-FFF2-40B4-BE49-F238E27FC236}">
                <a16:creationId xmlns:a16="http://schemas.microsoft.com/office/drawing/2014/main" id="{27508BEF-285C-40D0-8A0C-EE0B84C47D52}"/>
              </a:ext>
            </a:extLst>
          </p:cNvPr>
          <p:cNvSpPr>
            <a:spLocks noGrp="1"/>
          </p:cNvSpPr>
          <p:nvPr>
            <p:ph type="body" sz="quarter" idx="13" hasCustomPrompt="1"/>
          </p:nvPr>
        </p:nvSpPr>
        <p:spPr>
          <a:xfrm>
            <a:off x="580291" y="1701800"/>
            <a:ext cx="5400000" cy="375792"/>
          </a:xfrm>
        </p:spPr>
        <p:txBody>
          <a:bodyPr wrap="none"/>
          <a:lstStyle>
            <a:lvl1pPr marL="0" indent="0">
              <a:buNone/>
              <a:defRPr>
                <a:solidFill>
                  <a:schemeClr val="accent1"/>
                </a:solidFill>
              </a:defRPr>
            </a:lvl1pPr>
          </a:lstStyle>
          <a:p>
            <a:pPr lvl="0"/>
            <a:r>
              <a:rPr lang="en-GB"/>
              <a:t>Subtitle</a:t>
            </a:r>
          </a:p>
        </p:txBody>
      </p:sp>
      <p:sp>
        <p:nvSpPr>
          <p:cNvPr id="10" name="Tijdelijke aanduiding voor tekst 7">
            <a:extLst>
              <a:ext uri="{FF2B5EF4-FFF2-40B4-BE49-F238E27FC236}">
                <a16:creationId xmlns:a16="http://schemas.microsoft.com/office/drawing/2014/main" id="{9913EE84-7DEC-4A2D-AD57-9B4798154DE0}"/>
              </a:ext>
            </a:extLst>
          </p:cNvPr>
          <p:cNvSpPr>
            <a:spLocks noGrp="1"/>
          </p:cNvSpPr>
          <p:nvPr>
            <p:ph type="body" sz="quarter" idx="14" hasCustomPrompt="1"/>
          </p:nvPr>
        </p:nvSpPr>
        <p:spPr>
          <a:xfrm>
            <a:off x="6216264" y="1703997"/>
            <a:ext cx="5400000" cy="375792"/>
          </a:xfrm>
        </p:spPr>
        <p:txBody>
          <a:bodyPr wrap="none"/>
          <a:lstStyle>
            <a:lvl1pPr marL="0" indent="0">
              <a:buNone/>
              <a:defRPr>
                <a:solidFill>
                  <a:schemeClr val="accent1"/>
                </a:solidFill>
              </a:defRPr>
            </a:lvl1pPr>
          </a:lstStyle>
          <a:p>
            <a:pPr lvl="0"/>
            <a:r>
              <a:rPr lang="en-GB"/>
              <a:t>Subtitle</a:t>
            </a:r>
          </a:p>
        </p:txBody>
      </p:sp>
    </p:spTree>
    <p:extLst>
      <p:ext uri="{BB962C8B-B14F-4D97-AF65-F5344CB8AC3E}">
        <p14:creationId xmlns:p14="http://schemas.microsoft.com/office/powerpoint/2010/main" val="1068535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3 text boxes">
    <p:spTree>
      <p:nvGrpSpPr>
        <p:cNvPr id="1" name=""/>
        <p:cNvGrpSpPr/>
        <p:nvPr/>
      </p:nvGrpSpPr>
      <p:grpSpPr>
        <a:xfrm>
          <a:off x="0" y="0"/>
          <a:ext cx="0" cy="0"/>
          <a:chOff x="0" y="0"/>
          <a:chExt cx="0" cy="0"/>
        </a:xfrm>
      </p:grpSpPr>
      <p:sp>
        <p:nvSpPr>
          <p:cNvPr id="10" name="Tijdelijke aanduiding voor tekst 9">
            <a:extLst>
              <a:ext uri="{FF2B5EF4-FFF2-40B4-BE49-F238E27FC236}">
                <a16:creationId xmlns:a16="http://schemas.microsoft.com/office/drawing/2014/main" id="{6E44AC7A-399D-4447-913F-693F8257E520}"/>
              </a:ext>
            </a:extLst>
          </p:cNvPr>
          <p:cNvSpPr>
            <a:spLocks noGrp="1"/>
          </p:cNvSpPr>
          <p:nvPr>
            <p:ph type="body" sz="quarter" idx="19" hasCustomPrompt="1"/>
          </p:nvPr>
        </p:nvSpPr>
        <p:spPr>
          <a:xfrm>
            <a:off x="575735" y="2495374"/>
            <a:ext cx="3441700" cy="3382612"/>
          </a:xfrm>
          <a:solidFill>
            <a:schemeClr val="bg1"/>
          </a:solidFill>
          <a:ln>
            <a:solidFill>
              <a:schemeClr val="accent1"/>
            </a:solidFill>
          </a:ln>
        </p:spPr>
        <p:txBody>
          <a:bodyPr lIns="72000" tIns="288000" rIns="72000"/>
          <a:lstStyle>
            <a:lvl1pPr>
              <a:defRPr sz="1600"/>
            </a:lvl1pPr>
            <a:lvl2pPr>
              <a:defRPr sz="1600"/>
            </a:lvl2pPr>
            <a:lvl3pPr>
              <a:defRPr sz="1600"/>
            </a:lvl3pPr>
            <a:lvl4pPr>
              <a:defRPr sz="1600"/>
            </a:lvl4pPr>
            <a:lvl5pPr>
              <a:defRPr sz="1600"/>
            </a:lvl5pPr>
          </a:lstStyle>
          <a:p>
            <a:pPr lvl="0"/>
            <a:r>
              <a:rPr lang="en-GB" err="1"/>
              <a:t>Klikken</a:t>
            </a:r>
            <a:r>
              <a:rPr lang="en-GB"/>
              <a:t> om de </a:t>
            </a:r>
            <a:r>
              <a:rPr lang="en-GB" err="1"/>
              <a:t>tekststijl</a:t>
            </a:r>
            <a:r>
              <a:rPr lang="en-GB"/>
              <a:t> van het model te </a:t>
            </a:r>
            <a:r>
              <a:rPr lang="en-GB" err="1"/>
              <a:t>bewerken</a:t>
            </a:r>
            <a:endParaRPr lang="en-GB"/>
          </a:p>
          <a:p>
            <a:pPr lvl="1"/>
            <a:r>
              <a:rPr lang="en-GB" err="1"/>
              <a:t>Tweede</a:t>
            </a:r>
            <a:r>
              <a:rPr lang="en-GB"/>
              <a:t> </a:t>
            </a:r>
            <a:r>
              <a:rPr lang="en-GB" err="1"/>
              <a:t>niveau</a:t>
            </a:r>
            <a:endParaRPr lang="en-GB"/>
          </a:p>
          <a:p>
            <a:pPr lvl="2"/>
            <a:r>
              <a:rPr lang="en-GB" err="1"/>
              <a:t>Derde</a:t>
            </a:r>
            <a:r>
              <a:rPr lang="en-GB"/>
              <a:t> </a:t>
            </a:r>
            <a:r>
              <a:rPr lang="en-GB" err="1"/>
              <a:t>niveau</a:t>
            </a:r>
            <a:endParaRPr lang="en-GB"/>
          </a:p>
          <a:p>
            <a:pPr lvl="3"/>
            <a:r>
              <a:rPr lang="en-GB" err="1"/>
              <a:t>Vierde</a:t>
            </a:r>
            <a:r>
              <a:rPr lang="en-GB"/>
              <a:t> </a:t>
            </a:r>
            <a:r>
              <a:rPr lang="en-GB" err="1"/>
              <a:t>niveau</a:t>
            </a:r>
            <a:endParaRPr lang="en-GB"/>
          </a:p>
          <a:p>
            <a:pPr lvl="4"/>
            <a:r>
              <a:rPr lang="en-GB" err="1"/>
              <a:t>Vijfde</a:t>
            </a:r>
            <a:r>
              <a:rPr lang="en-GB"/>
              <a:t> </a:t>
            </a:r>
            <a:r>
              <a:rPr lang="en-GB" err="1"/>
              <a:t>niveau</a:t>
            </a:r>
            <a:endParaRPr lang="en-GB"/>
          </a:p>
        </p:txBody>
      </p:sp>
      <p:sp>
        <p:nvSpPr>
          <p:cNvPr id="17" name="Tijdelijke aanduiding voor tekst 9">
            <a:extLst>
              <a:ext uri="{FF2B5EF4-FFF2-40B4-BE49-F238E27FC236}">
                <a16:creationId xmlns:a16="http://schemas.microsoft.com/office/drawing/2014/main" id="{FA5263FC-52AF-4B41-B9E2-8646A7426720}"/>
              </a:ext>
            </a:extLst>
          </p:cNvPr>
          <p:cNvSpPr>
            <a:spLocks noGrp="1"/>
          </p:cNvSpPr>
          <p:nvPr>
            <p:ph type="body" sz="quarter" idx="20" hasCustomPrompt="1"/>
          </p:nvPr>
        </p:nvSpPr>
        <p:spPr>
          <a:xfrm>
            <a:off x="4375103" y="2495374"/>
            <a:ext cx="3441700" cy="3382612"/>
          </a:xfrm>
          <a:solidFill>
            <a:schemeClr val="bg1"/>
          </a:solidFill>
          <a:ln>
            <a:solidFill>
              <a:schemeClr val="accent1"/>
            </a:solidFill>
          </a:ln>
        </p:spPr>
        <p:txBody>
          <a:bodyPr lIns="72000" tIns="288000" rIns="72000"/>
          <a:lstStyle>
            <a:lvl1pPr>
              <a:defRPr sz="1600"/>
            </a:lvl1pPr>
            <a:lvl2pPr>
              <a:defRPr sz="1600"/>
            </a:lvl2pPr>
            <a:lvl3pPr>
              <a:defRPr sz="1600"/>
            </a:lvl3pPr>
            <a:lvl4pPr>
              <a:defRPr sz="1600"/>
            </a:lvl4pPr>
            <a:lvl5pPr>
              <a:defRPr sz="1600"/>
            </a:lvl5pPr>
          </a:lstStyle>
          <a:p>
            <a:pPr lvl="0"/>
            <a:r>
              <a:rPr lang="en-GB" err="1"/>
              <a:t>Klikken</a:t>
            </a:r>
            <a:r>
              <a:rPr lang="en-GB"/>
              <a:t> om de </a:t>
            </a:r>
            <a:r>
              <a:rPr lang="en-GB" err="1"/>
              <a:t>tekststijl</a:t>
            </a:r>
            <a:r>
              <a:rPr lang="en-GB"/>
              <a:t> van het model te </a:t>
            </a:r>
            <a:r>
              <a:rPr lang="en-GB" err="1"/>
              <a:t>bewerken</a:t>
            </a:r>
            <a:endParaRPr lang="en-GB"/>
          </a:p>
          <a:p>
            <a:pPr lvl="1"/>
            <a:r>
              <a:rPr lang="en-GB" err="1"/>
              <a:t>Tweede</a:t>
            </a:r>
            <a:r>
              <a:rPr lang="en-GB"/>
              <a:t> </a:t>
            </a:r>
            <a:r>
              <a:rPr lang="en-GB" err="1"/>
              <a:t>niveau</a:t>
            </a:r>
            <a:endParaRPr lang="en-GB"/>
          </a:p>
          <a:p>
            <a:pPr lvl="2"/>
            <a:r>
              <a:rPr lang="en-GB" err="1"/>
              <a:t>Derde</a:t>
            </a:r>
            <a:r>
              <a:rPr lang="en-GB"/>
              <a:t> </a:t>
            </a:r>
            <a:r>
              <a:rPr lang="en-GB" err="1"/>
              <a:t>niveau</a:t>
            </a:r>
            <a:endParaRPr lang="en-GB"/>
          </a:p>
          <a:p>
            <a:pPr lvl="3"/>
            <a:r>
              <a:rPr lang="en-GB" err="1"/>
              <a:t>Vierde</a:t>
            </a:r>
            <a:r>
              <a:rPr lang="en-GB"/>
              <a:t> </a:t>
            </a:r>
            <a:r>
              <a:rPr lang="en-GB" err="1"/>
              <a:t>niveau</a:t>
            </a:r>
            <a:endParaRPr lang="en-GB"/>
          </a:p>
          <a:p>
            <a:pPr lvl="4"/>
            <a:r>
              <a:rPr lang="en-GB" err="1"/>
              <a:t>Vijfde</a:t>
            </a:r>
            <a:r>
              <a:rPr lang="en-GB"/>
              <a:t> </a:t>
            </a:r>
            <a:r>
              <a:rPr lang="en-GB" err="1"/>
              <a:t>niveau</a:t>
            </a:r>
            <a:endParaRPr lang="en-GB"/>
          </a:p>
        </p:txBody>
      </p:sp>
      <p:sp>
        <p:nvSpPr>
          <p:cNvPr id="18" name="Tijdelijke aanduiding voor tekst 9">
            <a:extLst>
              <a:ext uri="{FF2B5EF4-FFF2-40B4-BE49-F238E27FC236}">
                <a16:creationId xmlns:a16="http://schemas.microsoft.com/office/drawing/2014/main" id="{492614B2-9824-40F5-8714-52933A386792}"/>
              </a:ext>
            </a:extLst>
          </p:cNvPr>
          <p:cNvSpPr>
            <a:spLocks noGrp="1"/>
          </p:cNvSpPr>
          <p:nvPr>
            <p:ph type="body" sz="quarter" idx="21" hasCustomPrompt="1"/>
          </p:nvPr>
        </p:nvSpPr>
        <p:spPr>
          <a:xfrm>
            <a:off x="8174571" y="2495374"/>
            <a:ext cx="3441700" cy="3382612"/>
          </a:xfrm>
          <a:solidFill>
            <a:schemeClr val="bg1"/>
          </a:solidFill>
          <a:ln>
            <a:solidFill>
              <a:schemeClr val="accent1"/>
            </a:solidFill>
          </a:ln>
        </p:spPr>
        <p:txBody>
          <a:bodyPr lIns="72000" tIns="288000" rIns="72000"/>
          <a:lstStyle>
            <a:lvl1pPr>
              <a:defRPr sz="1600"/>
            </a:lvl1pPr>
            <a:lvl2pPr>
              <a:defRPr sz="1600"/>
            </a:lvl2pPr>
            <a:lvl3pPr>
              <a:defRPr sz="1600"/>
            </a:lvl3pPr>
            <a:lvl4pPr>
              <a:defRPr sz="1600"/>
            </a:lvl4pPr>
            <a:lvl5pPr>
              <a:defRPr sz="1600"/>
            </a:lvl5pPr>
          </a:lstStyle>
          <a:p>
            <a:pPr lvl="0"/>
            <a:r>
              <a:rPr lang="en-GB" err="1"/>
              <a:t>Klikken</a:t>
            </a:r>
            <a:r>
              <a:rPr lang="en-GB"/>
              <a:t> om de </a:t>
            </a:r>
            <a:r>
              <a:rPr lang="en-GB" err="1"/>
              <a:t>tekststijl</a:t>
            </a:r>
            <a:r>
              <a:rPr lang="en-GB"/>
              <a:t> van het model te </a:t>
            </a:r>
            <a:r>
              <a:rPr lang="en-GB" err="1"/>
              <a:t>bewerken</a:t>
            </a:r>
            <a:endParaRPr lang="en-GB"/>
          </a:p>
          <a:p>
            <a:pPr lvl="1"/>
            <a:r>
              <a:rPr lang="en-GB" err="1"/>
              <a:t>Tweede</a:t>
            </a:r>
            <a:r>
              <a:rPr lang="en-GB"/>
              <a:t> </a:t>
            </a:r>
            <a:r>
              <a:rPr lang="en-GB" err="1"/>
              <a:t>niveau</a:t>
            </a:r>
            <a:endParaRPr lang="en-GB"/>
          </a:p>
          <a:p>
            <a:pPr lvl="2"/>
            <a:r>
              <a:rPr lang="en-GB" err="1"/>
              <a:t>Derde</a:t>
            </a:r>
            <a:r>
              <a:rPr lang="en-GB"/>
              <a:t> </a:t>
            </a:r>
            <a:r>
              <a:rPr lang="en-GB" err="1"/>
              <a:t>niveau</a:t>
            </a:r>
            <a:endParaRPr lang="en-GB"/>
          </a:p>
          <a:p>
            <a:pPr lvl="3"/>
            <a:r>
              <a:rPr lang="en-GB" err="1"/>
              <a:t>Vierde</a:t>
            </a:r>
            <a:r>
              <a:rPr lang="en-GB"/>
              <a:t> </a:t>
            </a:r>
            <a:r>
              <a:rPr lang="en-GB" err="1"/>
              <a:t>niveau</a:t>
            </a:r>
            <a:endParaRPr lang="en-GB"/>
          </a:p>
          <a:p>
            <a:pPr lvl="4"/>
            <a:r>
              <a:rPr lang="en-GB" err="1"/>
              <a:t>Vijfde</a:t>
            </a:r>
            <a:r>
              <a:rPr lang="en-GB"/>
              <a:t> </a:t>
            </a:r>
            <a:r>
              <a:rPr lang="en-GB" err="1"/>
              <a:t>niveau</a:t>
            </a:r>
            <a:endParaRPr lang="en-GB"/>
          </a:p>
        </p:txBody>
      </p:sp>
      <p:sp>
        <p:nvSpPr>
          <p:cNvPr id="2" name="Title 1"/>
          <p:cNvSpPr>
            <a:spLocks noGrp="1"/>
          </p:cNvSpPr>
          <p:nvPr>
            <p:ph type="title"/>
          </p:nvPr>
        </p:nvSpPr>
        <p:spPr/>
        <p:txBody>
          <a:bodyPr/>
          <a:lstStyle/>
          <a:p>
            <a:r>
              <a:rPr lang="en-GB"/>
              <a:t>Click to edit Master title style</a:t>
            </a:r>
          </a:p>
        </p:txBody>
      </p:sp>
      <p:sp>
        <p:nvSpPr>
          <p:cNvPr id="4" name="Date Placeholder 3"/>
          <p:cNvSpPr>
            <a:spLocks noGrp="1"/>
          </p:cNvSpPr>
          <p:nvPr>
            <p:ph type="dt" sz="half" idx="10"/>
          </p:nvPr>
        </p:nvSpPr>
        <p:spPr/>
        <p:txBody>
          <a:bodyPr/>
          <a:lstStyle/>
          <a:p>
            <a:fld id="{D91BB3C9-EA7B-40B6-8522-4EF5EFABCEF8}" type="datetime1">
              <a:rPr lang="en-US" smtClean="0"/>
              <a:t>4/18/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14" name="Tijdelijke aanduiding voor tekst 13">
            <a:extLst>
              <a:ext uri="{FF2B5EF4-FFF2-40B4-BE49-F238E27FC236}">
                <a16:creationId xmlns:a16="http://schemas.microsoft.com/office/drawing/2014/main" id="{CE04E62B-DFE8-49C6-BCEC-A19BF0599890}"/>
              </a:ext>
            </a:extLst>
          </p:cNvPr>
          <p:cNvSpPr>
            <a:spLocks noGrp="1"/>
          </p:cNvSpPr>
          <p:nvPr>
            <p:ph type="body" sz="quarter" idx="16" hasCustomPrompt="1"/>
          </p:nvPr>
        </p:nvSpPr>
        <p:spPr>
          <a:xfrm>
            <a:off x="575732" y="1881239"/>
            <a:ext cx="34416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a:ln>
            <a:solidFill>
              <a:schemeClr val="accent1"/>
            </a:solidFill>
          </a:ln>
        </p:spPr>
        <p:txBody>
          <a:bodyPr wrap="square" lIns="72000" rIns="72000" anchor="ctr" anchorCtr="0">
            <a:noAutofit/>
          </a:bodyPr>
          <a:lstStyle>
            <a:lvl1pPr marL="0" indent="0" algn="ctr">
              <a:lnSpc>
                <a:spcPct val="100000"/>
              </a:lnSpc>
              <a:spcBef>
                <a:spcPts val="0"/>
              </a:spcBef>
              <a:buNone/>
              <a:defRPr>
                <a:solidFill>
                  <a:schemeClr val="bg1"/>
                </a:solidFill>
              </a:defRPr>
            </a:lvl1pPr>
          </a:lstStyle>
          <a:p>
            <a:pPr lvl="0"/>
            <a:r>
              <a:rPr lang="en-GB"/>
              <a:t>text</a:t>
            </a:r>
          </a:p>
        </p:txBody>
      </p:sp>
      <p:sp>
        <p:nvSpPr>
          <p:cNvPr id="15" name="Tijdelijke aanduiding voor tekst 14">
            <a:extLst>
              <a:ext uri="{FF2B5EF4-FFF2-40B4-BE49-F238E27FC236}">
                <a16:creationId xmlns:a16="http://schemas.microsoft.com/office/drawing/2014/main" id="{93339D03-BA0D-439C-9AE3-76BF835F80BC}"/>
              </a:ext>
            </a:extLst>
          </p:cNvPr>
          <p:cNvSpPr>
            <a:spLocks noGrp="1"/>
          </p:cNvSpPr>
          <p:nvPr>
            <p:ph type="body" sz="quarter" idx="17" hasCustomPrompt="1"/>
          </p:nvPr>
        </p:nvSpPr>
        <p:spPr>
          <a:xfrm>
            <a:off x="4375201" y="1881239"/>
            <a:ext cx="34416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a:ln>
            <a:solidFill>
              <a:schemeClr val="accent1"/>
            </a:solidFill>
          </a:ln>
        </p:spPr>
        <p:txBody>
          <a:bodyPr wrap="square" lIns="72000" rIns="72000" anchor="ctr" anchorCtr="0">
            <a:noAutofit/>
          </a:bodyPr>
          <a:lstStyle>
            <a:lvl1pPr marL="0" indent="0" algn="ctr">
              <a:lnSpc>
                <a:spcPct val="100000"/>
              </a:lnSpc>
              <a:spcBef>
                <a:spcPts val="0"/>
              </a:spcBef>
              <a:buNone/>
              <a:defRPr>
                <a:solidFill>
                  <a:schemeClr val="bg1"/>
                </a:solidFill>
              </a:defRPr>
            </a:lvl1pPr>
          </a:lstStyle>
          <a:p>
            <a:pPr lvl="0"/>
            <a:r>
              <a:rPr lang="en-GB"/>
              <a:t>text</a:t>
            </a:r>
          </a:p>
        </p:txBody>
      </p:sp>
      <p:sp>
        <p:nvSpPr>
          <p:cNvPr id="16" name="Tijdelijke aanduiding voor tekst 15">
            <a:extLst>
              <a:ext uri="{FF2B5EF4-FFF2-40B4-BE49-F238E27FC236}">
                <a16:creationId xmlns:a16="http://schemas.microsoft.com/office/drawing/2014/main" id="{93DBC742-8E58-4623-A40E-7D2DB102CDAF}"/>
              </a:ext>
            </a:extLst>
          </p:cNvPr>
          <p:cNvSpPr>
            <a:spLocks noGrp="1"/>
          </p:cNvSpPr>
          <p:nvPr>
            <p:ph type="body" sz="quarter" idx="18" hasCustomPrompt="1"/>
          </p:nvPr>
        </p:nvSpPr>
        <p:spPr>
          <a:xfrm>
            <a:off x="8174669" y="1881239"/>
            <a:ext cx="34416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a:ln>
            <a:solidFill>
              <a:schemeClr val="accent1"/>
            </a:solidFill>
          </a:ln>
        </p:spPr>
        <p:txBody>
          <a:bodyPr wrap="square" lIns="72000" rIns="72000" anchor="ctr" anchorCtr="0">
            <a:noAutofit/>
          </a:bodyPr>
          <a:lstStyle>
            <a:lvl1pPr marL="0" indent="0" algn="ctr">
              <a:lnSpc>
                <a:spcPct val="100000"/>
              </a:lnSpc>
              <a:spcBef>
                <a:spcPts val="0"/>
              </a:spcBef>
              <a:buNone/>
              <a:defRPr>
                <a:solidFill>
                  <a:schemeClr val="bg1"/>
                </a:solidFill>
              </a:defRPr>
            </a:lvl1pPr>
          </a:lstStyle>
          <a:p>
            <a:pPr lvl="0"/>
            <a:r>
              <a:rPr lang="en-GB"/>
              <a:t>text</a:t>
            </a:r>
          </a:p>
        </p:txBody>
      </p:sp>
    </p:spTree>
    <p:extLst>
      <p:ext uri="{BB962C8B-B14F-4D97-AF65-F5344CB8AC3E}">
        <p14:creationId xmlns:p14="http://schemas.microsoft.com/office/powerpoint/2010/main" val="3609676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itle, 4 text boxes">
    <p:spTree>
      <p:nvGrpSpPr>
        <p:cNvPr id="1" name=""/>
        <p:cNvGrpSpPr/>
        <p:nvPr/>
      </p:nvGrpSpPr>
      <p:grpSpPr>
        <a:xfrm>
          <a:off x="0" y="0"/>
          <a:ext cx="0" cy="0"/>
          <a:chOff x="0" y="0"/>
          <a:chExt cx="0" cy="0"/>
        </a:xfrm>
      </p:grpSpPr>
      <p:sp>
        <p:nvSpPr>
          <p:cNvPr id="18" name="Tijdelijke aanduiding voor tekst 9">
            <a:extLst>
              <a:ext uri="{FF2B5EF4-FFF2-40B4-BE49-F238E27FC236}">
                <a16:creationId xmlns:a16="http://schemas.microsoft.com/office/drawing/2014/main" id="{B1DBF5D7-C132-40CC-A85A-C82D8B39A011}"/>
              </a:ext>
            </a:extLst>
          </p:cNvPr>
          <p:cNvSpPr>
            <a:spLocks noGrp="1"/>
          </p:cNvSpPr>
          <p:nvPr>
            <p:ph type="body" sz="quarter" idx="19" hasCustomPrompt="1"/>
          </p:nvPr>
        </p:nvSpPr>
        <p:spPr>
          <a:xfrm>
            <a:off x="575733" y="2495374"/>
            <a:ext cx="2568000" cy="3382612"/>
          </a:xfrm>
          <a:noFill/>
          <a:ln>
            <a:solidFill>
              <a:schemeClr val="accent1"/>
            </a:solidFill>
          </a:ln>
        </p:spPr>
        <p:txBody>
          <a:bodyPr lIns="72000" tIns="288000" rIns="72000"/>
          <a:lstStyle>
            <a:lvl1pPr>
              <a:defRPr sz="1600"/>
            </a:lvl1pPr>
            <a:lvl2pPr>
              <a:defRPr sz="1600"/>
            </a:lvl2pPr>
            <a:lvl3pPr>
              <a:defRPr sz="1600"/>
            </a:lvl3pPr>
            <a:lvl4pPr>
              <a:defRPr sz="1600"/>
            </a:lvl4pPr>
            <a:lvl5pPr>
              <a:defRPr sz="1600"/>
            </a:lvl5pPr>
          </a:lstStyle>
          <a:p>
            <a:pPr lvl="0"/>
            <a:r>
              <a:rPr lang="en-GB" err="1"/>
              <a:t>Klikken</a:t>
            </a:r>
            <a:r>
              <a:rPr lang="en-GB"/>
              <a:t> om de </a:t>
            </a:r>
            <a:r>
              <a:rPr lang="en-GB" err="1"/>
              <a:t>tekststijl</a:t>
            </a:r>
            <a:r>
              <a:rPr lang="en-GB"/>
              <a:t> van het model te </a:t>
            </a:r>
            <a:r>
              <a:rPr lang="en-GB" err="1"/>
              <a:t>bewerken</a:t>
            </a:r>
            <a:endParaRPr lang="en-GB"/>
          </a:p>
          <a:p>
            <a:pPr lvl="1"/>
            <a:r>
              <a:rPr lang="en-GB" err="1"/>
              <a:t>Tweede</a:t>
            </a:r>
            <a:r>
              <a:rPr lang="en-GB"/>
              <a:t> </a:t>
            </a:r>
            <a:r>
              <a:rPr lang="en-GB" err="1"/>
              <a:t>niveau</a:t>
            </a:r>
            <a:endParaRPr lang="en-GB"/>
          </a:p>
          <a:p>
            <a:pPr lvl="2"/>
            <a:r>
              <a:rPr lang="en-GB" err="1"/>
              <a:t>Derde</a:t>
            </a:r>
            <a:r>
              <a:rPr lang="en-GB"/>
              <a:t> </a:t>
            </a:r>
            <a:r>
              <a:rPr lang="en-GB" err="1"/>
              <a:t>niveau</a:t>
            </a:r>
            <a:endParaRPr lang="en-GB"/>
          </a:p>
          <a:p>
            <a:pPr lvl="3"/>
            <a:r>
              <a:rPr lang="en-GB" err="1"/>
              <a:t>Vierde</a:t>
            </a:r>
            <a:r>
              <a:rPr lang="en-GB"/>
              <a:t> </a:t>
            </a:r>
            <a:r>
              <a:rPr lang="en-GB" err="1"/>
              <a:t>niveau</a:t>
            </a:r>
            <a:endParaRPr lang="en-GB"/>
          </a:p>
          <a:p>
            <a:pPr lvl="4"/>
            <a:r>
              <a:rPr lang="en-GB" err="1"/>
              <a:t>Vijfde</a:t>
            </a:r>
            <a:r>
              <a:rPr lang="en-GB"/>
              <a:t> </a:t>
            </a:r>
            <a:r>
              <a:rPr lang="en-GB" err="1"/>
              <a:t>niveau</a:t>
            </a:r>
            <a:endParaRPr lang="en-GB"/>
          </a:p>
        </p:txBody>
      </p:sp>
      <p:sp>
        <p:nvSpPr>
          <p:cNvPr id="19" name="Tijdelijke aanduiding voor tekst 9">
            <a:extLst>
              <a:ext uri="{FF2B5EF4-FFF2-40B4-BE49-F238E27FC236}">
                <a16:creationId xmlns:a16="http://schemas.microsoft.com/office/drawing/2014/main" id="{AEA49228-3077-4774-B49B-014998EF6753}"/>
              </a:ext>
            </a:extLst>
          </p:cNvPr>
          <p:cNvSpPr>
            <a:spLocks noGrp="1"/>
          </p:cNvSpPr>
          <p:nvPr>
            <p:ph type="body" sz="quarter" idx="22" hasCustomPrompt="1"/>
          </p:nvPr>
        </p:nvSpPr>
        <p:spPr>
          <a:xfrm>
            <a:off x="3399911" y="2495374"/>
            <a:ext cx="2568000" cy="3382612"/>
          </a:xfrm>
          <a:noFill/>
          <a:ln>
            <a:solidFill>
              <a:schemeClr val="accent1"/>
            </a:solidFill>
          </a:ln>
        </p:spPr>
        <p:txBody>
          <a:bodyPr lIns="72000" tIns="288000" rIns="72000"/>
          <a:lstStyle>
            <a:lvl1pPr>
              <a:defRPr sz="1600"/>
            </a:lvl1pPr>
            <a:lvl2pPr>
              <a:defRPr sz="1600"/>
            </a:lvl2pPr>
            <a:lvl3pPr>
              <a:defRPr sz="1600"/>
            </a:lvl3pPr>
            <a:lvl4pPr>
              <a:defRPr sz="1600"/>
            </a:lvl4pPr>
            <a:lvl5pPr>
              <a:defRPr sz="1600"/>
            </a:lvl5pPr>
          </a:lstStyle>
          <a:p>
            <a:pPr lvl="0"/>
            <a:r>
              <a:rPr lang="en-GB" err="1"/>
              <a:t>Klikken</a:t>
            </a:r>
            <a:r>
              <a:rPr lang="en-GB"/>
              <a:t> om de </a:t>
            </a:r>
            <a:r>
              <a:rPr lang="en-GB" err="1"/>
              <a:t>tekststijl</a:t>
            </a:r>
            <a:r>
              <a:rPr lang="en-GB"/>
              <a:t> van het model te </a:t>
            </a:r>
            <a:r>
              <a:rPr lang="en-GB" err="1"/>
              <a:t>bewerken</a:t>
            </a:r>
            <a:endParaRPr lang="en-GB"/>
          </a:p>
          <a:p>
            <a:pPr lvl="1"/>
            <a:r>
              <a:rPr lang="en-GB" err="1"/>
              <a:t>Tweede</a:t>
            </a:r>
            <a:r>
              <a:rPr lang="en-GB"/>
              <a:t> </a:t>
            </a:r>
            <a:r>
              <a:rPr lang="en-GB" err="1"/>
              <a:t>niveau</a:t>
            </a:r>
            <a:endParaRPr lang="en-GB"/>
          </a:p>
          <a:p>
            <a:pPr lvl="2"/>
            <a:r>
              <a:rPr lang="en-GB" err="1"/>
              <a:t>Derde</a:t>
            </a:r>
            <a:r>
              <a:rPr lang="en-GB"/>
              <a:t> </a:t>
            </a:r>
            <a:r>
              <a:rPr lang="en-GB" err="1"/>
              <a:t>niveau</a:t>
            </a:r>
            <a:endParaRPr lang="en-GB"/>
          </a:p>
          <a:p>
            <a:pPr lvl="3"/>
            <a:r>
              <a:rPr lang="en-GB" err="1"/>
              <a:t>Vierde</a:t>
            </a:r>
            <a:r>
              <a:rPr lang="en-GB"/>
              <a:t> </a:t>
            </a:r>
            <a:r>
              <a:rPr lang="en-GB" err="1"/>
              <a:t>niveau</a:t>
            </a:r>
            <a:endParaRPr lang="en-GB"/>
          </a:p>
          <a:p>
            <a:pPr lvl="4"/>
            <a:r>
              <a:rPr lang="en-GB" err="1"/>
              <a:t>Vijfde</a:t>
            </a:r>
            <a:r>
              <a:rPr lang="en-GB"/>
              <a:t> </a:t>
            </a:r>
            <a:r>
              <a:rPr lang="en-GB" err="1"/>
              <a:t>niveau</a:t>
            </a:r>
            <a:endParaRPr lang="en-GB"/>
          </a:p>
        </p:txBody>
      </p:sp>
      <p:sp>
        <p:nvSpPr>
          <p:cNvPr id="20" name="Tijdelijke aanduiding voor tekst 9">
            <a:extLst>
              <a:ext uri="{FF2B5EF4-FFF2-40B4-BE49-F238E27FC236}">
                <a16:creationId xmlns:a16="http://schemas.microsoft.com/office/drawing/2014/main" id="{182BA976-3733-49B5-B0A3-2E4CA89FDBE2}"/>
              </a:ext>
            </a:extLst>
          </p:cNvPr>
          <p:cNvSpPr>
            <a:spLocks noGrp="1"/>
          </p:cNvSpPr>
          <p:nvPr>
            <p:ph type="body" sz="quarter" idx="23" hasCustomPrompt="1"/>
          </p:nvPr>
        </p:nvSpPr>
        <p:spPr>
          <a:xfrm>
            <a:off x="6224088" y="2495374"/>
            <a:ext cx="2568000" cy="3382612"/>
          </a:xfrm>
          <a:noFill/>
          <a:ln>
            <a:solidFill>
              <a:schemeClr val="accent1"/>
            </a:solidFill>
          </a:ln>
        </p:spPr>
        <p:txBody>
          <a:bodyPr lIns="72000" tIns="288000" rIns="72000"/>
          <a:lstStyle>
            <a:lvl1pPr>
              <a:defRPr sz="1600"/>
            </a:lvl1pPr>
            <a:lvl2pPr>
              <a:defRPr sz="1600"/>
            </a:lvl2pPr>
            <a:lvl3pPr>
              <a:defRPr sz="1600"/>
            </a:lvl3pPr>
            <a:lvl4pPr>
              <a:defRPr sz="1600"/>
            </a:lvl4pPr>
            <a:lvl5pPr>
              <a:defRPr sz="1600"/>
            </a:lvl5pPr>
          </a:lstStyle>
          <a:p>
            <a:pPr lvl="0"/>
            <a:r>
              <a:rPr lang="en-GB" err="1"/>
              <a:t>Klikken</a:t>
            </a:r>
            <a:r>
              <a:rPr lang="en-GB"/>
              <a:t> om de </a:t>
            </a:r>
            <a:r>
              <a:rPr lang="en-GB" err="1"/>
              <a:t>tekststijl</a:t>
            </a:r>
            <a:r>
              <a:rPr lang="en-GB"/>
              <a:t> van het model te </a:t>
            </a:r>
            <a:r>
              <a:rPr lang="en-GB" err="1"/>
              <a:t>bewerken</a:t>
            </a:r>
            <a:endParaRPr lang="en-GB"/>
          </a:p>
          <a:p>
            <a:pPr lvl="1"/>
            <a:r>
              <a:rPr lang="en-GB" err="1"/>
              <a:t>Tweede</a:t>
            </a:r>
            <a:r>
              <a:rPr lang="en-GB"/>
              <a:t> </a:t>
            </a:r>
            <a:r>
              <a:rPr lang="en-GB" err="1"/>
              <a:t>niveau</a:t>
            </a:r>
            <a:endParaRPr lang="en-GB"/>
          </a:p>
          <a:p>
            <a:pPr lvl="2"/>
            <a:r>
              <a:rPr lang="en-GB" err="1"/>
              <a:t>Derde</a:t>
            </a:r>
            <a:r>
              <a:rPr lang="en-GB"/>
              <a:t> </a:t>
            </a:r>
            <a:r>
              <a:rPr lang="en-GB" err="1"/>
              <a:t>niveau</a:t>
            </a:r>
            <a:endParaRPr lang="en-GB"/>
          </a:p>
          <a:p>
            <a:pPr lvl="3"/>
            <a:r>
              <a:rPr lang="en-GB" err="1"/>
              <a:t>Vierde</a:t>
            </a:r>
            <a:r>
              <a:rPr lang="en-GB"/>
              <a:t> </a:t>
            </a:r>
            <a:r>
              <a:rPr lang="en-GB" err="1"/>
              <a:t>niveau</a:t>
            </a:r>
            <a:endParaRPr lang="en-GB"/>
          </a:p>
          <a:p>
            <a:pPr lvl="4"/>
            <a:r>
              <a:rPr lang="en-GB" err="1"/>
              <a:t>Vijfde</a:t>
            </a:r>
            <a:r>
              <a:rPr lang="en-GB"/>
              <a:t> </a:t>
            </a:r>
            <a:r>
              <a:rPr lang="en-GB" err="1"/>
              <a:t>niveau</a:t>
            </a:r>
            <a:endParaRPr lang="en-GB"/>
          </a:p>
        </p:txBody>
      </p:sp>
      <p:sp>
        <p:nvSpPr>
          <p:cNvPr id="21" name="Tijdelijke aanduiding voor tekst 9">
            <a:extLst>
              <a:ext uri="{FF2B5EF4-FFF2-40B4-BE49-F238E27FC236}">
                <a16:creationId xmlns:a16="http://schemas.microsoft.com/office/drawing/2014/main" id="{732CF53A-4EE3-4F44-B459-A6EACF01AA0E}"/>
              </a:ext>
            </a:extLst>
          </p:cNvPr>
          <p:cNvSpPr>
            <a:spLocks noGrp="1"/>
          </p:cNvSpPr>
          <p:nvPr>
            <p:ph type="body" sz="quarter" idx="24" hasCustomPrompt="1"/>
          </p:nvPr>
        </p:nvSpPr>
        <p:spPr>
          <a:xfrm>
            <a:off x="9048265" y="2495374"/>
            <a:ext cx="2568000" cy="3382612"/>
          </a:xfrm>
          <a:noFill/>
          <a:ln>
            <a:solidFill>
              <a:schemeClr val="accent1"/>
            </a:solidFill>
          </a:ln>
        </p:spPr>
        <p:txBody>
          <a:bodyPr lIns="72000" tIns="288000" rIns="72000"/>
          <a:lstStyle>
            <a:lvl1pPr>
              <a:defRPr sz="1600"/>
            </a:lvl1pPr>
            <a:lvl2pPr>
              <a:defRPr sz="1600"/>
            </a:lvl2pPr>
            <a:lvl3pPr>
              <a:defRPr sz="1600"/>
            </a:lvl3pPr>
            <a:lvl4pPr>
              <a:defRPr sz="1600"/>
            </a:lvl4pPr>
            <a:lvl5pPr>
              <a:defRPr sz="1600"/>
            </a:lvl5pPr>
          </a:lstStyle>
          <a:p>
            <a:pPr lvl="0"/>
            <a:r>
              <a:rPr lang="en-GB" err="1"/>
              <a:t>Klikken</a:t>
            </a:r>
            <a:r>
              <a:rPr lang="en-GB"/>
              <a:t> om de </a:t>
            </a:r>
            <a:r>
              <a:rPr lang="en-GB" err="1"/>
              <a:t>tekststijl</a:t>
            </a:r>
            <a:r>
              <a:rPr lang="en-GB"/>
              <a:t> van het model te </a:t>
            </a:r>
            <a:r>
              <a:rPr lang="en-GB" err="1"/>
              <a:t>bewerken</a:t>
            </a:r>
            <a:endParaRPr lang="en-GB"/>
          </a:p>
          <a:p>
            <a:pPr lvl="1"/>
            <a:r>
              <a:rPr lang="en-GB" err="1"/>
              <a:t>Tweede</a:t>
            </a:r>
            <a:r>
              <a:rPr lang="en-GB"/>
              <a:t> </a:t>
            </a:r>
            <a:r>
              <a:rPr lang="en-GB" err="1"/>
              <a:t>niveau</a:t>
            </a:r>
            <a:endParaRPr lang="en-GB"/>
          </a:p>
          <a:p>
            <a:pPr lvl="2"/>
            <a:r>
              <a:rPr lang="en-GB" err="1"/>
              <a:t>Derde</a:t>
            </a:r>
            <a:r>
              <a:rPr lang="en-GB"/>
              <a:t> </a:t>
            </a:r>
            <a:r>
              <a:rPr lang="en-GB" err="1"/>
              <a:t>niveau</a:t>
            </a:r>
            <a:endParaRPr lang="en-GB"/>
          </a:p>
          <a:p>
            <a:pPr lvl="3"/>
            <a:r>
              <a:rPr lang="en-GB" err="1"/>
              <a:t>Vierde</a:t>
            </a:r>
            <a:r>
              <a:rPr lang="en-GB"/>
              <a:t> </a:t>
            </a:r>
            <a:r>
              <a:rPr lang="en-GB" err="1"/>
              <a:t>niveau</a:t>
            </a:r>
            <a:endParaRPr lang="en-GB"/>
          </a:p>
          <a:p>
            <a:pPr lvl="4"/>
            <a:r>
              <a:rPr lang="en-GB" err="1"/>
              <a:t>Vijfde</a:t>
            </a:r>
            <a:r>
              <a:rPr lang="en-GB"/>
              <a:t> </a:t>
            </a:r>
            <a:r>
              <a:rPr lang="en-GB" err="1"/>
              <a:t>niveau</a:t>
            </a:r>
            <a:endParaRPr lang="en-GB"/>
          </a:p>
        </p:txBody>
      </p:sp>
      <p:sp>
        <p:nvSpPr>
          <p:cNvPr id="2" name="Title 1"/>
          <p:cNvSpPr>
            <a:spLocks noGrp="1"/>
          </p:cNvSpPr>
          <p:nvPr>
            <p:ph type="title"/>
          </p:nvPr>
        </p:nvSpPr>
        <p:spPr/>
        <p:txBody>
          <a:bodyPr/>
          <a:lstStyle/>
          <a:p>
            <a:r>
              <a:rPr lang="en-GB"/>
              <a:t>Click to edit Master title style</a:t>
            </a:r>
          </a:p>
        </p:txBody>
      </p:sp>
      <p:sp>
        <p:nvSpPr>
          <p:cNvPr id="4" name="Date Placeholder 3"/>
          <p:cNvSpPr>
            <a:spLocks noGrp="1"/>
          </p:cNvSpPr>
          <p:nvPr>
            <p:ph type="dt" sz="half" idx="10"/>
          </p:nvPr>
        </p:nvSpPr>
        <p:spPr/>
        <p:txBody>
          <a:bodyPr/>
          <a:lstStyle/>
          <a:p>
            <a:fld id="{8498CE31-6B97-40FA-B0A0-C9CF6BC4A3FA}" type="datetime1">
              <a:rPr lang="en-US" smtClean="0"/>
              <a:t>4/18/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14" name="Tijdelijke aanduiding voor tekst 13">
            <a:extLst>
              <a:ext uri="{FF2B5EF4-FFF2-40B4-BE49-F238E27FC236}">
                <a16:creationId xmlns:a16="http://schemas.microsoft.com/office/drawing/2014/main" id="{CE04E62B-DFE8-49C6-BCEC-A19BF0599890}"/>
              </a:ext>
            </a:extLst>
          </p:cNvPr>
          <p:cNvSpPr>
            <a:spLocks noGrp="1"/>
          </p:cNvSpPr>
          <p:nvPr>
            <p:ph type="body" sz="quarter" idx="16" hasCustomPrompt="1"/>
          </p:nvPr>
        </p:nvSpPr>
        <p:spPr>
          <a:xfrm>
            <a:off x="575732" y="1881239"/>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a:ln>
            <a:solidFill>
              <a:schemeClr val="accent1"/>
            </a:solidFill>
          </a:ln>
        </p:spPr>
        <p:txBody>
          <a:bodyPr wrap="square" lIns="72000" rIns="72000" anchor="ctr" anchorCtr="0">
            <a:noAutofit/>
          </a:bodyPr>
          <a:lstStyle>
            <a:lvl1pPr marL="0" indent="0" algn="ctr">
              <a:lnSpc>
                <a:spcPct val="100000"/>
              </a:lnSpc>
              <a:spcBef>
                <a:spcPts val="0"/>
              </a:spcBef>
              <a:buNone/>
              <a:defRPr>
                <a:solidFill>
                  <a:schemeClr val="bg1"/>
                </a:solidFill>
              </a:defRPr>
            </a:lvl1pPr>
          </a:lstStyle>
          <a:p>
            <a:pPr lvl="0"/>
            <a:r>
              <a:rPr lang="en-GB"/>
              <a:t>text</a:t>
            </a:r>
          </a:p>
        </p:txBody>
      </p:sp>
      <p:sp>
        <p:nvSpPr>
          <p:cNvPr id="15" name="Tijdelijke aanduiding voor tekst 14">
            <a:extLst>
              <a:ext uri="{FF2B5EF4-FFF2-40B4-BE49-F238E27FC236}">
                <a16:creationId xmlns:a16="http://schemas.microsoft.com/office/drawing/2014/main" id="{93339D03-BA0D-439C-9AE3-76BF835F80BC}"/>
              </a:ext>
            </a:extLst>
          </p:cNvPr>
          <p:cNvSpPr>
            <a:spLocks noGrp="1"/>
          </p:cNvSpPr>
          <p:nvPr>
            <p:ph type="body" sz="quarter" idx="17" hasCustomPrompt="1"/>
          </p:nvPr>
        </p:nvSpPr>
        <p:spPr>
          <a:xfrm>
            <a:off x="3399909" y="1881239"/>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a:ln>
            <a:solidFill>
              <a:schemeClr val="accent1"/>
            </a:solidFill>
          </a:ln>
        </p:spPr>
        <p:txBody>
          <a:bodyPr wrap="square" lIns="72000" rIns="72000" anchor="ctr" anchorCtr="0">
            <a:noAutofit/>
          </a:bodyPr>
          <a:lstStyle>
            <a:lvl1pPr marL="0" indent="0" algn="ctr">
              <a:lnSpc>
                <a:spcPct val="100000"/>
              </a:lnSpc>
              <a:spcBef>
                <a:spcPts val="0"/>
              </a:spcBef>
              <a:buNone/>
              <a:defRPr>
                <a:solidFill>
                  <a:schemeClr val="bg1"/>
                </a:solidFill>
              </a:defRPr>
            </a:lvl1pPr>
          </a:lstStyle>
          <a:p>
            <a:pPr lvl="0"/>
            <a:r>
              <a:rPr lang="en-GB"/>
              <a:t>text</a:t>
            </a:r>
          </a:p>
        </p:txBody>
      </p:sp>
      <p:sp>
        <p:nvSpPr>
          <p:cNvPr id="16" name="Tijdelijke aanduiding voor tekst 15">
            <a:extLst>
              <a:ext uri="{FF2B5EF4-FFF2-40B4-BE49-F238E27FC236}">
                <a16:creationId xmlns:a16="http://schemas.microsoft.com/office/drawing/2014/main" id="{93DBC742-8E58-4623-A40E-7D2DB102CDAF}"/>
              </a:ext>
            </a:extLst>
          </p:cNvPr>
          <p:cNvSpPr>
            <a:spLocks noGrp="1"/>
          </p:cNvSpPr>
          <p:nvPr>
            <p:ph type="body" sz="quarter" idx="18" hasCustomPrompt="1"/>
          </p:nvPr>
        </p:nvSpPr>
        <p:spPr>
          <a:xfrm>
            <a:off x="6224087" y="1881239"/>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a:ln>
            <a:solidFill>
              <a:schemeClr val="accent1"/>
            </a:solidFill>
          </a:ln>
        </p:spPr>
        <p:txBody>
          <a:bodyPr wrap="square" lIns="72000" rIns="72000" anchor="ctr" anchorCtr="0">
            <a:noAutofit/>
          </a:bodyPr>
          <a:lstStyle>
            <a:lvl1pPr marL="0" indent="0" algn="ctr">
              <a:lnSpc>
                <a:spcPct val="100000"/>
              </a:lnSpc>
              <a:spcBef>
                <a:spcPts val="0"/>
              </a:spcBef>
              <a:buNone/>
              <a:defRPr>
                <a:solidFill>
                  <a:schemeClr val="bg1"/>
                </a:solidFill>
              </a:defRPr>
            </a:lvl1pPr>
          </a:lstStyle>
          <a:p>
            <a:pPr lvl="0"/>
            <a:r>
              <a:rPr lang="en-GB"/>
              <a:t>text</a:t>
            </a:r>
          </a:p>
        </p:txBody>
      </p:sp>
      <p:sp>
        <p:nvSpPr>
          <p:cNvPr id="17" name="Tijdelijke aanduiding voor tekst 16">
            <a:extLst>
              <a:ext uri="{FF2B5EF4-FFF2-40B4-BE49-F238E27FC236}">
                <a16:creationId xmlns:a16="http://schemas.microsoft.com/office/drawing/2014/main" id="{8B53FD86-423F-4F36-AC16-3D6CA052A00B}"/>
              </a:ext>
            </a:extLst>
          </p:cNvPr>
          <p:cNvSpPr>
            <a:spLocks noGrp="1"/>
          </p:cNvSpPr>
          <p:nvPr>
            <p:ph type="body" sz="quarter" idx="21" hasCustomPrompt="1"/>
          </p:nvPr>
        </p:nvSpPr>
        <p:spPr>
          <a:xfrm>
            <a:off x="9048265" y="1881239"/>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a:ln>
            <a:solidFill>
              <a:schemeClr val="accent1"/>
            </a:solidFill>
          </a:ln>
        </p:spPr>
        <p:txBody>
          <a:bodyPr wrap="square" lIns="72000" rIns="72000" anchor="ctr" anchorCtr="0">
            <a:noAutofit/>
          </a:bodyPr>
          <a:lstStyle>
            <a:lvl1pPr marL="0" indent="0" algn="ctr">
              <a:lnSpc>
                <a:spcPct val="100000"/>
              </a:lnSpc>
              <a:spcBef>
                <a:spcPts val="0"/>
              </a:spcBef>
              <a:buNone/>
              <a:defRPr>
                <a:solidFill>
                  <a:schemeClr val="bg1"/>
                </a:solidFill>
              </a:defRPr>
            </a:lvl1pPr>
          </a:lstStyle>
          <a:p>
            <a:pPr lvl="0"/>
            <a:r>
              <a:rPr lang="en-GB"/>
              <a:t>text</a:t>
            </a:r>
          </a:p>
        </p:txBody>
      </p:sp>
    </p:spTree>
    <p:extLst>
      <p:ext uri="{BB962C8B-B14F-4D97-AF65-F5344CB8AC3E}">
        <p14:creationId xmlns:p14="http://schemas.microsoft.com/office/powerpoint/2010/main" val="482939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3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4" name="Date Placeholder 3"/>
          <p:cNvSpPr>
            <a:spLocks noGrp="1"/>
          </p:cNvSpPr>
          <p:nvPr>
            <p:ph type="dt" sz="half" idx="10"/>
          </p:nvPr>
        </p:nvSpPr>
        <p:spPr/>
        <p:txBody>
          <a:bodyPr/>
          <a:lstStyle/>
          <a:p>
            <a:fld id="{406E3D3F-B4D2-41C9-8F08-41B7C2C3C310}" type="datetime1">
              <a:rPr lang="en-US" smtClean="0"/>
              <a:t>4/18/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7" name="Tijdelijke aanduiding voor afbeelding 7">
            <a:extLst>
              <a:ext uri="{FF2B5EF4-FFF2-40B4-BE49-F238E27FC236}">
                <a16:creationId xmlns:a16="http://schemas.microsoft.com/office/drawing/2014/main" id="{65B18880-82CC-4AC0-9FD4-73A347590E4A}"/>
              </a:ext>
            </a:extLst>
          </p:cNvPr>
          <p:cNvSpPr>
            <a:spLocks noGrp="1"/>
          </p:cNvSpPr>
          <p:nvPr>
            <p:ph type="pic" sz="quarter" idx="13" hasCustomPrompt="1"/>
          </p:nvPr>
        </p:nvSpPr>
        <p:spPr>
          <a:xfrm>
            <a:off x="575733" y="1881237"/>
            <a:ext cx="3441600" cy="2760000"/>
          </a:xfrm>
          <a:solidFill>
            <a:schemeClr val="tx1">
              <a:lumMod val="20000"/>
              <a:lumOff val="80000"/>
            </a:schemeClr>
          </a:solidFill>
        </p:spPr>
        <p:txBody>
          <a:bodyPr/>
          <a:lstStyle>
            <a:lvl1pPr marL="0" indent="0" algn="ctr">
              <a:buNone/>
              <a:defRPr>
                <a:solidFill>
                  <a:schemeClr val="accent1"/>
                </a:solidFill>
              </a:defRPr>
            </a:lvl1pPr>
          </a:lstStyle>
          <a:p>
            <a:r>
              <a:rPr lang="en-GB"/>
              <a:t>Image</a:t>
            </a:r>
          </a:p>
        </p:txBody>
      </p:sp>
      <p:sp>
        <p:nvSpPr>
          <p:cNvPr id="8" name="Tijdelijke aanduiding voor afbeelding 7">
            <a:extLst>
              <a:ext uri="{FF2B5EF4-FFF2-40B4-BE49-F238E27FC236}">
                <a16:creationId xmlns:a16="http://schemas.microsoft.com/office/drawing/2014/main" id="{F21877E9-C5B9-480D-8B19-E3F131AE2D94}"/>
              </a:ext>
            </a:extLst>
          </p:cNvPr>
          <p:cNvSpPr>
            <a:spLocks noGrp="1"/>
          </p:cNvSpPr>
          <p:nvPr>
            <p:ph type="pic" sz="quarter" idx="14" hasCustomPrompt="1"/>
          </p:nvPr>
        </p:nvSpPr>
        <p:spPr>
          <a:xfrm>
            <a:off x="4375201" y="1881237"/>
            <a:ext cx="3441600" cy="2760000"/>
          </a:xfrm>
          <a:solidFill>
            <a:schemeClr val="tx1">
              <a:lumMod val="20000"/>
              <a:lumOff val="80000"/>
            </a:schemeClr>
          </a:solidFill>
        </p:spPr>
        <p:txBody>
          <a:bodyPr/>
          <a:lstStyle>
            <a:lvl1pPr marL="0" indent="0" algn="ctr">
              <a:buNone/>
              <a:defRPr>
                <a:solidFill>
                  <a:schemeClr val="accent1"/>
                </a:solidFill>
              </a:defRPr>
            </a:lvl1pPr>
          </a:lstStyle>
          <a:p>
            <a:r>
              <a:rPr lang="en-GB"/>
              <a:t>Image</a:t>
            </a:r>
          </a:p>
        </p:txBody>
      </p:sp>
      <p:sp>
        <p:nvSpPr>
          <p:cNvPr id="9" name="Tijdelijke aanduiding voor afbeelding 7">
            <a:extLst>
              <a:ext uri="{FF2B5EF4-FFF2-40B4-BE49-F238E27FC236}">
                <a16:creationId xmlns:a16="http://schemas.microsoft.com/office/drawing/2014/main" id="{41A0AB49-F1DD-4324-B0FE-DC835BD3B2FB}"/>
              </a:ext>
            </a:extLst>
          </p:cNvPr>
          <p:cNvSpPr>
            <a:spLocks noGrp="1"/>
          </p:cNvSpPr>
          <p:nvPr>
            <p:ph type="pic" sz="quarter" idx="15" hasCustomPrompt="1"/>
          </p:nvPr>
        </p:nvSpPr>
        <p:spPr>
          <a:xfrm>
            <a:off x="8174669" y="1881237"/>
            <a:ext cx="3441600" cy="2760000"/>
          </a:xfrm>
          <a:solidFill>
            <a:schemeClr val="tx1">
              <a:lumMod val="20000"/>
              <a:lumOff val="80000"/>
            </a:schemeClr>
          </a:solidFill>
        </p:spPr>
        <p:txBody>
          <a:bodyPr/>
          <a:lstStyle>
            <a:lvl1pPr marL="0" indent="0" algn="ctr">
              <a:buNone/>
              <a:defRPr>
                <a:solidFill>
                  <a:schemeClr val="accent1"/>
                </a:solidFill>
              </a:defRPr>
            </a:lvl1pPr>
          </a:lstStyle>
          <a:p>
            <a:r>
              <a:rPr lang="en-GB"/>
              <a:t>Image</a:t>
            </a:r>
          </a:p>
        </p:txBody>
      </p:sp>
      <p:sp>
        <p:nvSpPr>
          <p:cNvPr id="14" name="Tijdelijke aanduiding voor tekst 13">
            <a:extLst>
              <a:ext uri="{FF2B5EF4-FFF2-40B4-BE49-F238E27FC236}">
                <a16:creationId xmlns:a16="http://schemas.microsoft.com/office/drawing/2014/main" id="{CE04E62B-DFE8-49C6-BCEC-A19BF0599890}"/>
              </a:ext>
            </a:extLst>
          </p:cNvPr>
          <p:cNvSpPr>
            <a:spLocks noGrp="1"/>
          </p:cNvSpPr>
          <p:nvPr>
            <p:ph type="body" sz="quarter" idx="16" hasCustomPrompt="1"/>
          </p:nvPr>
        </p:nvSpPr>
        <p:spPr>
          <a:xfrm>
            <a:off x="575732" y="4640556"/>
            <a:ext cx="34416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lIns="72000" rIns="72000" anchor="ctr" anchorCtr="0">
            <a:noAutofit/>
          </a:bodyPr>
          <a:lstStyle>
            <a:lvl1pPr marL="0" indent="0" algn="ctr">
              <a:lnSpc>
                <a:spcPct val="100000"/>
              </a:lnSpc>
              <a:spcBef>
                <a:spcPts val="0"/>
              </a:spcBef>
              <a:buNone/>
              <a:defRPr>
                <a:solidFill>
                  <a:schemeClr val="bg1"/>
                </a:solidFill>
              </a:defRPr>
            </a:lvl1pPr>
          </a:lstStyle>
          <a:p>
            <a:pPr lvl="0"/>
            <a:r>
              <a:rPr lang="en-GB"/>
              <a:t>text</a:t>
            </a:r>
          </a:p>
        </p:txBody>
      </p:sp>
      <p:sp>
        <p:nvSpPr>
          <p:cNvPr id="15" name="Tijdelijke aanduiding voor tekst 14">
            <a:extLst>
              <a:ext uri="{FF2B5EF4-FFF2-40B4-BE49-F238E27FC236}">
                <a16:creationId xmlns:a16="http://schemas.microsoft.com/office/drawing/2014/main" id="{93339D03-BA0D-439C-9AE3-76BF835F80BC}"/>
              </a:ext>
            </a:extLst>
          </p:cNvPr>
          <p:cNvSpPr>
            <a:spLocks noGrp="1"/>
          </p:cNvSpPr>
          <p:nvPr>
            <p:ph type="body" sz="quarter" idx="17" hasCustomPrompt="1"/>
          </p:nvPr>
        </p:nvSpPr>
        <p:spPr>
          <a:xfrm>
            <a:off x="4375201" y="4640556"/>
            <a:ext cx="34416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lIns="72000" rIns="72000" anchor="ctr" anchorCtr="0">
            <a:noAutofit/>
          </a:bodyPr>
          <a:lstStyle>
            <a:lvl1pPr marL="0" indent="0" algn="ctr">
              <a:lnSpc>
                <a:spcPct val="100000"/>
              </a:lnSpc>
              <a:spcBef>
                <a:spcPts val="0"/>
              </a:spcBef>
              <a:buNone/>
              <a:defRPr>
                <a:solidFill>
                  <a:schemeClr val="bg1"/>
                </a:solidFill>
              </a:defRPr>
            </a:lvl1pPr>
          </a:lstStyle>
          <a:p>
            <a:pPr lvl="0"/>
            <a:r>
              <a:rPr lang="en-GB"/>
              <a:t>text</a:t>
            </a:r>
          </a:p>
        </p:txBody>
      </p:sp>
      <p:sp>
        <p:nvSpPr>
          <p:cNvPr id="16" name="Tijdelijke aanduiding voor tekst 15">
            <a:extLst>
              <a:ext uri="{FF2B5EF4-FFF2-40B4-BE49-F238E27FC236}">
                <a16:creationId xmlns:a16="http://schemas.microsoft.com/office/drawing/2014/main" id="{93DBC742-8E58-4623-A40E-7D2DB102CDAF}"/>
              </a:ext>
            </a:extLst>
          </p:cNvPr>
          <p:cNvSpPr>
            <a:spLocks noGrp="1"/>
          </p:cNvSpPr>
          <p:nvPr>
            <p:ph type="body" sz="quarter" idx="18" hasCustomPrompt="1"/>
          </p:nvPr>
        </p:nvSpPr>
        <p:spPr>
          <a:xfrm>
            <a:off x="8174669" y="4640556"/>
            <a:ext cx="34416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lIns="72000" rIns="72000" anchor="ctr" anchorCtr="0">
            <a:noAutofit/>
          </a:bodyPr>
          <a:lstStyle>
            <a:lvl1pPr marL="0" indent="0" algn="ctr">
              <a:lnSpc>
                <a:spcPct val="100000"/>
              </a:lnSpc>
              <a:spcBef>
                <a:spcPts val="0"/>
              </a:spcBef>
              <a:buNone/>
              <a:defRPr>
                <a:solidFill>
                  <a:schemeClr val="bg1"/>
                </a:solidFill>
              </a:defRPr>
            </a:lvl1pPr>
          </a:lstStyle>
          <a:p>
            <a:pPr lvl="0"/>
            <a:r>
              <a:rPr lang="en-GB"/>
              <a:t>text</a:t>
            </a:r>
          </a:p>
        </p:txBody>
      </p:sp>
    </p:spTree>
    <p:extLst>
      <p:ext uri="{BB962C8B-B14F-4D97-AF65-F5344CB8AC3E}">
        <p14:creationId xmlns:p14="http://schemas.microsoft.com/office/powerpoint/2010/main" val="1773567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4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4" name="Date Placeholder 3"/>
          <p:cNvSpPr>
            <a:spLocks noGrp="1"/>
          </p:cNvSpPr>
          <p:nvPr>
            <p:ph type="dt" sz="half" idx="10"/>
          </p:nvPr>
        </p:nvSpPr>
        <p:spPr/>
        <p:txBody>
          <a:bodyPr/>
          <a:lstStyle/>
          <a:p>
            <a:fld id="{BC507366-7B1C-4112-89E2-EA5D96B31587}" type="datetime1">
              <a:rPr lang="en-US" smtClean="0"/>
              <a:t>4/18/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7" name="Tijdelijke aanduiding voor afbeelding 7">
            <a:extLst>
              <a:ext uri="{FF2B5EF4-FFF2-40B4-BE49-F238E27FC236}">
                <a16:creationId xmlns:a16="http://schemas.microsoft.com/office/drawing/2014/main" id="{65B18880-82CC-4AC0-9FD4-73A347590E4A}"/>
              </a:ext>
            </a:extLst>
          </p:cNvPr>
          <p:cNvSpPr>
            <a:spLocks noGrp="1"/>
          </p:cNvSpPr>
          <p:nvPr>
            <p:ph type="pic" sz="quarter" idx="13" hasCustomPrompt="1"/>
          </p:nvPr>
        </p:nvSpPr>
        <p:spPr>
          <a:xfrm>
            <a:off x="575733" y="1881237"/>
            <a:ext cx="2568000" cy="2760000"/>
          </a:xfrm>
          <a:solidFill>
            <a:schemeClr val="tx1">
              <a:lumMod val="20000"/>
              <a:lumOff val="80000"/>
            </a:schemeClr>
          </a:solidFill>
        </p:spPr>
        <p:txBody>
          <a:bodyPr/>
          <a:lstStyle>
            <a:lvl1pPr marL="0" indent="0" algn="ctr">
              <a:buNone/>
              <a:defRPr>
                <a:solidFill>
                  <a:schemeClr val="accent1"/>
                </a:solidFill>
              </a:defRPr>
            </a:lvl1pPr>
          </a:lstStyle>
          <a:p>
            <a:r>
              <a:rPr lang="en-GB"/>
              <a:t>Image</a:t>
            </a:r>
          </a:p>
        </p:txBody>
      </p:sp>
      <p:sp>
        <p:nvSpPr>
          <p:cNvPr id="8" name="Tijdelijke aanduiding voor afbeelding 7">
            <a:extLst>
              <a:ext uri="{FF2B5EF4-FFF2-40B4-BE49-F238E27FC236}">
                <a16:creationId xmlns:a16="http://schemas.microsoft.com/office/drawing/2014/main" id="{F21877E9-C5B9-480D-8B19-E3F131AE2D94}"/>
              </a:ext>
            </a:extLst>
          </p:cNvPr>
          <p:cNvSpPr>
            <a:spLocks noGrp="1"/>
          </p:cNvSpPr>
          <p:nvPr>
            <p:ph type="pic" sz="quarter" idx="14" hasCustomPrompt="1"/>
          </p:nvPr>
        </p:nvSpPr>
        <p:spPr>
          <a:xfrm>
            <a:off x="3399911" y="1881237"/>
            <a:ext cx="2568000" cy="2760000"/>
          </a:xfrm>
          <a:solidFill>
            <a:schemeClr val="tx1">
              <a:lumMod val="20000"/>
              <a:lumOff val="80000"/>
            </a:schemeClr>
          </a:solidFill>
        </p:spPr>
        <p:txBody>
          <a:bodyPr/>
          <a:lstStyle>
            <a:lvl1pPr marL="0" indent="0" algn="ctr">
              <a:buNone/>
              <a:defRPr>
                <a:solidFill>
                  <a:schemeClr val="accent1"/>
                </a:solidFill>
              </a:defRPr>
            </a:lvl1pPr>
          </a:lstStyle>
          <a:p>
            <a:r>
              <a:rPr lang="en-GB"/>
              <a:t>Image</a:t>
            </a:r>
          </a:p>
        </p:txBody>
      </p:sp>
      <p:sp>
        <p:nvSpPr>
          <p:cNvPr id="9" name="Tijdelijke aanduiding voor afbeelding 7">
            <a:extLst>
              <a:ext uri="{FF2B5EF4-FFF2-40B4-BE49-F238E27FC236}">
                <a16:creationId xmlns:a16="http://schemas.microsoft.com/office/drawing/2014/main" id="{41A0AB49-F1DD-4324-B0FE-DC835BD3B2FB}"/>
              </a:ext>
            </a:extLst>
          </p:cNvPr>
          <p:cNvSpPr>
            <a:spLocks noGrp="1"/>
          </p:cNvSpPr>
          <p:nvPr>
            <p:ph type="pic" sz="quarter" idx="15" hasCustomPrompt="1"/>
          </p:nvPr>
        </p:nvSpPr>
        <p:spPr>
          <a:xfrm>
            <a:off x="6224088" y="1881237"/>
            <a:ext cx="2568000" cy="2760000"/>
          </a:xfrm>
          <a:solidFill>
            <a:schemeClr val="tx1">
              <a:lumMod val="20000"/>
              <a:lumOff val="80000"/>
            </a:schemeClr>
          </a:solidFill>
        </p:spPr>
        <p:txBody>
          <a:bodyPr/>
          <a:lstStyle>
            <a:lvl1pPr marL="0" indent="0" algn="ctr">
              <a:buNone/>
              <a:defRPr>
                <a:solidFill>
                  <a:schemeClr val="accent1"/>
                </a:solidFill>
              </a:defRPr>
            </a:lvl1pPr>
          </a:lstStyle>
          <a:p>
            <a:r>
              <a:rPr lang="en-GB"/>
              <a:t>Image</a:t>
            </a:r>
          </a:p>
        </p:txBody>
      </p:sp>
      <p:sp>
        <p:nvSpPr>
          <p:cNvPr id="14" name="Tijdelijke aanduiding voor tekst 13">
            <a:extLst>
              <a:ext uri="{FF2B5EF4-FFF2-40B4-BE49-F238E27FC236}">
                <a16:creationId xmlns:a16="http://schemas.microsoft.com/office/drawing/2014/main" id="{CE04E62B-DFE8-49C6-BCEC-A19BF0599890}"/>
              </a:ext>
            </a:extLst>
          </p:cNvPr>
          <p:cNvSpPr>
            <a:spLocks noGrp="1"/>
          </p:cNvSpPr>
          <p:nvPr>
            <p:ph type="body" sz="quarter" idx="16" hasCustomPrompt="1"/>
          </p:nvPr>
        </p:nvSpPr>
        <p:spPr>
          <a:xfrm>
            <a:off x="575732" y="4640556"/>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lIns="72000" rIns="72000" anchor="ctr" anchorCtr="0">
            <a:noAutofit/>
          </a:bodyPr>
          <a:lstStyle>
            <a:lvl1pPr marL="0" indent="0" algn="ctr">
              <a:lnSpc>
                <a:spcPct val="100000"/>
              </a:lnSpc>
              <a:spcBef>
                <a:spcPts val="0"/>
              </a:spcBef>
              <a:buNone/>
              <a:defRPr>
                <a:solidFill>
                  <a:schemeClr val="bg1"/>
                </a:solidFill>
              </a:defRPr>
            </a:lvl1pPr>
          </a:lstStyle>
          <a:p>
            <a:pPr lvl="0"/>
            <a:r>
              <a:rPr lang="en-GB"/>
              <a:t>text</a:t>
            </a:r>
          </a:p>
        </p:txBody>
      </p:sp>
      <p:sp>
        <p:nvSpPr>
          <p:cNvPr id="15" name="Tijdelijke aanduiding voor tekst 14">
            <a:extLst>
              <a:ext uri="{FF2B5EF4-FFF2-40B4-BE49-F238E27FC236}">
                <a16:creationId xmlns:a16="http://schemas.microsoft.com/office/drawing/2014/main" id="{93339D03-BA0D-439C-9AE3-76BF835F80BC}"/>
              </a:ext>
            </a:extLst>
          </p:cNvPr>
          <p:cNvSpPr>
            <a:spLocks noGrp="1"/>
          </p:cNvSpPr>
          <p:nvPr>
            <p:ph type="body" sz="quarter" idx="17" hasCustomPrompt="1"/>
          </p:nvPr>
        </p:nvSpPr>
        <p:spPr>
          <a:xfrm>
            <a:off x="3399909" y="4640556"/>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lIns="72000" rIns="72000" anchor="ctr" anchorCtr="0">
            <a:noAutofit/>
          </a:bodyPr>
          <a:lstStyle>
            <a:lvl1pPr marL="0" indent="0" algn="ctr">
              <a:lnSpc>
                <a:spcPct val="100000"/>
              </a:lnSpc>
              <a:spcBef>
                <a:spcPts val="0"/>
              </a:spcBef>
              <a:buNone/>
              <a:defRPr>
                <a:solidFill>
                  <a:schemeClr val="bg1"/>
                </a:solidFill>
              </a:defRPr>
            </a:lvl1pPr>
          </a:lstStyle>
          <a:p>
            <a:pPr lvl="0"/>
            <a:r>
              <a:rPr lang="en-GB"/>
              <a:t>text</a:t>
            </a:r>
          </a:p>
        </p:txBody>
      </p:sp>
      <p:sp>
        <p:nvSpPr>
          <p:cNvPr id="16" name="Tijdelijke aanduiding voor tekst 15">
            <a:extLst>
              <a:ext uri="{FF2B5EF4-FFF2-40B4-BE49-F238E27FC236}">
                <a16:creationId xmlns:a16="http://schemas.microsoft.com/office/drawing/2014/main" id="{93DBC742-8E58-4623-A40E-7D2DB102CDAF}"/>
              </a:ext>
            </a:extLst>
          </p:cNvPr>
          <p:cNvSpPr>
            <a:spLocks noGrp="1"/>
          </p:cNvSpPr>
          <p:nvPr>
            <p:ph type="body" sz="quarter" idx="18" hasCustomPrompt="1"/>
          </p:nvPr>
        </p:nvSpPr>
        <p:spPr>
          <a:xfrm>
            <a:off x="6224087" y="4640556"/>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lIns="72000" rIns="72000" anchor="ctr" anchorCtr="0">
            <a:noAutofit/>
          </a:bodyPr>
          <a:lstStyle>
            <a:lvl1pPr marL="0" indent="0" algn="ctr">
              <a:lnSpc>
                <a:spcPct val="100000"/>
              </a:lnSpc>
              <a:spcBef>
                <a:spcPts val="0"/>
              </a:spcBef>
              <a:buNone/>
              <a:defRPr>
                <a:solidFill>
                  <a:schemeClr val="bg1"/>
                </a:solidFill>
              </a:defRPr>
            </a:lvl1pPr>
          </a:lstStyle>
          <a:p>
            <a:pPr lvl="0"/>
            <a:r>
              <a:rPr lang="en-GB"/>
              <a:t>text</a:t>
            </a:r>
          </a:p>
        </p:txBody>
      </p:sp>
      <p:sp>
        <p:nvSpPr>
          <p:cNvPr id="13" name="Tijdelijke aanduiding voor afbeelding 7">
            <a:extLst>
              <a:ext uri="{FF2B5EF4-FFF2-40B4-BE49-F238E27FC236}">
                <a16:creationId xmlns:a16="http://schemas.microsoft.com/office/drawing/2014/main" id="{9014C87B-4A9B-46A5-92E7-D035D3B01B50}"/>
              </a:ext>
            </a:extLst>
          </p:cNvPr>
          <p:cNvSpPr>
            <a:spLocks noGrp="1"/>
          </p:cNvSpPr>
          <p:nvPr>
            <p:ph type="pic" sz="quarter" idx="20" hasCustomPrompt="1"/>
          </p:nvPr>
        </p:nvSpPr>
        <p:spPr>
          <a:xfrm>
            <a:off x="9048265" y="1881237"/>
            <a:ext cx="2568000" cy="2760000"/>
          </a:xfrm>
          <a:solidFill>
            <a:schemeClr val="tx1">
              <a:lumMod val="20000"/>
              <a:lumOff val="80000"/>
            </a:schemeClr>
          </a:solidFill>
        </p:spPr>
        <p:txBody>
          <a:bodyPr/>
          <a:lstStyle>
            <a:lvl1pPr marL="0" indent="0" algn="ctr">
              <a:buNone/>
              <a:defRPr>
                <a:solidFill>
                  <a:schemeClr val="accent1"/>
                </a:solidFill>
              </a:defRPr>
            </a:lvl1pPr>
          </a:lstStyle>
          <a:p>
            <a:r>
              <a:rPr lang="en-GB"/>
              <a:t>Image</a:t>
            </a:r>
          </a:p>
        </p:txBody>
      </p:sp>
      <p:sp>
        <p:nvSpPr>
          <p:cNvPr id="17" name="Tijdelijke aanduiding voor tekst 16">
            <a:extLst>
              <a:ext uri="{FF2B5EF4-FFF2-40B4-BE49-F238E27FC236}">
                <a16:creationId xmlns:a16="http://schemas.microsoft.com/office/drawing/2014/main" id="{8B53FD86-423F-4F36-AC16-3D6CA052A00B}"/>
              </a:ext>
            </a:extLst>
          </p:cNvPr>
          <p:cNvSpPr>
            <a:spLocks noGrp="1"/>
          </p:cNvSpPr>
          <p:nvPr>
            <p:ph type="body" sz="quarter" idx="21" hasCustomPrompt="1"/>
          </p:nvPr>
        </p:nvSpPr>
        <p:spPr>
          <a:xfrm>
            <a:off x="9048265" y="4640556"/>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lIns="72000" rIns="72000" anchor="ctr" anchorCtr="0">
            <a:noAutofit/>
          </a:bodyPr>
          <a:lstStyle>
            <a:lvl1pPr marL="0" indent="0" algn="ctr">
              <a:lnSpc>
                <a:spcPct val="100000"/>
              </a:lnSpc>
              <a:spcBef>
                <a:spcPts val="0"/>
              </a:spcBef>
              <a:buNone/>
              <a:defRPr>
                <a:solidFill>
                  <a:schemeClr val="bg1"/>
                </a:solidFill>
              </a:defRPr>
            </a:lvl1pPr>
          </a:lstStyle>
          <a:p>
            <a:pPr lvl="0"/>
            <a:r>
              <a:rPr lang="en-GB"/>
              <a:t>text</a:t>
            </a:r>
          </a:p>
        </p:txBody>
      </p:sp>
    </p:spTree>
    <p:extLst>
      <p:ext uri="{BB962C8B-B14F-4D97-AF65-F5344CB8AC3E}">
        <p14:creationId xmlns:p14="http://schemas.microsoft.com/office/powerpoint/2010/main" val="1948876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userDrawn="1">
  <p:cSld name="Closing">
    <p:spTree>
      <p:nvGrpSpPr>
        <p:cNvPr id="1" name=""/>
        <p:cNvGrpSpPr/>
        <p:nvPr/>
      </p:nvGrpSpPr>
      <p:grpSpPr>
        <a:xfrm>
          <a:off x="0" y="0"/>
          <a:ext cx="0" cy="0"/>
          <a:chOff x="0" y="0"/>
          <a:chExt cx="0" cy="0"/>
        </a:xfrm>
      </p:grpSpPr>
      <p:pic>
        <p:nvPicPr>
          <p:cNvPr id="3" name="Afbeelding 2">
            <a:extLst>
              <a:ext uri="{FF2B5EF4-FFF2-40B4-BE49-F238E27FC236}">
                <a16:creationId xmlns:a16="http://schemas.microsoft.com/office/drawing/2014/main" id="{C2460FEF-F05E-4153-B4F0-7D9A4070578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2573937" y="1483934"/>
            <a:ext cx="6432000" cy="3392868"/>
          </a:xfrm>
          <a:prstGeom prst="rect">
            <a:avLst/>
          </a:prstGeom>
        </p:spPr>
      </p:pic>
    </p:spTree>
    <p:extLst>
      <p:ext uri="{BB962C8B-B14F-4D97-AF65-F5344CB8AC3E}">
        <p14:creationId xmlns:p14="http://schemas.microsoft.com/office/powerpoint/2010/main" val="878062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3746611"/>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Single Char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367019-0084-46BB-9580-0C8C170F8726}"/>
              </a:ext>
            </a:extLst>
          </p:cNvPr>
          <p:cNvGraphicFramePr>
            <a:graphicFrameLocks noChangeAspect="1"/>
          </p:cNvGraphicFramePr>
          <p:nvPr userDrawn="1">
            <p:custDataLst>
              <p:tags r:id="rId1"/>
            </p:custDataLst>
            <p:extLst>
              <p:ext uri="{D42A27DB-BD31-4B8C-83A1-F6EECF244321}">
                <p14:modId xmlns:p14="http://schemas.microsoft.com/office/powerpoint/2010/main" val="419276789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6" imgW="0" imgH="0" progId="TCLayout.ActiveDocument.1">
                  <p:embed/>
                </p:oleObj>
              </mc:Choice>
              <mc:Fallback>
                <p:oleObj name="think-cell Slide" r:id="rId6" imgW="0" imgH="0" progId="TCLayout.ActiveDocument.1">
                  <p:embed/>
                  <p:pic>
                    <p:nvPicPr>
                      <p:cNvPr id="4" name="Object 3" hidden="1">
                        <a:extLst>
                          <a:ext uri="{FF2B5EF4-FFF2-40B4-BE49-F238E27FC236}">
                            <a16:creationId xmlns:a16="http://schemas.microsoft.com/office/drawing/2014/main" id="{C3367019-0084-46BB-9580-0C8C170F8726}"/>
                          </a:ext>
                        </a:extLst>
                      </p:cNvPr>
                      <p:cNvPicPr/>
                      <p:nvPr/>
                    </p:nvPicPr>
                    <p:blipFill>
                      <a:blip r:embed="rId7"/>
                      <a:stretch>
                        <a:fillRect/>
                      </a:stretch>
                    </p:blipFill>
                    <p:spPr>
                      <a:xfrm>
                        <a:off x="1589" y="1589"/>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72D9A69-BFB5-4AB9-BC03-2F7C2727FF25}"/>
              </a:ext>
            </a:extLst>
          </p:cNvPr>
          <p:cNvSpPr/>
          <p:nvPr userDrawn="1">
            <p:custDataLst>
              <p:tags r:id="rId2"/>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711" b="1" i="0" baseline="0">
              <a:latin typeface="Arial" panose="020B0604020202020204" pitchFamily="34" charset="0"/>
              <a:ea typeface="+mj-ea"/>
              <a:cs typeface="+mj-cs"/>
              <a:sym typeface="Avenir Next LT Pro "/>
            </a:endParaRPr>
          </a:p>
        </p:txBody>
      </p:sp>
      <p:sp>
        <p:nvSpPr>
          <p:cNvPr id="2" name="Title 1">
            <a:extLst>
              <a:ext uri="{FF2B5EF4-FFF2-40B4-BE49-F238E27FC236}">
                <a16:creationId xmlns:a16="http://schemas.microsoft.com/office/drawing/2014/main" id="{E15C41E5-F0AF-4D5F-BD1A-A8DD3CFDB878}"/>
              </a:ext>
            </a:extLst>
          </p:cNvPr>
          <p:cNvSpPr>
            <a:spLocks noGrp="1"/>
          </p:cNvSpPr>
          <p:nvPr>
            <p:ph type="title" hasCustomPrompt="1"/>
            <p:custDataLst>
              <p:tags r:id="rId3"/>
            </p:custDataLst>
          </p:nvPr>
        </p:nvSpPr>
        <p:spPr>
          <a:xfrm>
            <a:off x="723035" y="0"/>
            <a:ext cx="10744200" cy="896112"/>
          </a:xfrm>
        </p:spPr>
        <p:txBody>
          <a:bodyPr wrap="square" lIns="0" tIns="0" rIns="0" bIns="0" anchor="b" anchorCtr="0">
            <a:noAutofit/>
          </a:bodyPr>
          <a:lstStyle>
            <a:lvl1pPr algn="l">
              <a:lnSpc>
                <a:spcPct val="100000"/>
              </a:lnSpc>
              <a:defRPr sz="2600" b="1">
                <a:solidFill>
                  <a:schemeClr val="tx2"/>
                </a:solidFill>
              </a:defRPr>
            </a:lvl1pPr>
          </a:lstStyle>
          <a:p>
            <a:r>
              <a:rPr lang="en-US"/>
              <a:t>Slide Title</a:t>
            </a:r>
          </a:p>
        </p:txBody>
      </p:sp>
      <p:sp>
        <p:nvSpPr>
          <p:cNvPr id="5" name="Slide Number Placeholder">
            <a:extLst>
              <a:ext uri="{FF2B5EF4-FFF2-40B4-BE49-F238E27FC236}">
                <a16:creationId xmlns:a16="http://schemas.microsoft.com/office/drawing/2014/main" id="{E22AC445-6AFF-F960-99E0-294D427CBD58}"/>
              </a:ext>
            </a:extLst>
          </p:cNvPr>
          <p:cNvSpPr>
            <a:spLocks noGrp="1"/>
          </p:cNvSpPr>
          <p:nvPr>
            <p:ph type="sldNum" sz="quarter" idx="12"/>
            <p:custDataLst>
              <p:tags r:id="rId4"/>
            </p:custDataLst>
          </p:nvPr>
        </p:nvSpPr>
        <p:spPr>
          <a:xfrm>
            <a:off x="11425887" y="6215390"/>
            <a:ext cx="243656" cy="169277"/>
          </a:xfrm>
          <a:prstGeom prst="rect">
            <a:avLst/>
          </a:prstGeom>
        </p:spPr>
        <p:txBody>
          <a:bodyPr lIns="0" tIns="0" rIns="0" bIns="0" anchor="ctr"/>
          <a:lstStyle>
            <a:lvl1pPr algn="r">
              <a:defRPr sz="1100">
                <a:solidFill>
                  <a:schemeClr val="bg2"/>
                </a:solidFill>
              </a:defRPr>
            </a:lvl1pPr>
          </a:lstStyle>
          <a:p>
            <a:fld id="{D0281C21-EE02-42A0-BCF6-67BEF936A35A}" type="slidenum">
              <a:rPr lang="en-IN" smtClean="0"/>
              <a:t>‹#›</a:t>
            </a:fld>
            <a:endParaRPr lang="en-IN"/>
          </a:p>
        </p:txBody>
      </p:sp>
    </p:spTree>
    <p:extLst>
      <p:ext uri="{BB962C8B-B14F-4D97-AF65-F5344CB8AC3E}">
        <p14:creationId xmlns:p14="http://schemas.microsoft.com/office/powerpoint/2010/main" val="179641106"/>
      </p:ext>
    </p:extLst>
  </p:cSld>
  <p:clrMapOvr>
    <a:masterClrMapping/>
  </p:clrMapOvr>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542257-616B-AEAC-6C81-6454EB905E8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76595CF9-E7D1-3D8B-E569-11F168319A3A}"/>
              </a:ext>
            </a:extLst>
          </p:cNvPr>
          <p:cNvSpPr>
            <a:spLocks noGrp="1"/>
          </p:cNvSpPr>
          <p:nvPr>
            <p:ph type="dt" sz="half" idx="10"/>
          </p:nvPr>
        </p:nvSpPr>
        <p:spPr>
          <a:xfrm>
            <a:off x="10183137" y="6491401"/>
            <a:ext cx="512961" cy="102657"/>
          </a:xfrm>
        </p:spPr>
        <p:txBody>
          <a:bodyPr/>
          <a:lstStyle/>
          <a:p>
            <a:fld id="{B35C4BB1-CFC5-4361-A14F-59B1242D4020}" type="datetime1">
              <a:rPr lang="en-GB" smtClean="0"/>
              <a:t>18/04/2025</a:t>
            </a:fld>
            <a:endParaRPr lang="en-GB"/>
          </a:p>
        </p:txBody>
      </p:sp>
      <p:sp>
        <p:nvSpPr>
          <p:cNvPr id="4" name="Footer Placeholder 3">
            <a:extLst>
              <a:ext uri="{FF2B5EF4-FFF2-40B4-BE49-F238E27FC236}">
                <a16:creationId xmlns:a16="http://schemas.microsoft.com/office/drawing/2014/main" id="{5EB161A5-4766-0F90-DDE3-20E728165797}"/>
              </a:ext>
            </a:extLst>
          </p:cNvPr>
          <p:cNvSpPr>
            <a:spLocks noGrp="1"/>
          </p:cNvSpPr>
          <p:nvPr>
            <p:ph type="ftr" sz="quarter" idx="11"/>
          </p:nvPr>
        </p:nvSpPr>
        <p:spPr/>
        <p:txBody>
          <a:bodyPr/>
          <a:lstStyle/>
          <a:p>
            <a:r>
              <a:rPr lang="en-GB"/>
              <a:t>Draft | Internal use only | Confidential</a:t>
            </a:r>
          </a:p>
        </p:txBody>
      </p:sp>
      <p:sp>
        <p:nvSpPr>
          <p:cNvPr id="5" name="Slide Number Placeholder 4">
            <a:extLst>
              <a:ext uri="{FF2B5EF4-FFF2-40B4-BE49-F238E27FC236}">
                <a16:creationId xmlns:a16="http://schemas.microsoft.com/office/drawing/2014/main" id="{FA37ECBE-4F9C-B186-1D4E-1A29D86D2EE8}"/>
              </a:ext>
            </a:extLst>
          </p:cNvPr>
          <p:cNvSpPr>
            <a:spLocks noGrp="1"/>
          </p:cNvSpPr>
          <p:nvPr>
            <p:ph type="sldNum" sz="quarter" idx="12"/>
          </p:nvPr>
        </p:nvSpPr>
        <p:spPr/>
        <p:txBody>
          <a:bodyPr/>
          <a:lstStyle/>
          <a:p>
            <a:fld id="{9BE0E23E-9022-4929-B297-EB2777CDBB1F}" type="slidenum">
              <a:rPr lang="en-GB" smtClean="0"/>
              <a:pPr/>
              <a:t>‹#›</a:t>
            </a:fld>
            <a:endParaRPr lang="en-GB"/>
          </a:p>
        </p:txBody>
      </p:sp>
    </p:spTree>
    <p:extLst>
      <p:ext uri="{BB962C8B-B14F-4D97-AF65-F5344CB8AC3E}">
        <p14:creationId xmlns:p14="http://schemas.microsoft.com/office/powerpoint/2010/main" val="2632300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Title slide - Picture">
    <p:spTree>
      <p:nvGrpSpPr>
        <p:cNvPr id="1" name=""/>
        <p:cNvGrpSpPr/>
        <p:nvPr/>
      </p:nvGrpSpPr>
      <p:grpSpPr>
        <a:xfrm>
          <a:off x="0" y="0"/>
          <a:ext cx="0" cy="0"/>
          <a:chOff x="0" y="0"/>
          <a:chExt cx="0" cy="0"/>
        </a:xfrm>
      </p:grpSpPr>
      <p:sp>
        <p:nvSpPr>
          <p:cNvPr id="10" name="Tijdelijke aanduiding voor afbeelding 7">
            <a:extLst>
              <a:ext uri="{FF2B5EF4-FFF2-40B4-BE49-F238E27FC236}">
                <a16:creationId xmlns:a16="http://schemas.microsoft.com/office/drawing/2014/main" id="{4DAEAD04-C1FD-4924-B727-1FF08B2835E8}"/>
              </a:ext>
            </a:extLst>
          </p:cNvPr>
          <p:cNvSpPr>
            <a:spLocks noGrp="1"/>
          </p:cNvSpPr>
          <p:nvPr>
            <p:ph type="pic" sz="quarter" idx="13" hasCustomPrompt="1"/>
          </p:nvPr>
        </p:nvSpPr>
        <p:spPr>
          <a:xfrm>
            <a:off x="0" y="0"/>
            <a:ext cx="12192000" cy="6858000"/>
          </a:xfrm>
          <a:solidFill>
            <a:schemeClr val="tx1">
              <a:lumMod val="20000"/>
              <a:lumOff val="80000"/>
            </a:schemeClr>
          </a:solidFill>
        </p:spPr>
        <p:txBody>
          <a:bodyPr/>
          <a:lstStyle>
            <a:lvl1pPr marL="0" indent="0" algn="ctr">
              <a:buNone/>
              <a:defRPr>
                <a:solidFill>
                  <a:schemeClr val="accent1"/>
                </a:solidFill>
              </a:defRPr>
            </a:lvl1pPr>
          </a:lstStyle>
          <a:p>
            <a:r>
              <a:rPr lang="en-GB"/>
              <a:t>Image</a:t>
            </a:r>
          </a:p>
        </p:txBody>
      </p:sp>
      <p:sp>
        <p:nvSpPr>
          <p:cNvPr id="15" name="Tijdelijke aanduiding voor tekst 17">
            <a:extLst>
              <a:ext uri="{FF2B5EF4-FFF2-40B4-BE49-F238E27FC236}">
                <a16:creationId xmlns:a16="http://schemas.microsoft.com/office/drawing/2014/main" id="{30D87D28-D257-424B-AB30-F929E1A73AE4}"/>
              </a:ext>
            </a:extLst>
          </p:cNvPr>
          <p:cNvSpPr>
            <a:spLocks noGrp="1"/>
          </p:cNvSpPr>
          <p:nvPr>
            <p:ph type="body" sz="quarter" idx="18" hasCustomPrompt="1"/>
          </p:nvPr>
        </p:nvSpPr>
        <p:spPr>
          <a:xfrm>
            <a:off x="336553" y="0"/>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3" y="6536947"/>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1"/>
            <a:ext cx="3168651" cy="429684"/>
          </a:xfrm>
        </p:spPr>
        <p:txBody>
          <a:bodyPr wrap="none" lIns="0">
            <a:noAutofit/>
          </a:bodyPr>
          <a:lstStyle>
            <a:lvl1pPr marL="0" indent="0" algn="l">
              <a:buNone/>
              <a:defRPr sz="1333"/>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Subtitle</a:t>
            </a:r>
          </a:p>
        </p:txBody>
      </p:sp>
      <p:sp>
        <p:nvSpPr>
          <p:cNvPr id="22" name="Tijdelijke aanduiding voor tekst 21">
            <a:extLst>
              <a:ext uri="{FF2B5EF4-FFF2-40B4-BE49-F238E27FC236}">
                <a16:creationId xmlns:a16="http://schemas.microsoft.com/office/drawing/2014/main" id="{FB8EC1E8-CA61-4781-B9FD-8B2A398367C1}"/>
              </a:ext>
            </a:extLst>
          </p:cNvPr>
          <p:cNvSpPr>
            <a:spLocks noGrp="1"/>
          </p:cNvSpPr>
          <p:nvPr>
            <p:ph type="body" sz="quarter" idx="19" hasCustomPrompt="1"/>
          </p:nvPr>
        </p:nvSpPr>
        <p:spPr>
          <a:xfrm>
            <a:off x="662400" y="374400"/>
            <a:ext cx="1737600" cy="10464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33">
                <a:solidFill>
                  <a:schemeClr val="bg1">
                    <a:alpha val="80000"/>
                  </a:schemeClr>
                </a:solidFill>
              </a:defRPr>
            </a:lvl1pPr>
            <a:lvl2pPr marL="251878" indent="0">
              <a:buNone/>
              <a:defRPr/>
            </a:lvl2pPr>
            <a:lvl3pPr marL="486821" indent="0">
              <a:buNone/>
              <a:defRPr/>
            </a:lvl3pPr>
            <a:lvl4pPr marL="732348" indent="0">
              <a:buNone/>
              <a:defRPr/>
            </a:lvl4pPr>
            <a:lvl5pPr marL="967293" indent="0">
              <a:buNone/>
              <a:defRPr/>
            </a:lvl5pPr>
          </a:lstStyle>
          <a:p>
            <a:pPr lvl="0"/>
            <a:r>
              <a:rPr lang="en-GB"/>
              <a:t>.</a:t>
            </a:r>
          </a:p>
        </p:txBody>
      </p:sp>
      <p:grpSp>
        <p:nvGrpSpPr>
          <p:cNvPr id="11" name="Groep 10">
            <a:extLst>
              <a:ext uri="{FF2B5EF4-FFF2-40B4-BE49-F238E27FC236}">
                <a16:creationId xmlns:a16="http://schemas.microsoft.com/office/drawing/2014/main" id="{00535BFA-E28A-45B6-9D3C-16EA9D769715}"/>
              </a:ext>
            </a:extLst>
          </p:cNvPr>
          <p:cNvGrpSpPr/>
          <p:nvPr userDrawn="1"/>
        </p:nvGrpSpPr>
        <p:grpSpPr>
          <a:xfrm>
            <a:off x="12262861" y="576000"/>
            <a:ext cx="1130143" cy="757167"/>
            <a:chOff x="9197145" y="1199569"/>
            <a:chExt cx="847607" cy="567875"/>
          </a:xfrm>
        </p:grpSpPr>
        <p:sp>
          <p:nvSpPr>
            <p:cNvPr id="12" name="Freeform 20">
              <a:extLst>
                <a:ext uri="{FF2B5EF4-FFF2-40B4-BE49-F238E27FC236}">
                  <a16:creationId xmlns:a16="http://schemas.microsoft.com/office/drawing/2014/main" id="{873BFFE2-A199-4561-84F5-D9D0C64EAFC0}"/>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4" name="Tekstvak 13">
              <a:extLst>
                <a:ext uri="{FF2B5EF4-FFF2-40B4-BE49-F238E27FC236}">
                  <a16:creationId xmlns:a16="http://schemas.microsoft.com/office/drawing/2014/main" id="{B4D24D63-913D-4B46-A3FA-1CF82CD08E8D}"/>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3869448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Title slide - Brand - 1">
    <p:spTree>
      <p:nvGrpSpPr>
        <p:cNvPr id="1" name=""/>
        <p:cNvGrpSpPr/>
        <p:nvPr/>
      </p:nvGrpSpPr>
      <p:grpSpPr>
        <a:xfrm>
          <a:off x="0" y="0"/>
          <a:ext cx="0" cy="0"/>
          <a:chOff x="0" y="0"/>
          <a:chExt cx="0" cy="0"/>
        </a:xfrm>
      </p:grpSpPr>
      <p:pic>
        <p:nvPicPr>
          <p:cNvPr id="10" name="Tijdelijke aanduiding voor afbeelding 6" descr="Afbeelding met muur, vloer, kamer&#10;&#10;Automatisch gegenereerde beschrijving">
            <a:extLst>
              <a:ext uri="{FF2B5EF4-FFF2-40B4-BE49-F238E27FC236}">
                <a16:creationId xmlns:a16="http://schemas.microsoft.com/office/drawing/2014/main" id="{6A3F958D-5DB0-4E7E-B918-F1C3F15729F8}"/>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1" name="Tijdelijke aanduiding voor tekst 17">
            <a:extLst>
              <a:ext uri="{FF2B5EF4-FFF2-40B4-BE49-F238E27FC236}">
                <a16:creationId xmlns:a16="http://schemas.microsoft.com/office/drawing/2014/main" id="{7F567F10-7A93-46F7-90D8-D9902B50EADD}"/>
              </a:ext>
            </a:extLst>
          </p:cNvPr>
          <p:cNvSpPr>
            <a:spLocks noGrp="1"/>
          </p:cNvSpPr>
          <p:nvPr>
            <p:ph type="body" sz="quarter" idx="18" hasCustomPrompt="1"/>
          </p:nvPr>
        </p:nvSpPr>
        <p:spPr>
          <a:xfrm>
            <a:off x="336553" y="0"/>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3" y="6536947"/>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1"/>
            <a:ext cx="3168651" cy="429684"/>
          </a:xfrm>
        </p:spPr>
        <p:txBody>
          <a:bodyPr wrap="none" lIns="0">
            <a:noAutofit/>
          </a:bodyPr>
          <a:lstStyle>
            <a:lvl1pPr marL="0" indent="0" algn="l">
              <a:buNone/>
              <a:defRPr sz="1333"/>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Subtitle</a:t>
            </a:r>
          </a:p>
        </p:txBody>
      </p:sp>
      <p:sp>
        <p:nvSpPr>
          <p:cNvPr id="22" name="Tijdelijke aanduiding voor tekst 21">
            <a:extLst>
              <a:ext uri="{FF2B5EF4-FFF2-40B4-BE49-F238E27FC236}">
                <a16:creationId xmlns:a16="http://schemas.microsoft.com/office/drawing/2014/main" id="{FB8EC1E8-CA61-4781-B9FD-8B2A398367C1}"/>
              </a:ext>
            </a:extLst>
          </p:cNvPr>
          <p:cNvSpPr>
            <a:spLocks noGrp="1"/>
          </p:cNvSpPr>
          <p:nvPr>
            <p:ph type="body" sz="quarter" idx="19" hasCustomPrompt="1"/>
          </p:nvPr>
        </p:nvSpPr>
        <p:spPr>
          <a:xfrm>
            <a:off x="662400" y="374400"/>
            <a:ext cx="1737600" cy="1046400"/>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33">
                <a:solidFill>
                  <a:schemeClr val="bg1">
                    <a:alpha val="80000"/>
                  </a:schemeClr>
                </a:solidFill>
              </a:defRPr>
            </a:lvl1pPr>
            <a:lvl2pPr marL="251878" indent="0">
              <a:buNone/>
              <a:defRPr/>
            </a:lvl2pPr>
            <a:lvl3pPr marL="486821" indent="0">
              <a:buNone/>
              <a:defRPr/>
            </a:lvl3pPr>
            <a:lvl4pPr marL="732348" indent="0">
              <a:buNone/>
              <a:defRPr/>
            </a:lvl4pPr>
            <a:lvl5pPr marL="967293" indent="0">
              <a:buNone/>
              <a:defRPr/>
            </a:lvl5pPr>
          </a:lstStyle>
          <a:p>
            <a:pPr lvl="0"/>
            <a:r>
              <a:rPr lang="en-GB"/>
              <a:t>.</a:t>
            </a:r>
          </a:p>
        </p:txBody>
      </p:sp>
      <p:grpSp>
        <p:nvGrpSpPr>
          <p:cNvPr id="12" name="Groep 11">
            <a:extLst>
              <a:ext uri="{FF2B5EF4-FFF2-40B4-BE49-F238E27FC236}">
                <a16:creationId xmlns:a16="http://schemas.microsoft.com/office/drawing/2014/main" id="{2E99C67E-E082-4382-83CF-8A9DC5D68CE8}"/>
              </a:ext>
            </a:extLst>
          </p:cNvPr>
          <p:cNvGrpSpPr/>
          <p:nvPr userDrawn="1"/>
        </p:nvGrpSpPr>
        <p:grpSpPr>
          <a:xfrm>
            <a:off x="12262861" y="576000"/>
            <a:ext cx="1130143" cy="757167"/>
            <a:chOff x="9197145" y="1199569"/>
            <a:chExt cx="847607" cy="567875"/>
          </a:xfrm>
        </p:grpSpPr>
        <p:sp>
          <p:nvSpPr>
            <p:cNvPr id="14" name="Freeform 20">
              <a:extLst>
                <a:ext uri="{FF2B5EF4-FFF2-40B4-BE49-F238E27FC236}">
                  <a16:creationId xmlns:a16="http://schemas.microsoft.com/office/drawing/2014/main" id="{E78238A7-D9EF-4A46-8AB6-C32646D7F048}"/>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5" name="Tekstvak 14">
              <a:extLst>
                <a:ext uri="{FF2B5EF4-FFF2-40B4-BE49-F238E27FC236}">
                  <a16:creationId xmlns:a16="http://schemas.microsoft.com/office/drawing/2014/main" id="{968821E9-D123-4775-A120-259ED7D1EC50}"/>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2787682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text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0291" y="548218"/>
            <a:ext cx="11035975" cy="1036965"/>
          </a:xfrm>
        </p:spPr>
        <p:txBody>
          <a:bodyPr/>
          <a:lstStyle/>
          <a:p>
            <a:r>
              <a:rPr lang="en-GB"/>
              <a:t>Click to add title</a:t>
            </a:r>
          </a:p>
        </p:txBody>
      </p:sp>
      <p:sp>
        <p:nvSpPr>
          <p:cNvPr id="3" name="Content Placeholder 2"/>
          <p:cNvSpPr>
            <a:spLocks noGrp="1"/>
          </p:cNvSpPr>
          <p:nvPr>
            <p:ph sz="half" idx="1" hasCustomPrompt="1"/>
          </p:nvPr>
        </p:nvSpPr>
        <p:spPr>
          <a:xfrm>
            <a:off x="580800" y="1703997"/>
            <a:ext cx="5400000" cy="4368000"/>
          </a:xfrm>
        </p:spPr>
        <p:txBody>
          <a:bodyPr/>
          <a:lstStyle/>
          <a:p>
            <a:pPr lvl="0"/>
            <a:r>
              <a:rPr lang="en-GB"/>
              <a:t>Click to add text or object</a:t>
            </a:r>
          </a:p>
          <a:p>
            <a:pPr lvl="1"/>
            <a:r>
              <a:rPr lang="en-GB"/>
              <a:t>Text level 2</a:t>
            </a:r>
          </a:p>
          <a:p>
            <a:pPr lvl="2"/>
            <a:r>
              <a:rPr lang="en-GB"/>
              <a:t>Text level 3</a:t>
            </a:r>
          </a:p>
          <a:p>
            <a:pPr lvl="3"/>
            <a:r>
              <a:rPr lang="en-GB"/>
              <a:t>Text level 4</a:t>
            </a:r>
          </a:p>
          <a:p>
            <a:pPr lvl="4"/>
            <a:r>
              <a:rPr lang="en-GB"/>
              <a:t>Text level 5</a:t>
            </a:r>
          </a:p>
          <a:p>
            <a:pPr lvl="4"/>
            <a:endParaRPr lang="en-GB"/>
          </a:p>
        </p:txBody>
      </p:sp>
      <p:sp>
        <p:nvSpPr>
          <p:cNvPr id="5" name="Date Placeholder 4"/>
          <p:cNvSpPr>
            <a:spLocks noGrp="1"/>
          </p:cNvSpPr>
          <p:nvPr>
            <p:ph type="dt" sz="half" idx="10"/>
          </p:nvPr>
        </p:nvSpPr>
        <p:spPr/>
        <p:txBody>
          <a:bodyPr/>
          <a:lstStyle/>
          <a:p>
            <a:fld id="{44E3286E-35D7-426C-96BC-AD57269E167B}" type="datetime1">
              <a:rPr lang="en-GB" smtClean="0"/>
              <a:t>18/04/2025</a:t>
            </a:fld>
            <a:endParaRPr lang="en-GB"/>
          </a:p>
        </p:txBody>
      </p:sp>
      <p:sp>
        <p:nvSpPr>
          <p:cNvPr id="6" name="Footer Placeholder 5"/>
          <p:cNvSpPr>
            <a:spLocks noGrp="1"/>
          </p:cNvSpPr>
          <p:nvPr>
            <p:ph type="ftr" sz="quarter" idx="11"/>
          </p:nvPr>
        </p:nvSpPr>
        <p:spPr/>
        <p:txBody>
          <a:bodyPr/>
          <a:lstStyle/>
          <a:p>
            <a:r>
              <a:rPr lang="en-GB"/>
              <a:t>Draft | Internal use only | Confidential</a:t>
            </a:r>
          </a:p>
        </p:txBody>
      </p:sp>
      <p:sp>
        <p:nvSpPr>
          <p:cNvPr id="7" name="Slide Number Placeholder 6"/>
          <p:cNvSpPr>
            <a:spLocks noGrp="1"/>
          </p:cNvSpPr>
          <p:nvPr>
            <p:ph type="sldNum" sz="quarter" idx="12"/>
          </p:nvPr>
        </p:nvSpPr>
        <p:spPr/>
        <p:txBody>
          <a:bodyPr/>
          <a:lstStyle/>
          <a:p>
            <a:fld id="{9BE0E23E-9022-4929-B297-EB2777CDBB1F}" type="slidenum">
              <a:rPr lang="en-GB" smtClean="0"/>
              <a:t>‹#›</a:t>
            </a:fld>
            <a:endParaRPr lang="en-GB"/>
          </a:p>
        </p:txBody>
      </p:sp>
      <p:sp>
        <p:nvSpPr>
          <p:cNvPr id="10" name="Tijdelijke aanduiding voor tabel 8">
            <a:extLst>
              <a:ext uri="{FF2B5EF4-FFF2-40B4-BE49-F238E27FC236}">
                <a16:creationId xmlns:a16="http://schemas.microsoft.com/office/drawing/2014/main" id="{D2E9F6DD-7E2C-4192-BBC9-125146AEF9DA}"/>
              </a:ext>
            </a:extLst>
          </p:cNvPr>
          <p:cNvSpPr>
            <a:spLocks noGrp="1"/>
          </p:cNvSpPr>
          <p:nvPr>
            <p:ph type="tbl" sz="quarter" idx="13"/>
          </p:nvPr>
        </p:nvSpPr>
        <p:spPr>
          <a:xfrm>
            <a:off x="6216651" y="1701800"/>
            <a:ext cx="5394549" cy="4368800"/>
          </a:xfrm>
        </p:spPr>
        <p:txBody>
          <a:bodyPr/>
          <a:lstStyle/>
          <a:p>
            <a:r>
              <a:rPr lang="en-US"/>
              <a:t>Click icon to add table</a:t>
            </a:r>
            <a:endParaRPr lang="en-GB"/>
          </a:p>
        </p:txBody>
      </p:sp>
    </p:spTree>
    <p:extLst>
      <p:ext uri="{BB962C8B-B14F-4D97-AF65-F5344CB8AC3E}">
        <p14:creationId xmlns:p14="http://schemas.microsoft.com/office/powerpoint/2010/main" val="4144321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Title slide - Brand - 2">
    <p:spTree>
      <p:nvGrpSpPr>
        <p:cNvPr id="1" name=""/>
        <p:cNvGrpSpPr/>
        <p:nvPr/>
      </p:nvGrpSpPr>
      <p:grpSpPr>
        <a:xfrm>
          <a:off x="0" y="0"/>
          <a:ext cx="0" cy="0"/>
          <a:chOff x="0" y="0"/>
          <a:chExt cx="0" cy="0"/>
        </a:xfrm>
      </p:grpSpPr>
      <p:pic>
        <p:nvPicPr>
          <p:cNvPr id="11" name="Tijdelijke aanduiding voor afbeelding 6" descr="Afbeelding met man, muur, buiten, lucht&#10;&#10;Automatisch gegenereerde beschrijving">
            <a:extLst>
              <a:ext uri="{FF2B5EF4-FFF2-40B4-BE49-F238E27FC236}">
                <a16:creationId xmlns:a16="http://schemas.microsoft.com/office/drawing/2014/main" id="{EC68116D-9A6B-4DCE-8FF8-C73772025D55}"/>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10" name="Tijdelijke aanduiding voor tekst 17">
            <a:extLst>
              <a:ext uri="{FF2B5EF4-FFF2-40B4-BE49-F238E27FC236}">
                <a16:creationId xmlns:a16="http://schemas.microsoft.com/office/drawing/2014/main" id="{7E7E7EE5-C2DE-4A64-8808-F02FC5AA5DD5}"/>
              </a:ext>
            </a:extLst>
          </p:cNvPr>
          <p:cNvSpPr>
            <a:spLocks noGrp="1"/>
          </p:cNvSpPr>
          <p:nvPr>
            <p:ph type="body" sz="quarter" idx="18" hasCustomPrompt="1"/>
          </p:nvPr>
        </p:nvSpPr>
        <p:spPr>
          <a:xfrm>
            <a:off x="336553" y="0"/>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3" y="6536947"/>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1"/>
            <a:ext cx="3168651" cy="429684"/>
          </a:xfrm>
        </p:spPr>
        <p:txBody>
          <a:bodyPr wrap="none" lIns="0">
            <a:noAutofit/>
          </a:bodyPr>
          <a:lstStyle>
            <a:lvl1pPr marL="0" indent="0" algn="l">
              <a:buNone/>
              <a:defRPr sz="1333"/>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Subtitle</a:t>
            </a:r>
          </a:p>
        </p:txBody>
      </p:sp>
      <p:sp>
        <p:nvSpPr>
          <p:cNvPr id="22" name="Tijdelijke aanduiding voor tekst 21">
            <a:extLst>
              <a:ext uri="{FF2B5EF4-FFF2-40B4-BE49-F238E27FC236}">
                <a16:creationId xmlns:a16="http://schemas.microsoft.com/office/drawing/2014/main" id="{FB8EC1E8-CA61-4781-B9FD-8B2A398367C1}"/>
              </a:ext>
            </a:extLst>
          </p:cNvPr>
          <p:cNvSpPr>
            <a:spLocks noGrp="1"/>
          </p:cNvSpPr>
          <p:nvPr>
            <p:ph type="body" sz="quarter" idx="19" hasCustomPrompt="1"/>
          </p:nvPr>
        </p:nvSpPr>
        <p:spPr>
          <a:xfrm>
            <a:off x="662400" y="374400"/>
            <a:ext cx="1737600" cy="1046400"/>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33">
                <a:solidFill>
                  <a:schemeClr val="bg1">
                    <a:alpha val="80000"/>
                  </a:schemeClr>
                </a:solidFill>
              </a:defRPr>
            </a:lvl1pPr>
            <a:lvl2pPr marL="251878" indent="0">
              <a:buNone/>
              <a:defRPr/>
            </a:lvl2pPr>
            <a:lvl3pPr marL="486821" indent="0">
              <a:buNone/>
              <a:defRPr/>
            </a:lvl3pPr>
            <a:lvl4pPr marL="732348" indent="0">
              <a:buNone/>
              <a:defRPr/>
            </a:lvl4pPr>
            <a:lvl5pPr marL="967293" indent="0">
              <a:buNone/>
              <a:defRPr/>
            </a:lvl5pPr>
          </a:lstStyle>
          <a:p>
            <a:pPr lvl="0"/>
            <a:r>
              <a:rPr lang="en-GB"/>
              <a:t>.</a:t>
            </a:r>
          </a:p>
        </p:txBody>
      </p:sp>
      <p:grpSp>
        <p:nvGrpSpPr>
          <p:cNvPr id="12" name="Groep 11">
            <a:extLst>
              <a:ext uri="{FF2B5EF4-FFF2-40B4-BE49-F238E27FC236}">
                <a16:creationId xmlns:a16="http://schemas.microsoft.com/office/drawing/2014/main" id="{F34E7E5D-83FD-4F48-B0DA-AC19BC7FD52A}"/>
              </a:ext>
            </a:extLst>
          </p:cNvPr>
          <p:cNvGrpSpPr/>
          <p:nvPr userDrawn="1"/>
        </p:nvGrpSpPr>
        <p:grpSpPr>
          <a:xfrm>
            <a:off x="12262861" y="576000"/>
            <a:ext cx="1130143" cy="757167"/>
            <a:chOff x="9197145" y="1199569"/>
            <a:chExt cx="847607" cy="567875"/>
          </a:xfrm>
        </p:grpSpPr>
        <p:sp>
          <p:nvSpPr>
            <p:cNvPr id="14" name="Freeform 20">
              <a:extLst>
                <a:ext uri="{FF2B5EF4-FFF2-40B4-BE49-F238E27FC236}">
                  <a16:creationId xmlns:a16="http://schemas.microsoft.com/office/drawing/2014/main" id="{2E059584-51EF-4EC6-ADE2-F521AF1DC19A}"/>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5" name="Tekstvak 14">
              <a:extLst>
                <a:ext uri="{FF2B5EF4-FFF2-40B4-BE49-F238E27FC236}">
                  <a16:creationId xmlns:a16="http://schemas.microsoft.com/office/drawing/2014/main" id="{87C655A2-E2F5-40DF-B17C-94A26B4C3721}"/>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 </a:t>
              </a:r>
            </a:p>
          </p:txBody>
        </p:sp>
      </p:grpSp>
    </p:spTree>
    <p:extLst>
      <p:ext uri="{BB962C8B-B14F-4D97-AF65-F5344CB8AC3E}">
        <p14:creationId xmlns:p14="http://schemas.microsoft.com/office/powerpoint/2010/main" val="759568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Title slide - Brand - 3">
    <p:spTree>
      <p:nvGrpSpPr>
        <p:cNvPr id="1" name=""/>
        <p:cNvGrpSpPr/>
        <p:nvPr/>
      </p:nvGrpSpPr>
      <p:grpSpPr>
        <a:xfrm>
          <a:off x="0" y="0"/>
          <a:ext cx="0" cy="0"/>
          <a:chOff x="0" y="0"/>
          <a:chExt cx="0" cy="0"/>
        </a:xfrm>
      </p:grpSpPr>
      <p:pic>
        <p:nvPicPr>
          <p:cNvPr id="10" name="Tijdelijke aanduiding voor afbeelding 4">
            <a:extLst>
              <a:ext uri="{FF2B5EF4-FFF2-40B4-BE49-F238E27FC236}">
                <a16:creationId xmlns:a16="http://schemas.microsoft.com/office/drawing/2014/main" id="{AA1D9A3A-374F-43FA-8CC7-CCA513065EF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3" name="Tekstvak 12">
            <a:extLst>
              <a:ext uri="{FF2B5EF4-FFF2-40B4-BE49-F238E27FC236}">
                <a16:creationId xmlns:a16="http://schemas.microsoft.com/office/drawing/2014/main" id="{5D285F27-B601-4E99-AFEA-9081C183CE1D}"/>
              </a:ext>
            </a:extLst>
          </p:cNvPr>
          <p:cNvSpPr txBox="1"/>
          <p:nvPr userDrawn="1"/>
        </p:nvSpPr>
        <p:spPr>
          <a:xfrm>
            <a:off x="1009653" y="6536947"/>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18" name="Tijdelijke aanduiding voor tekst 17">
            <a:extLst>
              <a:ext uri="{FF2B5EF4-FFF2-40B4-BE49-F238E27FC236}">
                <a16:creationId xmlns:a16="http://schemas.microsoft.com/office/drawing/2014/main" id="{134848E4-6B17-49A0-B7F6-34867199C050}"/>
              </a:ext>
            </a:extLst>
          </p:cNvPr>
          <p:cNvSpPr>
            <a:spLocks noGrp="1"/>
          </p:cNvSpPr>
          <p:nvPr>
            <p:ph type="body" sz="quarter" idx="18" hasCustomPrompt="1"/>
          </p:nvPr>
        </p:nvSpPr>
        <p:spPr>
          <a:xfrm>
            <a:off x="336553" y="0"/>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3" name="Subtitle 2"/>
          <p:cNvSpPr>
            <a:spLocks noGrp="1"/>
          </p:cNvSpPr>
          <p:nvPr>
            <p:ph type="subTitle" idx="1" hasCustomPrompt="1"/>
          </p:nvPr>
        </p:nvSpPr>
        <p:spPr>
          <a:xfrm>
            <a:off x="1007533" y="3885841"/>
            <a:ext cx="3168651" cy="429684"/>
          </a:xfrm>
        </p:spPr>
        <p:txBody>
          <a:bodyPr wrap="none" lIns="0">
            <a:noAutofit/>
          </a:bodyPr>
          <a:lstStyle>
            <a:lvl1pPr marL="0" indent="0" algn="l">
              <a:buNone/>
              <a:defRPr sz="1333"/>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Subtitle</a:t>
            </a:r>
          </a:p>
        </p:txBody>
      </p:sp>
      <p:sp>
        <p:nvSpPr>
          <p:cNvPr id="22" name="Tijdelijke aanduiding voor tekst 21">
            <a:extLst>
              <a:ext uri="{FF2B5EF4-FFF2-40B4-BE49-F238E27FC236}">
                <a16:creationId xmlns:a16="http://schemas.microsoft.com/office/drawing/2014/main" id="{FB8EC1E8-CA61-4781-B9FD-8B2A398367C1}"/>
              </a:ext>
            </a:extLst>
          </p:cNvPr>
          <p:cNvSpPr>
            <a:spLocks noGrp="1"/>
          </p:cNvSpPr>
          <p:nvPr>
            <p:ph type="body" sz="quarter" idx="19" hasCustomPrompt="1"/>
          </p:nvPr>
        </p:nvSpPr>
        <p:spPr>
          <a:xfrm>
            <a:off x="662400" y="374400"/>
            <a:ext cx="1737600" cy="1046400"/>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33">
                <a:solidFill>
                  <a:schemeClr val="bg1">
                    <a:alpha val="80000"/>
                  </a:schemeClr>
                </a:solidFill>
              </a:defRPr>
            </a:lvl1pPr>
            <a:lvl2pPr marL="251878" indent="0">
              <a:buNone/>
              <a:defRPr/>
            </a:lvl2pPr>
            <a:lvl3pPr marL="486821" indent="0">
              <a:buNone/>
              <a:defRPr/>
            </a:lvl3pPr>
            <a:lvl4pPr marL="732348" indent="0">
              <a:buNone/>
              <a:defRPr/>
            </a:lvl4pPr>
            <a:lvl5pPr marL="967293" indent="0">
              <a:buNone/>
              <a:defRPr/>
            </a:lvl5pPr>
          </a:lstStyle>
          <a:p>
            <a:pPr lvl="0"/>
            <a:r>
              <a:rPr lang="en-GB"/>
              <a:t>.</a:t>
            </a:r>
          </a:p>
        </p:txBody>
      </p:sp>
      <p:grpSp>
        <p:nvGrpSpPr>
          <p:cNvPr id="12" name="Groep 11">
            <a:extLst>
              <a:ext uri="{FF2B5EF4-FFF2-40B4-BE49-F238E27FC236}">
                <a16:creationId xmlns:a16="http://schemas.microsoft.com/office/drawing/2014/main" id="{F34E7E5D-83FD-4F48-B0DA-AC19BC7FD52A}"/>
              </a:ext>
            </a:extLst>
          </p:cNvPr>
          <p:cNvGrpSpPr/>
          <p:nvPr userDrawn="1"/>
        </p:nvGrpSpPr>
        <p:grpSpPr>
          <a:xfrm>
            <a:off x="12262861" y="576000"/>
            <a:ext cx="1130143" cy="757167"/>
            <a:chOff x="9197145" y="1199569"/>
            <a:chExt cx="847607" cy="567875"/>
          </a:xfrm>
        </p:grpSpPr>
        <p:sp>
          <p:nvSpPr>
            <p:cNvPr id="14" name="Freeform 20">
              <a:extLst>
                <a:ext uri="{FF2B5EF4-FFF2-40B4-BE49-F238E27FC236}">
                  <a16:creationId xmlns:a16="http://schemas.microsoft.com/office/drawing/2014/main" id="{2E059584-51EF-4EC6-ADE2-F521AF1DC19A}"/>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5" name="Tekstvak 14">
              <a:extLst>
                <a:ext uri="{FF2B5EF4-FFF2-40B4-BE49-F238E27FC236}">
                  <a16:creationId xmlns:a16="http://schemas.microsoft.com/office/drawing/2014/main" id="{87C655A2-E2F5-40DF-B17C-94A26B4C3721}"/>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1038958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Title slide - Brand - 4">
    <p:spTree>
      <p:nvGrpSpPr>
        <p:cNvPr id="1" name=""/>
        <p:cNvGrpSpPr/>
        <p:nvPr/>
      </p:nvGrpSpPr>
      <p:grpSpPr>
        <a:xfrm>
          <a:off x="0" y="0"/>
          <a:ext cx="0" cy="0"/>
          <a:chOff x="0" y="0"/>
          <a:chExt cx="0" cy="0"/>
        </a:xfrm>
      </p:grpSpPr>
      <p:pic>
        <p:nvPicPr>
          <p:cNvPr id="10" name="Tijdelijke aanduiding voor afbeelding 6" descr="Afbeelding met muur, man, binnen, vloer&#10;&#10;Automatisch gegenereerde beschrijving">
            <a:extLst>
              <a:ext uri="{FF2B5EF4-FFF2-40B4-BE49-F238E27FC236}">
                <a16:creationId xmlns:a16="http://schemas.microsoft.com/office/drawing/2014/main" id="{34A0D159-6198-489D-B700-FD07D424C90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1" name="Tijdelijke aanduiding voor tekst 17">
            <a:extLst>
              <a:ext uri="{FF2B5EF4-FFF2-40B4-BE49-F238E27FC236}">
                <a16:creationId xmlns:a16="http://schemas.microsoft.com/office/drawing/2014/main" id="{2E806245-70A0-4A2A-ACD4-FAB62C0564D6}"/>
              </a:ext>
            </a:extLst>
          </p:cNvPr>
          <p:cNvSpPr>
            <a:spLocks noGrp="1"/>
          </p:cNvSpPr>
          <p:nvPr>
            <p:ph type="body" sz="quarter" idx="18" hasCustomPrompt="1"/>
          </p:nvPr>
        </p:nvSpPr>
        <p:spPr>
          <a:xfrm>
            <a:off x="336553" y="0"/>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3" y="6536947"/>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1"/>
            <a:ext cx="3168651" cy="429684"/>
          </a:xfrm>
        </p:spPr>
        <p:txBody>
          <a:bodyPr wrap="none" lIns="0">
            <a:noAutofit/>
          </a:bodyPr>
          <a:lstStyle>
            <a:lvl1pPr marL="0" indent="0" algn="l">
              <a:buNone/>
              <a:defRPr sz="1333"/>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Subtitle</a:t>
            </a:r>
          </a:p>
        </p:txBody>
      </p:sp>
      <p:sp>
        <p:nvSpPr>
          <p:cNvPr id="22" name="Tijdelijke aanduiding voor tekst 21">
            <a:extLst>
              <a:ext uri="{FF2B5EF4-FFF2-40B4-BE49-F238E27FC236}">
                <a16:creationId xmlns:a16="http://schemas.microsoft.com/office/drawing/2014/main" id="{FB8EC1E8-CA61-4781-B9FD-8B2A398367C1}"/>
              </a:ext>
            </a:extLst>
          </p:cNvPr>
          <p:cNvSpPr>
            <a:spLocks noGrp="1"/>
          </p:cNvSpPr>
          <p:nvPr>
            <p:ph type="body" sz="quarter" idx="19" hasCustomPrompt="1"/>
          </p:nvPr>
        </p:nvSpPr>
        <p:spPr>
          <a:xfrm>
            <a:off x="662400" y="374400"/>
            <a:ext cx="1737600" cy="1046400"/>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33">
                <a:solidFill>
                  <a:schemeClr val="bg1">
                    <a:alpha val="80000"/>
                  </a:schemeClr>
                </a:solidFill>
              </a:defRPr>
            </a:lvl1pPr>
            <a:lvl2pPr marL="251878" indent="0">
              <a:buNone/>
              <a:defRPr/>
            </a:lvl2pPr>
            <a:lvl3pPr marL="486821" indent="0">
              <a:buNone/>
              <a:defRPr/>
            </a:lvl3pPr>
            <a:lvl4pPr marL="732348" indent="0">
              <a:buNone/>
              <a:defRPr/>
            </a:lvl4pPr>
            <a:lvl5pPr marL="967293" indent="0">
              <a:buNone/>
              <a:defRPr/>
            </a:lvl5pPr>
          </a:lstStyle>
          <a:p>
            <a:pPr lvl="0"/>
            <a:r>
              <a:rPr lang="en-GB"/>
              <a:t>.</a:t>
            </a:r>
          </a:p>
        </p:txBody>
      </p:sp>
      <p:grpSp>
        <p:nvGrpSpPr>
          <p:cNvPr id="12" name="Groep 11">
            <a:extLst>
              <a:ext uri="{FF2B5EF4-FFF2-40B4-BE49-F238E27FC236}">
                <a16:creationId xmlns:a16="http://schemas.microsoft.com/office/drawing/2014/main" id="{2ADDB6F1-9239-410D-9E94-70C869EBB25E}"/>
              </a:ext>
            </a:extLst>
          </p:cNvPr>
          <p:cNvGrpSpPr/>
          <p:nvPr userDrawn="1"/>
        </p:nvGrpSpPr>
        <p:grpSpPr>
          <a:xfrm>
            <a:off x="12262861" y="576000"/>
            <a:ext cx="1130143" cy="757167"/>
            <a:chOff x="9197145" y="1199569"/>
            <a:chExt cx="847607" cy="567875"/>
          </a:xfrm>
        </p:grpSpPr>
        <p:sp>
          <p:nvSpPr>
            <p:cNvPr id="14" name="Freeform 20">
              <a:extLst>
                <a:ext uri="{FF2B5EF4-FFF2-40B4-BE49-F238E27FC236}">
                  <a16:creationId xmlns:a16="http://schemas.microsoft.com/office/drawing/2014/main" id="{C2A087DB-B328-455C-8DD9-BAC7DD1D56C2}"/>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5" name="Tekstvak 14">
              <a:extLst>
                <a:ext uri="{FF2B5EF4-FFF2-40B4-BE49-F238E27FC236}">
                  <a16:creationId xmlns:a16="http://schemas.microsoft.com/office/drawing/2014/main" id="{87E12922-FC28-4314-8FE5-B2227B8EF627}"/>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2884824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Title slide - Brand - 5">
    <p:spTree>
      <p:nvGrpSpPr>
        <p:cNvPr id="1" name=""/>
        <p:cNvGrpSpPr/>
        <p:nvPr/>
      </p:nvGrpSpPr>
      <p:grpSpPr>
        <a:xfrm>
          <a:off x="0" y="0"/>
          <a:ext cx="0" cy="0"/>
          <a:chOff x="0" y="0"/>
          <a:chExt cx="0" cy="0"/>
        </a:xfrm>
      </p:grpSpPr>
      <p:pic>
        <p:nvPicPr>
          <p:cNvPr id="11" name="Picture Placeholder 2" descr="A person sitting on the floor&#10;&#10;Description automatically generated with low confidence">
            <a:extLst>
              <a:ext uri="{FF2B5EF4-FFF2-40B4-BE49-F238E27FC236}">
                <a16:creationId xmlns:a16="http://schemas.microsoft.com/office/drawing/2014/main" id="{FC24F780-DD22-4876-842E-973833B0081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Tijdelijke aanduiding voor tekst 17">
            <a:extLst>
              <a:ext uri="{FF2B5EF4-FFF2-40B4-BE49-F238E27FC236}">
                <a16:creationId xmlns:a16="http://schemas.microsoft.com/office/drawing/2014/main" id="{F13B337B-9858-4763-ADED-229100D444B4}"/>
              </a:ext>
            </a:extLst>
          </p:cNvPr>
          <p:cNvSpPr>
            <a:spLocks noGrp="1"/>
          </p:cNvSpPr>
          <p:nvPr>
            <p:ph type="body" sz="quarter" idx="18" hasCustomPrompt="1"/>
          </p:nvPr>
        </p:nvSpPr>
        <p:spPr>
          <a:xfrm>
            <a:off x="336553" y="0"/>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3" y="6536947"/>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1"/>
            <a:ext cx="3168651" cy="429684"/>
          </a:xfrm>
        </p:spPr>
        <p:txBody>
          <a:bodyPr wrap="none" lIns="0">
            <a:noAutofit/>
          </a:bodyPr>
          <a:lstStyle>
            <a:lvl1pPr marL="0" indent="0" algn="l">
              <a:buNone/>
              <a:defRPr sz="1333"/>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Subtitle</a:t>
            </a:r>
          </a:p>
        </p:txBody>
      </p:sp>
      <p:sp>
        <p:nvSpPr>
          <p:cNvPr id="22" name="Tijdelijke aanduiding voor tekst 21">
            <a:extLst>
              <a:ext uri="{FF2B5EF4-FFF2-40B4-BE49-F238E27FC236}">
                <a16:creationId xmlns:a16="http://schemas.microsoft.com/office/drawing/2014/main" id="{FB8EC1E8-CA61-4781-B9FD-8B2A398367C1}"/>
              </a:ext>
            </a:extLst>
          </p:cNvPr>
          <p:cNvSpPr>
            <a:spLocks noGrp="1"/>
          </p:cNvSpPr>
          <p:nvPr>
            <p:ph type="body" sz="quarter" idx="19" hasCustomPrompt="1"/>
          </p:nvPr>
        </p:nvSpPr>
        <p:spPr>
          <a:xfrm>
            <a:off x="662400" y="374400"/>
            <a:ext cx="1737600" cy="1046400"/>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33">
                <a:solidFill>
                  <a:schemeClr val="bg1">
                    <a:alpha val="80000"/>
                  </a:schemeClr>
                </a:solidFill>
              </a:defRPr>
            </a:lvl1pPr>
            <a:lvl2pPr marL="251878" indent="0">
              <a:buNone/>
              <a:defRPr/>
            </a:lvl2pPr>
            <a:lvl3pPr marL="486821" indent="0">
              <a:buNone/>
              <a:defRPr/>
            </a:lvl3pPr>
            <a:lvl4pPr marL="732348" indent="0">
              <a:buNone/>
              <a:defRPr/>
            </a:lvl4pPr>
            <a:lvl5pPr marL="967293" indent="0">
              <a:buNone/>
              <a:defRPr/>
            </a:lvl5pPr>
          </a:lstStyle>
          <a:p>
            <a:pPr lvl="0"/>
            <a:r>
              <a:rPr lang="en-GB"/>
              <a:t>.</a:t>
            </a:r>
          </a:p>
        </p:txBody>
      </p:sp>
      <p:grpSp>
        <p:nvGrpSpPr>
          <p:cNvPr id="12" name="Groep 11">
            <a:extLst>
              <a:ext uri="{FF2B5EF4-FFF2-40B4-BE49-F238E27FC236}">
                <a16:creationId xmlns:a16="http://schemas.microsoft.com/office/drawing/2014/main" id="{2ADDB6F1-9239-410D-9E94-70C869EBB25E}"/>
              </a:ext>
            </a:extLst>
          </p:cNvPr>
          <p:cNvGrpSpPr/>
          <p:nvPr userDrawn="1"/>
        </p:nvGrpSpPr>
        <p:grpSpPr>
          <a:xfrm>
            <a:off x="12262861" y="576000"/>
            <a:ext cx="1130143" cy="757167"/>
            <a:chOff x="9197145" y="1199569"/>
            <a:chExt cx="847607" cy="567875"/>
          </a:xfrm>
        </p:grpSpPr>
        <p:sp>
          <p:nvSpPr>
            <p:cNvPr id="14" name="Freeform 20">
              <a:extLst>
                <a:ext uri="{FF2B5EF4-FFF2-40B4-BE49-F238E27FC236}">
                  <a16:creationId xmlns:a16="http://schemas.microsoft.com/office/drawing/2014/main" id="{C2A087DB-B328-455C-8DD9-BAC7DD1D56C2}"/>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5" name="Tekstvak 14">
              <a:extLst>
                <a:ext uri="{FF2B5EF4-FFF2-40B4-BE49-F238E27FC236}">
                  <a16:creationId xmlns:a16="http://schemas.microsoft.com/office/drawing/2014/main" id="{87E12922-FC28-4314-8FE5-B2227B8EF627}"/>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633608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Title slide - Brand - 6">
    <p:spTree>
      <p:nvGrpSpPr>
        <p:cNvPr id="1" name=""/>
        <p:cNvGrpSpPr/>
        <p:nvPr/>
      </p:nvGrpSpPr>
      <p:grpSpPr>
        <a:xfrm>
          <a:off x="0" y="0"/>
          <a:ext cx="0" cy="0"/>
          <a:chOff x="0" y="0"/>
          <a:chExt cx="0" cy="0"/>
        </a:xfrm>
      </p:grpSpPr>
      <p:pic>
        <p:nvPicPr>
          <p:cNvPr id="10" name="Picture Placeholder 2" descr="A person holding an orange umbrella&#10;&#10;Description automatically generated">
            <a:extLst>
              <a:ext uri="{FF2B5EF4-FFF2-40B4-BE49-F238E27FC236}">
                <a16:creationId xmlns:a16="http://schemas.microsoft.com/office/drawing/2014/main" id="{6A2470EC-D18A-4C2F-878A-75FBF0C6CD7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sp>
        <p:nvSpPr>
          <p:cNvPr id="11" name="Tijdelijke aanduiding voor tekst 17">
            <a:extLst>
              <a:ext uri="{FF2B5EF4-FFF2-40B4-BE49-F238E27FC236}">
                <a16:creationId xmlns:a16="http://schemas.microsoft.com/office/drawing/2014/main" id="{809CD212-EF63-4674-8354-FD63FB011413}"/>
              </a:ext>
            </a:extLst>
          </p:cNvPr>
          <p:cNvSpPr>
            <a:spLocks noGrp="1"/>
          </p:cNvSpPr>
          <p:nvPr>
            <p:ph type="body" sz="quarter" idx="18" hasCustomPrompt="1"/>
          </p:nvPr>
        </p:nvSpPr>
        <p:spPr>
          <a:xfrm>
            <a:off x="336553" y="0"/>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3" y="6536947"/>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1"/>
            <a:ext cx="3168651" cy="429684"/>
          </a:xfrm>
        </p:spPr>
        <p:txBody>
          <a:bodyPr wrap="none" lIns="0">
            <a:noAutofit/>
          </a:bodyPr>
          <a:lstStyle>
            <a:lvl1pPr marL="0" indent="0" algn="l">
              <a:buNone/>
              <a:defRPr sz="1333"/>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Subtitle</a:t>
            </a:r>
          </a:p>
        </p:txBody>
      </p:sp>
      <p:sp>
        <p:nvSpPr>
          <p:cNvPr id="22" name="Tijdelijke aanduiding voor tekst 21">
            <a:extLst>
              <a:ext uri="{FF2B5EF4-FFF2-40B4-BE49-F238E27FC236}">
                <a16:creationId xmlns:a16="http://schemas.microsoft.com/office/drawing/2014/main" id="{FB8EC1E8-CA61-4781-B9FD-8B2A398367C1}"/>
              </a:ext>
            </a:extLst>
          </p:cNvPr>
          <p:cNvSpPr>
            <a:spLocks noGrp="1"/>
          </p:cNvSpPr>
          <p:nvPr>
            <p:ph type="body" sz="quarter" idx="19" hasCustomPrompt="1"/>
          </p:nvPr>
        </p:nvSpPr>
        <p:spPr>
          <a:xfrm>
            <a:off x="662400" y="374400"/>
            <a:ext cx="1737600" cy="1046400"/>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33">
                <a:solidFill>
                  <a:schemeClr val="bg1">
                    <a:alpha val="80000"/>
                  </a:schemeClr>
                </a:solidFill>
              </a:defRPr>
            </a:lvl1pPr>
            <a:lvl2pPr marL="251878" indent="0">
              <a:buNone/>
              <a:defRPr/>
            </a:lvl2pPr>
            <a:lvl3pPr marL="486821" indent="0">
              <a:buNone/>
              <a:defRPr/>
            </a:lvl3pPr>
            <a:lvl4pPr marL="732348" indent="0">
              <a:buNone/>
              <a:defRPr/>
            </a:lvl4pPr>
            <a:lvl5pPr marL="967293" indent="0">
              <a:buNone/>
              <a:defRPr/>
            </a:lvl5pPr>
          </a:lstStyle>
          <a:p>
            <a:pPr lvl="0"/>
            <a:r>
              <a:rPr lang="en-GB"/>
              <a:t>.</a:t>
            </a:r>
          </a:p>
        </p:txBody>
      </p:sp>
      <p:grpSp>
        <p:nvGrpSpPr>
          <p:cNvPr id="12" name="Groep 11">
            <a:extLst>
              <a:ext uri="{FF2B5EF4-FFF2-40B4-BE49-F238E27FC236}">
                <a16:creationId xmlns:a16="http://schemas.microsoft.com/office/drawing/2014/main" id="{2ADDB6F1-9239-410D-9E94-70C869EBB25E}"/>
              </a:ext>
            </a:extLst>
          </p:cNvPr>
          <p:cNvGrpSpPr/>
          <p:nvPr userDrawn="1"/>
        </p:nvGrpSpPr>
        <p:grpSpPr>
          <a:xfrm>
            <a:off x="12262861" y="576000"/>
            <a:ext cx="1130143" cy="757167"/>
            <a:chOff x="9197145" y="1199569"/>
            <a:chExt cx="847607" cy="567875"/>
          </a:xfrm>
        </p:grpSpPr>
        <p:sp>
          <p:nvSpPr>
            <p:cNvPr id="14" name="Freeform 20">
              <a:extLst>
                <a:ext uri="{FF2B5EF4-FFF2-40B4-BE49-F238E27FC236}">
                  <a16:creationId xmlns:a16="http://schemas.microsoft.com/office/drawing/2014/main" id="{C2A087DB-B328-455C-8DD9-BAC7DD1D56C2}"/>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5" name="Tekstvak 14">
              <a:extLst>
                <a:ext uri="{FF2B5EF4-FFF2-40B4-BE49-F238E27FC236}">
                  <a16:creationId xmlns:a16="http://schemas.microsoft.com/office/drawing/2014/main" id="{87E12922-FC28-4314-8FE5-B2227B8EF627}"/>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3648853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Title slide - Brand - 7">
    <p:spTree>
      <p:nvGrpSpPr>
        <p:cNvPr id="1" name=""/>
        <p:cNvGrpSpPr/>
        <p:nvPr/>
      </p:nvGrpSpPr>
      <p:grpSpPr>
        <a:xfrm>
          <a:off x="0" y="0"/>
          <a:ext cx="0" cy="0"/>
          <a:chOff x="0" y="0"/>
          <a:chExt cx="0" cy="0"/>
        </a:xfrm>
      </p:grpSpPr>
      <p:pic>
        <p:nvPicPr>
          <p:cNvPr id="9" name="Picture Placeholder 2" descr="A picture containing text&#10;&#10;Description automatically generated">
            <a:extLst>
              <a:ext uri="{FF2B5EF4-FFF2-40B4-BE49-F238E27FC236}">
                <a16:creationId xmlns:a16="http://schemas.microsoft.com/office/drawing/2014/main" id="{34E7E205-0AB1-426E-ACF0-760956D381F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Tijdelijke aanduiding voor tekst 17">
            <a:extLst>
              <a:ext uri="{FF2B5EF4-FFF2-40B4-BE49-F238E27FC236}">
                <a16:creationId xmlns:a16="http://schemas.microsoft.com/office/drawing/2014/main" id="{236EE252-1DDE-4046-BB3A-EB8A80D030F9}"/>
              </a:ext>
            </a:extLst>
          </p:cNvPr>
          <p:cNvSpPr>
            <a:spLocks noGrp="1"/>
          </p:cNvSpPr>
          <p:nvPr>
            <p:ph type="body" sz="quarter" idx="18" hasCustomPrompt="1"/>
          </p:nvPr>
        </p:nvSpPr>
        <p:spPr>
          <a:xfrm>
            <a:off x="336553" y="0"/>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3" y="6536947"/>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1"/>
            <a:ext cx="3168651" cy="429684"/>
          </a:xfrm>
        </p:spPr>
        <p:txBody>
          <a:bodyPr wrap="none" lIns="0">
            <a:noAutofit/>
          </a:bodyPr>
          <a:lstStyle>
            <a:lvl1pPr marL="0" indent="0" algn="l">
              <a:buNone/>
              <a:defRPr sz="1333"/>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Subtitle</a:t>
            </a:r>
          </a:p>
        </p:txBody>
      </p:sp>
      <p:sp>
        <p:nvSpPr>
          <p:cNvPr id="22" name="Tijdelijke aanduiding voor tekst 21">
            <a:extLst>
              <a:ext uri="{FF2B5EF4-FFF2-40B4-BE49-F238E27FC236}">
                <a16:creationId xmlns:a16="http://schemas.microsoft.com/office/drawing/2014/main" id="{FB8EC1E8-CA61-4781-B9FD-8B2A398367C1}"/>
              </a:ext>
            </a:extLst>
          </p:cNvPr>
          <p:cNvSpPr>
            <a:spLocks noGrp="1"/>
          </p:cNvSpPr>
          <p:nvPr>
            <p:ph type="body" sz="quarter" idx="19" hasCustomPrompt="1"/>
          </p:nvPr>
        </p:nvSpPr>
        <p:spPr>
          <a:xfrm>
            <a:off x="662400" y="374400"/>
            <a:ext cx="1737600" cy="1046400"/>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33">
                <a:solidFill>
                  <a:schemeClr val="bg1">
                    <a:alpha val="80000"/>
                  </a:schemeClr>
                </a:solidFill>
              </a:defRPr>
            </a:lvl1pPr>
            <a:lvl2pPr marL="251878" indent="0">
              <a:buNone/>
              <a:defRPr/>
            </a:lvl2pPr>
            <a:lvl3pPr marL="486821" indent="0">
              <a:buNone/>
              <a:defRPr/>
            </a:lvl3pPr>
            <a:lvl4pPr marL="732348" indent="0">
              <a:buNone/>
              <a:defRPr/>
            </a:lvl4pPr>
            <a:lvl5pPr marL="967293" indent="0">
              <a:buNone/>
              <a:defRPr/>
            </a:lvl5pPr>
          </a:lstStyle>
          <a:p>
            <a:pPr lvl="0"/>
            <a:r>
              <a:rPr lang="en-GB"/>
              <a:t>.</a:t>
            </a:r>
          </a:p>
        </p:txBody>
      </p:sp>
      <p:grpSp>
        <p:nvGrpSpPr>
          <p:cNvPr id="12" name="Groep 11">
            <a:extLst>
              <a:ext uri="{FF2B5EF4-FFF2-40B4-BE49-F238E27FC236}">
                <a16:creationId xmlns:a16="http://schemas.microsoft.com/office/drawing/2014/main" id="{2ADDB6F1-9239-410D-9E94-70C869EBB25E}"/>
              </a:ext>
            </a:extLst>
          </p:cNvPr>
          <p:cNvGrpSpPr/>
          <p:nvPr userDrawn="1"/>
        </p:nvGrpSpPr>
        <p:grpSpPr>
          <a:xfrm>
            <a:off x="12262861" y="576000"/>
            <a:ext cx="1130143" cy="757167"/>
            <a:chOff x="9197145" y="1199569"/>
            <a:chExt cx="847607" cy="567875"/>
          </a:xfrm>
        </p:grpSpPr>
        <p:sp>
          <p:nvSpPr>
            <p:cNvPr id="14" name="Freeform 20">
              <a:extLst>
                <a:ext uri="{FF2B5EF4-FFF2-40B4-BE49-F238E27FC236}">
                  <a16:creationId xmlns:a16="http://schemas.microsoft.com/office/drawing/2014/main" id="{C2A087DB-B328-455C-8DD9-BAC7DD1D56C2}"/>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5" name="Tekstvak 14">
              <a:extLst>
                <a:ext uri="{FF2B5EF4-FFF2-40B4-BE49-F238E27FC236}">
                  <a16:creationId xmlns:a16="http://schemas.microsoft.com/office/drawing/2014/main" id="{87E12922-FC28-4314-8FE5-B2227B8EF627}"/>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9307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Title slide - EarlyLife - 1 ">
    <p:spTree>
      <p:nvGrpSpPr>
        <p:cNvPr id="1" name=""/>
        <p:cNvGrpSpPr/>
        <p:nvPr/>
      </p:nvGrpSpPr>
      <p:grpSpPr>
        <a:xfrm>
          <a:off x="0" y="0"/>
          <a:ext cx="0" cy="0"/>
          <a:chOff x="0" y="0"/>
          <a:chExt cx="0" cy="0"/>
        </a:xfrm>
      </p:grpSpPr>
      <p:pic>
        <p:nvPicPr>
          <p:cNvPr id="19" name="Picture Placeholder 6">
            <a:extLst>
              <a:ext uri="{FF2B5EF4-FFF2-40B4-BE49-F238E27FC236}">
                <a16:creationId xmlns:a16="http://schemas.microsoft.com/office/drawing/2014/main" id="{3224570E-3DE3-4AFB-9C8D-655FD2EAE4F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4" name="Tijdelijke aanduiding voor tekst 17">
            <a:extLst>
              <a:ext uri="{FF2B5EF4-FFF2-40B4-BE49-F238E27FC236}">
                <a16:creationId xmlns:a16="http://schemas.microsoft.com/office/drawing/2014/main" id="{401C9FF4-207E-4DD6-9F3A-FEE678AE61AE}"/>
              </a:ext>
            </a:extLst>
          </p:cNvPr>
          <p:cNvSpPr>
            <a:spLocks noGrp="1"/>
          </p:cNvSpPr>
          <p:nvPr>
            <p:ph type="body" sz="quarter" idx="18" hasCustomPrompt="1"/>
          </p:nvPr>
        </p:nvSpPr>
        <p:spPr>
          <a:xfrm>
            <a:off x="336553" y="0"/>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3" y="6536947"/>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1"/>
            <a:ext cx="3168651" cy="429684"/>
          </a:xfrm>
        </p:spPr>
        <p:txBody>
          <a:bodyPr wrap="none" lIns="0">
            <a:noAutofit/>
          </a:bodyPr>
          <a:lstStyle>
            <a:lvl1pPr marL="0" indent="0" algn="l">
              <a:buNone/>
              <a:defRPr sz="1333"/>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Subtitle</a:t>
            </a:r>
          </a:p>
        </p:txBody>
      </p:sp>
      <p:sp>
        <p:nvSpPr>
          <p:cNvPr id="11" name="Tijdelijke aanduiding voor tekst 21">
            <a:extLst>
              <a:ext uri="{FF2B5EF4-FFF2-40B4-BE49-F238E27FC236}">
                <a16:creationId xmlns:a16="http://schemas.microsoft.com/office/drawing/2014/main" id="{864B06FA-CA70-4595-8439-FEB797046608}"/>
              </a:ext>
            </a:extLst>
          </p:cNvPr>
          <p:cNvSpPr>
            <a:spLocks noGrp="1"/>
          </p:cNvSpPr>
          <p:nvPr>
            <p:ph type="body" sz="quarter" idx="19" hasCustomPrompt="1"/>
          </p:nvPr>
        </p:nvSpPr>
        <p:spPr>
          <a:xfrm>
            <a:off x="662400" y="374400"/>
            <a:ext cx="1737600" cy="1046400"/>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33">
                <a:solidFill>
                  <a:schemeClr val="bg1">
                    <a:alpha val="80000"/>
                  </a:schemeClr>
                </a:solidFill>
              </a:defRPr>
            </a:lvl1pPr>
            <a:lvl2pPr marL="251878" indent="0">
              <a:buNone/>
              <a:defRPr/>
            </a:lvl2pPr>
            <a:lvl3pPr marL="486821" indent="0">
              <a:buNone/>
              <a:defRPr/>
            </a:lvl3pPr>
            <a:lvl4pPr marL="732348" indent="0">
              <a:buNone/>
              <a:defRPr/>
            </a:lvl4pPr>
            <a:lvl5pPr marL="967293" indent="0">
              <a:buNone/>
              <a:defRPr/>
            </a:lvl5pPr>
          </a:lstStyle>
          <a:p>
            <a:pPr lvl="0"/>
            <a:r>
              <a:rPr lang="en-GB"/>
              <a:t>.</a:t>
            </a:r>
          </a:p>
        </p:txBody>
      </p:sp>
      <p:grpSp>
        <p:nvGrpSpPr>
          <p:cNvPr id="10" name="Groep 9">
            <a:extLst>
              <a:ext uri="{FF2B5EF4-FFF2-40B4-BE49-F238E27FC236}">
                <a16:creationId xmlns:a16="http://schemas.microsoft.com/office/drawing/2014/main" id="{2D3B3783-BF87-416D-8312-A253A1630159}"/>
              </a:ext>
            </a:extLst>
          </p:cNvPr>
          <p:cNvGrpSpPr/>
          <p:nvPr userDrawn="1"/>
        </p:nvGrpSpPr>
        <p:grpSpPr>
          <a:xfrm>
            <a:off x="12262861" y="576000"/>
            <a:ext cx="1130143" cy="757167"/>
            <a:chOff x="9197145" y="1199569"/>
            <a:chExt cx="847607" cy="567875"/>
          </a:xfrm>
        </p:grpSpPr>
        <p:sp>
          <p:nvSpPr>
            <p:cNvPr id="16" name="Freeform 20">
              <a:extLst>
                <a:ext uri="{FF2B5EF4-FFF2-40B4-BE49-F238E27FC236}">
                  <a16:creationId xmlns:a16="http://schemas.microsoft.com/office/drawing/2014/main" id="{B92E4F29-1E59-41AA-8B6A-AB0CE0321FCD}"/>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8F013AE7-A940-4288-807D-4C6C090D30BE}"/>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1694810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Title slide - EarlyLife - 2 ">
    <p:spTree>
      <p:nvGrpSpPr>
        <p:cNvPr id="1" name=""/>
        <p:cNvGrpSpPr/>
        <p:nvPr/>
      </p:nvGrpSpPr>
      <p:grpSpPr>
        <a:xfrm>
          <a:off x="0" y="0"/>
          <a:ext cx="0" cy="0"/>
          <a:chOff x="0" y="0"/>
          <a:chExt cx="0" cy="0"/>
        </a:xfrm>
      </p:grpSpPr>
      <p:pic>
        <p:nvPicPr>
          <p:cNvPr id="12" name="Picture Placeholder 6" descr="A picture containing outdoor&#10;&#10;Description automatically generated">
            <a:extLst>
              <a:ext uri="{FF2B5EF4-FFF2-40B4-BE49-F238E27FC236}">
                <a16:creationId xmlns:a16="http://schemas.microsoft.com/office/drawing/2014/main" id="{F917A6FA-E1F9-427E-8B31-F11188C601B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4" name="Tijdelijke aanduiding voor tekst 17">
            <a:extLst>
              <a:ext uri="{FF2B5EF4-FFF2-40B4-BE49-F238E27FC236}">
                <a16:creationId xmlns:a16="http://schemas.microsoft.com/office/drawing/2014/main" id="{3369DF5E-A601-452D-AD82-D126A0174EAF}"/>
              </a:ext>
            </a:extLst>
          </p:cNvPr>
          <p:cNvSpPr>
            <a:spLocks noGrp="1"/>
          </p:cNvSpPr>
          <p:nvPr>
            <p:ph type="body" sz="quarter" idx="18" hasCustomPrompt="1"/>
          </p:nvPr>
        </p:nvSpPr>
        <p:spPr>
          <a:xfrm>
            <a:off x="336553" y="0"/>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3" y="6536947"/>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1"/>
            <a:ext cx="3168651" cy="429684"/>
          </a:xfrm>
        </p:spPr>
        <p:txBody>
          <a:bodyPr wrap="none" lIns="0">
            <a:noAutofit/>
          </a:bodyPr>
          <a:lstStyle>
            <a:lvl1pPr marL="0" indent="0" algn="l">
              <a:buNone/>
              <a:defRPr sz="1333"/>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Subtitle</a:t>
            </a:r>
          </a:p>
        </p:txBody>
      </p:sp>
      <p:sp>
        <p:nvSpPr>
          <p:cNvPr id="11" name="Tijdelijke aanduiding voor tekst 21">
            <a:extLst>
              <a:ext uri="{FF2B5EF4-FFF2-40B4-BE49-F238E27FC236}">
                <a16:creationId xmlns:a16="http://schemas.microsoft.com/office/drawing/2014/main" id="{864B06FA-CA70-4595-8439-FEB797046608}"/>
              </a:ext>
            </a:extLst>
          </p:cNvPr>
          <p:cNvSpPr>
            <a:spLocks noGrp="1"/>
          </p:cNvSpPr>
          <p:nvPr>
            <p:ph type="body" sz="quarter" idx="19" hasCustomPrompt="1"/>
          </p:nvPr>
        </p:nvSpPr>
        <p:spPr>
          <a:xfrm>
            <a:off x="662400" y="374400"/>
            <a:ext cx="1737600" cy="1046400"/>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33">
                <a:solidFill>
                  <a:schemeClr val="bg1">
                    <a:alpha val="80000"/>
                  </a:schemeClr>
                </a:solidFill>
              </a:defRPr>
            </a:lvl1pPr>
            <a:lvl2pPr marL="251878" indent="0">
              <a:buNone/>
              <a:defRPr/>
            </a:lvl2pPr>
            <a:lvl3pPr marL="486821" indent="0">
              <a:buNone/>
              <a:defRPr/>
            </a:lvl3pPr>
            <a:lvl4pPr marL="732348" indent="0">
              <a:buNone/>
              <a:defRPr/>
            </a:lvl4pPr>
            <a:lvl5pPr marL="967293" indent="0">
              <a:buNone/>
              <a:defRPr/>
            </a:lvl5pPr>
          </a:lstStyle>
          <a:p>
            <a:pPr lvl="0"/>
            <a:r>
              <a:rPr lang="en-GB"/>
              <a:t>.</a:t>
            </a:r>
          </a:p>
        </p:txBody>
      </p:sp>
      <p:grpSp>
        <p:nvGrpSpPr>
          <p:cNvPr id="10" name="Groep 9">
            <a:extLst>
              <a:ext uri="{FF2B5EF4-FFF2-40B4-BE49-F238E27FC236}">
                <a16:creationId xmlns:a16="http://schemas.microsoft.com/office/drawing/2014/main" id="{2D3B3783-BF87-416D-8312-A253A1630159}"/>
              </a:ext>
            </a:extLst>
          </p:cNvPr>
          <p:cNvGrpSpPr/>
          <p:nvPr userDrawn="1"/>
        </p:nvGrpSpPr>
        <p:grpSpPr>
          <a:xfrm>
            <a:off x="12262861" y="576000"/>
            <a:ext cx="1130143" cy="757167"/>
            <a:chOff x="9197145" y="1199569"/>
            <a:chExt cx="847607" cy="567875"/>
          </a:xfrm>
        </p:grpSpPr>
        <p:sp>
          <p:nvSpPr>
            <p:cNvPr id="16" name="Freeform 20">
              <a:extLst>
                <a:ext uri="{FF2B5EF4-FFF2-40B4-BE49-F238E27FC236}">
                  <a16:creationId xmlns:a16="http://schemas.microsoft.com/office/drawing/2014/main" id="{B92E4F29-1E59-41AA-8B6A-AB0CE0321FCD}"/>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8F013AE7-A940-4288-807D-4C6C090D30BE}"/>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3770430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Title slide - EarlyLife - 3 ">
    <p:spTree>
      <p:nvGrpSpPr>
        <p:cNvPr id="1" name=""/>
        <p:cNvGrpSpPr/>
        <p:nvPr/>
      </p:nvGrpSpPr>
      <p:grpSpPr>
        <a:xfrm>
          <a:off x="0" y="0"/>
          <a:ext cx="0" cy="0"/>
          <a:chOff x="0" y="0"/>
          <a:chExt cx="0" cy="0"/>
        </a:xfrm>
      </p:grpSpPr>
      <p:pic>
        <p:nvPicPr>
          <p:cNvPr id="12" name="Picture Placeholder 12" descr="A picture containing graphical user interface&#10;&#10;Description automatically generated">
            <a:extLst>
              <a:ext uri="{FF2B5EF4-FFF2-40B4-BE49-F238E27FC236}">
                <a16:creationId xmlns:a16="http://schemas.microsoft.com/office/drawing/2014/main" id="{27C3A090-2F8D-454E-82E3-B8C823F27A2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4" name="Tijdelijke aanduiding voor tekst 17">
            <a:extLst>
              <a:ext uri="{FF2B5EF4-FFF2-40B4-BE49-F238E27FC236}">
                <a16:creationId xmlns:a16="http://schemas.microsoft.com/office/drawing/2014/main" id="{9ADBB5D2-3CBD-4936-A104-1503029A591F}"/>
              </a:ext>
            </a:extLst>
          </p:cNvPr>
          <p:cNvSpPr>
            <a:spLocks noGrp="1"/>
          </p:cNvSpPr>
          <p:nvPr>
            <p:ph type="body" sz="quarter" idx="18" hasCustomPrompt="1"/>
          </p:nvPr>
        </p:nvSpPr>
        <p:spPr>
          <a:xfrm>
            <a:off x="336553" y="0"/>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3" y="6536947"/>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8001"/>
            <a:ext cx="3168000" cy="429684"/>
          </a:xfrm>
        </p:spPr>
        <p:txBody>
          <a:bodyPr wrap="none" lIns="0">
            <a:noAutofit/>
          </a:bodyPr>
          <a:lstStyle>
            <a:lvl1pPr marL="0" indent="0" algn="l">
              <a:buNone/>
              <a:defRPr sz="1333"/>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Subtitle</a:t>
            </a:r>
          </a:p>
        </p:txBody>
      </p:sp>
      <p:sp>
        <p:nvSpPr>
          <p:cNvPr id="11" name="Tijdelijke aanduiding voor tekst 21">
            <a:extLst>
              <a:ext uri="{FF2B5EF4-FFF2-40B4-BE49-F238E27FC236}">
                <a16:creationId xmlns:a16="http://schemas.microsoft.com/office/drawing/2014/main" id="{864B06FA-CA70-4595-8439-FEB797046608}"/>
              </a:ext>
            </a:extLst>
          </p:cNvPr>
          <p:cNvSpPr>
            <a:spLocks noGrp="1"/>
          </p:cNvSpPr>
          <p:nvPr>
            <p:ph type="body" sz="quarter" idx="19" hasCustomPrompt="1"/>
          </p:nvPr>
        </p:nvSpPr>
        <p:spPr>
          <a:xfrm>
            <a:off x="662400" y="374400"/>
            <a:ext cx="1737600" cy="1046400"/>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33">
                <a:solidFill>
                  <a:schemeClr val="bg1">
                    <a:alpha val="80000"/>
                  </a:schemeClr>
                </a:solidFill>
              </a:defRPr>
            </a:lvl1pPr>
            <a:lvl2pPr marL="251878" indent="0">
              <a:buNone/>
              <a:defRPr/>
            </a:lvl2pPr>
            <a:lvl3pPr marL="486821" indent="0">
              <a:buNone/>
              <a:defRPr/>
            </a:lvl3pPr>
            <a:lvl4pPr marL="732348" indent="0">
              <a:buNone/>
              <a:defRPr/>
            </a:lvl4pPr>
            <a:lvl5pPr marL="967293" indent="0">
              <a:buNone/>
              <a:defRPr/>
            </a:lvl5pPr>
          </a:lstStyle>
          <a:p>
            <a:pPr lvl="0"/>
            <a:r>
              <a:rPr lang="en-GB"/>
              <a:t>.</a:t>
            </a:r>
          </a:p>
        </p:txBody>
      </p:sp>
      <p:grpSp>
        <p:nvGrpSpPr>
          <p:cNvPr id="10" name="Groep 9">
            <a:extLst>
              <a:ext uri="{FF2B5EF4-FFF2-40B4-BE49-F238E27FC236}">
                <a16:creationId xmlns:a16="http://schemas.microsoft.com/office/drawing/2014/main" id="{2D3B3783-BF87-416D-8312-A253A1630159}"/>
              </a:ext>
            </a:extLst>
          </p:cNvPr>
          <p:cNvGrpSpPr/>
          <p:nvPr userDrawn="1"/>
        </p:nvGrpSpPr>
        <p:grpSpPr>
          <a:xfrm>
            <a:off x="12262861" y="576000"/>
            <a:ext cx="1130143" cy="757167"/>
            <a:chOff x="9197145" y="1199569"/>
            <a:chExt cx="847607" cy="567875"/>
          </a:xfrm>
        </p:grpSpPr>
        <p:sp>
          <p:nvSpPr>
            <p:cNvPr id="16" name="Freeform 20">
              <a:extLst>
                <a:ext uri="{FF2B5EF4-FFF2-40B4-BE49-F238E27FC236}">
                  <a16:creationId xmlns:a16="http://schemas.microsoft.com/office/drawing/2014/main" id="{B92E4F29-1E59-41AA-8B6A-AB0CE0321FCD}"/>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8F013AE7-A940-4288-807D-4C6C090D30BE}"/>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2157230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Title slide - EarlyLife - 4">
    <p:spTree>
      <p:nvGrpSpPr>
        <p:cNvPr id="1" name=""/>
        <p:cNvGrpSpPr/>
        <p:nvPr/>
      </p:nvGrpSpPr>
      <p:grpSpPr>
        <a:xfrm>
          <a:off x="0" y="0"/>
          <a:ext cx="0" cy="0"/>
          <a:chOff x="0" y="0"/>
          <a:chExt cx="0" cy="0"/>
        </a:xfrm>
      </p:grpSpPr>
      <p:pic>
        <p:nvPicPr>
          <p:cNvPr id="14" name="Tijdelijke aanduiding voor afbeelding 6" descr="Afbeelding met vrouw&#10;&#10;Automatisch gegenereerde beschrijving">
            <a:extLst>
              <a:ext uri="{FF2B5EF4-FFF2-40B4-BE49-F238E27FC236}">
                <a16:creationId xmlns:a16="http://schemas.microsoft.com/office/drawing/2014/main" id="{6EBB7A92-5C59-47C2-8570-E6B780A65023}"/>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Tijdelijke aanduiding voor tekst 17">
            <a:extLst>
              <a:ext uri="{FF2B5EF4-FFF2-40B4-BE49-F238E27FC236}">
                <a16:creationId xmlns:a16="http://schemas.microsoft.com/office/drawing/2014/main" id="{E79216D0-F90F-40EA-829C-6188DE98A9A3}"/>
              </a:ext>
            </a:extLst>
          </p:cNvPr>
          <p:cNvSpPr>
            <a:spLocks noGrp="1"/>
          </p:cNvSpPr>
          <p:nvPr>
            <p:ph type="body" sz="quarter" idx="18" hasCustomPrompt="1"/>
          </p:nvPr>
        </p:nvSpPr>
        <p:spPr>
          <a:xfrm>
            <a:off x="336553" y="0"/>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3" y="6536947"/>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1"/>
            <a:ext cx="3168651" cy="429684"/>
          </a:xfrm>
        </p:spPr>
        <p:txBody>
          <a:bodyPr wrap="none" lIns="0">
            <a:noAutofit/>
          </a:bodyPr>
          <a:lstStyle>
            <a:lvl1pPr marL="0" indent="0" algn="l">
              <a:buNone/>
              <a:defRPr sz="1333"/>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Subtitle</a:t>
            </a:r>
          </a:p>
        </p:txBody>
      </p:sp>
      <p:sp>
        <p:nvSpPr>
          <p:cNvPr id="11" name="Tijdelijke aanduiding voor tekst 21">
            <a:extLst>
              <a:ext uri="{FF2B5EF4-FFF2-40B4-BE49-F238E27FC236}">
                <a16:creationId xmlns:a16="http://schemas.microsoft.com/office/drawing/2014/main" id="{864B06FA-CA70-4595-8439-FEB797046608}"/>
              </a:ext>
            </a:extLst>
          </p:cNvPr>
          <p:cNvSpPr>
            <a:spLocks noGrp="1"/>
          </p:cNvSpPr>
          <p:nvPr>
            <p:ph type="body" sz="quarter" idx="19" hasCustomPrompt="1"/>
          </p:nvPr>
        </p:nvSpPr>
        <p:spPr>
          <a:xfrm>
            <a:off x="662400" y="374400"/>
            <a:ext cx="1737600" cy="1046400"/>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33">
                <a:solidFill>
                  <a:schemeClr val="bg1">
                    <a:alpha val="80000"/>
                  </a:schemeClr>
                </a:solidFill>
              </a:defRPr>
            </a:lvl1pPr>
            <a:lvl2pPr marL="251878" indent="0">
              <a:buNone/>
              <a:defRPr/>
            </a:lvl2pPr>
            <a:lvl3pPr marL="486821" indent="0">
              <a:buNone/>
              <a:defRPr/>
            </a:lvl3pPr>
            <a:lvl4pPr marL="732348" indent="0">
              <a:buNone/>
              <a:defRPr/>
            </a:lvl4pPr>
            <a:lvl5pPr marL="967293" indent="0">
              <a:buNone/>
              <a:defRPr/>
            </a:lvl5pPr>
          </a:lstStyle>
          <a:p>
            <a:pPr lvl="0"/>
            <a:r>
              <a:rPr lang="en-GB"/>
              <a:t>.</a:t>
            </a:r>
          </a:p>
        </p:txBody>
      </p:sp>
      <p:grpSp>
        <p:nvGrpSpPr>
          <p:cNvPr id="10" name="Groep 9">
            <a:extLst>
              <a:ext uri="{FF2B5EF4-FFF2-40B4-BE49-F238E27FC236}">
                <a16:creationId xmlns:a16="http://schemas.microsoft.com/office/drawing/2014/main" id="{2D3B3783-BF87-416D-8312-A253A1630159}"/>
              </a:ext>
            </a:extLst>
          </p:cNvPr>
          <p:cNvGrpSpPr/>
          <p:nvPr userDrawn="1"/>
        </p:nvGrpSpPr>
        <p:grpSpPr>
          <a:xfrm>
            <a:off x="12262861" y="576000"/>
            <a:ext cx="1130143" cy="757167"/>
            <a:chOff x="9197145" y="1199569"/>
            <a:chExt cx="847607" cy="567875"/>
          </a:xfrm>
        </p:grpSpPr>
        <p:sp>
          <p:nvSpPr>
            <p:cNvPr id="16" name="Freeform 20">
              <a:extLst>
                <a:ext uri="{FF2B5EF4-FFF2-40B4-BE49-F238E27FC236}">
                  <a16:creationId xmlns:a16="http://schemas.microsoft.com/office/drawing/2014/main" id="{B92E4F29-1E59-41AA-8B6A-AB0CE0321FCD}"/>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8F013AE7-A940-4288-807D-4C6C090D30BE}"/>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3889779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a:t>Click to add title</a:t>
            </a:r>
          </a:p>
        </p:txBody>
      </p:sp>
      <p:sp>
        <p:nvSpPr>
          <p:cNvPr id="4" name="Date Placeholder 3"/>
          <p:cNvSpPr>
            <a:spLocks noGrp="1"/>
          </p:cNvSpPr>
          <p:nvPr>
            <p:ph type="dt" sz="half" idx="10"/>
          </p:nvPr>
        </p:nvSpPr>
        <p:spPr/>
        <p:txBody>
          <a:bodyPr/>
          <a:lstStyle/>
          <a:p>
            <a:fld id="{77A61874-5157-4959-8142-8EF8639C6BCD}" type="datetime1">
              <a:rPr lang="en-GB" smtClean="0"/>
              <a:t>18/04/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9" name="Tijdelijke aanduiding voor tabel 7">
            <a:extLst>
              <a:ext uri="{FF2B5EF4-FFF2-40B4-BE49-F238E27FC236}">
                <a16:creationId xmlns:a16="http://schemas.microsoft.com/office/drawing/2014/main" id="{DEED083B-6C6C-41E9-9AEE-A277FCC01CE9}"/>
              </a:ext>
            </a:extLst>
          </p:cNvPr>
          <p:cNvSpPr>
            <a:spLocks noGrp="1"/>
          </p:cNvSpPr>
          <p:nvPr>
            <p:ph type="tbl" sz="quarter" idx="13"/>
          </p:nvPr>
        </p:nvSpPr>
        <p:spPr>
          <a:xfrm>
            <a:off x="575734" y="1701801"/>
            <a:ext cx="11035973" cy="4366684"/>
          </a:xfrm>
        </p:spPr>
        <p:txBody>
          <a:bodyPr/>
          <a:lstStyle/>
          <a:p>
            <a:r>
              <a:rPr lang="en-US"/>
              <a:t>Click icon to add table</a:t>
            </a:r>
            <a:endParaRPr lang="en-GB"/>
          </a:p>
        </p:txBody>
      </p:sp>
    </p:spTree>
    <p:extLst>
      <p:ext uri="{BB962C8B-B14F-4D97-AF65-F5344CB8AC3E}">
        <p14:creationId xmlns:p14="http://schemas.microsoft.com/office/powerpoint/2010/main" val="1908714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Title slide - EarlyLife - 5">
    <p:spTree>
      <p:nvGrpSpPr>
        <p:cNvPr id="1" name=""/>
        <p:cNvGrpSpPr/>
        <p:nvPr/>
      </p:nvGrpSpPr>
      <p:grpSpPr>
        <a:xfrm>
          <a:off x="0" y="0"/>
          <a:ext cx="0" cy="0"/>
          <a:chOff x="0" y="0"/>
          <a:chExt cx="0" cy="0"/>
        </a:xfrm>
      </p:grpSpPr>
      <p:pic>
        <p:nvPicPr>
          <p:cNvPr id="12" name="Tijdelijke aanduiding voor afbeelding 6">
            <a:extLst>
              <a:ext uri="{FF2B5EF4-FFF2-40B4-BE49-F238E27FC236}">
                <a16:creationId xmlns:a16="http://schemas.microsoft.com/office/drawing/2014/main" id="{62C5A7AF-EB24-4D48-AE42-4F1FB5B4422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flipH="1">
            <a:off x="0" y="0"/>
            <a:ext cx="12192000" cy="6858000"/>
          </a:xfrm>
          <a:prstGeom prst="rect">
            <a:avLst/>
          </a:prstGeom>
        </p:spPr>
      </p:pic>
      <p:sp>
        <p:nvSpPr>
          <p:cNvPr id="14" name="Tijdelijke aanduiding voor tekst 17">
            <a:extLst>
              <a:ext uri="{FF2B5EF4-FFF2-40B4-BE49-F238E27FC236}">
                <a16:creationId xmlns:a16="http://schemas.microsoft.com/office/drawing/2014/main" id="{653624E7-643B-4F10-A014-6C20C5F24A7A}"/>
              </a:ext>
            </a:extLst>
          </p:cNvPr>
          <p:cNvSpPr>
            <a:spLocks noGrp="1"/>
          </p:cNvSpPr>
          <p:nvPr>
            <p:ph type="body" sz="quarter" idx="18" hasCustomPrompt="1"/>
          </p:nvPr>
        </p:nvSpPr>
        <p:spPr>
          <a:xfrm>
            <a:off x="336553" y="0"/>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3" y="6536947"/>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1"/>
            <a:ext cx="3168651" cy="429684"/>
          </a:xfrm>
        </p:spPr>
        <p:txBody>
          <a:bodyPr wrap="none" lIns="0">
            <a:noAutofit/>
          </a:bodyPr>
          <a:lstStyle>
            <a:lvl1pPr marL="0" indent="0" algn="l">
              <a:buNone/>
              <a:defRPr sz="1333"/>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Subtitle</a:t>
            </a:r>
          </a:p>
        </p:txBody>
      </p:sp>
      <p:sp>
        <p:nvSpPr>
          <p:cNvPr id="11" name="Tijdelijke aanduiding voor tekst 21">
            <a:extLst>
              <a:ext uri="{FF2B5EF4-FFF2-40B4-BE49-F238E27FC236}">
                <a16:creationId xmlns:a16="http://schemas.microsoft.com/office/drawing/2014/main" id="{864B06FA-CA70-4595-8439-FEB797046608}"/>
              </a:ext>
            </a:extLst>
          </p:cNvPr>
          <p:cNvSpPr>
            <a:spLocks noGrp="1"/>
          </p:cNvSpPr>
          <p:nvPr>
            <p:ph type="body" sz="quarter" idx="19" hasCustomPrompt="1"/>
          </p:nvPr>
        </p:nvSpPr>
        <p:spPr>
          <a:xfrm>
            <a:off x="662400" y="374400"/>
            <a:ext cx="1737600" cy="1046400"/>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33">
                <a:solidFill>
                  <a:schemeClr val="bg1">
                    <a:alpha val="80000"/>
                  </a:schemeClr>
                </a:solidFill>
              </a:defRPr>
            </a:lvl1pPr>
            <a:lvl2pPr marL="251878" indent="0">
              <a:buNone/>
              <a:defRPr/>
            </a:lvl2pPr>
            <a:lvl3pPr marL="486821" indent="0">
              <a:buNone/>
              <a:defRPr/>
            </a:lvl3pPr>
            <a:lvl4pPr marL="732348" indent="0">
              <a:buNone/>
              <a:defRPr/>
            </a:lvl4pPr>
            <a:lvl5pPr marL="967293" indent="0">
              <a:buNone/>
              <a:defRPr/>
            </a:lvl5pPr>
          </a:lstStyle>
          <a:p>
            <a:pPr lvl="0"/>
            <a:r>
              <a:rPr lang="en-GB"/>
              <a:t>.</a:t>
            </a:r>
          </a:p>
        </p:txBody>
      </p:sp>
      <p:grpSp>
        <p:nvGrpSpPr>
          <p:cNvPr id="10" name="Groep 9">
            <a:extLst>
              <a:ext uri="{FF2B5EF4-FFF2-40B4-BE49-F238E27FC236}">
                <a16:creationId xmlns:a16="http://schemas.microsoft.com/office/drawing/2014/main" id="{2D3B3783-BF87-416D-8312-A253A1630159}"/>
              </a:ext>
            </a:extLst>
          </p:cNvPr>
          <p:cNvGrpSpPr/>
          <p:nvPr userDrawn="1"/>
        </p:nvGrpSpPr>
        <p:grpSpPr>
          <a:xfrm>
            <a:off x="12262861" y="576000"/>
            <a:ext cx="1130143" cy="757167"/>
            <a:chOff x="9197145" y="1199569"/>
            <a:chExt cx="847607" cy="567875"/>
          </a:xfrm>
        </p:grpSpPr>
        <p:sp>
          <p:nvSpPr>
            <p:cNvPr id="16" name="Freeform 20">
              <a:extLst>
                <a:ext uri="{FF2B5EF4-FFF2-40B4-BE49-F238E27FC236}">
                  <a16:creationId xmlns:a16="http://schemas.microsoft.com/office/drawing/2014/main" id="{B92E4F29-1E59-41AA-8B6A-AB0CE0321FCD}"/>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8F013AE7-A940-4288-807D-4C6C090D30BE}"/>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1472432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Title slide - Active - 1 ">
    <p:spTree>
      <p:nvGrpSpPr>
        <p:cNvPr id="1" name=""/>
        <p:cNvGrpSpPr/>
        <p:nvPr/>
      </p:nvGrpSpPr>
      <p:grpSpPr>
        <a:xfrm>
          <a:off x="0" y="0"/>
          <a:ext cx="0" cy="0"/>
          <a:chOff x="0" y="0"/>
          <a:chExt cx="0" cy="0"/>
        </a:xfrm>
      </p:grpSpPr>
      <p:pic>
        <p:nvPicPr>
          <p:cNvPr id="14" name="Tijdelijke aanduiding voor afbeelding 6" descr="Afbeelding met binnen, muur&#10;&#10;Automatisch gegenereerde beschrijving">
            <a:extLst>
              <a:ext uri="{FF2B5EF4-FFF2-40B4-BE49-F238E27FC236}">
                <a16:creationId xmlns:a16="http://schemas.microsoft.com/office/drawing/2014/main" id="{3F0055B5-4F8F-4010-8BC1-28C2520894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1" name="Tijdelijke aanduiding voor tekst 17">
            <a:extLst>
              <a:ext uri="{FF2B5EF4-FFF2-40B4-BE49-F238E27FC236}">
                <a16:creationId xmlns:a16="http://schemas.microsoft.com/office/drawing/2014/main" id="{F2987DBE-F20D-4E14-8FBE-B884FFEC2C9F}"/>
              </a:ext>
            </a:extLst>
          </p:cNvPr>
          <p:cNvSpPr>
            <a:spLocks noGrp="1"/>
          </p:cNvSpPr>
          <p:nvPr>
            <p:ph type="body" sz="quarter" idx="18" hasCustomPrompt="1"/>
          </p:nvPr>
        </p:nvSpPr>
        <p:spPr>
          <a:xfrm>
            <a:off x="336553" y="0"/>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3" y="6536947"/>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1"/>
            <a:ext cx="3168651" cy="429684"/>
          </a:xfrm>
        </p:spPr>
        <p:txBody>
          <a:bodyPr wrap="none" lIns="0">
            <a:noAutofit/>
          </a:bodyPr>
          <a:lstStyle>
            <a:lvl1pPr marL="0" indent="0" algn="l">
              <a:buNone/>
              <a:defRPr sz="1333"/>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Subtitle</a:t>
            </a:r>
          </a:p>
        </p:txBody>
      </p:sp>
      <p:grpSp>
        <p:nvGrpSpPr>
          <p:cNvPr id="15" name="Groep 14">
            <a:extLst>
              <a:ext uri="{FF2B5EF4-FFF2-40B4-BE49-F238E27FC236}">
                <a16:creationId xmlns:a16="http://schemas.microsoft.com/office/drawing/2014/main" id="{5719CCBA-0A8C-4DA3-A2BF-6F4EFD7ECA57}"/>
              </a:ext>
            </a:extLst>
          </p:cNvPr>
          <p:cNvGrpSpPr/>
          <p:nvPr userDrawn="1"/>
        </p:nvGrpSpPr>
        <p:grpSpPr>
          <a:xfrm>
            <a:off x="12262861" y="576000"/>
            <a:ext cx="1130143" cy="757167"/>
            <a:chOff x="9197145" y="1199569"/>
            <a:chExt cx="847607" cy="567875"/>
          </a:xfrm>
        </p:grpSpPr>
        <p:sp>
          <p:nvSpPr>
            <p:cNvPr id="16" name="Freeform 20">
              <a:extLst>
                <a:ext uri="{FF2B5EF4-FFF2-40B4-BE49-F238E27FC236}">
                  <a16:creationId xmlns:a16="http://schemas.microsoft.com/office/drawing/2014/main" id="{E613E7A1-9EE6-403B-A778-AAEC3C3F1F2D}"/>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C3750E03-2E3B-4B06-AEBC-30BD5F6674C9}"/>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
        <p:nvSpPr>
          <p:cNvPr id="10" name="Tijdelijke aanduiding voor tekst nw">
            <a:extLst>
              <a:ext uri="{FF2B5EF4-FFF2-40B4-BE49-F238E27FC236}">
                <a16:creationId xmlns:a16="http://schemas.microsoft.com/office/drawing/2014/main" id="{E435EC13-FDF2-4EC6-B669-C547E72F5F9C}"/>
              </a:ext>
            </a:extLst>
          </p:cNvPr>
          <p:cNvSpPr>
            <a:spLocks noGrp="1"/>
          </p:cNvSpPr>
          <p:nvPr>
            <p:ph type="body" sz="quarter" idx="19" hasCustomPrompt="1"/>
          </p:nvPr>
        </p:nvSpPr>
        <p:spPr>
          <a:xfrm>
            <a:off x="662400" y="374400"/>
            <a:ext cx="1737600" cy="1046400"/>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33">
                <a:solidFill>
                  <a:schemeClr val="bg1">
                    <a:alpha val="80000"/>
                  </a:schemeClr>
                </a:solidFill>
              </a:defRPr>
            </a:lvl1pPr>
            <a:lvl2pPr marL="251878" indent="0">
              <a:buNone/>
              <a:defRPr/>
            </a:lvl2pPr>
            <a:lvl3pPr marL="486821" indent="0">
              <a:buNone/>
              <a:defRPr/>
            </a:lvl3pPr>
            <a:lvl4pPr marL="732348" indent="0">
              <a:buNone/>
              <a:defRPr/>
            </a:lvl4pPr>
            <a:lvl5pPr marL="967293" indent="0">
              <a:buNone/>
              <a:defRPr/>
            </a:lvl5pPr>
          </a:lstStyle>
          <a:p>
            <a:pPr lvl="0"/>
            <a:r>
              <a:rPr lang="en-GB"/>
              <a:t>.</a:t>
            </a:r>
          </a:p>
        </p:txBody>
      </p:sp>
    </p:spTree>
    <p:extLst>
      <p:ext uri="{BB962C8B-B14F-4D97-AF65-F5344CB8AC3E}">
        <p14:creationId xmlns:p14="http://schemas.microsoft.com/office/powerpoint/2010/main" val="1304579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Title slide - Active - 2">
    <p:spTree>
      <p:nvGrpSpPr>
        <p:cNvPr id="1" name=""/>
        <p:cNvGrpSpPr/>
        <p:nvPr/>
      </p:nvGrpSpPr>
      <p:grpSpPr>
        <a:xfrm>
          <a:off x="0" y="0"/>
          <a:ext cx="0" cy="0"/>
          <a:chOff x="0" y="0"/>
          <a:chExt cx="0" cy="0"/>
        </a:xfrm>
      </p:grpSpPr>
      <p:pic>
        <p:nvPicPr>
          <p:cNvPr id="10" name="Picture Placeholder 6" descr="A person and person sitting on a bench&#10;&#10;Description automatically generated with low confidence">
            <a:extLst>
              <a:ext uri="{FF2B5EF4-FFF2-40B4-BE49-F238E27FC236}">
                <a16:creationId xmlns:a16="http://schemas.microsoft.com/office/drawing/2014/main" id="{A13B8CCE-C87F-42F4-8FA1-028F5EEACA01}"/>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Tijdelijke aanduiding voor tekst 17">
            <a:extLst>
              <a:ext uri="{FF2B5EF4-FFF2-40B4-BE49-F238E27FC236}">
                <a16:creationId xmlns:a16="http://schemas.microsoft.com/office/drawing/2014/main" id="{A9DFDAC0-C70A-483A-A0B7-254638501253}"/>
              </a:ext>
            </a:extLst>
          </p:cNvPr>
          <p:cNvSpPr>
            <a:spLocks noGrp="1"/>
          </p:cNvSpPr>
          <p:nvPr>
            <p:ph type="body" sz="quarter" idx="18" hasCustomPrompt="1"/>
          </p:nvPr>
        </p:nvSpPr>
        <p:spPr>
          <a:xfrm>
            <a:off x="336553" y="0"/>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3" y="6536947"/>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1"/>
            <a:ext cx="3168651" cy="429684"/>
          </a:xfrm>
        </p:spPr>
        <p:txBody>
          <a:bodyPr wrap="none" lIns="0">
            <a:noAutofit/>
          </a:bodyPr>
          <a:lstStyle>
            <a:lvl1pPr marL="0" indent="0" algn="l">
              <a:buNone/>
              <a:defRPr sz="1333"/>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Subtitle</a:t>
            </a:r>
          </a:p>
        </p:txBody>
      </p:sp>
      <p:sp>
        <p:nvSpPr>
          <p:cNvPr id="11" name="Tijdelijke aanduiding voor tekst 21">
            <a:extLst>
              <a:ext uri="{FF2B5EF4-FFF2-40B4-BE49-F238E27FC236}">
                <a16:creationId xmlns:a16="http://schemas.microsoft.com/office/drawing/2014/main" id="{864B06FA-CA70-4595-8439-FEB797046608}"/>
              </a:ext>
            </a:extLst>
          </p:cNvPr>
          <p:cNvSpPr>
            <a:spLocks noGrp="1"/>
          </p:cNvSpPr>
          <p:nvPr>
            <p:ph type="body" sz="quarter" idx="19" hasCustomPrompt="1"/>
          </p:nvPr>
        </p:nvSpPr>
        <p:spPr>
          <a:xfrm>
            <a:off x="662400" y="374400"/>
            <a:ext cx="1737600" cy="1046400"/>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33">
                <a:solidFill>
                  <a:schemeClr val="bg1">
                    <a:alpha val="80000"/>
                  </a:schemeClr>
                </a:solidFill>
              </a:defRPr>
            </a:lvl1pPr>
            <a:lvl2pPr marL="251878" indent="0">
              <a:buNone/>
              <a:defRPr/>
            </a:lvl2pPr>
            <a:lvl3pPr marL="486821" indent="0">
              <a:buNone/>
              <a:defRPr/>
            </a:lvl3pPr>
            <a:lvl4pPr marL="732348" indent="0">
              <a:buNone/>
              <a:defRPr/>
            </a:lvl4pPr>
            <a:lvl5pPr marL="967293" indent="0">
              <a:buNone/>
              <a:defRPr/>
            </a:lvl5pPr>
          </a:lstStyle>
          <a:p>
            <a:pPr lvl="0"/>
            <a:r>
              <a:rPr lang="en-GB"/>
              <a:t>.</a:t>
            </a:r>
          </a:p>
        </p:txBody>
      </p:sp>
      <p:grpSp>
        <p:nvGrpSpPr>
          <p:cNvPr id="15" name="Groep 14">
            <a:extLst>
              <a:ext uri="{FF2B5EF4-FFF2-40B4-BE49-F238E27FC236}">
                <a16:creationId xmlns:a16="http://schemas.microsoft.com/office/drawing/2014/main" id="{26B582DD-85D3-4396-A1BD-1FE9E211CE2B}"/>
              </a:ext>
            </a:extLst>
          </p:cNvPr>
          <p:cNvGrpSpPr/>
          <p:nvPr userDrawn="1"/>
        </p:nvGrpSpPr>
        <p:grpSpPr>
          <a:xfrm>
            <a:off x="12262861" y="576000"/>
            <a:ext cx="1130143" cy="757167"/>
            <a:chOff x="9197145" y="1199569"/>
            <a:chExt cx="847607" cy="567875"/>
          </a:xfrm>
        </p:grpSpPr>
        <p:sp>
          <p:nvSpPr>
            <p:cNvPr id="16" name="Freeform 20">
              <a:extLst>
                <a:ext uri="{FF2B5EF4-FFF2-40B4-BE49-F238E27FC236}">
                  <a16:creationId xmlns:a16="http://schemas.microsoft.com/office/drawing/2014/main" id="{040EC359-9BDD-4775-A957-4137B57732A5}"/>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6F63FEC7-0371-4FD8-952D-795EC110286B}"/>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2094432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Title slide - Performance - 1 ">
    <p:spTree>
      <p:nvGrpSpPr>
        <p:cNvPr id="1" name=""/>
        <p:cNvGrpSpPr/>
        <p:nvPr/>
      </p:nvGrpSpPr>
      <p:grpSpPr>
        <a:xfrm>
          <a:off x="0" y="0"/>
          <a:ext cx="0" cy="0"/>
          <a:chOff x="0" y="0"/>
          <a:chExt cx="0" cy="0"/>
        </a:xfrm>
      </p:grpSpPr>
      <p:pic>
        <p:nvPicPr>
          <p:cNvPr id="14" name="Tijdelijke aanduiding voor afbeelding 6">
            <a:extLst>
              <a:ext uri="{FF2B5EF4-FFF2-40B4-BE49-F238E27FC236}">
                <a16:creationId xmlns:a16="http://schemas.microsoft.com/office/drawing/2014/main" id="{3F0055B5-4F8F-4010-8BC1-28C2520894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10" name="Tijdelijke aanduiding voor tekst 17">
            <a:extLst>
              <a:ext uri="{FF2B5EF4-FFF2-40B4-BE49-F238E27FC236}">
                <a16:creationId xmlns:a16="http://schemas.microsoft.com/office/drawing/2014/main" id="{9910016A-8BEF-4B94-83A2-63DB595320AD}"/>
              </a:ext>
            </a:extLst>
          </p:cNvPr>
          <p:cNvSpPr>
            <a:spLocks noGrp="1"/>
          </p:cNvSpPr>
          <p:nvPr>
            <p:ph type="body" sz="quarter" idx="18" hasCustomPrompt="1"/>
          </p:nvPr>
        </p:nvSpPr>
        <p:spPr>
          <a:xfrm>
            <a:off x="336553" y="0"/>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3" y="6536947"/>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1"/>
            <a:ext cx="3168651" cy="429684"/>
          </a:xfrm>
        </p:spPr>
        <p:txBody>
          <a:bodyPr wrap="none" lIns="0">
            <a:noAutofit/>
          </a:bodyPr>
          <a:lstStyle>
            <a:lvl1pPr marL="0" indent="0" algn="l">
              <a:buNone/>
              <a:defRPr sz="1333"/>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Subtitle</a:t>
            </a:r>
          </a:p>
        </p:txBody>
      </p:sp>
      <p:grpSp>
        <p:nvGrpSpPr>
          <p:cNvPr id="15" name="Groep 14">
            <a:extLst>
              <a:ext uri="{FF2B5EF4-FFF2-40B4-BE49-F238E27FC236}">
                <a16:creationId xmlns:a16="http://schemas.microsoft.com/office/drawing/2014/main" id="{5719CCBA-0A8C-4DA3-A2BF-6F4EFD7ECA57}"/>
              </a:ext>
            </a:extLst>
          </p:cNvPr>
          <p:cNvGrpSpPr/>
          <p:nvPr userDrawn="1"/>
        </p:nvGrpSpPr>
        <p:grpSpPr>
          <a:xfrm>
            <a:off x="12262861" y="576000"/>
            <a:ext cx="1130143" cy="757167"/>
            <a:chOff x="9197145" y="1199569"/>
            <a:chExt cx="847607" cy="567875"/>
          </a:xfrm>
        </p:grpSpPr>
        <p:sp>
          <p:nvSpPr>
            <p:cNvPr id="16" name="Freeform 20">
              <a:extLst>
                <a:ext uri="{FF2B5EF4-FFF2-40B4-BE49-F238E27FC236}">
                  <a16:creationId xmlns:a16="http://schemas.microsoft.com/office/drawing/2014/main" id="{E613E7A1-9EE6-403B-A778-AAEC3C3F1F2D}"/>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C3750E03-2E3B-4B06-AEBC-30BD5F6674C9}"/>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
        <p:nvSpPr>
          <p:cNvPr id="11" name="Tijdelijke aanduiding voor tekst nw1">
            <a:extLst>
              <a:ext uri="{FF2B5EF4-FFF2-40B4-BE49-F238E27FC236}">
                <a16:creationId xmlns:a16="http://schemas.microsoft.com/office/drawing/2014/main" id="{8AB4CD50-3116-41B0-A75A-9CB826D08176}"/>
              </a:ext>
            </a:extLst>
          </p:cNvPr>
          <p:cNvSpPr>
            <a:spLocks noGrp="1"/>
          </p:cNvSpPr>
          <p:nvPr>
            <p:ph type="body" sz="quarter" idx="19" hasCustomPrompt="1"/>
          </p:nvPr>
        </p:nvSpPr>
        <p:spPr>
          <a:xfrm>
            <a:off x="662400" y="374400"/>
            <a:ext cx="1737600" cy="1046400"/>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33">
                <a:solidFill>
                  <a:schemeClr val="bg1">
                    <a:alpha val="80000"/>
                  </a:schemeClr>
                </a:solidFill>
              </a:defRPr>
            </a:lvl1pPr>
            <a:lvl2pPr marL="251878" indent="0">
              <a:buNone/>
              <a:defRPr/>
            </a:lvl2pPr>
            <a:lvl3pPr marL="486821" indent="0">
              <a:buNone/>
              <a:defRPr/>
            </a:lvl3pPr>
            <a:lvl4pPr marL="732348" indent="0">
              <a:buNone/>
              <a:defRPr/>
            </a:lvl4pPr>
            <a:lvl5pPr marL="967293" indent="0">
              <a:buNone/>
              <a:defRPr/>
            </a:lvl5pPr>
          </a:lstStyle>
          <a:p>
            <a:pPr lvl="0"/>
            <a:r>
              <a:rPr lang="en-GB"/>
              <a:t>.</a:t>
            </a:r>
          </a:p>
        </p:txBody>
      </p:sp>
    </p:spTree>
    <p:extLst>
      <p:ext uri="{BB962C8B-B14F-4D97-AF65-F5344CB8AC3E}">
        <p14:creationId xmlns:p14="http://schemas.microsoft.com/office/powerpoint/2010/main" val="4198949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Title slide - Performance - 2">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BF0DDFC9-0860-48BA-A78B-BE14E8D6017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10" name="Tijdelijke aanduiding voor tekst 17">
            <a:extLst>
              <a:ext uri="{FF2B5EF4-FFF2-40B4-BE49-F238E27FC236}">
                <a16:creationId xmlns:a16="http://schemas.microsoft.com/office/drawing/2014/main" id="{68440ABF-9560-47F3-A588-3084E1DC61D7}"/>
              </a:ext>
            </a:extLst>
          </p:cNvPr>
          <p:cNvSpPr>
            <a:spLocks noGrp="1"/>
          </p:cNvSpPr>
          <p:nvPr>
            <p:ph type="body" sz="quarter" idx="18" hasCustomPrompt="1"/>
          </p:nvPr>
        </p:nvSpPr>
        <p:spPr>
          <a:xfrm>
            <a:off x="336553" y="0"/>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3" y="6536947"/>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1"/>
            <a:ext cx="3168651" cy="429684"/>
          </a:xfrm>
        </p:spPr>
        <p:txBody>
          <a:bodyPr wrap="none" lIns="0">
            <a:noAutofit/>
          </a:bodyPr>
          <a:lstStyle>
            <a:lvl1pPr marL="0" indent="0" algn="l">
              <a:buNone/>
              <a:defRPr sz="1333"/>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Subtitle</a:t>
            </a:r>
          </a:p>
        </p:txBody>
      </p:sp>
      <p:grpSp>
        <p:nvGrpSpPr>
          <p:cNvPr id="15" name="Groep 14">
            <a:extLst>
              <a:ext uri="{FF2B5EF4-FFF2-40B4-BE49-F238E27FC236}">
                <a16:creationId xmlns:a16="http://schemas.microsoft.com/office/drawing/2014/main" id="{5719CCBA-0A8C-4DA3-A2BF-6F4EFD7ECA57}"/>
              </a:ext>
            </a:extLst>
          </p:cNvPr>
          <p:cNvGrpSpPr/>
          <p:nvPr userDrawn="1"/>
        </p:nvGrpSpPr>
        <p:grpSpPr>
          <a:xfrm>
            <a:off x="12262861" y="576000"/>
            <a:ext cx="1130143" cy="757167"/>
            <a:chOff x="9197145" y="1199569"/>
            <a:chExt cx="847607" cy="567875"/>
          </a:xfrm>
        </p:grpSpPr>
        <p:sp>
          <p:nvSpPr>
            <p:cNvPr id="16" name="Freeform 20">
              <a:extLst>
                <a:ext uri="{FF2B5EF4-FFF2-40B4-BE49-F238E27FC236}">
                  <a16:creationId xmlns:a16="http://schemas.microsoft.com/office/drawing/2014/main" id="{E613E7A1-9EE6-403B-A778-AAEC3C3F1F2D}"/>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C3750E03-2E3B-4B06-AEBC-30BD5F6674C9}"/>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
        <p:nvSpPr>
          <p:cNvPr id="11" name="Tijdelijke aanduiding voor tekst nw1">
            <a:extLst>
              <a:ext uri="{FF2B5EF4-FFF2-40B4-BE49-F238E27FC236}">
                <a16:creationId xmlns:a16="http://schemas.microsoft.com/office/drawing/2014/main" id="{8AB4CD50-3116-41B0-A75A-9CB826D08176}"/>
              </a:ext>
            </a:extLst>
          </p:cNvPr>
          <p:cNvSpPr>
            <a:spLocks noGrp="1"/>
          </p:cNvSpPr>
          <p:nvPr>
            <p:ph type="body" sz="quarter" idx="19" hasCustomPrompt="1"/>
          </p:nvPr>
        </p:nvSpPr>
        <p:spPr>
          <a:xfrm>
            <a:off x="662400" y="374400"/>
            <a:ext cx="1737600" cy="1046400"/>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33">
                <a:solidFill>
                  <a:schemeClr val="bg1">
                    <a:alpha val="80000"/>
                  </a:schemeClr>
                </a:solidFill>
              </a:defRPr>
            </a:lvl1pPr>
            <a:lvl2pPr marL="251878" indent="0">
              <a:buNone/>
              <a:defRPr/>
            </a:lvl2pPr>
            <a:lvl3pPr marL="486821" indent="0">
              <a:buNone/>
              <a:defRPr/>
            </a:lvl3pPr>
            <a:lvl4pPr marL="732348" indent="0">
              <a:buNone/>
              <a:defRPr/>
            </a:lvl4pPr>
            <a:lvl5pPr marL="967293" indent="0">
              <a:buNone/>
              <a:defRPr/>
            </a:lvl5pPr>
          </a:lstStyle>
          <a:p>
            <a:pPr lvl="0"/>
            <a:r>
              <a:rPr lang="en-GB"/>
              <a:t>.</a:t>
            </a:r>
          </a:p>
        </p:txBody>
      </p:sp>
    </p:spTree>
    <p:extLst>
      <p:ext uri="{BB962C8B-B14F-4D97-AF65-F5344CB8AC3E}">
        <p14:creationId xmlns:p14="http://schemas.microsoft.com/office/powerpoint/2010/main" val="1944602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Title slide - Performance - 3">
    <p:spTree>
      <p:nvGrpSpPr>
        <p:cNvPr id="1" name=""/>
        <p:cNvGrpSpPr/>
        <p:nvPr/>
      </p:nvGrpSpPr>
      <p:grpSpPr>
        <a:xfrm>
          <a:off x="0" y="0"/>
          <a:ext cx="0" cy="0"/>
          <a:chOff x="0" y="0"/>
          <a:chExt cx="0" cy="0"/>
        </a:xfrm>
      </p:grpSpPr>
      <p:pic>
        <p:nvPicPr>
          <p:cNvPr id="12" name="Picture Placeholder 6" descr="A skier going down a slope&#10;&#10;Description automatically generated with low confidence">
            <a:extLst>
              <a:ext uri="{FF2B5EF4-FFF2-40B4-BE49-F238E27FC236}">
                <a16:creationId xmlns:a16="http://schemas.microsoft.com/office/drawing/2014/main" id="{559323DD-AA67-40D2-B826-185626C1C23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4" name="Tijdelijke aanduiding voor tekst 17">
            <a:extLst>
              <a:ext uri="{FF2B5EF4-FFF2-40B4-BE49-F238E27FC236}">
                <a16:creationId xmlns:a16="http://schemas.microsoft.com/office/drawing/2014/main" id="{5F101D7A-90DD-406F-903A-337FCC62749F}"/>
              </a:ext>
            </a:extLst>
          </p:cNvPr>
          <p:cNvSpPr>
            <a:spLocks noGrp="1"/>
          </p:cNvSpPr>
          <p:nvPr>
            <p:ph type="body" sz="quarter" idx="18" hasCustomPrompt="1"/>
          </p:nvPr>
        </p:nvSpPr>
        <p:spPr>
          <a:xfrm>
            <a:off x="336553" y="0"/>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3" y="6536947"/>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1"/>
            <a:ext cx="3168651" cy="429684"/>
          </a:xfrm>
        </p:spPr>
        <p:txBody>
          <a:bodyPr wrap="none" lIns="0">
            <a:noAutofit/>
          </a:bodyPr>
          <a:lstStyle>
            <a:lvl1pPr marL="0" indent="0" algn="l">
              <a:buNone/>
              <a:defRPr sz="1333"/>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Subtitle</a:t>
            </a:r>
          </a:p>
        </p:txBody>
      </p:sp>
      <p:grpSp>
        <p:nvGrpSpPr>
          <p:cNvPr id="15" name="Groep 14">
            <a:extLst>
              <a:ext uri="{FF2B5EF4-FFF2-40B4-BE49-F238E27FC236}">
                <a16:creationId xmlns:a16="http://schemas.microsoft.com/office/drawing/2014/main" id="{5719CCBA-0A8C-4DA3-A2BF-6F4EFD7ECA57}"/>
              </a:ext>
            </a:extLst>
          </p:cNvPr>
          <p:cNvGrpSpPr/>
          <p:nvPr userDrawn="1"/>
        </p:nvGrpSpPr>
        <p:grpSpPr>
          <a:xfrm>
            <a:off x="12262861" y="576000"/>
            <a:ext cx="1130143" cy="757167"/>
            <a:chOff x="9197145" y="1199569"/>
            <a:chExt cx="847607" cy="567875"/>
          </a:xfrm>
        </p:grpSpPr>
        <p:sp>
          <p:nvSpPr>
            <p:cNvPr id="16" name="Freeform 20">
              <a:extLst>
                <a:ext uri="{FF2B5EF4-FFF2-40B4-BE49-F238E27FC236}">
                  <a16:creationId xmlns:a16="http://schemas.microsoft.com/office/drawing/2014/main" id="{E613E7A1-9EE6-403B-A778-AAEC3C3F1F2D}"/>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C3750E03-2E3B-4B06-AEBC-30BD5F6674C9}"/>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
        <p:nvSpPr>
          <p:cNvPr id="11" name="Tijdelijke aanduiding voor tekst nw1">
            <a:extLst>
              <a:ext uri="{FF2B5EF4-FFF2-40B4-BE49-F238E27FC236}">
                <a16:creationId xmlns:a16="http://schemas.microsoft.com/office/drawing/2014/main" id="{8AB4CD50-3116-41B0-A75A-9CB826D08176}"/>
              </a:ext>
            </a:extLst>
          </p:cNvPr>
          <p:cNvSpPr>
            <a:spLocks noGrp="1"/>
          </p:cNvSpPr>
          <p:nvPr>
            <p:ph type="body" sz="quarter" idx="19" hasCustomPrompt="1"/>
          </p:nvPr>
        </p:nvSpPr>
        <p:spPr>
          <a:xfrm>
            <a:off x="662400" y="374400"/>
            <a:ext cx="1737600" cy="1046400"/>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33">
                <a:solidFill>
                  <a:schemeClr val="bg1">
                    <a:alpha val="80000"/>
                  </a:schemeClr>
                </a:solidFill>
              </a:defRPr>
            </a:lvl1pPr>
            <a:lvl2pPr marL="251878" indent="0">
              <a:buNone/>
              <a:defRPr/>
            </a:lvl2pPr>
            <a:lvl3pPr marL="486821" indent="0">
              <a:buNone/>
              <a:defRPr/>
            </a:lvl3pPr>
            <a:lvl4pPr marL="732348" indent="0">
              <a:buNone/>
              <a:defRPr/>
            </a:lvl4pPr>
            <a:lvl5pPr marL="967293" indent="0">
              <a:buNone/>
              <a:defRPr/>
            </a:lvl5pPr>
          </a:lstStyle>
          <a:p>
            <a:pPr lvl="0"/>
            <a:r>
              <a:rPr lang="en-GB"/>
              <a:t>.</a:t>
            </a:r>
          </a:p>
        </p:txBody>
      </p:sp>
    </p:spTree>
    <p:extLst>
      <p:ext uri="{BB962C8B-B14F-4D97-AF65-F5344CB8AC3E}">
        <p14:creationId xmlns:p14="http://schemas.microsoft.com/office/powerpoint/2010/main" val="4018224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Title slide - Performance - 4">
    <p:spTree>
      <p:nvGrpSpPr>
        <p:cNvPr id="1" name=""/>
        <p:cNvGrpSpPr/>
        <p:nvPr/>
      </p:nvGrpSpPr>
      <p:grpSpPr>
        <a:xfrm>
          <a:off x="0" y="0"/>
          <a:ext cx="0" cy="0"/>
          <a:chOff x="0" y="0"/>
          <a:chExt cx="0" cy="0"/>
        </a:xfrm>
      </p:grpSpPr>
      <p:pic>
        <p:nvPicPr>
          <p:cNvPr id="4" name="Picture 3" descr="A person skiing down a mountain&#10;&#10;Description automatically generated with low confidence">
            <a:extLst>
              <a:ext uri="{FF2B5EF4-FFF2-40B4-BE49-F238E27FC236}">
                <a16:creationId xmlns:a16="http://schemas.microsoft.com/office/drawing/2014/main" id="{72788981-1A3C-41F7-848A-67B12D9AE3F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10" name="Tijdelijke aanduiding voor tekst 17">
            <a:extLst>
              <a:ext uri="{FF2B5EF4-FFF2-40B4-BE49-F238E27FC236}">
                <a16:creationId xmlns:a16="http://schemas.microsoft.com/office/drawing/2014/main" id="{5736CF6D-A5D6-4CEB-9FF5-2AAB68EE2CDD}"/>
              </a:ext>
            </a:extLst>
          </p:cNvPr>
          <p:cNvSpPr>
            <a:spLocks noGrp="1"/>
          </p:cNvSpPr>
          <p:nvPr>
            <p:ph type="body" sz="quarter" idx="18" hasCustomPrompt="1"/>
          </p:nvPr>
        </p:nvSpPr>
        <p:spPr>
          <a:xfrm>
            <a:off x="336553" y="0"/>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3" y="6536947"/>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1"/>
            <a:ext cx="3168651" cy="429684"/>
          </a:xfrm>
        </p:spPr>
        <p:txBody>
          <a:bodyPr wrap="none" lIns="0">
            <a:noAutofit/>
          </a:bodyPr>
          <a:lstStyle>
            <a:lvl1pPr marL="0" indent="0" algn="l">
              <a:buNone/>
              <a:defRPr sz="1333"/>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Subtitle</a:t>
            </a:r>
          </a:p>
        </p:txBody>
      </p:sp>
      <p:grpSp>
        <p:nvGrpSpPr>
          <p:cNvPr id="15" name="Groep 14">
            <a:extLst>
              <a:ext uri="{FF2B5EF4-FFF2-40B4-BE49-F238E27FC236}">
                <a16:creationId xmlns:a16="http://schemas.microsoft.com/office/drawing/2014/main" id="{5719CCBA-0A8C-4DA3-A2BF-6F4EFD7ECA57}"/>
              </a:ext>
            </a:extLst>
          </p:cNvPr>
          <p:cNvGrpSpPr/>
          <p:nvPr userDrawn="1"/>
        </p:nvGrpSpPr>
        <p:grpSpPr>
          <a:xfrm>
            <a:off x="12262861" y="576000"/>
            <a:ext cx="1130143" cy="757167"/>
            <a:chOff x="9197145" y="1199569"/>
            <a:chExt cx="847607" cy="567875"/>
          </a:xfrm>
        </p:grpSpPr>
        <p:sp>
          <p:nvSpPr>
            <p:cNvPr id="16" name="Freeform 20">
              <a:extLst>
                <a:ext uri="{FF2B5EF4-FFF2-40B4-BE49-F238E27FC236}">
                  <a16:creationId xmlns:a16="http://schemas.microsoft.com/office/drawing/2014/main" id="{E613E7A1-9EE6-403B-A778-AAEC3C3F1F2D}"/>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C3750E03-2E3B-4B06-AEBC-30BD5F6674C9}"/>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
        <p:nvSpPr>
          <p:cNvPr id="11" name="Tijdelijke aanduiding voor tekst nw1">
            <a:extLst>
              <a:ext uri="{FF2B5EF4-FFF2-40B4-BE49-F238E27FC236}">
                <a16:creationId xmlns:a16="http://schemas.microsoft.com/office/drawing/2014/main" id="{8AB4CD50-3116-41B0-A75A-9CB826D08176}"/>
              </a:ext>
            </a:extLst>
          </p:cNvPr>
          <p:cNvSpPr>
            <a:spLocks noGrp="1"/>
          </p:cNvSpPr>
          <p:nvPr>
            <p:ph type="body" sz="quarter" idx="19" hasCustomPrompt="1"/>
          </p:nvPr>
        </p:nvSpPr>
        <p:spPr>
          <a:xfrm>
            <a:off x="662400" y="374400"/>
            <a:ext cx="1737600" cy="1046400"/>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33">
                <a:solidFill>
                  <a:schemeClr val="bg1">
                    <a:alpha val="80000"/>
                  </a:schemeClr>
                </a:solidFill>
              </a:defRPr>
            </a:lvl1pPr>
            <a:lvl2pPr marL="251878" indent="0">
              <a:buNone/>
              <a:defRPr/>
            </a:lvl2pPr>
            <a:lvl3pPr marL="486821" indent="0">
              <a:buNone/>
              <a:defRPr/>
            </a:lvl3pPr>
            <a:lvl4pPr marL="732348" indent="0">
              <a:buNone/>
              <a:defRPr/>
            </a:lvl4pPr>
            <a:lvl5pPr marL="967293" indent="0">
              <a:buNone/>
              <a:defRPr/>
            </a:lvl5pPr>
          </a:lstStyle>
          <a:p>
            <a:pPr lvl="0"/>
            <a:r>
              <a:rPr lang="en-GB"/>
              <a:t>.</a:t>
            </a:r>
          </a:p>
        </p:txBody>
      </p:sp>
    </p:spTree>
    <p:extLst>
      <p:ext uri="{BB962C8B-B14F-4D97-AF65-F5344CB8AC3E}">
        <p14:creationId xmlns:p14="http://schemas.microsoft.com/office/powerpoint/2010/main" val="2467766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Title slide - Performance - 5">
    <p:spTree>
      <p:nvGrpSpPr>
        <p:cNvPr id="1" name=""/>
        <p:cNvGrpSpPr/>
        <p:nvPr/>
      </p:nvGrpSpPr>
      <p:grpSpPr>
        <a:xfrm>
          <a:off x="0" y="0"/>
          <a:ext cx="0" cy="0"/>
          <a:chOff x="0" y="0"/>
          <a:chExt cx="0" cy="0"/>
        </a:xfrm>
      </p:grpSpPr>
      <p:pic>
        <p:nvPicPr>
          <p:cNvPr id="12" name="Picture Placeholder 2">
            <a:extLst>
              <a:ext uri="{FF2B5EF4-FFF2-40B4-BE49-F238E27FC236}">
                <a16:creationId xmlns:a16="http://schemas.microsoft.com/office/drawing/2014/main" id="{76DAE823-89C2-40ED-8D69-348F7A5A7270}"/>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Tijdelijke aanduiding voor tekst 17">
            <a:extLst>
              <a:ext uri="{FF2B5EF4-FFF2-40B4-BE49-F238E27FC236}">
                <a16:creationId xmlns:a16="http://schemas.microsoft.com/office/drawing/2014/main" id="{06322AB3-A7DD-4C99-A0C0-E8D3A2051DBD}"/>
              </a:ext>
            </a:extLst>
          </p:cNvPr>
          <p:cNvSpPr>
            <a:spLocks noGrp="1"/>
          </p:cNvSpPr>
          <p:nvPr>
            <p:ph type="body" sz="quarter" idx="18" hasCustomPrompt="1"/>
          </p:nvPr>
        </p:nvSpPr>
        <p:spPr>
          <a:xfrm>
            <a:off x="336553" y="0"/>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3" y="6536947"/>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1"/>
            <a:ext cx="3168651" cy="429684"/>
          </a:xfrm>
        </p:spPr>
        <p:txBody>
          <a:bodyPr wrap="none" lIns="0">
            <a:noAutofit/>
          </a:bodyPr>
          <a:lstStyle>
            <a:lvl1pPr marL="0" indent="0" algn="l">
              <a:buNone/>
              <a:defRPr sz="1333"/>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Subtitle</a:t>
            </a:r>
          </a:p>
        </p:txBody>
      </p:sp>
      <p:sp>
        <p:nvSpPr>
          <p:cNvPr id="11" name="Tijdelijke aanduiding voor tekst 21">
            <a:extLst>
              <a:ext uri="{FF2B5EF4-FFF2-40B4-BE49-F238E27FC236}">
                <a16:creationId xmlns:a16="http://schemas.microsoft.com/office/drawing/2014/main" id="{864B06FA-CA70-4595-8439-FEB797046608}"/>
              </a:ext>
            </a:extLst>
          </p:cNvPr>
          <p:cNvSpPr>
            <a:spLocks noGrp="1"/>
          </p:cNvSpPr>
          <p:nvPr>
            <p:ph type="body" sz="quarter" idx="19" hasCustomPrompt="1"/>
          </p:nvPr>
        </p:nvSpPr>
        <p:spPr>
          <a:xfrm>
            <a:off x="662400" y="374400"/>
            <a:ext cx="1737600" cy="1046400"/>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33">
                <a:solidFill>
                  <a:schemeClr val="bg1">
                    <a:alpha val="80000"/>
                  </a:schemeClr>
                </a:solidFill>
              </a:defRPr>
            </a:lvl1pPr>
            <a:lvl2pPr marL="251878" indent="0">
              <a:buNone/>
              <a:defRPr/>
            </a:lvl2pPr>
            <a:lvl3pPr marL="486821" indent="0">
              <a:buNone/>
              <a:defRPr/>
            </a:lvl3pPr>
            <a:lvl4pPr marL="732348" indent="0">
              <a:buNone/>
              <a:defRPr/>
            </a:lvl4pPr>
            <a:lvl5pPr marL="967293" indent="0">
              <a:buNone/>
              <a:defRPr/>
            </a:lvl5pPr>
          </a:lstStyle>
          <a:p>
            <a:pPr lvl="0"/>
            <a:r>
              <a:rPr lang="en-GB"/>
              <a:t>.</a:t>
            </a:r>
          </a:p>
        </p:txBody>
      </p:sp>
      <p:grpSp>
        <p:nvGrpSpPr>
          <p:cNvPr id="15" name="Groep 14">
            <a:extLst>
              <a:ext uri="{FF2B5EF4-FFF2-40B4-BE49-F238E27FC236}">
                <a16:creationId xmlns:a16="http://schemas.microsoft.com/office/drawing/2014/main" id="{5719CCBA-0A8C-4DA3-A2BF-6F4EFD7ECA57}"/>
              </a:ext>
            </a:extLst>
          </p:cNvPr>
          <p:cNvGrpSpPr/>
          <p:nvPr userDrawn="1"/>
        </p:nvGrpSpPr>
        <p:grpSpPr>
          <a:xfrm>
            <a:off x="12262861" y="576000"/>
            <a:ext cx="1130143" cy="757167"/>
            <a:chOff x="9197145" y="1199569"/>
            <a:chExt cx="847607" cy="567875"/>
          </a:xfrm>
        </p:grpSpPr>
        <p:sp>
          <p:nvSpPr>
            <p:cNvPr id="16" name="Freeform 20">
              <a:extLst>
                <a:ext uri="{FF2B5EF4-FFF2-40B4-BE49-F238E27FC236}">
                  <a16:creationId xmlns:a16="http://schemas.microsoft.com/office/drawing/2014/main" id="{E613E7A1-9EE6-403B-A778-AAEC3C3F1F2D}"/>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C3750E03-2E3B-4B06-AEBC-30BD5F6674C9}"/>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2318039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Title slide - Medical">
    <p:spTree>
      <p:nvGrpSpPr>
        <p:cNvPr id="1" name=""/>
        <p:cNvGrpSpPr/>
        <p:nvPr/>
      </p:nvGrpSpPr>
      <p:grpSpPr>
        <a:xfrm>
          <a:off x="0" y="0"/>
          <a:ext cx="0" cy="0"/>
          <a:chOff x="0" y="0"/>
          <a:chExt cx="0" cy="0"/>
        </a:xfrm>
      </p:grpSpPr>
      <p:pic>
        <p:nvPicPr>
          <p:cNvPr id="10" name="Picture Placeholder 6" descr="A person and person sitting on a pink chair&#10;&#10;Description automatically generated with low confidence">
            <a:extLst>
              <a:ext uri="{FF2B5EF4-FFF2-40B4-BE49-F238E27FC236}">
                <a16:creationId xmlns:a16="http://schemas.microsoft.com/office/drawing/2014/main" id="{B9369420-5C99-49AF-B3BD-721BD79A1AA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Tijdelijke aanduiding voor tekst 17">
            <a:extLst>
              <a:ext uri="{FF2B5EF4-FFF2-40B4-BE49-F238E27FC236}">
                <a16:creationId xmlns:a16="http://schemas.microsoft.com/office/drawing/2014/main" id="{0A94012A-1853-4898-91AB-00F634F8E600}"/>
              </a:ext>
            </a:extLst>
          </p:cNvPr>
          <p:cNvSpPr>
            <a:spLocks noGrp="1"/>
          </p:cNvSpPr>
          <p:nvPr>
            <p:ph type="body" sz="quarter" idx="18" hasCustomPrompt="1"/>
          </p:nvPr>
        </p:nvSpPr>
        <p:spPr>
          <a:xfrm>
            <a:off x="336553" y="0"/>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3" y="6536947"/>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1"/>
            <a:ext cx="3168651" cy="429684"/>
          </a:xfrm>
        </p:spPr>
        <p:txBody>
          <a:bodyPr wrap="none" lIns="0">
            <a:noAutofit/>
          </a:bodyPr>
          <a:lstStyle>
            <a:lvl1pPr marL="0" indent="0" algn="l">
              <a:buNone/>
              <a:defRPr sz="1333"/>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Subtitle</a:t>
            </a:r>
          </a:p>
        </p:txBody>
      </p:sp>
      <p:sp>
        <p:nvSpPr>
          <p:cNvPr id="11" name="Tijdelijke aanduiding voor tekst 21">
            <a:extLst>
              <a:ext uri="{FF2B5EF4-FFF2-40B4-BE49-F238E27FC236}">
                <a16:creationId xmlns:a16="http://schemas.microsoft.com/office/drawing/2014/main" id="{864B06FA-CA70-4595-8439-FEB797046608}"/>
              </a:ext>
            </a:extLst>
          </p:cNvPr>
          <p:cNvSpPr>
            <a:spLocks noGrp="1"/>
          </p:cNvSpPr>
          <p:nvPr>
            <p:ph type="body" sz="quarter" idx="19" hasCustomPrompt="1"/>
          </p:nvPr>
        </p:nvSpPr>
        <p:spPr>
          <a:xfrm>
            <a:off x="662400" y="374400"/>
            <a:ext cx="1737600" cy="1046400"/>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33">
                <a:solidFill>
                  <a:schemeClr val="bg1">
                    <a:alpha val="80000"/>
                  </a:schemeClr>
                </a:solidFill>
              </a:defRPr>
            </a:lvl1pPr>
            <a:lvl2pPr marL="251878" indent="0">
              <a:buNone/>
              <a:defRPr/>
            </a:lvl2pPr>
            <a:lvl3pPr marL="486821" indent="0">
              <a:buNone/>
              <a:defRPr/>
            </a:lvl3pPr>
            <a:lvl4pPr marL="732348" indent="0">
              <a:buNone/>
              <a:defRPr/>
            </a:lvl4pPr>
            <a:lvl5pPr marL="967293" indent="0">
              <a:buNone/>
              <a:defRPr/>
            </a:lvl5pPr>
          </a:lstStyle>
          <a:p>
            <a:pPr lvl="0"/>
            <a:r>
              <a:rPr lang="en-GB"/>
              <a:t>.</a:t>
            </a:r>
          </a:p>
        </p:txBody>
      </p:sp>
      <p:grpSp>
        <p:nvGrpSpPr>
          <p:cNvPr id="15" name="Groep 14">
            <a:extLst>
              <a:ext uri="{FF2B5EF4-FFF2-40B4-BE49-F238E27FC236}">
                <a16:creationId xmlns:a16="http://schemas.microsoft.com/office/drawing/2014/main" id="{BAA1BCD9-45E9-4B83-9FEE-F1CE98E92DE8}"/>
              </a:ext>
            </a:extLst>
          </p:cNvPr>
          <p:cNvGrpSpPr/>
          <p:nvPr userDrawn="1"/>
        </p:nvGrpSpPr>
        <p:grpSpPr>
          <a:xfrm>
            <a:off x="12262861" y="576000"/>
            <a:ext cx="1130143" cy="757167"/>
            <a:chOff x="9197145" y="1199569"/>
            <a:chExt cx="847607" cy="567875"/>
          </a:xfrm>
        </p:grpSpPr>
        <p:sp>
          <p:nvSpPr>
            <p:cNvPr id="16" name="Freeform 20">
              <a:extLst>
                <a:ext uri="{FF2B5EF4-FFF2-40B4-BE49-F238E27FC236}">
                  <a16:creationId xmlns:a16="http://schemas.microsoft.com/office/drawing/2014/main" id="{81354EDD-EEE1-4FF1-B136-EAA3435011DC}"/>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652A80FE-093A-4450-AE3E-50E28D0164D7}"/>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1796558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Title slide - Cell">
    <p:spTree>
      <p:nvGrpSpPr>
        <p:cNvPr id="1" name=""/>
        <p:cNvGrpSpPr/>
        <p:nvPr/>
      </p:nvGrpSpPr>
      <p:grpSpPr>
        <a:xfrm>
          <a:off x="0" y="0"/>
          <a:ext cx="0" cy="0"/>
          <a:chOff x="0" y="0"/>
          <a:chExt cx="0" cy="0"/>
        </a:xfrm>
      </p:grpSpPr>
      <p:pic>
        <p:nvPicPr>
          <p:cNvPr id="12" name="Tijdelijke aanduiding voor afbeelding 6" descr="Afbeelding met muur, binnen, kast, persoon&#10;&#10;Automatisch gegenereerde beschrijving">
            <a:extLst>
              <a:ext uri="{FF2B5EF4-FFF2-40B4-BE49-F238E27FC236}">
                <a16:creationId xmlns:a16="http://schemas.microsoft.com/office/drawing/2014/main" id="{013A8E42-82FC-4EBB-A3D0-38C2FB54F434}"/>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Tijdelijke aanduiding voor tekst 17">
            <a:extLst>
              <a:ext uri="{FF2B5EF4-FFF2-40B4-BE49-F238E27FC236}">
                <a16:creationId xmlns:a16="http://schemas.microsoft.com/office/drawing/2014/main" id="{A9DD9BC4-EB8A-49DE-8A79-E9C776578677}"/>
              </a:ext>
            </a:extLst>
          </p:cNvPr>
          <p:cNvSpPr>
            <a:spLocks noGrp="1"/>
          </p:cNvSpPr>
          <p:nvPr>
            <p:ph type="body" sz="quarter" idx="18" hasCustomPrompt="1"/>
          </p:nvPr>
        </p:nvSpPr>
        <p:spPr>
          <a:xfrm>
            <a:off x="336553" y="0"/>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3" y="6536947"/>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1"/>
            <a:ext cx="3168651" cy="429684"/>
          </a:xfrm>
        </p:spPr>
        <p:txBody>
          <a:bodyPr wrap="none" lIns="0">
            <a:noAutofit/>
          </a:bodyPr>
          <a:lstStyle>
            <a:lvl1pPr marL="0" indent="0" algn="l">
              <a:buNone/>
              <a:defRPr sz="1333"/>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Subtitle</a:t>
            </a:r>
          </a:p>
        </p:txBody>
      </p:sp>
      <p:sp>
        <p:nvSpPr>
          <p:cNvPr id="11" name="Tijdelijke aanduiding voor tekst 21">
            <a:extLst>
              <a:ext uri="{FF2B5EF4-FFF2-40B4-BE49-F238E27FC236}">
                <a16:creationId xmlns:a16="http://schemas.microsoft.com/office/drawing/2014/main" id="{864B06FA-CA70-4595-8439-FEB797046608}"/>
              </a:ext>
            </a:extLst>
          </p:cNvPr>
          <p:cNvSpPr>
            <a:spLocks noGrp="1"/>
          </p:cNvSpPr>
          <p:nvPr>
            <p:ph type="body" sz="quarter" idx="19" hasCustomPrompt="1"/>
          </p:nvPr>
        </p:nvSpPr>
        <p:spPr>
          <a:xfrm>
            <a:off x="662400" y="374400"/>
            <a:ext cx="1737600" cy="1046400"/>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33">
                <a:solidFill>
                  <a:schemeClr val="bg1">
                    <a:alpha val="80000"/>
                  </a:schemeClr>
                </a:solidFill>
              </a:defRPr>
            </a:lvl1pPr>
            <a:lvl2pPr marL="251878" indent="0">
              <a:buNone/>
              <a:defRPr/>
            </a:lvl2pPr>
            <a:lvl3pPr marL="486821" indent="0">
              <a:buNone/>
              <a:defRPr/>
            </a:lvl3pPr>
            <a:lvl4pPr marL="732348" indent="0">
              <a:buNone/>
              <a:defRPr/>
            </a:lvl4pPr>
            <a:lvl5pPr marL="967293" indent="0">
              <a:buNone/>
              <a:defRPr/>
            </a:lvl5pPr>
          </a:lstStyle>
          <a:p>
            <a:pPr lvl="0"/>
            <a:r>
              <a:rPr lang="en-GB"/>
              <a:t>.</a:t>
            </a:r>
          </a:p>
        </p:txBody>
      </p:sp>
      <p:grpSp>
        <p:nvGrpSpPr>
          <p:cNvPr id="15" name="Groep 14">
            <a:extLst>
              <a:ext uri="{FF2B5EF4-FFF2-40B4-BE49-F238E27FC236}">
                <a16:creationId xmlns:a16="http://schemas.microsoft.com/office/drawing/2014/main" id="{ED4C5031-7AC8-4BE5-BE89-140AA1F475CE}"/>
              </a:ext>
            </a:extLst>
          </p:cNvPr>
          <p:cNvGrpSpPr/>
          <p:nvPr userDrawn="1"/>
        </p:nvGrpSpPr>
        <p:grpSpPr>
          <a:xfrm>
            <a:off x="12262861" y="576000"/>
            <a:ext cx="1130143" cy="757167"/>
            <a:chOff x="9197145" y="1199569"/>
            <a:chExt cx="847607" cy="567875"/>
          </a:xfrm>
        </p:grpSpPr>
        <p:sp>
          <p:nvSpPr>
            <p:cNvPr id="16" name="Freeform 20">
              <a:extLst>
                <a:ext uri="{FF2B5EF4-FFF2-40B4-BE49-F238E27FC236}">
                  <a16:creationId xmlns:a16="http://schemas.microsoft.com/office/drawing/2014/main" id="{F19F2DF6-D9C0-48E9-BED6-6107F241BAC5}"/>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8A6F57C1-1B96-437A-88E0-A356DD482312}"/>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673141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542257-616B-AEAC-6C81-6454EB905E8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76595CF9-E7D1-3D8B-E569-11F168319A3A}"/>
              </a:ext>
            </a:extLst>
          </p:cNvPr>
          <p:cNvSpPr>
            <a:spLocks noGrp="1"/>
          </p:cNvSpPr>
          <p:nvPr>
            <p:ph type="dt" sz="half" idx="10"/>
          </p:nvPr>
        </p:nvSpPr>
        <p:spPr/>
        <p:txBody>
          <a:bodyPr/>
          <a:lstStyle/>
          <a:p>
            <a:fld id="{B35C4BB1-CFC5-4361-A14F-59B1242D4020}" type="datetime1">
              <a:rPr lang="en-GB" smtClean="0"/>
              <a:t>18/04/2025</a:t>
            </a:fld>
            <a:endParaRPr lang="en-GB"/>
          </a:p>
        </p:txBody>
      </p:sp>
      <p:sp>
        <p:nvSpPr>
          <p:cNvPr id="4" name="Footer Placeholder 3">
            <a:extLst>
              <a:ext uri="{FF2B5EF4-FFF2-40B4-BE49-F238E27FC236}">
                <a16:creationId xmlns:a16="http://schemas.microsoft.com/office/drawing/2014/main" id="{5EB161A5-4766-0F90-DDE3-20E728165797}"/>
              </a:ext>
            </a:extLst>
          </p:cNvPr>
          <p:cNvSpPr>
            <a:spLocks noGrp="1"/>
          </p:cNvSpPr>
          <p:nvPr>
            <p:ph type="ftr" sz="quarter" idx="11"/>
          </p:nvPr>
        </p:nvSpPr>
        <p:spPr/>
        <p:txBody>
          <a:bodyPr/>
          <a:lstStyle/>
          <a:p>
            <a:r>
              <a:rPr lang="en-GB"/>
              <a:t>Draft | Internal use only | Confidential</a:t>
            </a:r>
          </a:p>
        </p:txBody>
      </p:sp>
      <p:sp>
        <p:nvSpPr>
          <p:cNvPr id="5" name="Slide Number Placeholder 4">
            <a:extLst>
              <a:ext uri="{FF2B5EF4-FFF2-40B4-BE49-F238E27FC236}">
                <a16:creationId xmlns:a16="http://schemas.microsoft.com/office/drawing/2014/main" id="{FA37ECBE-4F9C-B186-1D4E-1A29D86D2EE8}"/>
              </a:ext>
            </a:extLst>
          </p:cNvPr>
          <p:cNvSpPr>
            <a:spLocks noGrp="1"/>
          </p:cNvSpPr>
          <p:nvPr>
            <p:ph type="sldNum" sz="quarter" idx="12"/>
          </p:nvPr>
        </p:nvSpPr>
        <p:spPr/>
        <p:txBody>
          <a:bodyPr/>
          <a:lstStyle/>
          <a:p>
            <a:fld id="{9BE0E23E-9022-4929-B297-EB2777CDBB1F}" type="slidenum">
              <a:rPr lang="en-GB" smtClean="0"/>
              <a:pPr/>
              <a:t>‹#›</a:t>
            </a:fld>
            <a:endParaRPr lang="en-GB"/>
          </a:p>
        </p:txBody>
      </p:sp>
    </p:spTree>
    <p:extLst>
      <p:ext uri="{BB962C8B-B14F-4D97-AF65-F5344CB8AC3E}">
        <p14:creationId xmlns:p14="http://schemas.microsoft.com/office/powerpoint/2010/main" val="341430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Title slide - 2">
    <p:spTree>
      <p:nvGrpSpPr>
        <p:cNvPr id="1" name=""/>
        <p:cNvGrpSpPr/>
        <p:nvPr/>
      </p:nvGrpSpPr>
      <p:grpSpPr>
        <a:xfrm>
          <a:off x="0" y="0"/>
          <a:ext cx="0" cy="0"/>
          <a:chOff x="0" y="0"/>
          <a:chExt cx="0" cy="0"/>
        </a:xfrm>
      </p:grpSpPr>
      <p:sp>
        <p:nvSpPr>
          <p:cNvPr id="2" name="Title 1"/>
          <p:cNvSpPr>
            <a:spLocks noGrp="1"/>
          </p:cNvSpPr>
          <p:nvPr>
            <p:ph type="ctrTitle"/>
          </p:nvPr>
        </p:nvSpPr>
        <p:spPr>
          <a:xfrm>
            <a:off x="1007533" y="1701802"/>
            <a:ext cx="3168651" cy="3366069"/>
          </a:xfrm>
        </p:spPr>
        <p:txBody>
          <a:bodyPr wrap="square" anchor="b"/>
          <a:lstStyle>
            <a:lvl1pPr algn="l">
              <a:lnSpc>
                <a:spcPct val="112000"/>
              </a:lnSpc>
              <a:defRPr sz="3200"/>
            </a:lvl1pPr>
          </a:lstStyle>
          <a:p>
            <a:r>
              <a:rPr lang="en-GB"/>
              <a:t>Click to edit Master title style</a:t>
            </a:r>
          </a:p>
        </p:txBody>
      </p:sp>
      <p:sp>
        <p:nvSpPr>
          <p:cNvPr id="3" name="Subtitle 2"/>
          <p:cNvSpPr>
            <a:spLocks noGrp="1"/>
          </p:cNvSpPr>
          <p:nvPr>
            <p:ph type="subTitle" idx="1"/>
          </p:nvPr>
        </p:nvSpPr>
        <p:spPr>
          <a:xfrm>
            <a:off x="1007534" y="5240497"/>
            <a:ext cx="3168676" cy="644296"/>
          </a:xfrm>
        </p:spPr>
        <p:txBody>
          <a:bodyPr wrap="square">
            <a:noAutofit/>
          </a:bodyPr>
          <a:lstStyle>
            <a:lvl1pPr marL="0" indent="0" algn="l">
              <a:buNone/>
              <a:defRPr sz="1867"/>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7534" y="6536947"/>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grpSp>
        <p:nvGrpSpPr>
          <p:cNvPr id="5" name="Groep 4">
            <a:extLst>
              <a:ext uri="{FF2B5EF4-FFF2-40B4-BE49-F238E27FC236}">
                <a16:creationId xmlns:a16="http://schemas.microsoft.com/office/drawing/2014/main" id="{D5A2D930-4F05-43DA-8F93-DEAFE1096447}"/>
              </a:ext>
            </a:extLst>
          </p:cNvPr>
          <p:cNvGrpSpPr/>
          <p:nvPr userDrawn="1"/>
        </p:nvGrpSpPr>
        <p:grpSpPr>
          <a:xfrm>
            <a:off x="12262861" y="576000"/>
            <a:ext cx="1130143" cy="757167"/>
            <a:chOff x="9197145" y="1199569"/>
            <a:chExt cx="847607" cy="567875"/>
          </a:xfrm>
        </p:grpSpPr>
        <p:sp>
          <p:nvSpPr>
            <p:cNvPr id="7" name="Freeform 20">
              <a:extLst>
                <a:ext uri="{FF2B5EF4-FFF2-40B4-BE49-F238E27FC236}">
                  <a16:creationId xmlns:a16="http://schemas.microsoft.com/office/drawing/2014/main" id="{EC6D8501-6CE5-4E1D-B8D6-010E436AF741}"/>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4" name="Tekstvak 3">
              <a:extLst>
                <a:ext uri="{FF2B5EF4-FFF2-40B4-BE49-F238E27FC236}">
                  <a16:creationId xmlns:a16="http://schemas.microsoft.com/office/drawing/2014/main" id="{2565ADC4-81D8-4B71-BCBD-613626D2F4F6}"/>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pic>
        <p:nvPicPr>
          <p:cNvPr id="8" name="Afbeelding 7">
            <a:extLst>
              <a:ext uri="{FF2B5EF4-FFF2-40B4-BE49-F238E27FC236}">
                <a16:creationId xmlns:a16="http://schemas.microsoft.com/office/drawing/2014/main" id="{98B43D0B-1546-47CD-A118-64DC48F2343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48001" y="374400"/>
            <a:ext cx="1727615" cy="1046400"/>
          </a:xfrm>
          <a:prstGeom prst="rect">
            <a:avLst/>
          </a:prstGeom>
        </p:spPr>
      </p:pic>
      <p:sp>
        <p:nvSpPr>
          <p:cNvPr id="18" name="Tijdelijke aanduiding voor afbeelding 17">
            <a:extLst>
              <a:ext uri="{FF2B5EF4-FFF2-40B4-BE49-F238E27FC236}">
                <a16:creationId xmlns:a16="http://schemas.microsoft.com/office/drawing/2014/main" id="{6E9B25BF-2C2A-4C2A-B366-1212A42A49B8}"/>
              </a:ext>
            </a:extLst>
          </p:cNvPr>
          <p:cNvSpPr>
            <a:spLocks noGrp="1"/>
          </p:cNvSpPr>
          <p:nvPr>
            <p:ph type="pic" sz="quarter" idx="14" hasCustomPrompt="1"/>
          </p:nvPr>
        </p:nvSpPr>
        <p:spPr>
          <a:xfrm>
            <a:off x="4526470" y="1"/>
            <a:ext cx="7665532" cy="5884793"/>
          </a:xfrm>
          <a:custGeom>
            <a:avLst/>
            <a:gdLst>
              <a:gd name="connsiteX0" fmla="*/ 0 w 5749149"/>
              <a:gd name="connsiteY0" fmla="*/ 0 h 4413595"/>
              <a:gd name="connsiteX1" fmla="*/ 5749148 w 5749149"/>
              <a:gd name="connsiteY1" fmla="*/ 0 h 4413595"/>
              <a:gd name="connsiteX2" fmla="*/ 5749148 w 5749149"/>
              <a:gd name="connsiteY2" fmla="*/ 712034 h 4413595"/>
              <a:gd name="connsiteX3" fmla="*/ 5749149 w 5749149"/>
              <a:gd name="connsiteY3" fmla="*/ 712034 h 4413595"/>
              <a:gd name="connsiteX4" fmla="*/ 5749149 w 5749149"/>
              <a:gd name="connsiteY4" fmla="*/ 4413595 h 4413595"/>
              <a:gd name="connsiteX5" fmla="*/ 616959 w 5749149"/>
              <a:gd name="connsiteY5" fmla="*/ 4413595 h 4413595"/>
              <a:gd name="connsiteX6" fmla="*/ 20 w 5749149"/>
              <a:gd name="connsiteY6" fmla="*/ 3796656 h 4413595"/>
              <a:gd name="connsiteX7" fmla="*/ 20 w 5749149"/>
              <a:gd name="connsiteY7" fmla="*/ 3452501 h 4413595"/>
              <a:gd name="connsiteX8" fmla="*/ 0 w 5749149"/>
              <a:gd name="connsiteY8" fmla="*/ 3452501 h 441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49149" h="4413595">
                <a:moveTo>
                  <a:pt x="0" y="0"/>
                </a:moveTo>
                <a:lnTo>
                  <a:pt x="5749148" y="0"/>
                </a:lnTo>
                <a:lnTo>
                  <a:pt x="5749148" y="712034"/>
                </a:lnTo>
                <a:lnTo>
                  <a:pt x="5749149" y="712034"/>
                </a:lnTo>
                <a:lnTo>
                  <a:pt x="5749149" y="4413595"/>
                </a:lnTo>
                <a:lnTo>
                  <a:pt x="616959" y="4413595"/>
                </a:lnTo>
                <a:cubicBezTo>
                  <a:pt x="276233" y="4413595"/>
                  <a:pt x="20" y="4137382"/>
                  <a:pt x="20" y="3796656"/>
                </a:cubicBezTo>
                <a:lnTo>
                  <a:pt x="20" y="3452501"/>
                </a:lnTo>
                <a:lnTo>
                  <a:pt x="0" y="3452501"/>
                </a:lnTo>
                <a:close/>
              </a:path>
            </a:pathLst>
          </a:custGeom>
          <a:solidFill>
            <a:schemeClr val="tx1">
              <a:lumMod val="20000"/>
              <a:lumOff val="80000"/>
            </a:schemeClr>
          </a:solidFill>
        </p:spPr>
        <p:txBody>
          <a:bodyPr wrap="square">
            <a:noAutofit/>
          </a:bodyPr>
          <a:lstStyle>
            <a:lvl1pPr marL="0" indent="0" algn="ctr">
              <a:buNone/>
              <a:defRPr>
                <a:solidFill>
                  <a:schemeClr val="accent1"/>
                </a:solidFill>
              </a:defRPr>
            </a:lvl1pPr>
          </a:lstStyle>
          <a:p>
            <a:r>
              <a:rPr lang="en-GB"/>
              <a:t>Image</a:t>
            </a:r>
          </a:p>
        </p:txBody>
      </p:sp>
    </p:spTree>
    <p:extLst>
      <p:ext uri="{BB962C8B-B14F-4D97-AF65-F5344CB8AC3E}">
        <p14:creationId xmlns:p14="http://schemas.microsoft.com/office/powerpoint/2010/main" val="227574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3">
          <p15:clr>
            <a:srgbClr val="5ACBF0"/>
          </p15:clr>
        </p15:guide>
        <p15:guide id="2" pos="476">
          <p15:clr>
            <a:srgbClr val="5ACBF0"/>
          </p15:clr>
        </p15:guide>
        <p15:guide id="3" orient="horz" pos="2346">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Breaker">
    <p:spTree>
      <p:nvGrpSpPr>
        <p:cNvPr id="1" name=""/>
        <p:cNvGrpSpPr/>
        <p:nvPr/>
      </p:nvGrpSpPr>
      <p:grpSpPr>
        <a:xfrm>
          <a:off x="0" y="0"/>
          <a:ext cx="0" cy="0"/>
          <a:chOff x="0" y="0"/>
          <a:chExt cx="0" cy="0"/>
        </a:xfrm>
      </p:grpSpPr>
      <p:sp>
        <p:nvSpPr>
          <p:cNvPr id="10" name="Tijdelijke aanduiding voor afbeelding 7">
            <a:extLst>
              <a:ext uri="{FF2B5EF4-FFF2-40B4-BE49-F238E27FC236}">
                <a16:creationId xmlns:a16="http://schemas.microsoft.com/office/drawing/2014/main" id="{4DAEAD04-C1FD-4924-B727-1FF08B2835E8}"/>
              </a:ext>
            </a:extLst>
          </p:cNvPr>
          <p:cNvSpPr>
            <a:spLocks noGrp="1"/>
          </p:cNvSpPr>
          <p:nvPr>
            <p:ph type="pic" sz="quarter" idx="13" hasCustomPrompt="1"/>
          </p:nvPr>
        </p:nvSpPr>
        <p:spPr>
          <a:xfrm>
            <a:off x="0" y="0"/>
            <a:ext cx="12192000" cy="6858000"/>
          </a:xfrm>
          <a:solidFill>
            <a:schemeClr val="tx1">
              <a:lumMod val="20000"/>
              <a:lumOff val="80000"/>
            </a:schemeClr>
          </a:solidFill>
        </p:spPr>
        <p:txBody>
          <a:bodyPr/>
          <a:lstStyle>
            <a:lvl1pPr marL="0" indent="0" algn="ctr">
              <a:buNone/>
              <a:defRPr>
                <a:solidFill>
                  <a:schemeClr val="accent1"/>
                </a:solidFill>
              </a:defRPr>
            </a:lvl1pPr>
          </a:lstStyle>
          <a:p>
            <a:r>
              <a:rPr lang="en-GB"/>
              <a:t>Image</a:t>
            </a:r>
          </a:p>
        </p:txBody>
      </p:sp>
      <p:sp>
        <p:nvSpPr>
          <p:cNvPr id="18" name="Tijdelijke aanduiding voor tekst 17">
            <a:extLst>
              <a:ext uri="{FF2B5EF4-FFF2-40B4-BE49-F238E27FC236}">
                <a16:creationId xmlns:a16="http://schemas.microsoft.com/office/drawing/2014/main" id="{134848E4-6B17-49A0-B7F6-34867199C050}"/>
              </a:ext>
            </a:extLst>
          </p:cNvPr>
          <p:cNvSpPr>
            <a:spLocks noGrp="1"/>
          </p:cNvSpPr>
          <p:nvPr>
            <p:ph type="body" sz="quarter" idx="18" hasCustomPrompt="1"/>
          </p:nvPr>
        </p:nvSpPr>
        <p:spPr>
          <a:xfrm>
            <a:off x="336552" y="3070800"/>
            <a:ext cx="3839632" cy="3787200"/>
          </a:xfrm>
          <a:prstGeom prst="round1Rect">
            <a:avLst/>
          </a:prstGeom>
          <a:solidFill>
            <a:srgbClr val="FFFFFF">
              <a:alpha val="85098"/>
            </a:srgbClr>
          </a:solidFill>
        </p:spPr>
        <p:txBody>
          <a:bodyPr wrap="square" lIns="288000" tIns="468000" rIns="72000" bIns="252000">
            <a:noAutofit/>
          </a:bodyPr>
          <a:lstStyle>
            <a:lvl1pPr marL="0" indent="0">
              <a:spcBef>
                <a:spcPts val="0"/>
              </a:spcBef>
              <a:buNone/>
              <a:defRPr sz="3200">
                <a:solidFill>
                  <a:schemeClr val="accent1"/>
                </a:solidFill>
              </a:defRPr>
            </a:lvl1pPr>
          </a:lstStyle>
          <a:p>
            <a:pPr lvl="0"/>
            <a:r>
              <a:rPr lang="en-GB"/>
              <a:t>Breaker text</a:t>
            </a:r>
          </a:p>
        </p:txBody>
      </p:sp>
    </p:spTree>
    <p:extLst>
      <p:ext uri="{BB962C8B-B14F-4D97-AF65-F5344CB8AC3E}">
        <p14:creationId xmlns:p14="http://schemas.microsoft.com/office/powerpoint/2010/main" val="1096350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Breaker - Sustainability - 1">
    <p:spTree>
      <p:nvGrpSpPr>
        <p:cNvPr id="1" name=""/>
        <p:cNvGrpSpPr/>
        <p:nvPr/>
      </p:nvGrpSpPr>
      <p:grpSpPr>
        <a:xfrm>
          <a:off x="0" y="0"/>
          <a:ext cx="0" cy="0"/>
          <a:chOff x="0" y="0"/>
          <a:chExt cx="0" cy="0"/>
        </a:xfrm>
      </p:grpSpPr>
      <p:pic>
        <p:nvPicPr>
          <p:cNvPr id="6" name="Tijdelijke aanduiding voor afbeelding 4" descr="Afbeelding met man, muur, binnen, persoon&#10;&#10;Automatisch gegenereerde beschrijving">
            <a:extLst>
              <a:ext uri="{FF2B5EF4-FFF2-40B4-BE49-F238E27FC236}">
                <a16:creationId xmlns:a16="http://schemas.microsoft.com/office/drawing/2014/main" id="{5666F016-DEDE-4115-9CB0-6E425EC45CC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5" name="Tijdelijke aanduiding voor tekst 17">
            <a:extLst>
              <a:ext uri="{FF2B5EF4-FFF2-40B4-BE49-F238E27FC236}">
                <a16:creationId xmlns:a16="http://schemas.microsoft.com/office/drawing/2014/main" id="{34B2F4B7-36EA-417A-B12D-F6CDC6FD31B7}"/>
              </a:ext>
            </a:extLst>
          </p:cNvPr>
          <p:cNvSpPr>
            <a:spLocks noGrp="1"/>
          </p:cNvSpPr>
          <p:nvPr>
            <p:ph type="body" sz="quarter" idx="18" hasCustomPrompt="1"/>
          </p:nvPr>
        </p:nvSpPr>
        <p:spPr>
          <a:xfrm>
            <a:off x="336552" y="3070800"/>
            <a:ext cx="3839632" cy="3787200"/>
          </a:xfrm>
          <a:prstGeom prst="round1Rect">
            <a:avLst/>
          </a:prstGeom>
          <a:solidFill>
            <a:srgbClr val="FFFFFF">
              <a:alpha val="85098"/>
            </a:srgbClr>
          </a:solidFill>
        </p:spPr>
        <p:txBody>
          <a:bodyPr wrap="square" lIns="288000" tIns="468000" rIns="72000" bIns="252000">
            <a:noAutofit/>
          </a:bodyPr>
          <a:lstStyle>
            <a:lvl1pPr marL="0" indent="0">
              <a:spcBef>
                <a:spcPts val="0"/>
              </a:spcBef>
              <a:buNone/>
              <a:defRPr sz="3200">
                <a:solidFill>
                  <a:schemeClr val="accent1"/>
                </a:solidFill>
              </a:defRPr>
            </a:lvl1pPr>
          </a:lstStyle>
          <a:p>
            <a:pPr lvl="0"/>
            <a:r>
              <a:rPr lang="en-GB"/>
              <a:t>Breaker text</a:t>
            </a:r>
          </a:p>
        </p:txBody>
      </p:sp>
    </p:spTree>
    <p:extLst>
      <p:ext uri="{BB962C8B-B14F-4D97-AF65-F5344CB8AC3E}">
        <p14:creationId xmlns:p14="http://schemas.microsoft.com/office/powerpoint/2010/main" val="2975137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Breaker - Sustainability - 2">
    <p:spTree>
      <p:nvGrpSpPr>
        <p:cNvPr id="1" name=""/>
        <p:cNvGrpSpPr/>
        <p:nvPr/>
      </p:nvGrpSpPr>
      <p:grpSpPr>
        <a:xfrm>
          <a:off x="0" y="0"/>
          <a:ext cx="0" cy="0"/>
          <a:chOff x="0" y="0"/>
          <a:chExt cx="0" cy="0"/>
        </a:xfrm>
      </p:grpSpPr>
      <p:pic>
        <p:nvPicPr>
          <p:cNvPr id="8" name="Tijdelijke aanduiding voor afbeelding 4" descr="Afbeelding met muur, binnen, staand, man&#10;&#10;Automatisch gegenereerde beschrijving">
            <a:extLst>
              <a:ext uri="{FF2B5EF4-FFF2-40B4-BE49-F238E27FC236}">
                <a16:creationId xmlns:a16="http://schemas.microsoft.com/office/drawing/2014/main" id="{C2F280A5-C404-4589-B38B-35E808D5E83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sp>
        <p:nvSpPr>
          <p:cNvPr id="5" name="Tijdelijke aanduiding voor tekst 17">
            <a:extLst>
              <a:ext uri="{FF2B5EF4-FFF2-40B4-BE49-F238E27FC236}">
                <a16:creationId xmlns:a16="http://schemas.microsoft.com/office/drawing/2014/main" id="{934913D2-2BD7-4D5C-9A52-9D6706141DD8}"/>
              </a:ext>
            </a:extLst>
          </p:cNvPr>
          <p:cNvSpPr>
            <a:spLocks noGrp="1"/>
          </p:cNvSpPr>
          <p:nvPr>
            <p:ph type="body" sz="quarter" idx="18" hasCustomPrompt="1"/>
          </p:nvPr>
        </p:nvSpPr>
        <p:spPr>
          <a:xfrm>
            <a:off x="336552" y="3070800"/>
            <a:ext cx="3839632" cy="3787200"/>
          </a:xfrm>
          <a:prstGeom prst="round1Rect">
            <a:avLst/>
          </a:prstGeom>
          <a:solidFill>
            <a:srgbClr val="FFFFFF">
              <a:alpha val="85098"/>
            </a:srgbClr>
          </a:solidFill>
        </p:spPr>
        <p:txBody>
          <a:bodyPr wrap="square" lIns="288000" tIns="468000" rIns="72000" bIns="252000">
            <a:noAutofit/>
          </a:bodyPr>
          <a:lstStyle>
            <a:lvl1pPr marL="0" indent="0">
              <a:spcBef>
                <a:spcPts val="0"/>
              </a:spcBef>
              <a:buNone/>
              <a:defRPr sz="3200">
                <a:solidFill>
                  <a:schemeClr val="accent1"/>
                </a:solidFill>
              </a:defRPr>
            </a:lvl1pPr>
          </a:lstStyle>
          <a:p>
            <a:pPr lvl="0"/>
            <a:r>
              <a:rPr lang="en-GB"/>
              <a:t>Breaker text</a:t>
            </a:r>
          </a:p>
        </p:txBody>
      </p:sp>
    </p:spTree>
    <p:extLst>
      <p:ext uri="{BB962C8B-B14F-4D97-AF65-F5344CB8AC3E}">
        <p14:creationId xmlns:p14="http://schemas.microsoft.com/office/powerpoint/2010/main" val="798656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Breaker - Sustainability 3">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69C679A2-B3B6-4430-9CDA-E92B50EAFBF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 name="Tijdelijke aanduiding voor tekst 17">
            <a:extLst>
              <a:ext uri="{FF2B5EF4-FFF2-40B4-BE49-F238E27FC236}">
                <a16:creationId xmlns:a16="http://schemas.microsoft.com/office/drawing/2014/main" id="{845C6ED4-5203-474D-B0E3-EE3169CF37C7}"/>
              </a:ext>
            </a:extLst>
          </p:cNvPr>
          <p:cNvSpPr>
            <a:spLocks noGrp="1"/>
          </p:cNvSpPr>
          <p:nvPr>
            <p:ph type="body" sz="quarter" idx="18" hasCustomPrompt="1"/>
          </p:nvPr>
        </p:nvSpPr>
        <p:spPr>
          <a:xfrm>
            <a:off x="336552" y="3070800"/>
            <a:ext cx="3839632" cy="3787200"/>
          </a:xfrm>
          <a:prstGeom prst="round1Rect">
            <a:avLst/>
          </a:prstGeom>
          <a:solidFill>
            <a:srgbClr val="FFFFFF">
              <a:alpha val="85098"/>
            </a:srgbClr>
          </a:solidFill>
        </p:spPr>
        <p:txBody>
          <a:bodyPr wrap="square" lIns="288000" tIns="468000" rIns="72000" bIns="252000">
            <a:noAutofit/>
          </a:bodyPr>
          <a:lstStyle>
            <a:lvl1pPr marL="0" indent="0">
              <a:spcBef>
                <a:spcPts val="0"/>
              </a:spcBef>
              <a:buNone/>
              <a:defRPr sz="3200">
                <a:solidFill>
                  <a:schemeClr val="accent1"/>
                </a:solidFill>
              </a:defRPr>
            </a:lvl1pPr>
          </a:lstStyle>
          <a:p>
            <a:pPr lvl="0"/>
            <a:r>
              <a:rPr lang="en-GB"/>
              <a:t>Breaker text</a:t>
            </a:r>
          </a:p>
        </p:txBody>
      </p:sp>
    </p:spTree>
    <p:extLst>
      <p:ext uri="{BB962C8B-B14F-4D97-AF65-F5344CB8AC3E}">
        <p14:creationId xmlns:p14="http://schemas.microsoft.com/office/powerpoint/2010/main" val="2850449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Breaker - R&amp;D">
    <p:spTree>
      <p:nvGrpSpPr>
        <p:cNvPr id="1" name=""/>
        <p:cNvGrpSpPr/>
        <p:nvPr/>
      </p:nvGrpSpPr>
      <p:grpSpPr>
        <a:xfrm>
          <a:off x="0" y="0"/>
          <a:ext cx="0" cy="0"/>
          <a:chOff x="0" y="0"/>
          <a:chExt cx="0" cy="0"/>
        </a:xfrm>
      </p:grpSpPr>
      <p:pic>
        <p:nvPicPr>
          <p:cNvPr id="7" name="Tijdelijke aanduiding voor afbeelding 4" descr="Afbeelding met muur, binnen, man, kast&#10;&#10;Automatisch gegenereerde beschrijving">
            <a:extLst>
              <a:ext uri="{FF2B5EF4-FFF2-40B4-BE49-F238E27FC236}">
                <a16:creationId xmlns:a16="http://schemas.microsoft.com/office/drawing/2014/main" id="{6FE5F232-D9F7-4D5C-8553-EF43D6694C3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sp>
        <p:nvSpPr>
          <p:cNvPr id="5" name="Tijdelijke aanduiding voor tekst 17">
            <a:extLst>
              <a:ext uri="{FF2B5EF4-FFF2-40B4-BE49-F238E27FC236}">
                <a16:creationId xmlns:a16="http://schemas.microsoft.com/office/drawing/2014/main" id="{A5260415-F4F8-491F-A12A-E8E28553D8D3}"/>
              </a:ext>
            </a:extLst>
          </p:cNvPr>
          <p:cNvSpPr>
            <a:spLocks noGrp="1"/>
          </p:cNvSpPr>
          <p:nvPr>
            <p:ph type="body" sz="quarter" idx="18" hasCustomPrompt="1"/>
          </p:nvPr>
        </p:nvSpPr>
        <p:spPr>
          <a:xfrm>
            <a:off x="336552" y="3070800"/>
            <a:ext cx="3839632" cy="3787200"/>
          </a:xfrm>
          <a:prstGeom prst="round1Rect">
            <a:avLst/>
          </a:prstGeom>
          <a:solidFill>
            <a:srgbClr val="FFFFFF">
              <a:alpha val="85098"/>
            </a:srgbClr>
          </a:solidFill>
        </p:spPr>
        <p:txBody>
          <a:bodyPr wrap="square" lIns="288000" tIns="468000" rIns="72000" bIns="252000">
            <a:noAutofit/>
          </a:bodyPr>
          <a:lstStyle>
            <a:lvl1pPr marL="0" indent="0">
              <a:spcBef>
                <a:spcPts val="0"/>
              </a:spcBef>
              <a:buNone/>
              <a:defRPr sz="3200">
                <a:solidFill>
                  <a:schemeClr val="accent1"/>
                </a:solidFill>
              </a:defRPr>
            </a:lvl1pPr>
          </a:lstStyle>
          <a:p>
            <a:pPr lvl="0"/>
            <a:r>
              <a:rPr lang="en-GB"/>
              <a:t>Breaker text</a:t>
            </a:r>
          </a:p>
        </p:txBody>
      </p:sp>
    </p:spTree>
    <p:extLst>
      <p:ext uri="{BB962C8B-B14F-4D97-AF65-F5344CB8AC3E}">
        <p14:creationId xmlns:p14="http://schemas.microsoft.com/office/powerpoint/2010/main" val="3462856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Breaker - Collaboration - 1">
    <p:spTree>
      <p:nvGrpSpPr>
        <p:cNvPr id="1" name=""/>
        <p:cNvGrpSpPr/>
        <p:nvPr/>
      </p:nvGrpSpPr>
      <p:grpSpPr>
        <a:xfrm>
          <a:off x="0" y="0"/>
          <a:ext cx="0" cy="0"/>
          <a:chOff x="0" y="0"/>
          <a:chExt cx="0" cy="0"/>
        </a:xfrm>
      </p:grpSpPr>
      <p:pic>
        <p:nvPicPr>
          <p:cNvPr id="7" name="Tijdelijke aanduiding voor afbeelding 4" descr="Afbeelding met muur&#10;&#10;Automatisch gegenereerde beschrijving">
            <a:extLst>
              <a:ext uri="{FF2B5EF4-FFF2-40B4-BE49-F238E27FC236}">
                <a16:creationId xmlns:a16="http://schemas.microsoft.com/office/drawing/2014/main" id="{B7C05AA1-1AB3-4A67-A102-A71347837EC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sp>
        <p:nvSpPr>
          <p:cNvPr id="5" name="Tijdelijke aanduiding voor tekst 17">
            <a:extLst>
              <a:ext uri="{FF2B5EF4-FFF2-40B4-BE49-F238E27FC236}">
                <a16:creationId xmlns:a16="http://schemas.microsoft.com/office/drawing/2014/main" id="{DFB2AE59-8362-4C8B-A8BB-641B82F8AD46}"/>
              </a:ext>
            </a:extLst>
          </p:cNvPr>
          <p:cNvSpPr>
            <a:spLocks noGrp="1"/>
          </p:cNvSpPr>
          <p:nvPr>
            <p:ph type="body" sz="quarter" idx="18" hasCustomPrompt="1"/>
          </p:nvPr>
        </p:nvSpPr>
        <p:spPr>
          <a:xfrm>
            <a:off x="336552" y="3070800"/>
            <a:ext cx="3839632" cy="3787200"/>
          </a:xfrm>
          <a:prstGeom prst="round1Rect">
            <a:avLst/>
          </a:prstGeom>
          <a:solidFill>
            <a:srgbClr val="FFFFFF">
              <a:alpha val="85098"/>
            </a:srgbClr>
          </a:solidFill>
        </p:spPr>
        <p:txBody>
          <a:bodyPr wrap="square" lIns="288000" tIns="468000" rIns="72000" bIns="252000">
            <a:noAutofit/>
          </a:bodyPr>
          <a:lstStyle>
            <a:lvl1pPr marL="0" indent="0">
              <a:spcBef>
                <a:spcPts val="0"/>
              </a:spcBef>
              <a:buNone/>
              <a:defRPr sz="3200">
                <a:solidFill>
                  <a:schemeClr val="accent1"/>
                </a:solidFill>
              </a:defRPr>
            </a:lvl1pPr>
          </a:lstStyle>
          <a:p>
            <a:pPr lvl="0"/>
            <a:r>
              <a:rPr lang="en-GB"/>
              <a:t>Breaker text</a:t>
            </a:r>
          </a:p>
        </p:txBody>
      </p:sp>
    </p:spTree>
    <p:extLst>
      <p:ext uri="{BB962C8B-B14F-4D97-AF65-F5344CB8AC3E}">
        <p14:creationId xmlns:p14="http://schemas.microsoft.com/office/powerpoint/2010/main" val="4136014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Breaker - Collaboration - 2">
    <p:spTree>
      <p:nvGrpSpPr>
        <p:cNvPr id="1" name=""/>
        <p:cNvGrpSpPr/>
        <p:nvPr/>
      </p:nvGrpSpPr>
      <p:grpSpPr>
        <a:xfrm>
          <a:off x="0" y="0"/>
          <a:ext cx="0" cy="0"/>
          <a:chOff x="0" y="0"/>
          <a:chExt cx="0" cy="0"/>
        </a:xfrm>
      </p:grpSpPr>
      <p:pic>
        <p:nvPicPr>
          <p:cNvPr id="7" name="Tijdelijke aanduiding voor afbeelding 4">
            <a:extLst>
              <a:ext uri="{FF2B5EF4-FFF2-40B4-BE49-F238E27FC236}">
                <a16:creationId xmlns:a16="http://schemas.microsoft.com/office/drawing/2014/main" id="{B7C05AA1-1AB3-4A67-A102-A71347837EC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5" name="Tijdelijke aanduiding voor tekst 17">
            <a:extLst>
              <a:ext uri="{FF2B5EF4-FFF2-40B4-BE49-F238E27FC236}">
                <a16:creationId xmlns:a16="http://schemas.microsoft.com/office/drawing/2014/main" id="{834A538F-AFC5-4D9D-91DC-5D03FE955860}"/>
              </a:ext>
            </a:extLst>
          </p:cNvPr>
          <p:cNvSpPr>
            <a:spLocks noGrp="1"/>
          </p:cNvSpPr>
          <p:nvPr>
            <p:ph type="body" sz="quarter" idx="18" hasCustomPrompt="1"/>
          </p:nvPr>
        </p:nvSpPr>
        <p:spPr>
          <a:xfrm>
            <a:off x="336552" y="3070800"/>
            <a:ext cx="3839632" cy="3787200"/>
          </a:xfrm>
          <a:prstGeom prst="round1Rect">
            <a:avLst/>
          </a:prstGeom>
          <a:solidFill>
            <a:srgbClr val="FFFFFF">
              <a:alpha val="85098"/>
            </a:srgbClr>
          </a:solidFill>
        </p:spPr>
        <p:txBody>
          <a:bodyPr wrap="square" lIns="288000" tIns="468000" rIns="72000" bIns="252000">
            <a:noAutofit/>
          </a:bodyPr>
          <a:lstStyle>
            <a:lvl1pPr marL="0" indent="0">
              <a:spcBef>
                <a:spcPts val="0"/>
              </a:spcBef>
              <a:buNone/>
              <a:defRPr sz="3200">
                <a:solidFill>
                  <a:schemeClr val="accent1"/>
                </a:solidFill>
              </a:defRPr>
            </a:lvl1pPr>
          </a:lstStyle>
          <a:p>
            <a:pPr lvl="0"/>
            <a:r>
              <a:rPr lang="en-GB"/>
              <a:t>Breaker text</a:t>
            </a:r>
          </a:p>
        </p:txBody>
      </p:sp>
    </p:spTree>
    <p:extLst>
      <p:ext uri="{BB962C8B-B14F-4D97-AF65-F5344CB8AC3E}">
        <p14:creationId xmlns:p14="http://schemas.microsoft.com/office/powerpoint/2010/main" val="3916111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Breaker - Supply Chain - 1">
    <p:spTree>
      <p:nvGrpSpPr>
        <p:cNvPr id="1" name=""/>
        <p:cNvGrpSpPr/>
        <p:nvPr/>
      </p:nvGrpSpPr>
      <p:grpSpPr>
        <a:xfrm>
          <a:off x="0" y="0"/>
          <a:ext cx="0" cy="0"/>
          <a:chOff x="0" y="0"/>
          <a:chExt cx="0" cy="0"/>
        </a:xfrm>
      </p:grpSpPr>
      <p:pic>
        <p:nvPicPr>
          <p:cNvPr id="4" name="Picture Placeholder 4" descr="A close-up of a factory&#10;&#10;Description automatically generated with low confidence">
            <a:extLst>
              <a:ext uri="{FF2B5EF4-FFF2-40B4-BE49-F238E27FC236}">
                <a16:creationId xmlns:a16="http://schemas.microsoft.com/office/drawing/2014/main" id="{02C78875-50CD-457D-BE8F-ACE1B867F28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sp>
        <p:nvSpPr>
          <p:cNvPr id="7" name="Tijdelijke aanduiding voor tekst 17">
            <a:extLst>
              <a:ext uri="{FF2B5EF4-FFF2-40B4-BE49-F238E27FC236}">
                <a16:creationId xmlns:a16="http://schemas.microsoft.com/office/drawing/2014/main" id="{EB178381-191C-4711-99D2-2EBC5481F9E3}"/>
              </a:ext>
            </a:extLst>
          </p:cNvPr>
          <p:cNvSpPr>
            <a:spLocks noGrp="1"/>
          </p:cNvSpPr>
          <p:nvPr>
            <p:ph type="body" sz="quarter" idx="18" hasCustomPrompt="1"/>
          </p:nvPr>
        </p:nvSpPr>
        <p:spPr>
          <a:xfrm>
            <a:off x="336552" y="3070800"/>
            <a:ext cx="3839632" cy="3787200"/>
          </a:xfrm>
          <a:prstGeom prst="round1Rect">
            <a:avLst/>
          </a:prstGeom>
          <a:solidFill>
            <a:srgbClr val="FFFFFF">
              <a:alpha val="85098"/>
            </a:srgbClr>
          </a:solidFill>
        </p:spPr>
        <p:txBody>
          <a:bodyPr wrap="square" lIns="288000" tIns="468000" rIns="72000" bIns="252000">
            <a:noAutofit/>
          </a:bodyPr>
          <a:lstStyle>
            <a:lvl1pPr marL="0" indent="0">
              <a:spcBef>
                <a:spcPts val="0"/>
              </a:spcBef>
              <a:buNone/>
              <a:defRPr sz="3200">
                <a:solidFill>
                  <a:schemeClr val="accent1"/>
                </a:solidFill>
              </a:defRPr>
            </a:lvl1pPr>
          </a:lstStyle>
          <a:p>
            <a:pPr lvl="0"/>
            <a:r>
              <a:rPr lang="en-GB"/>
              <a:t>Breaker text</a:t>
            </a:r>
          </a:p>
        </p:txBody>
      </p:sp>
    </p:spTree>
    <p:extLst>
      <p:ext uri="{BB962C8B-B14F-4D97-AF65-F5344CB8AC3E}">
        <p14:creationId xmlns:p14="http://schemas.microsoft.com/office/powerpoint/2010/main" val="2302924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Breaker - Supply Chain - 2">
    <p:spTree>
      <p:nvGrpSpPr>
        <p:cNvPr id="1" name=""/>
        <p:cNvGrpSpPr/>
        <p:nvPr/>
      </p:nvGrpSpPr>
      <p:grpSpPr>
        <a:xfrm>
          <a:off x="0" y="0"/>
          <a:ext cx="0" cy="0"/>
          <a:chOff x="0" y="0"/>
          <a:chExt cx="0" cy="0"/>
        </a:xfrm>
      </p:grpSpPr>
      <p:pic>
        <p:nvPicPr>
          <p:cNvPr id="5" name="Picture Placeholder 8" descr="A picture containing sky, outdoor, parked&#10;&#10;Description automatically generated">
            <a:extLst>
              <a:ext uri="{FF2B5EF4-FFF2-40B4-BE49-F238E27FC236}">
                <a16:creationId xmlns:a16="http://schemas.microsoft.com/office/drawing/2014/main" id="{E75D20D3-E820-4BAF-800F-09FA2E751FC8}"/>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sp>
        <p:nvSpPr>
          <p:cNvPr id="7" name="Tijdelijke aanduiding voor tekst 17">
            <a:extLst>
              <a:ext uri="{FF2B5EF4-FFF2-40B4-BE49-F238E27FC236}">
                <a16:creationId xmlns:a16="http://schemas.microsoft.com/office/drawing/2014/main" id="{EB178381-191C-4711-99D2-2EBC5481F9E3}"/>
              </a:ext>
            </a:extLst>
          </p:cNvPr>
          <p:cNvSpPr>
            <a:spLocks noGrp="1"/>
          </p:cNvSpPr>
          <p:nvPr>
            <p:ph type="body" sz="quarter" idx="18" hasCustomPrompt="1"/>
          </p:nvPr>
        </p:nvSpPr>
        <p:spPr>
          <a:xfrm>
            <a:off x="336552" y="3070800"/>
            <a:ext cx="3839632" cy="3787200"/>
          </a:xfrm>
          <a:prstGeom prst="round1Rect">
            <a:avLst/>
          </a:prstGeom>
          <a:solidFill>
            <a:srgbClr val="FFFFFF">
              <a:alpha val="85098"/>
            </a:srgbClr>
          </a:solidFill>
        </p:spPr>
        <p:txBody>
          <a:bodyPr wrap="square" lIns="288000" tIns="468000" rIns="72000" bIns="252000">
            <a:noAutofit/>
          </a:bodyPr>
          <a:lstStyle>
            <a:lvl1pPr marL="0" indent="0">
              <a:spcBef>
                <a:spcPts val="0"/>
              </a:spcBef>
              <a:buNone/>
              <a:defRPr sz="3200">
                <a:solidFill>
                  <a:schemeClr val="accent1"/>
                </a:solidFill>
              </a:defRPr>
            </a:lvl1pPr>
          </a:lstStyle>
          <a:p>
            <a:pPr lvl="0"/>
            <a:r>
              <a:rPr lang="en-GB"/>
              <a:t>Breaker text</a:t>
            </a:r>
          </a:p>
        </p:txBody>
      </p:sp>
    </p:spTree>
    <p:extLst>
      <p:ext uri="{BB962C8B-B14F-4D97-AF65-F5344CB8AC3E}">
        <p14:creationId xmlns:p14="http://schemas.microsoft.com/office/powerpoint/2010/main" val="2074439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7C227851-E018-138C-0EBF-69AA329D4051}"/>
              </a:ext>
            </a:extLst>
          </p:cNvPr>
          <p:cNvSpPr>
            <a:spLocks noGrp="1"/>
          </p:cNvSpPr>
          <p:nvPr>
            <p:ph idx="1"/>
            <p:custDataLst>
              <p:tags r:id="rId1"/>
            </p:custDataLst>
          </p:nvPr>
        </p:nvSpPr>
        <p:spPr>
          <a:xfrm>
            <a:off x="524655" y="1052514"/>
            <a:ext cx="11160000" cy="4824412"/>
          </a:xfrm>
          <a:prstGeom prst="rect">
            <a:avLst/>
          </a:prstGeom>
        </p:spPr>
        <p:txBody>
          <a:bodyPr/>
          <a:lstStyle/>
          <a:p>
            <a:pPr lvl="0"/>
            <a:r>
              <a:rPr lang="en-US"/>
              <a:t>Click to edit</a:t>
            </a:r>
            <a:endParaRPr lang="en-IN"/>
          </a:p>
        </p:txBody>
      </p:sp>
      <p:sp>
        <p:nvSpPr>
          <p:cNvPr id="5" name="Title">
            <a:extLst>
              <a:ext uri="{FF2B5EF4-FFF2-40B4-BE49-F238E27FC236}">
                <a16:creationId xmlns:a16="http://schemas.microsoft.com/office/drawing/2014/main" id="{B50C97F9-F14F-4AC4-68BB-0274929C3920}"/>
              </a:ext>
            </a:extLst>
          </p:cNvPr>
          <p:cNvSpPr>
            <a:spLocks noGrp="1"/>
          </p:cNvSpPr>
          <p:nvPr>
            <p:ph type="title"/>
            <p:custDataLst>
              <p:tags r:id="rId2"/>
            </p:custDataLst>
          </p:nvPr>
        </p:nvSpPr>
        <p:spPr/>
        <p:txBody>
          <a:bodyPr/>
          <a:lstStyle/>
          <a:p>
            <a:r>
              <a:rPr lang="en-US"/>
              <a:t>Click to edit Master title style</a:t>
            </a:r>
            <a:endParaRPr lang="en-NL"/>
          </a:p>
        </p:txBody>
      </p:sp>
      <p:sp>
        <p:nvSpPr>
          <p:cNvPr id="13" name="Slide Number Placeholder">
            <a:extLst>
              <a:ext uri="{FF2B5EF4-FFF2-40B4-BE49-F238E27FC236}">
                <a16:creationId xmlns:a16="http://schemas.microsoft.com/office/drawing/2014/main" id="{247144F5-9C99-D1E3-C729-FC8496DC011A}"/>
              </a:ext>
            </a:extLst>
          </p:cNvPr>
          <p:cNvSpPr>
            <a:spLocks noGrp="1"/>
          </p:cNvSpPr>
          <p:nvPr>
            <p:ph type="sldNum" sz="quarter" idx="12"/>
            <p:custDataLst>
              <p:tags r:id="rId3"/>
            </p:custDataLst>
          </p:nvPr>
        </p:nvSpPr>
        <p:spPr>
          <a:xfrm>
            <a:off x="11498022" y="6215392"/>
            <a:ext cx="171521" cy="169277"/>
          </a:xfrm>
          <a:prstGeom prst="rect">
            <a:avLst/>
          </a:prstGeom>
        </p:spPr>
        <p:txBody>
          <a:bodyPr lIns="0" tIns="0" rIns="0" bIns="0" anchor="ctr"/>
          <a:lstStyle>
            <a:lvl1pPr algn="r">
              <a:defRPr sz="1100">
                <a:solidFill>
                  <a:schemeClr val="accent1"/>
                </a:solidFill>
              </a:defRPr>
            </a:lvl1pPr>
          </a:lstStyle>
          <a:p>
            <a:pPr defTabSz="914377">
              <a:spcBef>
                <a:spcPct val="0"/>
              </a:spcBef>
              <a:spcAft>
                <a:spcPct val="0"/>
              </a:spcAft>
              <a:defRPr/>
            </a:pPr>
            <a:fld id="{D0281C21-EE02-42A0-BCF6-67BEF936A35A}" type="slidenum">
              <a:rPr lang="en-IN" smtClean="0">
                <a:solidFill>
                  <a:srgbClr val="FF5100"/>
                </a:solidFill>
                <a:latin typeface="Arial"/>
              </a:rPr>
              <a:pPr defTabSz="914377">
                <a:spcBef>
                  <a:spcPct val="0"/>
                </a:spcBef>
                <a:spcAft>
                  <a:spcPct val="0"/>
                </a:spcAft>
                <a:defRPr/>
              </a:pPr>
              <a:t>‹#›</a:t>
            </a:fld>
            <a:endParaRPr lang="en-IN">
              <a:solidFill>
                <a:srgbClr val="FF5100"/>
              </a:solidFill>
              <a:latin typeface="Arial"/>
            </a:endParaRPr>
          </a:p>
        </p:txBody>
      </p:sp>
      <p:sp>
        <p:nvSpPr>
          <p:cNvPr id="2" name="Text Placeholder 5">
            <a:extLst>
              <a:ext uri="{FF2B5EF4-FFF2-40B4-BE49-F238E27FC236}">
                <a16:creationId xmlns:a16="http://schemas.microsoft.com/office/drawing/2014/main" id="{9DF2ADA7-643D-9845-A823-1B8F2BF22741}"/>
              </a:ext>
            </a:extLst>
          </p:cNvPr>
          <p:cNvSpPr>
            <a:spLocks noGrp="1"/>
          </p:cNvSpPr>
          <p:nvPr>
            <p:ph type="body" sz="quarter" idx="80" hasCustomPrompt="1"/>
            <p:custDataLst>
              <p:tags r:id="rId4"/>
            </p:custDataLst>
          </p:nvPr>
        </p:nvSpPr>
        <p:spPr>
          <a:xfrm>
            <a:off x="525600" y="6109200"/>
            <a:ext cx="720000" cy="554400"/>
          </a:xfrm>
        </p:spPr>
        <p:txBody>
          <a:bodyPr/>
          <a:lstStyle>
            <a:lvl1pPr>
              <a:defRPr sz="1100" b="1">
                <a:solidFill>
                  <a:schemeClr val="accent1"/>
                </a:solidFill>
              </a:defRPr>
            </a:lvl1pPr>
          </a:lstStyle>
          <a:p>
            <a:pPr lvl="0"/>
            <a:r>
              <a:rPr lang="en-US"/>
              <a:t>Sources:</a:t>
            </a:r>
            <a:endParaRPr lang="en-NL"/>
          </a:p>
        </p:txBody>
      </p:sp>
      <p:sp>
        <p:nvSpPr>
          <p:cNvPr id="4" name="Text Placeholder 11">
            <a:extLst>
              <a:ext uri="{FF2B5EF4-FFF2-40B4-BE49-F238E27FC236}">
                <a16:creationId xmlns:a16="http://schemas.microsoft.com/office/drawing/2014/main" id="{3C20D235-5E4A-F4E6-745F-FAA021BD6FDE}"/>
              </a:ext>
            </a:extLst>
          </p:cNvPr>
          <p:cNvSpPr>
            <a:spLocks noGrp="1"/>
          </p:cNvSpPr>
          <p:nvPr>
            <p:ph type="body" sz="quarter" idx="81" hasCustomPrompt="1"/>
            <p:custDataLst>
              <p:tags r:id="rId5"/>
            </p:custDataLst>
          </p:nvPr>
        </p:nvSpPr>
        <p:spPr>
          <a:xfrm>
            <a:off x="1152000" y="6109200"/>
            <a:ext cx="8704216" cy="440904"/>
          </a:xfrm>
        </p:spPr>
        <p:txBody>
          <a:bodyPr/>
          <a:lstStyle>
            <a:lvl1pPr>
              <a:defRPr sz="1100"/>
            </a:lvl1pPr>
          </a:lstStyle>
          <a:p>
            <a:pPr lvl="0"/>
            <a:r>
              <a:rPr lang="en-US"/>
              <a:t>Innova Database (click to edit)</a:t>
            </a:r>
            <a:endParaRPr lang="en-NL"/>
          </a:p>
        </p:txBody>
      </p:sp>
    </p:spTree>
    <p:extLst>
      <p:ext uri="{BB962C8B-B14F-4D97-AF65-F5344CB8AC3E}">
        <p14:creationId xmlns:p14="http://schemas.microsoft.com/office/powerpoint/2010/main" val="449591883"/>
      </p:ext>
    </p:extLst>
  </p:cSld>
  <p:clrMapOvr>
    <a:masterClrMapping/>
  </p:clrMapOvr>
  <p:transition/>
  <p:extLst>
    <p:ext uri="{DCECCB84-F9BA-43D5-87BE-67443E8EF086}">
      <p15:sldGuideLst xmlns:p15="http://schemas.microsoft.com/office/powerpoint/2012/main"/>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Breaker - Supply Chain - 3">
    <p:spTree>
      <p:nvGrpSpPr>
        <p:cNvPr id="1" name=""/>
        <p:cNvGrpSpPr/>
        <p:nvPr/>
      </p:nvGrpSpPr>
      <p:grpSpPr>
        <a:xfrm>
          <a:off x="0" y="0"/>
          <a:ext cx="0" cy="0"/>
          <a:chOff x="0" y="0"/>
          <a:chExt cx="0" cy="0"/>
        </a:xfrm>
      </p:grpSpPr>
      <p:pic>
        <p:nvPicPr>
          <p:cNvPr id="5" name="Picture Placeholder 12">
            <a:extLst>
              <a:ext uri="{FF2B5EF4-FFF2-40B4-BE49-F238E27FC236}">
                <a16:creationId xmlns:a16="http://schemas.microsoft.com/office/drawing/2014/main" id="{664633FB-AF1B-49E6-8F9E-E9F809C4538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sp>
        <p:nvSpPr>
          <p:cNvPr id="7" name="Tijdelijke aanduiding voor tekst 17">
            <a:extLst>
              <a:ext uri="{FF2B5EF4-FFF2-40B4-BE49-F238E27FC236}">
                <a16:creationId xmlns:a16="http://schemas.microsoft.com/office/drawing/2014/main" id="{EB178381-191C-4711-99D2-2EBC5481F9E3}"/>
              </a:ext>
            </a:extLst>
          </p:cNvPr>
          <p:cNvSpPr>
            <a:spLocks noGrp="1"/>
          </p:cNvSpPr>
          <p:nvPr>
            <p:ph type="body" sz="quarter" idx="18" hasCustomPrompt="1"/>
          </p:nvPr>
        </p:nvSpPr>
        <p:spPr>
          <a:xfrm>
            <a:off x="336552" y="3070800"/>
            <a:ext cx="3839632" cy="3787200"/>
          </a:xfrm>
          <a:prstGeom prst="round1Rect">
            <a:avLst/>
          </a:prstGeom>
          <a:solidFill>
            <a:srgbClr val="FFFFFF">
              <a:alpha val="85098"/>
            </a:srgbClr>
          </a:solidFill>
        </p:spPr>
        <p:txBody>
          <a:bodyPr wrap="square" lIns="288000" tIns="468000" rIns="72000" bIns="252000">
            <a:noAutofit/>
          </a:bodyPr>
          <a:lstStyle>
            <a:lvl1pPr marL="0" indent="0">
              <a:spcBef>
                <a:spcPts val="0"/>
              </a:spcBef>
              <a:buNone/>
              <a:defRPr sz="3200">
                <a:solidFill>
                  <a:schemeClr val="accent1"/>
                </a:solidFill>
              </a:defRPr>
            </a:lvl1pPr>
          </a:lstStyle>
          <a:p>
            <a:pPr lvl="0"/>
            <a:r>
              <a:rPr lang="en-GB"/>
              <a:t>Breaker text</a:t>
            </a:r>
          </a:p>
        </p:txBody>
      </p:sp>
    </p:spTree>
    <p:extLst>
      <p:ext uri="{BB962C8B-B14F-4D97-AF65-F5344CB8AC3E}">
        <p14:creationId xmlns:p14="http://schemas.microsoft.com/office/powerpoint/2010/main" val="1791893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Breaker - Supply Chain - 5">
    <p:spTree>
      <p:nvGrpSpPr>
        <p:cNvPr id="1" name=""/>
        <p:cNvGrpSpPr/>
        <p:nvPr/>
      </p:nvGrpSpPr>
      <p:grpSpPr>
        <a:xfrm>
          <a:off x="0" y="0"/>
          <a:ext cx="0" cy="0"/>
          <a:chOff x="0" y="0"/>
          <a:chExt cx="0" cy="0"/>
        </a:xfrm>
      </p:grpSpPr>
      <p:pic>
        <p:nvPicPr>
          <p:cNvPr id="3" name="Picture 2" descr="A picture containing text, building, metal&#10;&#10;Description automatically generated">
            <a:extLst>
              <a:ext uri="{FF2B5EF4-FFF2-40B4-BE49-F238E27FC236}">
                <a16:creationId xmlns:a16="http://schemas.microsoft.com/office/drawing/2014/main" id="{666F5477-C8C2-4EDB-887B-F024B1CD5F7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Tijdelijke aanduiding voor tekst 17">
            <a:extLst>
              <a:ext uri="{FF2B5EF4-FFF2-40B4-BE49-F238E27FC236}">
                <a16:creationId xmlns:a16="http://schemas.microsoft.com/office/drawing/2014/main" id="{EB178381-191C-4711-99D2-2EBC5481F9E3}"/>
              </a:ext>
            </a:extLst>
          </p:cNvPr>
          <p:cNvSpPr>
            <a:spLocks noGrp="1"/>
          </p:cNvSpPr>
          <p:nvPr>
            <p:ph type="body" sz="quarter" idx="18" hasCustomPrompt="1"/>
          </p:nvPr>
        </p:nvSpPr>
        <p:spPr>
          <a:xfrm>
            <a:off x="336552" y="3070800"/>
            <a:ext cx="3839632" cy="3787200"/>
          </a:xfrm>
          <a:prstGeom prst="round1Rect">
            <a:avLst/>
          </a:prstGeom>
          <a:solidFill>
            <a:srgbClr val="FFFFFF">
              <a:alpha val="85098"/>
            </a:srgbClr>
          </a:solidFill>
        </p:spPr>
        <p:txBody>
          <a:bodyPr wrap="square" lIns="288000" tIns="468000" rIns="72000" bIns="252000">
            <a:noAutofit/>
          </a:bodyPr>
          <a:lstStyle>
            <a:lvl1pPr marL="0" indent="0">
              <a:spcBef>
                <a:spcPts val="0"/>
              </a:spcBef>
              <a:buNone/>
              <a:defRPr sz="3200">
                <a:solidFill>
                  <a:schemeClr val="accent1"/>
                </a:solidFill>
              </a:defRPr>
            </a:lvl1pPr>
          </a:lstStyle>
          <a:p>
            <a:pPr lvl="0"/>
            <a:r>
              <a:rPr lang="en-GB"/>
              <a:t>Breaker text</a:t>
            </a:r>
          </a:p>
        </p:txBody>
      </p:sp>
    </p:spTree>
    <p:extLst>
      <p:ext uri="{BB962C8B-B14F-4D97-AF65-F5344CB8AC3E}">
        <p14:creationId xmlns:p14="http://schemas.microsoft.com/office/powerpoint/2010/main" val="2686531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bject, image left - 1">
    <p:spTree>
      <p:nvGrpSpPr>
        <p:cNvPr id="1" name=""/>
        <p:cNvGrpSpPr/>
        <p:nvPr/>
      </p:nvGrpSpPr>
      <p:grpSpPr>
        <a:xfrm>
          <a:off x="0" y="0"/>
          <a:ext cx="0" cy="0"/>
          <a:chOff x="0" y="0"/>
          <a:chExt cx="0" cy="0"/>
        </a:xfrm>
      </p:grpSpPr>
      <p:sp>
        <p:nvSpPr>
          <p:cNvPr id="8" name="Tijdelijke aanduiding voor afbeelding 7">
            <a:extLst>
              <a:ext uri="{FF2B5EF4-FFF2-40B4-BE49-F238E27FC236}">
                <a16:creationId xmlns:a16="http://schemas.microsoft.com/office/drawing/2014/main" id="{F720B503-17F8-4237-9A82-0CEE6CD5AC31}"/>
              </a:ext>
            </a:extLst>
          </p:cNvPr>
          <p:cNvSpPr>
            <a:spLocks noGrp="1"/>
          </p:cNvSpPr>
          <p:nvPr>
            <p:ph type="pic" sz="quarter" idx="13" hasCustomPrompt="1"/>
          </p:nvPr>
        </p:nvSpPr>
        <p:spPr>
          <a:xfrm>
            <a:off x="-2" y="0"/>
            <a:ext cx="4176185" cy="6858000"/>
          </a:xfrm>
          <a:solidFill>
            <a:schemeClr val="tx1">
              <a:lumMod val="20000"/>
              <a:lumOff val="80000"/>
            </a:schemeClr>
          </a:solidFill>
        </p:spPr>
        <p:txBody>
          <a:bodyPr/>
          <a:lstStyle>
            <a:lvl1pPr marL="0" indent="0" algn="ctr">
              <a:buNone/>
              <a:defRPr>
                <a:solidFill>
                  <a:schemeClr val="accent1"/>
                </a:solidFill>
              </a:defRPr>
            </a:lvl1pPr>
          </a:lstStyle>
          <a:p>
            <a:r>
              <a:rPr lang="en-GB"/>
              <a:t>Image</a:t>
            </a:r>
          </a:p>
        </p:txBody>
      </p:sp>
      <p:sp>
        <p:nvSpPr>
          <p:cNvPr id="2" name="Title 1"/>
          <p:cNvSpPr>
            <a:spLocks noGrp="1"/>
          </p:cNvSpPr>
          <p:nvPr>
            <p:ph type="title"/>
          </p:nvPr>
        </p:nvSpPr>
        <p:spPr>
          <a:xfrm>
            <a:off x="4512733" y="548218"/>
            <a:ext cx="7103532" cy="1036965"/>
          </a:xfrm>
        </p:spPr>
        <p:txBody>
          <a:bodyPr/>
          <a:lstStyle/>
          <a:p>
            <a:r>
              <a:rPr lang="en-GB"/>
              <a:t>Click to edit Master title style</a:t>
            </a:r>
          </a:p>
        </p:txBody>
      </p:sp>
      <p:sp>
        <p:nvSpPr>
          <p:cNvPr id="3" name="Content Placeholder 2"/>
          <p:cNvSpPr>
            <a:spLocks noGrp="1"/>
          </p:cNvSpPr>
          <p:nvPr>
            <p:ph idx="1" hasCustomPrompt="1"/>
          </p:nvPr>
        </p:nvSpPr>
        <p:spPr>
          <a:xfrm>
            <a:off x="4512734" y="1701801"/>
            <a:ext cx="7103532" cy="417618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10"/>
          </p:nvPr>
        </p:nvSpPr>
        <p:spPr/>
        <p:txBody>
          <a:bodyPr/>
          <a:lstStyle/>
          <a:p>
            <a:fld id="{49345CF7-D8B0-4045-AE52-F46BD3C2B7CD}" type="datetime1">
              <a:rPr lang="en-US" smtClean="0"/>
              <a:t>4/18/2025</a:t>
            </a:fld>
            <a:endParaRPr lang="en-GB"/>
          </a:p>
        </p:txBody>
      </p:sp>
      <p:sp>
        <p:nvSpPr>
          <p:cNvPr id="5" name="Footer Placeholder 4"/>
          <p:cNvSpPr>
            <a:spLocks noGrp="1"/>
          </p:cNvSpPr>
          <p:nvPr>
            <p:ph type="ftr" sz="quarter" idx="11"/>
          </p:nvPr>
        </p:nvSpPr>
        <p:spPr>
          <a:xfrm>
            <a:off x="4792232" y="6491400"/>
            <a:ext cx="65" cy="102657"/>
          </a:xfrm>
        </p:spPr>
        <p:txBody>
          <a:bodyPr/>
          <a:lstStyle/>
          <a:p>
            <a:endParaRPr lang="en-GB"/>
          </a:p>
        </p:txBody>
      </p:sp>
      <p:sp>
        <p:nvSpPr>
          <p:cNvPr id="6" name="Slide Number Placeholder 5"/>
          <p:cNvSpPr>
            <a:spLocks noGrp="1"/>
          </p:cNvSpPr>
          <p:nvPr>
            <p:ph type="sldNum" sz="quarter" idx="12"/>
          </p:nvPr>
        </p:nvSpPr>
        <p:spPr>
          <a:xfrm>
            <a:off x="4523662" y="6491432"/>
            <a:ext cx="147477" cy="102592"/>
          </a:xfrm>
        </p:spPr>
        <p:txBody>
          <a:bodyPr/>
          <a:lstStyle/>
          <a:p>
            <a:fld id="{9BE0E23E-9022-4929-B297-EB2777CDBB1F}" type="slidenum">
              <a:rPr lang="en-GB" smtClean="0"/>
              <a:t>‹#›</a:t>
            </a:fld>
            <a:endParaRPr lang="en-GB"/>
          </a:p>
        </p:txBody>
      </p:sp>
    </p:spTree>
    <p:extLst>
      <p:ext uri="{BB962C8B-B14F-4D97-AF65-F5344CB8AC3E}">
        <p14:creationId xmlns:p14="http://schemas.microsoft.com/office/powerpoint/2010/main" val="1550414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object, image left - 2">
    <p:spTree>
      <p:nvGrpSpPr>
        <p:cNvPr id="1" name=""/>
        <p:cNvGrpSpPr/>
        <p:nvPr/>
      </p:nvGrpSpPr>
      <p:grpSpPr>
        <a:xfrm>
          <a:off x="0" y="0"/>
          <a:ext cx="0" cy="0"/>
          <a:chOff x="0" y="0"/>
          <a:chExt cx="0" cy="0"/>
        </a:xfrm>
      </p:grpSpPr>
      <p:sp>
        <p:nvSpPr>
          <p:cNvPr id="2" name="Title 1"/>
          <p:cNvSpPr>
            <a:spLocks noGrp="1"/>
          </p:cNvSpPr>
          <p:nvPr>
            <p:ph type="title"/>
          </p:nvPr>
        </p:nvSpPr>
        <p:spPr>
          <a:xfrm>
            <a:off x="4512733" y="548218"/>
            <a:ext cx="7103532" cy="1036965"/>
          </a:xfrm>
        </p:spPr>
        <p:txBody>
          <a:bodyPr/>
          <a:lstStyle/>
          <a:p>
            <a:r>
              <a:rPr lang="en-GB"/>
              <a:t>Click to edit Master title style</a:t>
            </a:r>
          </a:p>
        </p:txBody>
      </p:sp>
      <p:sp>
        <p:nvSpPr>
          <p:cNvPr id="3" name="Content Placeholder 2"/>
          <p:cNvSpPr>
            <a:spLocks noGrp="1"/>
          </p:cNvSpPr>
          <p:nvPr>
            <p:ph idx="1" hasCustomPrompt="1"/>
          </p:nvPr>
        </p:nvSpPr>
        <p:spPr>
          <a:xfrm>
            <a:off x="4512734" y="1701801"/>
            <a:ext cx="7103532" cy="417618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Tijdelijke aanduiding voor afbeelding 12">
            <a:extLst>
              <a:ext uri="{FF2B5EF4-FFF2-40B4-BE49-F238E27FC236}">
                <a16:creationId xmlns:a16="http://schemas.microsoft.com/office/drawing/2014/main" id="{C9C4C5E8-F340-46D4-A2A8-4A34C5C580DB}"/>
              </a:ext>
            </a:extLst>
          </p:cNvPr>
          <p:cNvSpPr>
            <a:spLocks noGrp="1"/>
          </p:cNvSpPr>
          <p:nvPr>
            <p:ph type="pic" sz="quarter" idx="15" hasCustomPrompt="1"/>
          </p:nvPr>
        </p:nvSpPr>
        <p:spPr>
          <a:xfrm>
            <a:off x="1" y="-1"/>
            <a:ext cx="4176183" cy="5877984"/>
          </a:xfrm>
          <a:custGeom>
            <a:avLst/>
            <a:gdLst>
              <a:gd name="connsiteX0" fmla="*/ 0 w 3132137"/>
              <a:gd name="connsiteY0" fmla="*/ 0 h 4408488"/>
              <a:gd name="connsiteX1" fmla="*/ 3132137 w 3132137"/>
              <a:gd name="connsiteY1" fmla="*/ 0 h 4408488"/>
              <a:gd name="connsiteX2" fmla="*/ 3132137 w 3132137"/>
              <a:gd name="connsiteY2" fmla="*/ 3886455 h 4408488"/>
              <a:gd name="connsiteX3" fmla="*/ 2610104 w 3132137"/>
              <a:gd name="connsiteY3" fmla="*/ 4408488 h 4408488"/>
              <a:gd name="connsiteX4" fmla="*/ 0 w 3132137"/>
              <a:gd name="connsiteY4" fmla="*/ 4408488 h 4408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2137" h="4408488">
                <a:moveTo>
                  <a:pt x="0" y="0"/>
                </a:moveTo>
                <a:lnTo>
                  <a:pt x="3132137" y="0"/>
                </a:lnTo>
                <a:lnTo>
                  <a:pt x="3132137" y="3886455"/>
                </a:lnTo>
                <a:cubicBezTo>
                  <a:pt x="3132137" y="4174766"/>
                  <a:pt x="2898415" y="4408488"/>
                  <a:pt x="2610104" y="4408488"/>
                </a:cubicBezTo>
                <a:lnTo>
                  <a:pt x="0" y="4408488"/>
                </a:lnTo>
                <a:close/>
              </a:path>
            </a:pathLst>
          </a:custGeom>
          <a:solidFill>
            <a:schemeClr val="tx1">
              <a:lumMod val="20000"/>
              <a:lumOff val="80000"/>
            </a:schemeClr>
          </a:solidFill>
        </p:spPr>
        <p:txBody>
          <a:bodyPr wrap="square">
            <a:noAutofit/>
          </a:bodyPr>
          <a:lstStyle>
            <a:lvl1pPr marL="0" indent="0" algn="ctr">
              <a:buNone/>
              <a:defRPr>
                <a:solidFill>
                  <a:schemeClr val="accent1"/>
                </a:solidFill>
              </a:defRPr>
            </a:lvl1pPr>
          </a:lstStyle>
          <a:p>
            <a:r>
              <a:rPr lang="en-GB"/>
              <a:t>Image</a:t>
            </a:r>
          </a:p>
        </p:txBody>
      </p:sp>
      <p:sp>
        <p:nvSpPr>
          <p:cNvPr id="7" name="Date Placeholder 6">
            <a:extLst>
              <a:ext uri="{FF2B5EF4-FFF2-40B4-BE49-F238E27FC236}">
                <a16:creationId xmlns:a16="http://schemas.microsoft.com/office/drawing/2014/main" id="{79F1B4CB-680A-489C-BD69-19B6EDFF4BD9}"/>
              </a:ext>
            </a:extLst>
          </p:cNvPr>
          <p:cNvSpPr>
            <a:spLocks noGrp="1"/>
          </p:cNvSpPr>
          <p:nvPr>
            <p:ph type="dt" sz="half" idx="16"/>
          </p:nvPr>
        </p:nvSpPr>
        <p:spPr/>
        <p:txBody>
          <a:bodyPr/>
          <a:lstStyle/>
          <a:p>
            <a:fld id="{CB170BC3-90BA-4467-9D70-4DB8667899C8}" type="datetime1">
              <a:rPr lang="en-US" smtClean="0"/>
              <a:t>4/18/2025</a:t>
            </a:fld>
            <a:endParaRPr lang="en-GB"/>
          </a:p>
        </p:txBody>
      </p:sp>
      <p:sp>
        <p:nvSpPr>
          <p:cNvPr id="8" name="Footer Placeholder 7">
            <a:extLst>
              <a:ext uri="{FF2B5EF4-FFF2-40B4-BE49-F238E27FC236}">
                <a16:creationId xmlns:a16="http://schemas.microsoft.com/office/drawing/2014/main" id="{01831E48-6544-4001-B45E-82A7AF5CCD81}"/>
              </a:ext>
            </a:extLst>
          </p:cNvPr>
          <p:cNvSpPr>
            <a:spLocks noGrp="1"/>
          </p:cNvSpPr>
          <p:nvPr>
            <p:ph type="ftr" sz="quarter" idx="17"/>
          </p:nvPr>
        </p:nvSpPr>
        <p:spPr/>
        <p:txBody>
          <a:bodyPr/>
          <a:lstStyle/>
          <a:p>
            <a:endParaRPr lang="en-GB"/>
          </a:p>
        </p:txBody>
      </p:sp>
      <p:sp>
        <p:nvSpPr>
          <p:cNvPr id="9" name="Slide Number Placeholder 8">
            <a:extLst>
              <a:ext uri="{FF2B5EF4-FFF2-40B4-BE49-F238E27FC236}">
                <a16:creationId xmlns:a16="http://schemas.microsoft.com/office/drawing/2014/main" id="{CE133AC7-8800-4EE2-902B-26DE58D4D622}"/>
              </a:ext>
            </a:extLst>
          </p:cNvPr>
          <p:cNvSpPr>
            <a:spLocks noGrp="1"/>
          </p:cNvSpPr>
          <p:nvPr>
            <p:ph type="sldNum" sz="quarter" idx="18"/>
          </p:nvPr>
        </p:nvSpPr>
        <p:spPr/>
        <p:txBody>
          <a:bodyPr/>
          <a:lstStyle/>
          <a:p>
            <a:fld id="{9BE0E23E-9022-4929-B297-EB2777CDBB1F}" type="slidenum">
              <a:rPr lang="en-GB" smtClean="0"/>
              <a:pPr/>
              <a:t>‹#›</a:t>
            </a:fld>
            <a:endParaRPr lang="en-GB"/>
          </a:p>
        </p:txBody>
      </p:sp>
    </p:spTree>
    <p:extLst>
      <p:ext uri="{BB962C8B-B14F-4D97-AF65-F5344CB8AC3E}">
        <p14:creationId xmlns:p14="http://schemas.microsoft.com/office/powerpoint/2010/main" val="960592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object, image left - 3">
    <p:spTree>
      <p:nvGrpSpPr>
        <p:cNvPr id="1" name=""/>
        <p:cNvGrpSpPr/>
        <p:nvPr/>
      </p:nvGrpSpPr>
      <p:grpSpPr>
        <a:xfrm>
          <a:off x="0" y="0"/>
          <a:ext cx="0" cy="0"/>
          <a:chOff x="0" y="0"/>
          <a:chExt cx="0" cy="0"/>
        </a:xfrm>
      </p:grpSpPr>
      <p:sp>
        <p:nvSpPr>
          <p:cNvPr id="8" name="Tijdelijke aanduiding voor afbeelding 7">
            <a:extLst>
              <a:ext uri="{FF2B5EF4-FFF2-40B4-BE49-F238E27FC236}">
                <a16:creationId xmlns:a16="http://schemas.microsoft.com/office/drawing/2014/main" id="{F720B503-17F8-4237-9A82-0CEE6CD5AC31}"/>
              </a:ext>
            </a:extLst>
          </p:cNvPr>
          <p:cNvSpPr>
            <a:spLocks noGrp="1"/>
          </p:cNvSpPr>
          <p:nvPr>
            <p:ph type="pic" sz="quarter" idx="13" hasCustomPrompt="1"/>
          </p:nvPr>
        </p:nvSpPr>
        <p:spPr>
          <a:xfrm>
            <a:off x="0" y="0"/>
            <a:ext cx="6096000" cy="6858000"/>
          </a:xfrm>
          <a:solidFill>
            <a:schemeClr val="tx1">
              <a:lumMod val="20000"/>
              <a:lumOff val="80000"/>
            </a:schemeClr>
          </a:solidFill>
        </p:spPr>
        <p:txBody>
          <a:bodyPr/>
          <a:lstStyle>
            <a:lvl1pPr marL="0" indent="0" algn="ctr">
              <a:buNone/>
              <a:defRPr>
                <a:solidFill>
                  <a:schemeClr val="accent1"/>
                </a:solidFill>
              </a:defRPr>
            </a:lvl1pPr>
          </a:lstStyle>
          <a:p>
            <a:r>
              <a:rPr lang="en-GB"/>
              <a:t>Image</a:t>
            </a:r>
          </a:p>
        </p:txBody>
      </p:sp>
      <p:sp>
        <p:nvSpPr>
          <p:cNvPr id="2" name="Title 1"/>
          <p:cNvSpPr>
            <a:spLocks noGrp="1"/>
          </p:cNvSpPr>
          <p:nvPr>
            <p:ph type="title"/>
          </p:nvPr>
        </p:nvSpPr>
        <p:spPr>
          <a:xfrm>
            <a:off x="6356682" y="548218"/>
            <a:ext cx="5257804" cy="1036965"/>
          </a:xfrm>
        </p:spPr>
        <p:txBody>
          <a:bodyPr/>
          <a:lstStyle/>
          <a:p>
            <a:r>
              <a:rPr lang="en-GB"/>
              <a:t>Click to edit Master title style</a:t>
            </a:r>
          </a:p>
        </p:txBody>
      </p:sp>
      <p:sp>
        <p:nvSpPr>
          <p:cNvPr id="3" name="Content Placeholder 2"/>
          <p:cNvSpPr>
            <a:spLocks noGrp="1"/>
          </p:cNvSpPr>
          <p:nvPr>
            <p:ph idx="1" hasCustomPrompt="1"/>
          </p:nvPr>
        </p:nvSpPr>
        <p:spPr>
          <a:xfrm>
            <a:off x="6361241" y="1701801"/>
            <a:ext cx="5257804" cy="417618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CC2C5BB5-310F-42D7-BCEC-775E6B1386D6}"/>
              </a:ext>
            </a:extLst>
          </p:cNvPr>
          <p:cNvSpPr>
            <a:spLocks noGrp="1"/>
          </p:cNvSpPr>
          <p:nvPr>
            <p:ph type="dt" sz="half" idx="14"/>
          </p:nvPr>
        </p:nvSpPr>
        <p:spPr/>
        <p:txBody>
          <a:bodyPr/>
          <a:lstStyle/>
          <a:p>
            <a:fld id="{3DE0FC86-AAB9-4684-B005-9F340A410FA4}" type="datetime1">
              <a:rPr lang="en-US" smtClean="0"/>
              <a:t>4/18/2025</a:t>
            </a:fld>
            <a:endParaRPr lang="en-GB"/>
          </a:p>
        </p:txBody>
      </p:sp>
      <p:sp>
        <p:nvSpPr>
          <p:cNvPr id="9" name="Footer Placeholder 8">
            <a:extLst>
              <a:ext uri="{FF2B5EF4-FFF2-40B4-BE49-F238E27FC236}">
                <a16:creationId xmlns:a16="http://schemas.microsoft.com/office/drawing/2014/main" id="{B2EEFD6A-40FF-4329-86FD-ADEF6B391865}"/>
              </a:ext>
            </a:extLst>
          </p:cNvPr>
          <p:cNvSpPr>
            <a:spLocks noGrp="1"/>
          </p:cNvSpPr>
          <p:nvPr>
            <p:ph type="ftr" sz="quarter" idx="15"/>
          </p:nvPr>
        </p:nvSpPr>
        <p:spPr/>
        <p:txBody>
          <a:bodyPr/>
          <a:lstStyle/>
          <a:p>
            <a:endParaRPr lang="en-GB"/>
          </a:p>
        </p:txBody>
      </p:sp>
      <p:sp>
        <p:nvSpPr>
          <p:cNvPr id="10" name="Slide Number Placeholder 9">
            <a:extLst>
              <a:ext uri="{FF2B5EF4-FFF2-40B4-BE49-F238E27FC236}">
                <a16:creationId xmlns:a16="http://schemas.microsoft.com/office/drawing/2014/main" id="{C5182FC2-EAAE-4086-BE94-154B6502E857}"/>
              </a:ext>
            </a:extLst>
          </p:cNvPr>
          <p:cNvSpPr>
            <a:spLocks noGrp="1"/>
          </p:cNvSpPr>
          <p:nvPr>
            <p:ph type="sldNum" sz="quarter" idx="16"/>
          </p:nvPr>
        </p:nvSpPr>
        <p:spPr/>
        <p:txBody>
          <a:bodyPr/>
          <a:lstStyle/>
          <a:p>
            <a:fld id="{9BE0E23E-9022-4929-B297-EB2777CDBB1F}" type="slidenum">
              <a:rPr lang="en-GB" smtClean="0"/>
              <a:pPr/>
              <a:t>‹#›</a:t>
            </a:fld>
            <a:endParaRPr lang="en-GB"/>
          </a:p>
        </p:txBody>
      </p:sp>
    </p:spTree>
    <p:extLst>
      <p:ext uri="{BB962C8B-B14F-4D97-AF65-F5344CB8AC3E}">
        <p14:creationId xmlns:p14="http://schemas.microsoft.com/office/powerpoint/2010/main" val="488664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object, image left - 4">
    <p:spTree>
      <p:nvGrpSpPr>
        <p:cNvPr id="1" name=""/>
        <p:cNvGrpSpPr/>
        <p:nvPr/>
      </p:nvGrpSpPr>
      <p:grpSpPr>
        <a:xfrm>
          <a:off x="0" y="0"/>
          <a:ext cx="0" cy="0"/>
          <a:chOff x="0" y="0"/>
          <a:chExt cx="0" cy="0"/>
        </a:xfrm>
      </p:grpSpPr>
      <p:sp>
        <p:nvSpPr>
          <p:cNvPr id="10" name="Tijdelijke aanduiding voor afbeelding 9">
            <a:extLst>
              <a:ext uri="{FF2B5EF4-FFF2-40B4-BE49-F238E27FC236}">
                <a16:creationId xmlns:a16="http://schemas.microsoft.com/office/drawing/2014/main" id="{DFCEA526-81FA-4002-B45C-BC3F7FFAF64E}"/>
              </a:ext>
            </a:extLst>
          </p:cNvPr>
          <p:cNvSpPr>
            <a:spLocks noGrp="1"/>
          </p:cNvSpPr>
          <p:nvPr>
            <p:ph type="pic" sz="quarter" idx="14" hasCustomPrompt="1"/>
          </p:nvPr>
        </p:nvSpPr>
        <p:spPr>
          <a:xfrm flipH="1">
            <a:off x="0" y="0"/>
            <a:ext cx="6096000" cy="5877984"/>
          </a:xfrm>
          <a:custGeom>
            <a:avLst/>
            <a:gdLst>
              <a:gd name="connsiteX0" fmla="*/ 0 w 4572000"/>
              <a:gd name="connsiteY0" fmla="*/ 0 h 4408488"/>
              <a:gd name="connsiteX1" fmla="*/ 4572000 w 4572000"/>
              <a:gd name="connsiteY1" fmla="*/ 0 h 4408488"/>
              <a:gd name="connsiteX2" fmla="*/ 4572000 w 4572000"/>
              <a:gd name="connsiteY2" fmla="*/ 4408488 h 4408488"/>
              <a:gd name="connsiteX3" fmla="*/ 734763 w 4572000"/>
              <a:gd name="connsiteY3" fmla="*/ 4408488 h 4408488"/>
              <a:gd name="connsiteX4" fmla="*/ 0 w 4572000"/>
              <a:gd name="connsiteY4" fmla="*/ 3673725 h 4408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0" h="4408488">
                <a:moveTo>
                  <a:pt x="0" y="0"/>
                </a:moveTo>
                <a:lnTo>
                  <a:pt x="4572000" y="0"/>
                </a:lnTo>
                <a:lnTo>
                  <a:pt x="4572000" y="4408488"/>
                </a:lnTo>
                <a:lnTo>
                  <a:pt x="734763" y="4408488"/>
                </a:lnTo>
                <a:cubicBezTo>
                  <a:pt x="328965" y="4408488"/>
                  <a:pt x="0" y="4079523"/>
                  <a:pt x="0" y="3673725"/>
                </a:cubicBezTo>
                <a:close/>
              </a:path>
            </a:pathLst>
          </a:custGeom>
          <a:solidFill>
            <a:schemeClr val="tx1">
              <a:lumMod val="20000"/>
              <a:lumOff val="80000"/>
            </a:schemeClr>
          </a:solidFill>
        </p:spPr>
        <p:txBody>
          <a:bodyPr wrap="square">
            <a:noAutofit/>
          </a:bodyPr>
          <a:lstStyle>
            <a:lvl1pPr marL="0" indent="0" algn="ctr">
              <a:buNone/>
              <a:defRPr>
                <a:solidFill>
                  <a:schemeClr val="accent1"/>
                </a:solidFill>
              </a:defRPr>
            </a:lvl1pPr>
          </a:lstStyle>
          <a:p>
            <a:r>
              <a:rPr lang="en-GB"/>
              <a:t>Image</a:t>
            </a:r>
          </a:p>
        </p:txBody>
      </p:sp>
      <p:sp>
        <p:nvSpPr>
          <p:cNvPr id="2" name="Title 1"/>
          <p:cNvSpPr>
            <a:spLocks noGrp="1"/>
          </p:cNvSpPr>
          <p:nvPr>
            <p:ph type="title"/>
          </p:nvPr>
        </p:nvSpPr>
        <p:spPr>
          <a:xfrm>
            <a:off x="6355334" y="548218"/>
            <a:ext cx="5257804" cy="1036965"/>
          </a:xfrm>
        </p:spPr>
        <p:txBody>
          <a:bodyPr/>
          <a:lstStyle/>
          <a:p>
            <a:r>
              <a:rPr lang="en-GB"/>
              <a:t>Click to edit Master title style</a:t>
            </a:r>
          </a:p>
        </p:txBody>
      </p:sp>
      <p:sp>
        <p:nvSpPr>
          <p:cNvPr id="3" name="Content Placeholder 2"/>
          <p:cNvSpPr>
            <a:spLocks noGrp="1"/>
          </p:cNvSpPr>
          <p:nvPr>
            <p:ph idx="1" hasCustomPrompt="1"/>
          </p:nvPr>
        </p:nvSpPr>
        <p:spPr>
          <a:xfrm>
            <a:off x="6359893" y="1701801"/>
            <a:ext cx="5257804" cy="417618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078C19A8-BD80-47FC-9B2A-4C688EF5E8F3}"/>
              </a:ext>
            </a:extLst>
          </p:cNvPr>
          <p:cNvSpPr>
            <a:spLocks noGrp="1"/>
          </p:cNvSpPr>
          <p:nvPr>
            <p:ph type="dt" sz="half" idx="15"/>
          </p:nvPr>
        </p:nvSpPr>
        <p:spPr/>
        <p:txBody>
          <a:bodyPr/>
          <a:lstStyle/>
          <a:p>
            <a:fld id="{EA3555FC-5CBC-4293-A9CC-DE08133E55A2}" type="datetime1">
              <a:rPr lang="en-US" smtClean="0"/>
              <a:t>4/18/2025</a:t>
            </a:fld>
            <a:endParaRPr lang="en-GB"/>
          </a:p>
        </p:txBody>
      </p:sp>
      <p:sp>
        <p:nvSpPr>
          <p:cNvPr id="8" name="Footer Placeholder 7">
            <a:extLst>
              <a:ext uri="{FF2B5EF4-FFF2-40B4-BE49-F238E27FC236}">
                <a16:creationId xmlns:a16="http://schemas.microsoft.com/office/drawing/2014/main" id="{76085339-6207-4265-AF28-D7E1ED9B5A45}"/>
              </a:ext>
            </a:extLst>
          </p:cNvPr>
          <p:cNvSpPr>
            <a:spLocks noGrp="1"/>
          </p:cNvSpPr>
          <p:nvPr>
            <p:ph type="ftr" sz="quarter" idx="16"/>
          </p:nvPr>
        </p:nvSpPr>
        <p:spPr/>
        <p:txBody>
          <a:bodyPr/>
          <a:lstStyle/>
          <a:p>
            <a:endParaRPr lang="en-GB"/>
          </a:p>
        </p:txBody>
      </p:sp>
      <p:sp>
        <p:nvSpPr>
          <p:cNvPr id="9" name="Slide Number Placeholder 8">
            <a:extLst>
              <a:ext uri="{FF2B5EF4-FFF2-40B4-BE49-F238E27FC236}">
                <a16:creationId xmlns:a16="http://schemas.microsoft.com/office/drawing/2014/main" id="{20645EF5-7369-471D-9DFE-F382AB83D164}"/>
              </a:ext>
            </a:extLst>
          </p:cNvPr>
          <p:cNvSpPr>
            <a:spLocks noGrp="1"/>
          </p:cNvSpPr>
          <p:nvPr>
            <p:ph type="sldNum" sz="quarter" idx="17"/>
          </p:nvPr>
        </p:nvSpPr>
        <p:spPr/>
        <p:txBody>
          <a:bodyPr/>
          <a:lstStyle/>
          <a:p>
            <a:fld id="{9BE0E23E-9022-4929-B297-EB2777CDBB1F}" type="slidenum">
              <a:rPr lang="en-GB" smtClean="0"/>
              <a:pPr/>
              <a:t>‹#›</a:t>
            </a:fld>
            <a:endParaRPr lang="en-GB"/>
          </a:p>
        </p:txBody>
      </p:sp>
    </p:spTree>
    <p:extLst>
      <p:ext uri="{BB962C8B-B14F-4D97-AF65-F5344CB8AC3E}">
        <p14:creationId xmlns:p14="http://schemas.microsoft.com/office/powerpoint/2010/main" val="590142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object, image right - 1">
    <p:spTree>
      <p:nvGrpSpPr>
        <p:cNvPr id="1" name=""/>
        <p:cNvGrpSpPr/>
        <p:nvPr/>
      </p:nvGrpSpPr>
      <p:grpSpPr>
        <a:xfrm>
          <a:off x="0" y="0"/>
          <a:ext cx="0" cy="0"/>
          <a:chOff x="0" y="0"/>
          <a:chExt cx="0" cy="0"/>
        </a:xfrm>
      </p:grpSpPr>
      <p:sp>
        <p:nvSpPr>
          <p:cNvPr id="8" name="Tijdelijke aanduiding voor afbeelding 7">
            <a:extLst>
              <a:ext uri="{FF2B5EF4-FFF2-40B4-BE49-F238E27FC236}">
                <a16:creationId xmlns:a16="http://schemas.microsoft.com/office/drawing/2014/main" id="{F720B503-17F8-4237-9A82-0CEE6CD5AC31}"/>
              </a:ext>
            </a:extLst>
          </p:cNvPr>
          <p:cNvSpPr>
            <a:spLocks noGrp="1"/>
          </p:cNvSpPr>
          <p:nvPr>
            <p:ph type="pic" sz="quarter" idx="13" hasCustomPrompt="1"/>
          </p:nvPr>
        </p:nvSpPr>
        <p:spPr>
          <a:xfrm>
            <a:off x="8015817" y="0"/>
            <a:ext cx="4176183" cy="6858000"/>
          </a:xfrm>
          <a:solidFill>
            <a:schemeClr val="tx1">
              <a:lumMod val="20000"/>
              <a:lumOff val="80000"/>
            </a:schemeClr>
          </a:solidFill>
        </p:spPr>
        <p:txBody>
          <a:bodyPr/>
          <a:lstStyle>
            <a:lvl1pPr marL="0" indent="0" algn="ctr">
              <a:buNone/>
              <a:defRPr>
                <a:solidFill>
                  <a:schemeClr val="accent1"/>
                </a:solidFill>
              </a:defRPr>
            </a:lvl1pPr>
          </a:lstStyle>
          <a:p>
            <a:r>
              <a:rPr lang="en-GB"/>
              <a:t>Image</a:t>
            </a:r>
          </a:p>
        </p:txBody>
      </p:sp>
      <p:sp>
        <p:nvSpPr>
          <p:cNvPr id="2" name="Title 1"/>
          <p:cNvSpPr>
            <a:spLocks noGrp="1"/>
          </p:cNvSpPr>
          <p:nvPr>
            <p:ph type="title"/>
          </p:nvPr>
        </p:nvSpPr>
        <p:spPr>
          <a:xfrm>
            <a:off x="575734" y="548218"/>
            <a:ext cx="7096356" cy="1036965"/>
          </a:xfrm>
        </p:spPr>
        <p:txBody>
          <a:bodyPr/>
          <a:lstStyle/>
          <a:p>
            <a:r>
              <a:rPr lang="en-GB"/>
              <a:t>Click to edit Master title style</a:t>
            </a:r>
          </a:p>
        </p:txBody>
      </p:sp>
      <p:sp>
        <p:nvSpPr>
          <p:cNvPr id="3" name="Content Placeholder 2"/>
          <p:cNvSpPr>
            <a:spLocks noGrp="1"/>
          </p:cNvSpPr>
          <p:nvPr>
            <p:ph idx="1" hasCustomPrompt="1"/>
          </p:nvPr>
        </p:nvSpPr>
        <p:spPr>
          <a:xfrm>
            <a:off x="580291" y="1701801"/>
            <a:ext cx="7096355" cy="417618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10"/>
          </p:nvPr>
        </p:nvSpPr>
        <p:spPr>
          <a:xfrm>
            <a:off x="7218187" y="6491400"/>
            <a:ext cx="458459" cy="102657"/>
          </a:xfrm>
        </p:spPr>
        <p:txBody>
          <a:bodyPr/>
          <a:lstStyle/>
          <a:p>
            <a:fld id="{C25B725E-3529-402F-A007-175122EB9C19}" type="datetime1">
              <a:rPr lang="en-US" smtClean="0"/>
              <a:t>4/18/2025</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Tree>
    <p:extLst>
      <p:ext uri="{BB962C8B-B14F-4D97-AF65-F5344CB8AC3E}">
        <p14:creationId xmlns:p14="http://schemas.microsoft.com/office/powerpoint/2010/main" val="176349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object, image right - 2">
    <p:spTree>
      <p:nvGrpSpPr>
        <p:cNvPr id="1" name=""/>
        <p:cNvGrpSpPr/>
        <p:nvPr/>
      </p:nvGrpSpPr>
      <p:grpSpPr>
        <a:xfrm>
          <a:off x="0" y="0"/>
          <a:ext cx="0" cy="0"/>
          <a:chOff x="0" y="0"/>
          <a:chExt cx="0" cy="0"/>
        </a:xfrm>
      </p:grpSpPr>
      <p:sp>
        <p:nvSpPr>
          <p:cNvPr id="2" name="Title 1"/>
          <p:cNvSpPr>
            <a:spLocks noGrp="1"/>
          </p:cNvSpPr>
          <p:nvPr>
            <p:ph type="title"/>
          </p:nvPr>
        </p:nvSpPr>
        <p:spPr>
          <a:xfrm>
            <a:off x="575734" y="548218"/>
            <a:ext cx="7096356" cy="1036965"/>
          </a:xfrm>
        </p:spPr>
        <p:txBody>
          <a:bodyPr/>
          <a:lstStyle/>
          <a:p>
            <a:r>
              <a:rPr lang="en-GB"/>
              <a:t>Click to edit Master title style</a:t>
            </a:r>
          </a:p>
        </p:txBody>
      </p:sp>
      <p:sp>
        <p:nvSpPr>
          <p:cNvPr id="3" name="Content Placeholder 2"/>
          <p:cNvSpPr>
            <a:spLocks noGrp="1"/>
          </p:cNvSpPr>
          <p:nvPr>
            <p:ph idx="1" hasCustomPrompt="1"/>
          </p:nvPr>
        </p:nvSpPr>
        <p:spPr>
          <a:xfrm>
            <a:off x="580291" y="1701801"/>
            <a:ext cx="7096355" cy="417618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CD0681F5-EDA1-4026-910A-363A595F1D41}"/>
              </a:ext>
            </a:extLst>
          </p:cNvPr>
          <p:cNvSpPr>
            <a:spLocks noGrp="1"/>
          </p:cNvSpPr>
          <p:nvPr>
            <p:ph type="dt" sz="half" idx="15"/>
          </p:nvPr>
        </p:nvSpPr>
        <p:spPr/>
        <p:txBody>
          <a:bodyPr/>
          <a:lstStyle/>
          <a:p>
            <a:fld id="{2CF75F9F-0457-4E81-9DEC-7BDDFF45967C}" type="datetime1">
              <a:rPr lang="en-US" smtClean="0"/>
              <a:t>4/18/2025</a:t>
            </a:fld>
            <a:endParaRPr lang="en-GB"/>
          </a:p>
        </p:txBody>
      </p:sp>
      <p:sp>
        <p:nvSpPr>
          <p:cNvPr id="8" name="Footer Placeholder 7">
            <a:extLst>
              <a:ext uri="{FF2B5EF4-FFF2-40B4-BE49-F238E27FC236}">
                <a16:creationId xmlns:a16="http://schemas.microsoft.com/office/drawing/2014/main" id="{57242038-6053-470C-BB99-293A4CF25213}"/>
              </a:ext>
            </a:extLst>
          </p:cNvPr>
          <p:cNvSpPr>
            <a:spLocks noGrp="1"/>
          </p:cNvSpPr>
          <p:nvPr>
            <p:ph type="ftr" sz="quarter" idx="16"/>
          </p:nvPr>
        </p:nvSpPr>
        <p:spPr/>
        <p:txBody>
          <a:bodyPr/>
          <a:lstStyle/>
          <a:p>
            <a:endParaRPr lang="en-GB"/>
          </a:p>
        </p:txBody>
      </p:sp>
      <p:sp>
        <p:nvSpPr>
          <p:cNvPr id="9" name="Slide Number Placeholder 8">
            <a:extLst>
              <a:ext uri="{FF2B5EF4-FFF2-40B4-BE49-F238E27FC236}">
                <a16:creationId xmlns:a16="http://schemas.microsoft.com/office/drawing/2014/main" id="{304EA08E-FB46-4B48-968F-705BEF45349A}"/>
              </a:ext>
            </a:extLst>
          </p:cNvPr>
          <p:cNvSpPr>
            <a:spLocks noGrp="1"/>
          </p:cNvSpPr>
          <p:nvPr>
            <p:ph type="sldNum" sz="quarter" idx="17"/>
          </p:nvPr>
        </p:nvSpPr>
        <p:spPr/>
        <p:txBody>
          <a:bodyPr/>
          <a:lstStyle/>
          <a:p>
            <a:fld id="{9BE0E23E-9022-4929-B297-EB2777CDBB1F}" type="slidenum">
              <a:rPr lang="en-GB" smtClean="0"/>
              <a:pPr/>
              <a:t>‹#›</a:t>
            </a:fld>
            <a:endParaRPr lang="en-GB"/>
          </a:p>
        </p:txBody>
      </p:sp>
      <p:sp>
        <p:nvSpPr>
          <p:cNvPr id="12" name="Picture Placeholder 11">
            <a:extLst>
              <a:ext uri="{FF2B5EF4-FFF2-40B4-BE49-F238E27FC236}">
                <a16:creationId xmlns:a16="http://schemas.microsoft.com/office/drawing/2014/main" id="{882D5BAD-2FA6-4711-A473-BE9F6C23627A}"/>
              </a:ext>
            </a:extLst>
          </p:cNvPr>
          <p:cNvSpPr>
            <a:spLocks noGrp="1"/>
          </p:cNvSpPr>
          <p:nvPr>
            <p:ph type="pic" sz="quarter" idx="13" hasCustomPrompt="1"/>
          </p:nvPr>
        </p:nvSpPr>
        <p:spPr>
          <a:xfrm>
            <a:off x="8015817" y="-1"/>
            <a:ext cx="4176183" cy="5877984"/>
          </a:xfrm>
          <a:custGeom>
            <a:avLst/>
            <a:gdLst>
              <a:gd name="connsiteX0" fmla="*/ 0 w 3132137"/>
              <a:gd name="connsiteY0" fmla="*/ 0 h 4408488"/>
              <a:gd name="connsiteX1" fmla="*/ 3132137 w 3132137"/>
              <a:gd name="connsiteY1" fmla="*/ 0 h 4408488"/>
              <a:gd name="connsiteX2" fmla="*/ 3132137 w 3132137"/>
              <a:gd name="connsiteY2" fmla="*/ 1 h 4408488"/>
              <a:gd name="connsiteX3" fmla="*/ 3132137 w 3132137"/>
              <a:gd name="connsiteY3" fmla="*/ 2356339 h 4408488"/>
              <a:gd name="connsiteX4" fmla="*/ 3132137 w 3132137"/>
              <a:gd name="connsiteY4" fmla="*/ 4408488 h 4408488"/>
              <a:gd name="connsiteX5" fmla="*/ 522033 w 3132137"/>
              <a:gd name="connsiteY5" fmla="*/ 4408488 h 4408488"/>
              <a:gd name="connsiteX6" fmla="*/ 0 w 3132137"/>
              <a:gd name="connsiteY6" fmla="*/ 3886455 h 4408488"/>
              <a:gd name="connsiteX7" fmla="*/ 0 w 3132137"/>
              <a:gd name="connsiteY7" fmla="*/ 2356339 h 4408488"/>
              <a:gd name="connsiteX8" fmla="*/ 0 w 3132137"/>
              <a:gd name="connsiteY8" fmla="*/ 1 h 4408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2137" h="4408488">
                <a:moveTo>
                  <a:pt x="0" y="0"/>
                </a:moveTo>
                <a:lnTo>
                  <a:pt x="3132137" y="0"/>
                </a:lnTo>
                <a:lnTo>
                  <a:pt x="3132137" y="1"/>
                </a:lnTo>
                <a:lnTo>
                  <a:pt x="3132137" y="2356339"/>
                </a:lnTo>
                <a:lnTo>
                  <a:pt x="3132137" y="4408488"/>
                </a:lnTo>
                <a:lnTo>
                  <a:pt x="522033" y="4408488"/>
                </a:lnTo>
                <a:cubicBezTo>
                  <a:pt x="233722" y="4408488"/>
                  <a:pt x="0" y="4174766"/>
                  <a:pt x="0" y="3886455"/>
                </a:cubicBezTo>
                <a:lnTo>
                  <a:pt x="0" y="2356339"/>
                </a:lnTo>
                <a:lnTo>
                  <a:pt x="0" y="1"/>
                </a:lnTo>
                <a:close/>
              </a:path>
            </a:pathLst>
          </a:custGeom>
          <a:solidFill>
            <a:schemeClr val="tx1">
              <a:lumMod val="20000"/>
              <a:lumOff val="80000"/>
            </a:schemeClr>
          </a:solidFill>
        </p:spPr>
        <p:txBody>
          <a:bodyPr wrap="square">
            <a:noAutofit/>
          </a:bodyPr>
          <a:lstStyle>
            <a:lvl1pPr marL="0" indent="0" algn="ctr">
              <a:buNone/>
              <a:defRPr>
                <a:solidFill>
                  <a:schemeClr val="accent1"/>
                </a:solidFill>
              </a:defRPr>
            </a:lvl1pPr>
          </a:lstStyle>
          <a:p>
            <a:r>
              <a:rPr lang="en-GB"/>
              <a:t>Image</a:t>
            </a:r>
          </a:p>
        </p:txBody>
      </p:sp>
    </p:spTree>
    <p:extLst>
      <p:ext uri="{BB962C8B-B14F-4D97-AF65-F5344CB8AC3E}">
        <p14:creationId xmlns:p14="http://schemas.microsoft.com/office/powerpoint/2010/main" val="2492933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object, image right - 3">
    <p:spTree>
      <p:nvGrpSpPr>
        <p:cNvPr id="1" name=""/>
        <p:cNvGrpSpPr/>
        <p:nvPr/>
      </p:nvGrpSpPr>
      <p:grpSpPr>
        <a:xfrm>
          <a:off x="0" y="0"/>
          <a:ext cx="0" cy="0"/>
          <a:chOff x="0" y="0"/>
          <a:chExt cx="0" cy="0"/>
        </a:xfrm>
      </p:grpSpPr>
      <p:sp>
        <p:nvSpPr>
          <p:cNvPr id="2" name="Title 1"/>
          <p:cNvSpPr>
            <a:spLocks noGrp="1"/>
          </p:cNvSpPr>
          <p:nvPr>
            <p:ph type="title"/>
          </p:nvPr>
        </p:nvSpPr>
        <p:spPr>
          <a:xfrm>
            <a:off x="575734" y="548218"/>
            <a:ext cx="5257804" cy="1036965"/>
          </a:xfrm>
        </p:spPr>
        <p:txBody>
          <a:bodyPr/>
          <a:lstStyle/>
          <a:p>
            <a:r>
              <a:rPr lang="en-GB"/>
              <a:t>Click to edit Master title style</a:t>
            </a:r>
          </a:p>
        </p:txBody>
      </p:sp>
      <p:sp>
        <p:nvSpPr>
          <p:cNvPr id="3" name="Content Placeholder 2"/>
          <p:cNvSpPr>
            <a:spLocks noGrp="1"/>
          </p:cNvSpPr>
          <p:nvPr>
            <p:ph idx="1" hasCustomPrompt="1"/>
          </p:nvPr>
        </p:nvSpPr>
        <p:spPr>
          <a:xfrm>
            <a:off x="580293" y="1701801"/>
            <a:ext cx="5257804" cy="417618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10"/>
          </p:nvPr>
        </p:nvSpPr>
        <p:spPr>
          <a:xfrm>
            <a:off x="5379638" y="6491400"/>
            <a:ext cx="458459" cy="102657"/>
          </a:xfrm>
        </p:spPr>
        <p:txBody>
          <a:bodyPr/>
          <a:lstStyle/>
          <a:p>
            <a:fld id="{B9C46892-2D1D-49ED-8316-60F78B096033}" type="datetime1">
              <a:rPr lang="en-US" smtClean="0"/>
              <a:t>4/18/2025</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8" name="Tijdelijke aanduiding voor afbeelding 7">
            <a:extLst>
              <a:ext uri="{FF2B5EF4-FFF2-40B4-BE49-F238E27FC236}">
                <a16:creationId xmlns:a16="http://schemas.microsoft.com/office/drawing/2014/main" id="{F720B503-17F8-4237-9A82-0CEE6CD5AC31}"/>
              </a:ext>
            </a:extLst>
          </p:cNvPr>
          <p:cNvSpPr>
            <a:spLocks noGrp="1"/>
          </p:cNvSpPr>
          <p:nvPr>
            <p:ph type="pic" sz="quarter" idx="13" hasCustomPrompt="1"/>
          </p:nvPr>
        </p:nvSpPr>
        <p:spPr>
          <a:xfrm>
            <a:off x="6096000" y="0"/>
            <a:ext cx="6096000" cy="6858000"/>
          </a:xfrm>
          <a:solidFill>
            <a:schemeClr val="tx1">
              <a:lumMod val="20000"/>
              <a:lumOff val="80000"/>
            </a:schemeClr>
          </a:solidFill>
        </p:spPr>
        <p:txBody>
          <a:bodyPr/>
          <a:lstStyle>
            <a:lvl1pPr marL="0" indent="0" algn="ctr">
              <a:buNone/>
              <a:defRPr>
                <a:solidFill>
                  <a:schemeClr val="accent1"/>
                </a:solidFill>
              </a:defRPr>
            </a:lvl1pPr>
          </a:lstStyle>
          <a:p>
            <a:r>
              <a:rPr lang="en-GB"/>
              <a:t>Image</a:t>
            </a:r>
          </a:p>
        </p:txBody>
      </p:sp>
    </p:spTree>
    <p:extLst>
      <p:ext uri="{BB962C8B-B14F-4D97-AF65-F5344CB8AC3E}">
        <p14:creationId xmlns:p14="http://schemas.microsoft.com/office/powerpoint/2010/main" val="2894319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object, image right - 4">
    <p:spTree>
      <p:nvGrpSpPr>
        <p:cNvPr id="1" name=""/>
        <p:cNvGrpSpPr/>
        <p:nvPr/>
      </p:nvGrpSpPr>
      <p:grpSpPr>
        <a:xfrm>
          <a:off x="0" y="0"/>
          <a:ext cx="0" cy="0"/>
          <a:chOff x="0" y="0"/>
          <a:chExt cx="0" cy="0"/>
        </a:xfrm>
      </p:grpSpPr>
      <p:sp>
        <p:nvSpPr>
          <p:cNvPr id="2" name="Title 1"/>
          <p:cNvSpPr>
            <a:spLocks noGrp="1"/>
          </p:cNvSpPr>
          <p:nvPr>
            <p:ph type="title"/>
          </p:nvPr>
        </p:nvSpPr>
        <p:spPr>
          <a:xfrm>
            <a:off x="575734" y="548218"/>
            <a:ext cx="5257804" cy="1036965"/>
          </a:xfrm>
        </p:spPr>
        <p:txBody>
          <a:bodyPr/>
          <a:lstStyle/>
          <a:p>
            <a:r>
              <a:rPr lang="en-GB"/>
              <a:t>Click to edit Master title style</a:t>
            </a:r>
          </a:p>
        </p:txBody>
      </p:sp>
      <p:sp>
        <p:nvSpPr>
          <p:cNvPr id="3" name="Content Placeholder 2"/>
          <p:cNvSpPr>
            <a:spLocks noGrp="1"/>
          </p:cNvSpPr>
          <p:nvPr>
            <p:ph idx="1" hasCustomPrompt="1"/>
          </p:nvPr>
        </p:nvSpPr>
        <p:spPr>
          <a:xfrm>
            <a:off x="580293" y="1701801"/>
            <a:ext cx="5257804" cy="417618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52EA21D7-1005-4EDE-841E-88045C88545D}"/>
              </a:ext>
            </a:extLst>
          </p:cNvPr>
          <p:cNvSpPr>
            <a:spLocks noGrp="1"/>
          </p:cNvSpPr>
          <p:nvPr>
            <p:ph type="dt" sz="half" idx="15"/>
          </p:nvPr>
        </p:nvSpPr>
        <p:spPr/>
        <p:txBody>
          <a:bodyPr/>
          <a:lstStyle/>
          <a:p>
            <a:fld id="{462E6958-6242-41A4-91EA-4246815280BA}" type="datetime1">
              <a:rPr lang="en-US" smtClean="0"/>
              <a:t>4/18/2025</a:t>
            </a:fld>
            <a:endParaRPr lang="en-GB"/>
          </a:p>
        </p:txBody>
      </p:sp>
      <p:sp>
        <p:nvSpPr>
          <p:cNvPr id="8" name="Footer Placeholder 7">
            <a:extLst>
              <a:ext uri="{FF2B5EF4-FFF2-40B4-BE49-F238E27FC236}">
                <a16:creationId xmlns:a16="http://schemas.microsoft.com/office/drawing/2014/main" id="{C2778027-0E63-4A63-883B-42853C952A7D}"/>
              </a:ext>
            </a:extLst>
          </p:cNvPr>
          <p:cNvSpPr>
            <a:spLocks noGrp="1"/>
          </p:cNvSpPr>
          <p:nvPr>
            <p:ph type="ftr" sz="quarter" idx="16"/>
          </p:nvPr>
        </p:nvSpPr>
        <p:spPr/>
        <p:txBody>
          <a:bodyPr/>
          <a:lstStyle/>
          <a:p>
            <a:endParaRPr lang="en-GB"/>
          </a:p>
        </p:txBody>
      </p:sp>
      <p:sp>
        <p:nvSpPr>
          <p:cNvPr id="9" name="Slide Number Placeholder 8">
            <a:extLst>
              <a:ext uri="{FF2B5EF4-FFF2-40B4-BE49-F238E27FC236}">
                <a16:creationId xmlns:a16="http://schemas.microsoft.com/office/drawing/2014/main" id="{1B0E8294-B9BA-4A85-9AF3-814ECE43C083}"/>
              </a:ext>
            </a:extLst>
          </p:cNvPr>
          <p:cNvSpPr>
            <a:spLocks noGrp="1"/>
          </p:cNvSpPr>
          <p:nvPr>
            <p:ph type="sldNum" sz="quarter" idx="17"/>
          </p:nvPr>
        </p:nvSpPr>
        <p:spPr/>
        <p:txBody>
          <a:bodyPr/>
          <a:lstStyle/>
          <a:p>
            <a:fld id="{9BE0E23E-9022-4929-B297-EB2777CDBB1F}" type="slidenum">
              <a:rPr lang="en-GB" smtClean="0"/>
              <a:pPr/>
              <a:t>‹#›</a:t>
            </a:fld>
            <a:endParaRPr lang="en-GB"/>
          </a:p>
        </p:txBody>
      </p:sp>
      <p:sp>
        <p:nvSpPr>
          <p:cNvPr id="12" name="Picture Placeholder 11">
            <a:extLst>
              <a:ext uri="{FF2B5EF4-FFF2-40B4-BE49-F238E27FC236}">
                <a16:creationId xmlns:a16="http://schemas.microsoft.com/office/drawing/2014/main" id="{37B97ABC-BA74-4B06-AE01-DA83D0C01F86}"/>
              </a:ext>
            </a:extLst>
          </p:cNvPr>
          <p:cNvSpPr>
            <a:spLocks noGrp="1"/>
          </p:cNvSpPr>
          <p:nvPr>
            <p:ph type="pic" sz="quarter" idx="13" hasCustomPrompt="1"/>
          </p:nvPr>
        </p:nvSpPr>
        <p:spPr>
          <a:xfrm>
            <a:off x="6095997" y="-1"/>
            <a:ext cx="6096000" cy="5877984"/>
          </a:xfrm>
          <a:custGeom>
            <a:avLst/>
            <a:gdLst>
              <a:gd name="connsiteX0" fmla="*/ 0 w 4572000"/>
              <a:gd name="connsiteY0" fmla="*/ 0 h 4408488"/>
              <a:gd name="connsiteX1" fmla="*/ 1439863 w 4572000"/>
              <a:gd name="connsiteY1" fmla="*/ 0 h 4408488"/>
              <a:gd name="connsiteX2" fmla="*/ 4572000 w 4572000"/>
              <a:gd name="connsiteY2" fmla="*/ 0 h 4408488"/>
              <a:gd name="connsiteX3" fmla="*/ 4572000 w 4572000"/>
              <a:gd name="connsiteY3" fmla="*/ 1505243 h 4408488"/>
              <a:gd name="connsiteX4" fmla="*/ 4572000 w 4572000"/>
              <a:gd name="connsiteY4" fmla="*/ 4408488 h 4408488"/>
              <a:gd name="connsiteX5" fmla="*/ 734763 w 4572000"/>
              <a:gd name="connsiteY5" fmla="*/ 4408488 h 4408488"/>
              <a:gd name="connsiteX6" fmla="*/ 0 w 4572000"/>
              <a:gd name="connsiteY6" fmla="*/ 3673725 h 4408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2000" h="4408488">
                <a:moveTo>
                  <a:pt x="0" y="0"/>
                </a:moveTo>
                <a:lnTo>
                  <a:pt x="1439863" y="0"/>
                </a:lnTo>
                <a:lnTo>
                  <a:pt x="4572000" y="0"/>
                </a:lnTo>
                <a:lnTo>
                  <a:pt x="4572000" y="1505243"/>
                </a:lnTo>
                <a:lnTo>
                  <a:pt x="4572000" y="4408488"/>
                </a:lnTo>
                <a:lnTo>
                  <a:pt x="734763" y="4408488"/>
                </a:lnTo>
                <a:cubicBezTo>
                  <a:pt x="328965" y="4408488"/>
                  <a:pt x="0" y="4079523"/>
                  <a:pt x="0" y="3673725"/>
                </a:cubicBezTo>
                <a:close/>
              </a:path>
            </a:pathLst>
          </a:custGeom>
          <a:solidFill>
            <a:schemeClr val="tx1">
              <a:lumMod val="20000"/>
              <a:lumOff val="80000"/>
            </a:schemeClr>
          </a:solidFill>
        </p:spPr>
        <p:txBody>
          <a:bodyPr wrap="square">
            <a:noAutofit/>
          </a:bodyPr>
          <a:lstStyle>
            <a:lvl1pPr marL="0" indent="0" algn="ctr">
              <a:buNone/>
              <a:defRPr>
                <a:solidFill>
                  <a:schemeClr val="accent1"/>
                </a:solidFill>
              </a:defRPr>
            </a:lvl1pPr>
          </a:lstStyle>
          <a:p>
            <a:r>
              <a:rPr lang="en-GB"/>
              <a:t>Image</a:t>
            </a:r>
          </a:p>
        </p:txBody>
      </p:sp>
    </p:spTree>
    <p:extLst>
      <p:ext uri="{BB962C8B-B14F-4D97-AF65-F5344CB8AC3E}">
        <p14:creationId xmlns:p14="http://schemas.microsoft.com/office/powerpoint/2010/main" val="1096013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and Chart">
    <p:spTree>
      <p:nvGrpSpPr>
        <p:cNvPr id="1" name=""/>
        <p:cNvGrpSpPr/>
        <p:nvPr/>
      </p:nvGrpSpPr>
      <p:grpSpPr>
        <a:xfrm>
          <a:off x="0" y="0"/>
          <a:ext cx="0" cy="0"/>
          <a:chOff x="0" y="0"/>
          <a:chExt cx="0" cy="0"/>
        </a:xfrm>
      </p:grpSpPr>
      <p:sp>
        <p:nvSpPr>
          <p:cNvPr id="4" name="Chart Placeholder">
            <a:extLst>
              <a:ext uri="{FF2B5EF4-FFF2-40B4-BE49-F238E27FC236}">
                <a16:creationId xmlns:a16="http://schemas.microsoft.com/office/drawing/2014/main" id="{A97ACAE5-4E2D-3FEE-3F29-40D1A0E835AA}"/>
              </a:ext>
            </a:extLst>
          </p:cNvPr>
          <p:cNvSpPr>
            <a:spLocks noGrp="1"/>
          </p:cNvSpPr>
          <p:nvPr>
            <p:ph type="chart" sz="quarter" idx="13" hasCustomPrompt="1"/>
            <p:custDataLst>
              <p:tags r:id="rId1"/>
            </p:custDataLst>
          </p:nvPr>
        </p:nvSpPr>
        <p:spPr>
          <a:xfrm>
            <a:off x="525600" y="1497600"/>
            <a:ext cx="11160000" cy="4377600"/>
          </a:xfrm>
          <a:solidFill>
            <a:srgbClr val="F2F2F2"/>
          </a:solidFill>
        </p:spPr>
        <p:txBody>
          <a:bodyPr anchor="ctr" anchorCtr="0">
            <a:noAutofit/>
          </a:bodyPr>
          <a:lstStyle>
            <a:lvl1pPr marL="0" indent="0" algn="ctr">
              <a:buNone/>
              <a:defRPr sz="1200">
                <a:latin typeface="Arial" panose="020B0604020202020204" pitchFamily="34" charset="0"/>
                <a:cs typeface="Arial" panose="020B0604020202020204" pitchFamily="34" charset="0"/>
              </a:defRPr>
            </a:lvl1pPr>
          </a:lstStyle>
          <a:p>
            <a:pPr lvl="0"/>
            <a:r>
              <a:rPr lang="en-US"/>
              <a:t>Pick a chart / table from the chart.ppt document.</a:t>
            </a:r>
          </a:p>
          <a:p>
            <a:pPr lvl="0"/>
            <a:r>
              <a:rPr lang="en-US"/>
              <a:t>These have been pre-defined so they have the correct font &amp; color usage.</a:t>
            </a:r>
          </a:p>
          <a:p>
            <a:pPr lvl="0"/>
            <a:r>
              <a:rPr lang="nl-NL"/>
              <a:t>Copy/paste it into this document.</a:t>
            </a:r>
          </a:p>
          <a:p>
            <a:pPr lvl="0"/>
            <a:r>
              <a:rPr lang="nl-NL"/>
              <a:t>Make sure it fits (exactly) within the grey area, just resize the outer edges of the chart/table to fit.</a:t>
            </a:r>
          </a:p>
          <a:p>
            <a:pPr lvl="0"/>
            <a:r>
              <a:rPr lang="nl-NL"/>
              <a:t>Once applied, move the chart to the side and make this box white so you don’t see it anymore.</a:t>
            </a:r>
            <a:endParaRPr lang="en-US"/>
          </a:p>
        </p:txBody>
      </p:sp>
      <p:sp>
        <p:nvSpPr>
          <p:cNvPr id="12" name="Slide Number Placeholder">
            <a:extLst>
              <a:ext uri="{FF2B5EF4-FFF2-40B4-BE49-F238E27FC236}">
                <a16:creationId xmlns:a16="http://schemas.microsoft.com/office/drawing/2014/main" id="{60CD5504-D486-4BFB-CBDD-28C807B20EB9}"/>
              </a:ext>
            </a:extLst>
          </p:cNvPr>
          <p:cNvSpPr>
            <a:spLocks noGrp="1"/>
          </p:cNvSpPr>
          <p:nvPr>
            <p:ph type="sldNum" sz="quarter" idx="12"/>
            <p:custDataLst>
              <p:tags r:id="rId2"/>
            </p:custDataLst>
          </p:nvPr>
        </p:nvSpPr>
        <p:spPr>
          <a:xfrm>
            <a:off x="11425887" y="6215390"/>
            <a:ext cx="243656" cy="169277"/>
          </a:xfrm>
          <a:prstGeom prst="rect">
            <a:avLst/>
          </a:prstGeom>
        </p:spPr>
        <p:txBody>
          <a:bodyPr lIns="0" tIns="0" rIns="0" bIns="0" anchor="ctr"/>
          <a:lstStyle>
            <a:lvl1pPr algn="r">
              <a:defRPr sz="1100">
                <a:solidFill>
                  <a:schemeClr val="bg2"/>
                </a:solidFill>
              </a:defRPr>
            </a:lvl1pPr>
          </a:lstStyle>
          <a:p>
            <a:fld id="{D0281C21-EE02-42A0-BCF6-67BEF936A35A}" type="slidenum">
              <a:rPr lang="en-IN" smtClean="0"/>
              <a:t>‹#›</a:t>
            </a:fld>
            <a:endParaRPr lang="en-IN"/>
          </a:p>
        </p:txBody>
      </p:sp>
      <p:sp>
        <p:nvSpPr>
          <p:cNvPr id="2" name="Title">
            <a:extLst>
              <a:ext uri="{FF2B5EF4-FFF2-40B4-BE49-F238E27FC236}">
                <a16:creationId xmlns:a16="http://schemas.microsoft.com/office/drawing/2014/main" id="{3C59A40D-74DC-D2EB-611A-375DA98303F8}"/>
              </a:ext>
            </a:extLst>
          </p:cNvPr>
          <p:cNvSpPr>
            <a:spLocks noGrp="1"/>
          </p:cNvSpPr>
          <p:nvPr>
            <p:ph type="title"/>
            <p:custDataLst>
              <p:tags r:id="rId3"/>
            </p:custDataLst>
          </p:nvPr>
        </p:nvSpPr>
        <p:spPr>
          <a:xfrm>
            <a:off x="524655" y="193764"/>
            <a:ext cx="11160000" cy="774000"/>
          </a:xfrm>
        </p:spPr>
        <p:txBody>
          <a:bodyPr/>
          <a:lstStyle/>
          <a:p>
            <a:r>
              <a:rPr lang="en-US"/>
              <a:t>Click to edit Master title style</a:t>
            </a:r>
            <a:endParaRPr lang="en-NL"/>
          </a:p>
        </p:txBody>
      </p:sp>
      <p:sp>
        <p:nvSpPr>
          <p:cNvPr id="7" name="Text Placeholder 7">
            <a:extLst>
              <a:ext uri="{FF2B5EF4-FFF2-40B4-BE49-F238E27FC236}">
                <a16:creationId xmlns:a16="http://schemas.microsoft.com/office/drawing/2014/main" id="{4FC35448-2216-96DB-84FC-0D4F6BCE234D}"/>
              </a:ext>
            </a:extLst>
          </p:cNvPr>
          <p:cNvSpPr>
            <a:spLocks noGrp="1"/>
          </p:cNvSpPr>
          <p:nvPr>
            <p:ph type="body" sz="quarter" idx="84" hasCustomPrompt="1"/>
            <p:custDataLst>
              <p:tags r:id="rId4"/>
            </p:custDataLst>
          </p:nvPr>
        </p:nvSpPr>
        <p:spPr>
          <a:xfrm>
            <a:off x="523875" y="6119813"/>
            <a:ext cx="684000" cy="360363"/>
          </a:xfrm>
        </p:spPr>
        <p:txBody>
          <a:bodyPr/>
          <a:lstStyle>
            <a:lvl1pPr marL="0" indent="0">
              <a:buNone/>
              <a:defRPr sz="1100" b="1">
                <a:solidFill>
                  <a:schemeClr val="bg2"/>
                </a:solidFill>
              </a:defRPr>
            </a:lvl1pPr>
            <a:lvl2pPr marL="457189" indent="0">
              <a:buNone/>
              <a:defRPr b="1"/>
            </a:lvl2pPr>
            <a:lvl3pPr marL="914377" indent="0">
              <a:buNone/>
              <a:defRPr b="1"/>
            </a:lvl3pPr>
            <a:lvl4pPr marL="1371566" indent="0">
              <a:buNone/>
              <a:defRPr b="1"/>
            </a:lvl4pPr>
            <a:lvl5pPr marL="1828754" indent="0">
              <a:buNone/>
              <a:defRPr b="1"/>
            </a:lvl5pPr>
          </a:lstStyle>
          <a:p>
            <a:pPr lvl="0"/>
            <a:r>
              <a:rPr lang="en-US"/>
              <a:t>Sources:</a:t>
            </a:r>
          </a:p>
        </p:txBody>
      </p:sp>
      <p:sp>
        <p:nvSpPr>
          <p:cNvPr id="8" name="Text Placeholder 7">
            <a:extLst>
              <a:ext uri="{FF2B5EF4-FFF2-40B4-BE49-F238E27FC236}">
                <a16:creationId xmlns:a16="http://schemas.microsoft.com/office/drawing/2014/main" id="{0DBBA867-4C23-3062-B2B4-7DD4A4A35FF4}"/>
              </a:ext>
            </a:extLst>
          </p:cNvPr>
          <p:cNvSpPr>
            <a:spLocks noGrp="1"/>
          </p:cNvSpPr>
          <p:nvPr>
            <p:ph type="body" sz="quarter" idx="85" hasCustomPrompt="1"/>
            <p:custDataLst>
              <p:tags r:id="rId5"/>
            </p:custDataLst>
          </p:nvPr>
        </p:nvSpPr>
        <p:spPr>
          <a:xfrm>
            <a:off x="1228413" y="6119813"/>
            <a:ext cx="3553451" cy="360363"/>
          </a:xfrm>
        </p:spPr>
        <p:txBody>
          <a:bodyPr/>
          <a:lstStyle>
            <a:lvl1pPr marL="0" indent="0">
              <a:buNone/>
              <a:defRPr sz="1100" b="0">
                <a:solidFill>
                  <a:schemeClr val="tx1"/>
                </a:solidFill>
              </a:defRPr>
            </a:lvl1pPr>
            <a:lvl2pPr marL="457189" indent="0">
              <a:buNone/>
              <a:defRPr b="1"/>
            </a:lvl2pPr>
            <a:lvl3pPr marL="914377" indent="0">
              <a:buNone/>
              <a:defRPr b="1"/>
            </a:lvl3pPr>
            <a:lvl4pPr marL="1371566" indent="0">
              <a:buNone/>
              <a:defRPr b="1"/>
            </a:lvl4pPr>
            <a:lvl5pPr marL="1828754" indent="0">
              <a:buNone/>
              <a:defRPr b="1"/>
            </a:lvl5pPr>
          </a:lstStyle>
          <a:p>
            <a:pPr lvl="0"/>
            <a:r>
              <a:rPr lang="it-IT"/>
              <a:t>Innova Database (click to edit)</a:t>
            </a:r>
          </a:p>
        </p:txBody>
      </p:sp>
      <p:sp>
        <p:nvSpPr>
          <p:cNvPr id="11" name="Text Placeholder 10">
            <a:extLst>
              <a:ext uri="{FF2B5EF4-FFF2-40B4-BE49-F238E27FC236}">
                <a16:creationId xmlns:a16="http://schemas.microsoft.com/office/drawing/2014/main" id="{C12E6105-2F50-C841-B831-8EA898850B56}"/>
              </a:ext>
            </a:extLst>
          </p:cNvPr>
          <p:cNvSpPr>
            <a:spLocks noGrp="1"/>
          </p:cNvSpPr>
          <p:nvPr>
            <p:ph type="body" sz="quarter" idx="86" hasCustomPrompt="1"/>
            <p:custDataLst>
              <p:tags r:id="rId6"/>
            </p:custDataLst>
          </p:nvPr>
        </p:nvSpPr>
        <p:spPr>
          <a:xfrm>
            <a:off x="525601" y="1052512"/>
            <a:ext cx="701675" cy="360363"/>
          </a:xfrm>
        </p:spPr>
        <p:txBody>
          <a:bodyPr/>
          <a:lstStyle>
            <a:lvl1pPr marL="0" indent="0">
              <a:buNone/>
              <a:defRPr sz="1100" b="1"/>
            </a:lvl1pPr>
          </a:lstStyle>
          <a:p>
            <a:pPr lvl="0"/>
            <a:r>
              <a:rPr lang="en-NL"/>
              <a:t>Figure:</a:t>
            </a:r>
          </a:p>
        </p:txBody>
      </p:sp>
      <p:sp>
        <p:nvSpPr>
          <p:cNvPr id="13" name="Text Placeholder 10">
            <a:extLst>
              <a:ext uri="{FF2B5EF4-FFF2-40B4-BE49-F238E27FC236}">
                <a16:creationId xmlns:a16="http://schemas.microsoft.com/office/drawing/2014/main" id="{26E318C2-B3E4-CA55-475B-4E7F9C9508C0}"/>
              </a:ext>
            </a:extLst>
          </p:cNvPr>
          <p:cNvSpPr>
            <a:spLocks noGrp="1"/>
          </p:cNvSpPr>
          <p:nvPr>
            <p:ph type="body" sz="quarter" idx="87" hasCustomPrompt="1"/>
            <p:custDataLst>
              <p:tags r:id="rId7"/>
            </p:custDataLst>
          </p:nvPr>
        </p:nvSpPr>
        <p:spPr>
          <a:xfrm>
            <a:off x="1228415" y="1052512"/>
            <a:ext cx="10456240" cy="360363"/>
          </a:xfrm>
        </p:spPr>
        <p:txBody>
          <a:bodyPr/>
          <a:lstStyle>
            <a:lvl1pPr marL="0" indent="0">
              <a:buNone/>
              <a:defRPr sz="1100" b="0"/>
            </a:lvl1pPr>
          </a:lstStyle>
          <a:p>
            <a:pPr marL="0" marR="0" lvl="0" indent="0" algn="l" defTabSz="914377" rtl="0" eaLnBrk="1" fontAlgn="auto" latinLnBrk="0" hangingPunct="1">
              <a:lnSpc>
                <a:spcPct val="100000"/>
              </a:lnSpc>
              <a:spcBef>
                <a:spcPts val="600"/>
              </a:spcBef>
              <a:spcAft>
                <a:spcPct val="0"/>
              </a:spcAft>
              <a:buClr>
                <a:schemeClr val="tx2"/>
              </a:buClr>
              <a:buSzTx/>
              <a:buFont typeface="Arial" panose="020B0604020202020204" pitchFamily="34" charset="0"/>
              <a:buNone/>
              <a:defRPr/>
            </a:pPr>
            <a:r>
              <a:rPr lang="en-US"/>
              <a:t> Chart title goes here (do not add an extra title to the chart below)</a:t>
            </a:r>
          </a:p>
        </p:txBody>
      </p:sp>
    </p:spTree>
    <p:extLst>
      <p:ext uri="{BB962C8B-B14F-4D97-AF65-F5344CB8AC3E}">
        <p14:creationId xmlns:p14="http://schemas.microsoft.com/office/powerpoint/2010/main" val="3032831622"/>
      </p:ext>
    </p:extLst>
  </p:cSld>
  <p:clrMapOvr>
    <a:masterClrMapping/>
  </p:clrMapOvr>
  <p:transition/>
  <p:extLst>
    <p:ext uri="{DCECCB84-F9BA-43D5-87BE-67443E8EF086}">
      <p15:sldGuideLst xmlns:p15="http://schemas.microsoft.com/office/powerpoint/2012/main">
        <p15:guide id="1" orient="horz" pos="935">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object + Performance image">
    <p:spTree>
      <p:nvGrpSpPr>
        <p:cNvPr id="1" name=""/>
        <p:cNvGrpSpPr/>
        <p:nvPr/>
      </p:nvGrpSpPr>
      <p:grpSpPr>
        <a:xfrm>
          <a:off x="0" y="0"/>
          <a:ext cx="0" cy="0"/>
          <a:chOff x="0" y="0"/>
          <a:chExt cx="0" cy="0"/>
        </a:xfrm>
      </p:grpSpPr>
      <p:sp>
        <p:nvSpPr>
          <p:cNvPr id="2" name="Title 1"/>
          <p:cNvSpPr>
            <a:spLocks noGrp="1"/>
          </p:cNvSpPr>
          <p:nvPr>
            <p:ph type="title"/>
          </p:nvPr>
        </p:nvSpPr>
        <p:spPr>
          <a:xfrm>
            <a:off x="4521865" y="548218"/>
            <a:ext cx="7094400" cy="1036965"/>
          </a:xfrm>
        </p:spPr>
        <p:txBody>
          <a:bodyPr/>
          <a:lstStyle/>
          <a:p>
            <a:r>
              <a:rPr lang="en-GB"/>
              <a:t>Click to edit Master title style</a:t>
            </a:r>
          </a:p>
        </p:txBody>
      </p:sp>
      <p:sp>
        <p:nvSpPr>
          <p:cNvPr id="4" name="Date Placeholder 3"/>
          <p:cNvSpPr>
            <a:spLocks noGrp="1"/>
          </p:cNvSpPr>
          <p:nvPr>
            <p:ph type="dt" sz="half" idx="10"/>
          </p:nvPr>
        </p:nvSpPr>
        <p:spPr>
          <a:xfrm>
            <a:off x="7216519" y="6491400"/>
            <a:ext cx="458459" cy="102657"/>
          </a:xfrm>
        </p:spPr>
        <p:txBody>
          <a:bodyPr/>
          <a:lstStyle/>
          <a:p>
            <a:fld id="{72612789-5F3D-4A3F-A771-8544F2F8FFEB}" type="datetime1">
              <a:rPr lang="en-US" smtClean="0"/>
              <a:t>4/18/2025</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pic>
        <p:nvPicPr>
          <p:cNvPr id="10" name="Picture Placeholder 6" descr="A picture containing wall, indoor, room&#10;&#10;Description automatically generated">
            <a:extLst>
              <a:ext uri="{FF2B5EF4-FFF2-40B4-BE49-F238E27FC236}">
                <a16:creationId xmlns:a16="http://schemas.microsoft.com/office/drawing/2014/main" id="{ADA701CE-DA74-411B-AC05-5C868C27EFC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a:fillRect/>
          </a:stretch>
        </p:blipFill>
        <p:spPr>
          <a:xfrm>
            <a:off x="-2" y="0"/>
            <a:ext cx="4176185" cy="6858000"/>
          </a:xfrm>
          <a:prstGeom prst="rect">
            <a:avLst/>
          </a:prstGeom>
        </p:spPr>
      </p:pic>
      <p:sp>
        <p:nvSpPr>
          <p:cNvPr id="11" name="Content Placeholder 2">
            <a:extLst>
              <a:ext uri="{FF2B5EF4-FFF2-40B4-BE49-F238E27FC236}">
                <a16:creationId xmlns:a16="http://schemas.microsoft.com/office/drawing/2014/main" id="{C8FC07B1-6062-451E-972E-548690A18E37}"/>
              </a:ext>
            </a:extLst>
          </p:cNvPr>
          <p:cNvSpPr>
            <a:spLocks noGrp="1"/>
          </p:cNvSpPr>
          <p:nvPr>
            <p:ph idx="1" hasCustomPrompt="1"/>
          </p:nvPr>
        </p:nvSpPr>
        <p:spPr>
          <a:xfrm>
            <a:off x="4512734" y="1701801"/>
            <a:ext cx="7103532" cy="417618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886470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object + Medical image">
    <p:spTree>
      <p:nvGrpSpPr>
        <p:cNvPr id="1" name=""/>
        <p:cNvGrpSpPr/>
        <p:nvPr/>
      </p:nvGrpSpPr>
      <p:grpSpPr>
        <a:xfrm>
          <a:off x="0" y="0"/>
          <a:ext cx="0" cy="0"/>
          <a:chOff x="0" y="0"/>
          <a:chExt cx="0" cy="0"/>
        </a:xfrm>
      </p:grpSpPr>
      <p:sp>
        <p:nvSpPr>
          <p:cNvPr id="2" name="Title 1"/>
          <p:cNvSpPr>
            <a:spLocks noGrp="1"/>
          </p:cNvSpPr>
          <p:nvPr>
            <p:ph type="title"/>
          </p:nvPr>
        </p:nvSpPr>
        <p:spPr>
          <a:xfrm>
            <a:off x="575732" y="548218"/>
            <a:ext cx="7094400" cy="1036965"/>
          </a:xfrm>
        </p:spPr>
        <p:txBody>
          <a:bodyPr/>
          <a:lstStyle/>
          <a:p>
            <a:r>
              <a:rPr lang="en-GB"/>
              <a:t>Click to edit Master title style</a:t>
            </a:r>
          </a:p>
        </p:txBody>
      </p:sp>
      <p:sp>
        <p:nvSpPr>
          <p:cNvPr id="3" name="Content Placeholder 2"/>
          <p:cNvSpPr>
            <a:spLocks noGrp="1"/>
          </p:cNvSpPr>
          <p:nvPr>
            <p:ph idx="1" hasCustomPrompt="1"/>
          </p:nvPr>
        </p:nvSpPr>
        <p:spPr>
          <a:xfrm>
            <a:off x="580291" y="1701801"/>
            <a:ext cx="7094400" cy="417618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10"/>
          </p:nvPr>
        </p:nvSpPr>
        <p:spPr>
          <a:xfrm>
            <a:off x="7216519" y="6491400"/>
            <a:ext cx="458459" cy="102657"/>
          </a:xfrm>
        </p:spPr>
        <p:txBody>
          <a:bodyPr/>
          <a:lstStyle/>
          <a:p>
            <a:fld id="{55D293A5-F0AD-49E4-9BF5-C6E937C0D41E}" type="datetime1">
              <a:rPr lang="en-US" smtClean="0"/>
              <a:t>4/18/2025</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pic>
        <p:nvPicPr>
          <p:cNvPr id="10" name="Picture Placeholder 6" descr="A person and person sitting on a pink chair&#10;&#10;Description automatically generated with low confidence">
            <a:extLst>
              <a:ext uri="{FF2B5EF4-FFF2-40B4-BE49-F238E27FC236}">
                <a16:creationId xmlns:a16="http://schemas.microsoft.com/office/drawing/2014/main" id="{28D39303-1151-453C-9552-7D460EC5ADB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8015818" y="0"/>
            <a:ext cx="4176183" cy="6858000"/>
          </a:xfrm>
          <a:prstGeom prst="rect">
            <a:avLst/>
          </a:prstGeom>
        </p:spPr>
      </p:pic>
    </p:spTree>
    <p:extLst>
      <p:ext uri="{BB962C8B-B14F-4D97-AF65-F5344CB8AC3E}">
        <p14:creationId xmlns:p14="http://schemas.microsoft.com/office/powerpoint/2010/main" val="14636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object + Active image">
    <p:spTree>
      <p:nvGrpSpPr>
        <p:cNvPr id="1" name=""/>
        <p:cNvGrpSpPr/>
        <p:nvPr/>
      </p:nvGrpSpPr>
      <p:grpSpPr>
        <a:xfrm>
          <a:off x="0" y="0"/>
          <a:ext cx="0" cy="0"/>
          <a:chOff x="0" y="0"/>
          <a:chExt cx="0" cy="0"/>
        </a:xfrm>
      </p:grpSpPr>
      <p:sp>
        <p:nvSpPr>
          <p:cNvPr id="2" name="Title 1"/>
          <p:cNvSpPr>
            <a:spLocks noGrp="1"/>
          </p:cNvSpPr>
          <p:nvPr>
            <p:ph type="title"/>
          </p:nvPr>
        </p:nvSpPr>
        <p:spPr>
          <a:xfrm>
            <a:off x="4521865" y="548218"/>
            <a:ext cx="7094400" cy="1036965"/>
          </a:xfrm>
        </p:spPr>
        <p:txBody>
          <a:bodyPr/>
          <a:lstStyle/>
          <a:p>
            <a:r>
              <a:rPr lang="en-GB"/>
              <a:t>Click to edit Master title style</a:t>
            </a:r>
          </a:p>
        </p:txBody>
      </p:sp>
      <p:sp>
        <p:nvSpPr>
          <p:cNvPr id="4" name="Date Placeholder 3"/>
          <p:cNvSpPr>
            <a:spLocks noGrp="1"/>
          </p:cNvSpPr>
          <p:nvPr>
            <p:ph type="dt" sz="half" idx="10"/>
          </p:nvPr>
        </p:nvSpPr>
        <p:spPr>
          <a:xfrm>
            <a:off x="7216519" y="6491400"/>
            <a:ext cx="458459" cy="102657"/>
          </a:xfrm>
        </p:spPr>
        <p:txBody>
          <a:bodyPr/>
          <a:lstStyle/>
          <a:p>
            <a:fld id="{AFBFD3F7-AF2D-4AC6-A5E3-AC4BC8E3382A}" type="datetime1">
              <a:rPr lang="en-US" smtClean="0"/>
              <a:t>4/18/2025</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11" name="Content Placeholder 2">
            <a:extLst>
              <a:ext uri="{FF2B5EF4-FFF2-40B4-BE49-F238E27FC236}">
                <a16:creationId xmlns:a16="http://schemas.microsoft.com/office/drawing/2014/main" id="{C8FC07B1-6062-451E-972E-548690A18E37}"/>
              </a:ext>
            </a:extLst>
          </p:cNvPr>
          <p:cNvSpPr>
            <a:spLocks noGrp="1"/>
          </p:cNvSpPr>
          <p:nvPr>
            <p:ph idx="1" hasCustomPrompt="1"/>
          </p:nvPr>
        </p:nvSpPr>
        <p:spPr>
          <a:xfrm>
            <a:off x="4512734" y="1701801"/>
            <a:ext cx="7103532" cy="417618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Tijdelijke aanduiding voor afbeelding 6" descr="Afbeelding met binnen, muur&#10;&#10;Automatisch gegenereerde beschrijving">
            <a:extLst>
              <a:ext uri="{FF2B5EF4-FFF2-40B4-BE49-F238E27FC236}">
                <a16:creationId xmlns:a16="http://schemas.microsoft.com/office/drawing/2014/main" id="{13BD5D15-A5A8-4DD9-9726-84F34FCE141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4176184" cy="6858000"/>
          </a:xfrm>
          <a:prstGeom prst="rect">
            <a:avLst/>
          </a:prstGeom>
        </p:spPr>
      </p:pic>
    </p:spTree>
    <p:extLst>
      <p:ext uri="{BB962C8B-B14F-4D97-AF65-F5344CB8AC3E}">
        <p14:creationId xmlns:p14="http://schemas.microsoft.com/office/powerpoint/2010/main" val="458174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object + Early Life image">
    <p:spTree>
      <p:nvGrpSpPr>
        <p:cNvPr id="1" name=""/>
        <p:cNvGrpSpPr/>
        <p:nvPr/>
      </p:nvGrpSpPr>
      <p:grpSpPr>
        <a:xfrm>
          <a:off x="0" y="0"/>
          <a:ext cx="0" cy="0"/>
          <a:chOff x="0" y="0"/>
          <a:chExt cx="0" cy="0"/>
        </a:xfrm>
      </p:grpSpPr>
      <p:sp>
        <p:nvSpPr>
          <p:cNvPr id="2" name="Title 1"/>
          <p:cNvSpPr>
            <a:spLocks noGrp="1"/>
          </p:cNvSpPr>
          <p:nvPr>
            <p:ph type="title"/>
          </p:nvPr>
        </p:nvSpPr>
        <p:spPr>
          <a:xfrm>
            <a:off x="575732" y="548218"/>
            <a:ext cx="7094400" cy="1036965"/>
          </a:xfrm>
        </p:spPr>
        <p:txBody>
          <a:bodyPr/>
          <a:lstStyle/>
          <a:p>
            <a:r>
              <a:rPr lang="en-GB"/>
              <a:t>Click to edit Master title style</a:t>
            </a:r>
          </a:p>
        </p:txBody>
      </p:sp>
      <p:sp>
        <p:nvSpPr>
          <p:cNvPr id="3" name="Content Placeholder 2"/>
          <p:cNvSpPr>
            <a:spLocks noGrp="1"/>
          </p:cNvSpPr>
          <p:nvPr>
            <p:ph idx="1" hasCustomPrompt="1"/>
          </p:nvPr>
        </p:nvSpPr>
        <p:spPr>
          <a:xfrm>
            <a:off x="580291" y="1701801"/>
            <a:ext cx="7094400" cy="417618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10"/>
          </p:nvPr>
        </p:nvSpPr>
        <p:spPr>
          <a:xfrm>
            <a:off x="7216519" y="6491400"/>
            <a:ext cx="458459" cy="102657"/>
          </a:xfrm>
        </p:spPr>
        <p:txBody>
          <a:bodyPr/>
          <a:lstStyle/>
          <a:p>
            <a:fld id="{580D59ED-19C5-46E8-9349-839D07EFED8F}" type="datetime1">
              <a:rPr lang="en-US" smtClean="0"/>
              <a:t>4/18/2025</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pic>
        <p:nvPicPr>
          <p:cNvPr id="11" name="Tijdelijke aanduiding voor afbeelding 6">
            <a:extLst>
              <a:ext uri="{FF2B5EF4-FFF2-40B4-BE49-F238E27FC236}">
                <a16:creationId xmlns:a16="http://schemas.microsoft.com/office/drawing/2014/main" id="{FF66C79B-FF1B-4315-8EDC-39D7B83D9FE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8015818" y="0"/>
            <a:ext cx="4176183" cy="6858000"/>
          </a:xfrm>
          <a:prstGeom prst="rect">
            <a:avLst/>
          </a:prstGeom>
        </p:spPr>
      </p:pic>
    </p:spTree>
    <p:extLst>
      <p:ext uri="{BB962C8B-B14F-4D97-AF65-F5344CB8AC3E}">
        <p14:creationId xmlns:p14="http://schemas.microsoft.com/office/powerpoint/2010/main" val="3644153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object + Cell image">
    <p:spTree>
      <p:nvGrpSpPr>
        <p:cNvPr id="1" name=""/>
        <p:cNvGrpSpPr/>
        <p:nvPr/>
      </p:nvGrpSpPr>
      <p:grpSpPr>
        <a:xfrm>
          <a:off x="0" y="0"/>
          <a:ext cx="0" cy="0"/>
          <a:chOff x="0" y="0"/>
          <a:chExt cx="0" cy="0"/>
        </a:xfrm>
      </p:grpSpPr>
      <p:sp>
        <p:nvSpPr>
          <p:cNvPr id="2" name="Title 1"/>
          <p:cNvSpPr>
            <a:spLocks noGrp="1"/>
          </p:cNvSpPr>
          <p:nvPr>
            <p:ph type="title"/>
          </p:nvPr>
        </p:nvSpPr>
        <p:spPr>
          <a:xfrm>
            <a:off x="4521865" y="548218"/>
            <a:ext cx="7094400" cy="1036965"/>
          </a:xfrm>
        </p:spPr>
        <p:txBody>
          <a:bodyPr/>
          <a:lstStyle/>
          <a:p>
            <a:r>
              <a:rPr lang="en-GB"/>
              <a:t>Click to edit Master title style</a:t>
            </a:r>
          </a:p>
        </p:txBody>
      </p:sp>
      <p:sp>
        <p:nvSpPr>
          <p:cNvPr id="4" name="Date Placeholder 3"/>
          <p:cNvSpPr>
            <a:spLocks noGrp="1"/>
          </p:cNvSpPr>
          <p:nvPr>
            <p:ph type="dt" sz="half" idx="10"/>
          </p:nvPr>
        </p:nvSpPr>
        <p:spPr>
          <a:xfrm>
            <a:off x="7216519" y="6491400"/>
            <a:ext cx="458459" cy="102657"/>
          </a:xfrm>
        </p:spPr>
        <p:txBody>
          <a:bodyPr/>
          <a:lstStyle/>
          <a:p>
            <a:fld id="{C14FF411-12A4-40D9-B043-DCF6288B8970}" type="datetime1">
              <a:rPr lang="en-US" smtClean="0"/>
              <a:t>4/18/2025</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11" name="Content Placeholder 2">
            <a:extLst>
              <a:ext uri="{FF2B5EF4-FFF2-40B4-BE49-F238E27FC236}">
                <a16:creationId xmlns:a16="http://schemas.microsoft.com/office/drawing/2014/main" id="{C8FC07B1-6062-451E-972E-548690A18E37}"/>
              </a:ext>
            </a:extLst>
          </p:cNvPr>
          <p:cNvSpPr>
            <a:spLocks noGrp="1"/>
          </p:cNvSpPr>
          <p:nvPr>
            <p:ph idx="1" hasCustomPrompt="1"/>
          </p:nvPr>
        </p:nvSpPr>
        <p:spPr>
          <a:xfrm>
            <a:off x="4512734" y="1701801"/>
            <a:ext cx="7103532" cy="417618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pic>
        <p:nvPicPr>
          <p:cNvPr id="9" name="Tijdelijke aanduiding voor afbeelding 6" descr="Afbeelding met muur, binnen, kast, persoon&#10;&#10;Automatisch gegenereerde beschrijving">
            <a:extLst>
              <a:ext uri="{FF2B5EF4-FFF2-40B4-BE49-F238E27FC236}">
                <a16:creationId xmlns:a16="http://schemas.microsoft.com/office/drawing/2014/main" id="{31406208-2EE4-4A82-9467-09D3A8BB78C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4176184" cy="6858000"/>
          </a:xfrm>
          <a:prstGeom prst="rect">
            <a:avLst/>
          </a:prstGeom>
        </p:spPr>
      </p:pic>
    </p:spTree>
    <p:extLst>
      <p:ext uri="{BB962C8B-B14F-4D97-AF65-F5344CB8AC3E}">
        <p14:creationId xmlns:p14="http://schemas.microsoft.com/office/powerpoint/2010/main" val="1121126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object + Supply Chain image - 1">
    <p:spTree>
      <p:nvGrpSpPr>
        <p:cNvPr id="1" name=""/>
        <p:cNvGrpSpPr/>
        <p:nvPr/>
      </p:nvGrpSpPr>
      <p:grpSpPr>
        <a:xfrm>
          <a:off x="0" y="0"/>
          <a:ext cx="0" cy="0"/>
          <a:chOff x="0" y="0"/>
          <a:chExt cx="0" cy="0"/>
        </a:xfrm>
      </p:grpSpPr>
      <p:sp>
        <p:nvSpPr>
          <p:cNvPr id="2" name="Title 1"/>
          <p:cNvSpPr>
            <a:spLocks noGrp="1"/>
          </p:cNvSpPr>
          <p:nvPr>
            <p:ph type="title"/>
          </p:nvPr>
        </p:nvSpPr>
        <p:spPr>
          <a:xfrm>
            <a:off x="575732" y="548218"/>
            <a:ext cx="7094400" cy="1036965"/>
          </a:xfrm>
        </p:spPr>
        <p:txBody>
          <a:bodyPr/>
          <a:lstStyle/>
          <a:p>
            <a:r>
              <a:rPr lang="en-GB"/>
              <a:t>Click to edit Master title style</a:t>
            </a:r>
          </a:p>
        </p:txBody>
      </p:sp>
      <p:sp>
        <p:nvSpPr>
          <p:cNvPr id="3" name="Content Placeholder 2"/>
          <p:cNvSpPr>
            <a:spLocks noGrp="1"/>
          </p:cNvSpPr>
          <p:nvPr>
            <p:ph idx="1" hasCustomPrompt="1"/>
          </p:nvPr>
        </p:nvSpPr>
        <p:spPr>
          <a:xfrm>
            <a:off x="580291" y="1701801"/>
            <a:ext cx="7094400" cy="417618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10"/>
          </p:nvPr>
        </p:nvSpPr>
        <p:spPr>
          <a:xfrm>
            <a:off x="7216519" y="6491400"/>
            <a:ext cx="458459" cy="102657"/>
          </a:xfrm>
        </p:spPr>
        <p:txBody>
          <a:bodyPr/>
          <a:lstStyle/>
          <a:p>
            <a:fld id="{57BF4C77-628D-42EA-B941-3D77E9E9485F}" type="datetime1">
              <a:rPr lang="en-US" smtClean="0"/>
              <a:t>4/18/2025</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pic>
        <p:nvPicPr>
          <p:cNvPr id="9" name="Picture Placeholder 12" descr="A close-up of a factory&#10;&#10;Description automatically generated with low confidence">
            <a:extLst>
              <a:ext uri="{FF2B5EF4-FFF2-40B4-BE49-F238E27FC236}">
                <a16:creationId xmlns:a16="http://schemas.microsoft.com/office/drawing/2014/main" id="{3E9BB979-DC36-45C0-A028-9AC7780BB7E1}"/>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a:off x="8015817" y="0"/>
            <a:ext cx="4176183" cy="6858000"/>
          </a:xfrm>
          <a:prstGeom prst="rect">
            <a:avLst/>
          </a:prstGeom>
        </p:spPr>
      </p:pic>
    </p:spTree>
    <p:extLst>
      <p:ext uri="{BB962C8B-B14F-4D97-AF65-F5344CB8AC3E}">
        <p14:creationId xmlns:p14="http://schemas.microsoft.com/office/powerpoint/2010/main" val="1385594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object + Supply Chain image - 3">
    <p:spTree>
      <p:nvGrpSpPr>
        <p:cNvPr id="1" name=""/>
        <p:cNvGrpSpPr/>
        <p:nvPr/>
      </p:nvGrpSpPr>
      <p:grpSpPr>
        <a:xfrm>
          <a:off x="0" y="0"/>
          <a:ext cx="0" cy="0"/>
          <a:chOff x="0" y="0"/>
          <a:chExt cx="0" cy="0"/>
        </a:xfrm>
      </p:grpSpPr>
      <p:pic>
        <p:nvPicPr>
          <p:cNvPr id="9" name="Picture Placeholder 8" descr="A picture containing sky, outdoor, parked&#10;&#10;Description automatically generated">
            <a:extLst>
              <a:ext uri="{FF2B5EF4-FFF2-40B4-BE49-F238E27FC236}">
                <a16:creationId xmlns:a16="http://schemas.microsoft.com/office/drawing/2014/main" id="{FA4C905D-6654-4E17-9204-3ABBEE9CB9CE}"/>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a:off x="8015817" y="0"/>
            <a:ext cx="4176183" cy="6858000"/>
          </a:xfrm>
          <a:prstGeom prst="rect">
            <a:avLst/>
          </a:prstGeom>
        </p:spPr>
      </p:pic>
      <p:sp>
        <p:nvSpPr>
          <p:cNvPr id="2" name="Title 1"/>
          <p:cNvSpPr>
            <a:spLocks noGrp="1"/>
          </p:cNvSpPr>
          <p:nvPr>
            <p:ph type="title"/>
          </p:nvPr>
        </p:nvSpPr>
        <p:spPr>
          <a:xfrm>
            <a:off x="575732" y="548218"/>
            <a:ext cx="7094400" cy="1036965"/>
          </a:xfrm>
        </p:spPr>
        <p:txBody>
          <a:bodyPr/>
          <a:lstStyle/>
          <a:p>
            <a:r>
              <a:rPr lang="en-GB"/>
              <a:t>Click to edit Master title style</a:t>
            </a:r>
          </a:p>
        </p:txBody>
      </p:sp>
      <p:sp>
        <p:nvSpPr>
          <p:cNvPr id="3" name="Content Placeholder 2"/>
          <p:cNvSpPr>
            <a:spLocks noGrp="1"/>
          </p:cNvSpPr>
          <p:nvPr>
            <p:ph idx="1" hasCustomPrompt="1"/>
          </p:nvPr>
        </p:nvSpPr>
        <p:spPr>
          <a:xfrm>
            <a:off x="580291" y="1701801"/>
            <a:ext cx="7094400" cy="417618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10"/>
          </p:nvPr>
        </p:nvSpPr>
        <p:spPr>
          <a:xfrm>
            <a:off x="7216519" y="6491400"/>
            <a:ext cx="458459" cy="102657"/>
          </a:xfrm>
        </p:spPr>
        <p:txBody>
          <a:bodyPr/>
          <a:lstStyle/>
          <a:p>
            <a:fld id="{4EFEDC63-8F8F-4E91-8ECC-F9CA6F277A0A}" type="datetime1">
              <a:rPr lang="en-US" smtClean="0"/>
              <a:t>4/18/2025</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Tree>
    <p:extLst>
      <p:ext uri="{BB962C8B-B14F-4D97-AF65-F5344CB8AC3E}">
        <p14:creationId xmlns:p14="http://schemas.microsoft.com/office/powerpoint/2010/main" val="3119461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nd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4" name="Date Placeholder 3"/>
          <p:cNvSpPr>
            <a:spLocks noGrp="1"/>
          </p:cNvSpPr>
          <p:nvPr>
            <p:ph type="dt" sz="half" idx="10"/>
          </p:nvPr>
        </p:nvSpPr>
        <p:spPr/>
        <p:txBody>
          <a:bodyPr/>
          <a:lstStyle/>
          <a:p>
            <a:fld id="{079FAD32-CBFF-4E67-9AB9-B96CD43926AD}" type="datetime1">
              <a:rPr lang="en-US" smtClean="0"/>
              <a:t>4/18/2025</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8" name="Tijdelijke aanduiding voor afbeelding 7">
            <a:extLst>
              <a:ext uri="{FF2B5EF4-FFF2-40B4-BE49-F238E27FC236}">
                <a16:creationId xmlns:a16="http://schemas.microsoft.com/office/drawing/2014/main" id="{F720B503-17F8-4237-9A82-0CEE6CD5AC31}"/>
              </a:ext>
            </a:extLst>
          </p:cNvPr>
          <p:cNvSpPr>
            <a:spLocks noGrp="1"/>
          </p:cNvSpPr>
          <p:nvPr>
            <p:ph type="pic" sz="quarter" idx="13" hasCustomPrompt="1"/>
          </p:nvPr>
        </p:nvSpPr>
        <p:spPr>
          <a:xfrm>
            <a:off x="580291" y="1701801"/>
            <a:ext cx="11035975" cy="4176184"/>
          </a:xfrm>
          <a:solidFill>
            <a:schemeClr val="tx1">
              <a:lumMod val="20000"/>
              <a:lumOff val="80000"/>
            </a:schemeClr>
          </a:solidFill>
        </p:spPr>
        <p:txBody>
          <a:bodyPr/>
          <a:lstStyle>
            <a:lvl1pPr marL="0" indent="0" algn="ctr">
              <a:buNone/>
              <a:defRPr>
                <a:solidFill>
                  <a:schemeClr val="accent1"/>
                </a:solidFill>
              </a:defRPr>
            </a:lvl1pPr>
          </a:lstStyle>
          <a:p>
            <a:r>
              <a:rPr lang="en-GB"/>
              <a:t>Image</a:t>
            </a:r>
          </a:p>
        </p:txBody>
      </p:sp>
    </p:spTree>
    <p:extLst>
      <p:ext uri="{BB962C8B-B14F-4D97-AF65-F5344CB8AC3E}">
        <p14:creationId xmlns:p14="http://schemas.microsoft.com/office/powerpoint/2010/main" val="2716399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type="obj" preserve="1">
  <p:cSld name="Title and objec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Content Placeholder 2"/>
          <p:cNvSpPr>
            <a:spLocks noGrp="1"/>
          </p:cNvSpPr>
          <p:nvPr>
            <p:ph idx="1" hasCustomPrompt="1"/>
          </p:nvPr>
        </p:nvSpPr>
        <p:spPr>
          <a:xfrm>
            <a:off x="580291" y="1701801"/>
            <a:ext cx="11035975" cy="417618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10"/>
          </p:nvPr>
        </p:nvSpPr>
        <p:spPr/>
        <p:txBody>
          <a:bodyPr/>
          <a:lstStyle/>
          <a:p>
            <a:fld id="{87B80B24-D570-4535-B188-43230420C8DF}" type="datetime1">
              <a:rPr lang="en-US" smtClean="0"/>
              <a:t>4/18/2025</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Tree>
    <p:extLst>
      <p:ext uri="{BB962C8B-B14F-4D97-AF65-F5344CB8AC3E}">
        <p14:creationId xmlns:p14="http://schemas.microsoft.com/office/powerpoint/2010/main" val="928857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subtitle and objec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Content Placeholder 2"/>
          <p:cNvSpPr>
            <a:spLocks noGrp="1"/>
          </p:cNvSpPr>
          <p:nvPr>
            <p:ph idx="1" hasCustomPrompt="1"/>
          </p:nvPr>
        </p:nvSpPr>
        <p:spPr>
          <a:xfrm>
            <a:off x="580291" y="2077593"/>
            <a:ext cx="11035975" cy="3800392"/>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10"/>
          </p:nvPr>
        </p:nvSpPr>
        <p:spPr/>
        <p:txBody>
          <a:bodyPr/>
          <a:lstStyle/>
          <a:p>
            <a:fld id="{62110936-D0E7-4885-BB60-D8AE29F957BC}" type="datetime1">
              <a:rPr lang="en-US" smtClean="0"/>
              <a:t>4/18/2025</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8" name="Tijdelijke aanduiding voor tekst 7">
            <a:extLst>
              <a:ext uri="{FF2B5EF4-FFF2-40B4-BE49-F238E27FC236}">
                <a16:creationId xmlns:a16="http://schemas.microsoft.com/office/drawing/2014/main" id="{F7DBD289-E124-4653-9BF3-FE57FA1AC736}"/>
              </a:ext>
            </a:extLst>
          </p:cNvPr>
          <p:cNvSpPr>
            <a:spLocks noGrp="1"/>
          </p:cNvSpPr>
          <p:nvPr>
            <p:ph type="body" sz="quarter" idx="13" hasCustomPrompt="1"/>
          </p:nvPr>
        </p:nvSpPr>
        <p:spPr>
          <a:xfrm>
            <a:off x="580291" y="1701800"/>
            <a:ext cx="11035200" cy="375792"/>
          </a:xfrm>
        </p:spPr>
        <p:txBody>
          <a:bodyPr wrap="none"/>
          <a:lstStyle>
            <a:lvl1pPr marL="0" indent="0">
              <a:buNone/>
              <a:defRPr>
                <a:solidFill>
                  <a:schemeClr val="accent1"/>
                </a:solidFill>
              </a:defRPr>
            </a:lvl1pPr>
          </a:lstStyle>
          <a:p>
            <a:pPr lvl="0"/>
            <a:r>
              <a:rPr lang="en-GB"/>
              <a:t>Subtitle</a:t>
            </a:r>
          </a:p>
        </p:txBody>
      </p:sp>
    </p:spTree>
    <p:extLst>
      <p:ext uri="{BB962C8B-B14F-4D97-AF65-F5344CB8AC3E}">
        <p14:creationId xmlns:p14="http://schemas.microsoft.com/office/powerpoint/2010/main" val="3773548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3">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36DA159-0DBF-9603-95ED-BE1C1E06F15C}"/>
              </a:ext>
            </a:extLst>
          </p:cNvPr>
          <p:cNvSpPr>
            <a:spLocks noGrp="1"/>
          </p:cNvSpPr>
          <p:nvPr>
            <p:ph type="pic" sz="quarter" idx="16"/>
          </p:nvPr>
        </p:nvSpPr>
        <p:spPr>
          <a:xfrm>
            <a:off x="0" y="0"/>
            <a:ext cx="12192000" cy="6858000"/>
          </a:xfrm>
          <a:prstGeom prst="rect">
            <a:avLst/>
          </a:prstGeom>
          <a:solidFill>
            <a:schemeClr val="tx1">
              <a:lumMod val="20000"/>
              <a:lumOff val="80000"/>
            </a:schemeClr>
          </a:solidFill>
        </p:spPr>
        <p:txBody>
          <a:bodyPr wrap="square" tIns="396000" rIns="432000">
            <a:noAutofit/>
          </a:bodyPr>
          <a:lstStyle>
            <a:lvl1pPr marL="0" indent="0" algn="r">
              <a:buNone/>
              <a:defRPr/>
            </a:lvl1pPr>
          </a:lstStyle>
          <a:p>
            <a:r>
              <a:rPr lang="en-US"/>
              <a:t>Click icon to add picture</a:t>
            </a:r>
            <a:endParaRPr lang="en-GB"/>
          </a:p>
        </p:txBody>
      </p:sp>
      <p:sp>
        <p:nvSpPr>
          <p:cNvPr id="21" name="Shape">
            <a:extLst>
              <a:ext uri="{FF2B5EF4-FFF2-40B4-BE49-F238E27FC236}">
                <a16:creationId xmlns:a16="http://schemas.microsoft.com/office/drawing/2014/main" id="{B138EACF-079F-4D63-A22A-D3FAA56A5CFC}"/>
              </a:ext>
            </a:extLst>
          </p:cNvPr>
          <p:cNvSpPr>
            <a:spLocks noGrp="1"/>
          </p:cNvSpPr>
          <p:nvPr>
            <p:ph type="body" sz="quarter" idx="14" hasCustomPrompt="1"/>
          </p:nvPr>
        </p:nvSpPr>
        <p:spPr>
          <a:xfrm>
            <a:off x="1" y="1"/>
            <a:ext cx="7103513" cy="1922584"/>
          </a:xfrm>
          <a:custGeom>
            <a:avLst/>
            <a:gdLst>
              <a:gd name="connsiteX0" fmla="*/ 0 w 3991782"/>
              <a:gd name="connsiteY0" fmla="*/ 0 h 2824976"/>
              <a:gd name="connsiteX1" fmla="*/ 3991782 w 3991782"/>
              <a:gd name="connsiteY1" fmla="*/ 0 h 2824976"/>
              <a:gd name="connsiteX2" fmla="*/ 3991782 w 3991782"/>
              <a:gd name="connsiteY2" fmla="*/ 2824976 h 2824976"/>
              <a:gd name="connsiteX3" fmla="*/ 0 w 3991782"/>
              <a:gd name="connsiteY3" fmla="*/ 2824976 h 2824976"/>
            </a:gdLst>
            <a:ahLst/>
            <a:cxnLst>
              <a:cxn ang="0">
                <a:pos x="connsiteX0" y="connsiteY0"/>
              </a:cxn>
              <a:cxn ang="0">
                <a:pos x="connsiteX1" y="connsiteY1"/>
              </a:cxn>
              <a:cxn ang="0">
                <a:pos x="connsiteX2" y="connsiteY2"/>
              </a:cxn>
              <a:cxn ang="0">
                <a:pos x="connsiteX3" y="connsiteY3"/>
              </a:cxn>
            </a:cxnLst>
            <a:rect l="l" t="t" r="r" b="b"/>
            <a:pathLst>
              <a:path w="3991782" h="2824976">
                <a:moveTo>
                  <a:pt x="0" y="0"/>
                </a:moveTo>
                <a:lnTo>
                  <a:pt x="3991782" y="0"/>
                </a:lnTo>
                <a:lnTo>
                  <a:pt x="3991782" y="2824976"/>
                </a:lnTo>
                <a:lnTo>
                  <a:pt x="0" y="2824976"/>
                </a:lnTo>
                <a:close/>
              </a:path>
            </a:pathLst>
          </a:cu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wrap="square">
            <a:noAutofit/>
          </a:bodyPr>
          <a:lstStyle>
            <a:lvl1pPr marL="0" indent="0">
              <a:buNone/>
              <a:defRPr sz="133">
                <a:solidFill>
                  <a:schemeClr val="bg1"/>
                </a:solidFill>
              </a:defRPr>
            </a:lvl1pPr>
          </a:lstStyle>
          <a:p>
            <a:pPr lvl="0"/>
            <a:r>
              <a:rPr lang="en-GB"/>
              <a:t>.</a:t>
            </a:r>
          </a:p>
        </p:txBody>
      </p:sp>
      <p:sp>
        <p:nvSpPr>
          <p:cNvPr id="2" name="Title 1"/>
          <p:cNvSpPr>
            <a:spLocks noGrp="1"/>
          </p:cNvSpPr>
          <p:nvPr>
            <p:ph type="ctrTitle" hasCustomPrompt="1"/>
          </p:nvPr>
        </p:nvSpPr>
        <p:spPr>
          <a:xfrm>
            <a:off x="768352" y="4935415"/>
            <a:ext cx="10847915" cy="661255"/>
          </a:xfrm>
        </p:spPr>
        <p:txBody>
          <a:bodyPr wrap="none" anchor="b"/>
          <a:lstStyle>
            <a:lvl1pPr algn="l">
              <a:defRPr sz="3200" b="1">
                <a:solidFill>
                  <a:schemeClr val="bg1"/>
                </a:solidFill>
                <a:effectLst>
                  <a:outerShdw blurRad="38100" dist="38100" dir="2700000" algn="tl">
                    <a:srgbClr val="000000">
                      <a:alpha val="43137"/>
                    </a:srgbClr>
                  </a:outerShdw>
                </a:effectLst>
              </a:defRPr>
            </a:lvl1pPr>
          </a:lstStyle>
          <a:p>
            <a:r>
              <a:rPr lang="en-GB"/>
              <a:t>Click to add title (max. 1 line)</a:t>
            </a:r>
          </a:p>
        </p:txBody>
      </p:sp>
      <p:sp>
        <p:nvSpPr>
          <p:cNvPr id="3" name="Subtitle 2"/>
          <p:cNvSpPr>
            <a:spLocks noGrp="1"/>
          </p:cNvSpPr>
          <p:nvPr>
            <p:ph type="subTitle" idx="1" hasCustomPrompt="1"/>
          </p:nvPr>
        </p:nvSpPr>
        <p:spPr>
          <a:xfrm>
            <a:off x="768352" y="5756031"/>
            <a:ext cx="10848000" cy="314920"/>
          </a:xfrm>
        </p:spPr>
        <p:txBody>
          <a:bodyPr wrap="none">
            <a:noAutofit/>
          </a:bodyPr>
          <a:lstStyle>
            <a:lvl1pPr marL="0" indent="0" algn="l">
              <a:buNone/>
              <a:defRPr sz="1867" b="1">
                <a:solidFill>
                  <a:schemeClr val="bg1"/>
                </a:solidFill>
                <a:effectLst>
                  <a:outerShdw blurRad="38100" dist="38100" dir="2700000" algn="tl">
                    <a:srgbClr val="000000">
                      <a:alpha val="43137"/>
                    </a:srgbClr>
                  </a:outerShdw>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Subtitle</a:t>
            </a:r>
          </a:p>
        </p:txBody>
      </p:sp>
      <p:grpSp>
        <p:nvGrpSpPr>
          <p:cNvPr id="11" name="Groep 10">
            <a:extLst>
              <a:ext uri="{FF2B5EF4-FFF2-40B4-BE49-F238E27FC236}">
                <a16:creationId xmlns:a16="http://schemas.microsoft.com/office/drawing/2014/main" id="{F99E37CC-D793-4197-9663-6F350E779F77}"/>
              </a:ext>
            </a:extLst>
          </p:cNvPr>
          <p:cNvGrpSpPr/>
          <p:nvPr userDrawn="1"/>
        </p:nvGrpSpPr>
        <p:grpSpPr>
          <a:xfrm>
            <a:off x="12262861" y="404197"/>
            <a:ext cx="1157439" cy="757167"/>
            <a:chOff x="9197145" y="1199569"/>
            <a:chExt cx="868079" cy="567875"/>
          </a:xfrm>
        </p:grpSpPr>
        <p:sp>
          <p:nvSpPr>
            <p:cNvPr id="12" name="Freeform 20">
              <a:extLst>
                <a:ext uri="{FF2B5EF4-FFF2-40B4-BE49-F238E27FC236}">
                  <a16:creationId xmlns:a16="http://schemas.microsoft.com/office/drawing/2014/main" id="{E2AF4D61-E061-4F07-AB9B-F318CFCBA550}"/>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rgbClr val="760E12"/>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3" name="Tekstvak 12">
              <a:extLst>
                <a:ext uri="{FF2B5EF4-FFF2-40B4-BE49-F238E27FC236}">
                  <a16:creationId xmlns:a16="http://schemas.microsoft.com/office/drawing/2014/main" id="{578119B6-9A35-403C-817B-2305AC2A52EC}"/>
                </a:ext>
              </a:extLst>
            </p:cNvPr>
            <p:cNvSpPr txBox="1"/>
            <p:nvPr userDrawn="1"/>
          </p:nvSpPr>
          <p:spPr>
            <a:xfrm>
              <a:off x="9197146" y="1336749"/>
              <a:ext cx="868078"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
        <p:nvSpPr>
          <p:cNvPr id="17" name="FClogo">
            <a:extLst>
              <a:ext uri="{FF2B5EF4-FFF2-40B4-BE49-F238E27FC236}">
                <a16:creationId xmlns:a16="http://schemas.microsoft.com/office/drawing/2014/main" id="{12FB91A7-4FC2-45C5-984B-A8E2133B2CD7}"/>
              </a:ext>
            </a:extLst>
          </p:cNvPr>
          <p:cNvSpPr>
            <a:spLocks noGrp="1"/>
          </p:cNvSpPr>
          <p:nvPr>
            <p:ph type="body" sz="quarter" idx="15" hasCustomPrompt="1"/>
          </p:nvPr>
        </p:nvSpPr>
        <p:spPr>
          <a:xfrm>
            <a:off x="313972" y="305786"/>
            <a:ext cx="2332873" cy="1236653"/>
          </a:xfrm>
          <a:blipFill dpi="0"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a:blipFill>
        </p:spPr>
        <p:txBody>
          <a:bodyPr/>
          <a:lstStyle>
            <a:lvl1pPr marL="0" indent="0">
              <a:buNone/>
              <a:defRPr sz="133">
                <a:solidFill>
                  <a:schemeClr val="bg1"/>
                </a:solidFill>
              </a:defRPr>
            </a:lvl1pPr>
          </a:lstStyle>
          <a:p>
            <a:pPr lvl="0"/>
            <a:r>
              <a:rPr lang="en-GB"/>
              <a:t>.</a:t>
            </a:r>
          </a:p>
        </p:txBody>
      </p:sp>
      <p:sp>
        <p:nvSpPr>
          <p:cNvPr id="14" name="Tekstvak 12">
            <a:extLst>
              <a:ext uri="{FF2B5EF4-FFF2-40B4-BE49-F238E27FC236}">
                <a16:creationId xmlns:a16="http://schemas.microsoft.com/office/drawing/2014/main" id="{2B39BBA0-146A-4A5B-84D9-378E44854D6A}"/>
              </a:ext>
            </a:extLst>
          </p:cNvPr>
          <p:cNvSpPr txBox="1"/>
          <p:nvPr userDrawn="1"/>
        </p:nvSpPr>
        <p:spPr>
          <a:xfrm>
            <a:off x="768352" y="6536947"/>
            <a:ext cx="1356140" cy="123111"/>
          </a:xfrm>
          <a:prstGeom prst="rect">
            <a:avLst/>
          </a:prstGeom>
          <a:noFill/>
        </p:spPr>
        <p:txBody>
          <a:bodyPr wrap="none" lIns="0" tIns="0" rIns="0" bIns="0" rtlCol="0">
            <a:spAutoFit/>
          </a:bodyPr>
          <a:lstStyle/>
          <a:p>
            <a:r>
              <a:rPr lang="en-GB" sz="800" kern="1200">
                <a:solidFill>
                  <a:schemeClr val="bg1"/>
                </a:solidFill>
                <a:latin typeface="+mn-lt"/>
                <a:ea typeface="+mn-ea"/>
                <a:cs typeface="+mn-cs"/>
              </a:rPr>
              <a:t>© 2023 </a:t>
            </a:r>
            <a:r>
              <a:rPr lang="en-GB" sz="800" kern="1200" err="1">
                <a:solidFill>
                  <a:schemeClr val="bg1"/>
                </a:solidFill>
                <a:latin typeface="+mn-lt"/>
                <a:ea typeface="+mn-ea"/>
                <a:cs typeface="+mn-cs"/>
              </a:rPr>
              <a:t>FrieslandCampina</a:t>
            </a:r>
            <a:endParaRPr lang="en-GB" sz="800" kern="1200">
              <a:solidFill>
                <a:schemeClr val="bg1"/>
              </a:solidFill>
              <a:latin typeface="+mn-lt"/>
              <a:ea typeface="+mn-ea"/>
              <a:cs typeface="+mn-cs"/>
            </a:endParaRPr>
          </a:p>
        </p:txBody>
      </p:sp>
    </p:spTree>
    <p:extLst>
      <p:ext uri="{BB962C8B-B14F-4D97-AF65-F5344CB8AC3E}">
        <p14:creationId xmlns:p14="http://schemas.microsoft.com/office/powerpoint/2010/main" val="2927877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3">
          <p15:clr>
            <a:srgbClr val="5ACBF0"/>
          </p15:clr>
        </p15:guide>
        <p15:guide id="2" pos="1270">
          <p15:clr>
            <a:srgbClr val="FBAE40"/>
          </p15:clr>
        </p15:guide>
        <p15:guide id="3" pos="136">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Title, 2 Boxes, 2 Charts">
    <p:spTree>
      <p:nvGrpSpPr>
        <p:cNvPr id="1" name=""/>
        <p:cNvGrpSpPr/>
        <p:nvPr/>
      </p:nvGrpSpPr>
      <p:grpSpPr>
        <a:xfrm>
          <a:off x="0" y="0"/>
          <a:ext cx="0" cy="0"/>
          <a:chOff x="0" y="0"/>
          <a:chExt cx="0" cy="0"/>
        </a:xfrm>
      </p:grpSpPr>
      <p:sp>
        <p:nvSpPr>
          <p:cNvPr id="8" name="Chart Placeholder 1">
            <a:extLst>
              <a:ext uri="{FF2B5EF4-FFF2-40B4-BE49-F238E27FC236}">
                <a16:creationId xmlns:a16="http://schemas.microsoft.com/office/drawing/2014/main" id="{003A30D7-BC0E-C897-3D0F-8201B7253E73}"/>
              </a:ext>
            </a:extLst>
          </p:cNvPr>
          <p:cNvSpPr>
            <a:spLocks noGrp="1"/>
          </p:cNvSpPr>
          <p:nvPr>
            <p:ph type="chart" sz="quarter" idx="13" hasCustomPrompt="1"/>
            <p:custDataLst>
              <p:tags r:id="rId1"/>
            </p:custDataLst>
          </p:nvPr>
        </p:nvSpPr>
        <p:spPr>
          <a:xfrm>
            <a:off x="524655" y="1916112"/>
            <a:ext cx="3420000" cy="3960813"/>
          </a:xfrm>
          <a:solidFill>
            <a:srgbClr val="F2F2F2"/>
          </a:solidFill>
        </p:spPr>
        <p:txBody>
          <a:bodyPr anchor="ctr" anchorCtr="0">
            <a:noAutofit/>
          </a:bodyPr>
          <a:lstStyle>
            <a:lvl1pPr marL="0" indent="0" algn="ctr">
              <a:buNone/>
              <a:defRPr sz="1200">
                <a:latin typeface="Arial" panose="020B0604020202020204" pitchFamily="34" charset="0"/>
                <a:cs typeface="Arial" panose="020B0604020202020204" pitchFamily="34" charset="0"/>
              </a:defRPr>
            </a:lvl1pPr>
          </a:lstStyle>
          <a:p>
            <a:pPr lvl="0"/>
            <a:r>
              <a:rPr lang="en-US"/>
              <a:t>Pick a chart / table from the chart.ppt document.</a:t>
            </a:r>
          </a:p>
          <a:p>
            <a:pPr lvl="0"/>
            <a:r>
              <a:rPr lang="en-US"/>
              <a:t>These have been pre-defined so they have the correct font &amp; color usage.</a:t>
            </a:r>
          </a:p>
          <a:p>
            <a:pPr lvl="0"/>
            <a:r>
              <a:rPr lang="nl-NL"/>
              <a:t>Copy/paste it into this document.</a:t>
            </a:r>
          </a:p>
          <a:p>
            <a:pPr lvl="0"/>
            <a:r>
              <a:rPr lang="nl-NL"/>
              <a:t>Make sure it fits (exactly) within the grey area, just resize the outer edges of the chart/table to fit.</a:t>
            </a:r>
          </a:p>
          <a:p>
            <a:pPr lvl="0"/>
            <a:r>
              <a:rPr lang="nl-NL" err="1"/>
              <a:t>Once applied, move the chart to the side and make this box white so you don’t see it anymore.</a:t>
            </a:r>
            <a:endParaRPr lang="en-US"/>
          </a:p>
        </p:txBody>
      </p:sp>
      <p:sp>
        <p:nvSpPr>
          <p:cNvPr id="5" name="Title">
            <a:extLst>
              <a:ext uri="{FF2B5EF4-FFF2-40B4-BE49-F238E27FC236}">
                <a16:creationId xmlns:a16="http://schemas.microsoft.com/office/drawing/2014/main" id="{BE4AFF37-9413-2A9F-5CF3-A218AF33FAC9}"/>
              </a:ext>
            </a:extLst>
          </p:cNvPr>
          <p:cNvSpPr>
            <a:spLocks noGrp="1"/>
          </p:cNvSpPr>
          <p:nvPr>
            <p:ph type="title"/>
            <p:custDataLst>
              <p:tags r:id="rId2"/>
            </p:custDataLst>
          </p:nvPr>
        </p:nvSpPr>
        <p:spPr/>
        <p:txBody>
          <a:bodyPr/>
          <a:lstStyle/>
          <a:p>
            <a:r>
              <a:rPr lang="en-US"/>
              <a:t>Click to edit Master title style</a:t>
            </a:r>
            <a:endParaRPr lang="en-NL"/>
          </a:p>
        </p:txBody>
      </p:sp>
      <p:sp>
        <p:nvSpPr>
          <p:cNvPr id="2" name="Text Placeholder 3">
            <a:extLst>
              <a:ext uri="{FF2B5EF4-FFF2-40B4-BE49-F238E27FC236}">
                <a16:creationId xmlns:a16="http://schemas.microsoft.com/office/drawing/2014/main" id="{5F9E17BA-8D78-D543-6E4F-3CEFD00527E1}"/>
              </a:ext>
            </a:extLst>
          </p:cNvPr>
          <p:cNvSpPr>
            <a:spLocks noGrp="1"/>
          </p:cNvSpPr>
          <p:nvPr>
            <p:ph type="body" sz="quarter" idx="78" hasCustomPrompt="1"/>
            <p:custDataLst>
              <p:tags r:id="rId3"/>
            </p:custDataLst>
          </p:nvPr>
        </p:nvSpPr>
        <p:spPr>
          <a:xfrm>
            <a:off x="525602" y="1054801"/>
            <a:ext cx="11167199" cy="360001"/>
          </a:xfrm>
          <a:prstGeom prst="roundRect">
            <a:avLst/>
          </a:prstGeom>
          <a:solidFill>
            <a:schemeClr val="tx2"/>
          </a:solidFill>
        </p:spPr>
        <p:txBody>
          <a:bodyPr lIns="0" tIns="0" rIns="0" bIns="0" anchor="ctr"/>
          <a:lstStyle>
            <a:lvl1pPr marL="0" indent="0" algn="ctr">
              <a:lnSpc>
                <a:spcPct val="100000"/>
              </a:lnSpc>
              <a:spcBef>
                <a:spcPct val="0"/>
              </a:spcBef>
              <a:buNone/>
              <a:defRPr sz="1400" b="1" baseline="0">
                <a:solidFill>
                  <a:schemeClr val="bg1"/>
                </a:solidFill>
                <a:latin typeface="Calibri" panose="020F0502020204030204" pitchFamily="34" charset="0"/>
                <a:cs typeface="Calibri" panose="020F050202020403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Box Title</a:t>
            </a:r>
            <a:endParaRPr lang="nl-NL"/>
          </a:p>
        </p:txBody>
      </p:sp>
      <p:sp>
        <p:nvSpPr>
          <p:cNvPr id="4" name="Slide Number Placeholder">
            <a:extLst>
              <a:ext uri="{FF2B5EF4-FFF2-40B4-BE49-F238E27FC236}">
                <a16:creationId xmlns:a16="http://schemas.microsoft.com/office/drawing/2014/main" id="{64F78454-706E-60A7-B9FF-4560678C3C9C}"/>
              </a:ext>
            </a:extLst>
          </p:cNvPr>
          <p:cNvSpPr>
            <a:spLocks noGrp="1"/>
          </p:cNvSpPr>
          <p:nvPr>
            <p:ph type="sldNum" sz="quarter" idx="12"/>
            <p:custDataLst>
              <p:tags r:id="rId4"/>
            </p:custDataLst>
          </p:nvPr>
        </p:nvSpPr>
        <p:spPr>
          <a:xfrm>
            <a:off x="11425887" y="6215390"/>
            <a:ext cx="243656" cy="169277"/>
          </a:xfrm>
          <a:prstGeom prst="rect">
            <a:avLst/>
          </a:prstGeom>
        </p:spPr>
        <p:txBody>
          <a:bodyPr lIns="0" tIns="0" rIns="0" bIns="0" anchor="ctr"/>
          <a:lstStyle>
            <a:lvl1pPr algn="r">
              <a:defRPr sz="1100">
                <a:solidFill>
                  <a:schemeClr val="bg2"/>
                </a:solidFill>
              </a:defRPr>
            </a:lvl1pPr>
          </a:lstStyle>
          <a:p>
            <a:fld id="{D0281C21-EE02-42A0-BCF6-67BEF936A35A}" type="slidenum">
              <a:rPr lang="en-IN" smtClean="0"/>
              <a:t>‹#›</a:t>
            </a:fld>
            <a:endParaRPr lang="en-IN"/>
          </a:p>
        </p:txBody>
      </p:sp>
      <p:sp>
        <p:nvSpPr>
          <p:cNvPr id="9" name="Text Placeholder 7">
            <a:extLst>
              <a:ext uri="{FF2B5EF4-FFF2-40B4-BE49-F238E27FC236}">
                <a16:creationId xmlns:a16="http://schemas.microsoft.com/office/drawing/2014/main" id="{D7F3C44F-1BC8-5133-BD80-25FFBE2E7739}"/>
              </a:ext>
            </a:extLst>
          </p:cNvPr>
          <p:cNvSpPr>
            <a:spLocks noGrp="1"/>
          </p:cNvSpPr>
          <p:nvPr>
            <p:ph type="body" sz="quarter" idx="87" hasCustomPrompt="1"/>
            <p:custDataLst>
              <p:tags r:id="rId5"/>
            </p:custDataLst>
          </p:nvPr>
        </p:nvSpPr>
        <p:spPr>
          <a:xfrm>
            <a:off x="523875" y="6119813"/>
            <a:ext cx="684000" cy="360363"/>
          </a:xfrm>
        </p:spPr>
        <p:txBody>
          <a:bodyPr/>
          <a:lstStyle>
            <a:lvl1pPr marL="0" indent="0">
              <a:buNone/>
              <a:defRPr sz="1100" b="1">
                <a:solidFill>
                  <a:schemeClr val="bg2"/>
                </a:solidFill>
              </a:defRPr>
            </a:lvl1pPr>
            <a:lvl2pPr marL="457189" indent="0">
              <a:buNone/>
              <a:defRPr b="1"/>
            </a:lvl2pPr>
            <a:lvl3pPr marL="914377" indent="0">
              <a:buNone/>
              <a:defRPr b="1"/>
            </a:lvl3pPr>
            <a:lvl4pPr marL="1371566" indent="0">
              <a:buNone/>
              <a:defRPr b="1"/>
            </a:lvl4pPr>
            <a:lvl5pPr marL="1828754" indent="0">
              <a:buNone/>
              <a:defRPr b="1"/>
            </a:lvl5pPr>
          </a:lstStyle>
          <a:p>
            <a:pPr lvl="0"/>
            <a:r>
              <a:rPr lang="en-US"/>
              <a:t>Sources:</a:t>
            </a:r>
          </a:p>
        </p:txBody>
      </p:sp>
      <p:sp>
        <p:nvSpPr>
          <p:cNvPr id="10" name="Text Placeholder 7">
            <a:extLst>
              <a:ext uri="{FF2B5EF4-FFF2-40B4-BE49-F238E27FC236}">
                <a16:creationId xmlns:a16="http://schemas.microsoft.com/office/drawing/2014/main" id="{1D6EAF92-FE0D-DF8F-CEDF-1FF9389A373D}"/>
              </a:ext>
            </a:extLst>
          </p:cNvPr>
          <p:cNvSpPr>
            <a:spLocks noGrp="1"/>
          </p:cNvSpPr>
          <p:nvPr>
            <p:ph type="body" sz="quarter" idx="88" hasCustomPrompt="1"/>
            <p:custDataLst>
              <p:tags r:id="rId6"/>
            </p:custDataLst>
          </p:nvPr>
        </p:nvSpPr>
        <p:spPr>
          <a:xfrm>
            <a:off x="1228413" y="6119813"/>
            <a:ext cx="3553451" cy="360363"/>
          </a:xfrm>
        </p:spPr>
        <p:txBody>
          <a:bodyPr/>
          <a:lstStyle>
            <a:lvl1pPr marL="0" indent="0">
              <a:buNone/>
              <a:defRPr sz="1100" b="0">
                <a:solidFill>
                  <a:schemeClr val="tx1"/>
                </a:solidFill>
              </a:defRPr>
            </a:lvl1pPr>
            <a:lvl2pPr marL="457189" indent="0">
              <a:buNone/>
              <a:defRPr b="1"/>
            </a:lvl2pPr>
            <a:lvl3pPr marL="914377" indent="0">
              <a:buNone/>
              <a:defRPr b="1"/>
            </a:lvl3pPr>
            <a:lvl4pPr marL="1371566" indent="0">
              <a:buNone/>
              <a:defRPr b="1"/>
            </a:lvl4pPr>
            <a:lvl5pPr marL="1828754" indent="0">
              <a:buNone/>
              <a:defRPr b="1"/>
            </a:lvl5pPr>
          </a:lstStyle>
          <a:p>
            <a:pPr lvl="0"/>
            <a:r>
              <a:rPr lang="it-IT"/>
              <a:t>Innova Database (click to edit)</a:t>
            </a:r>
          </a:p>
        </p:txBody>
      </p:sp>
      <p:sp>
        <p:nvSpPr>
          <p:cNvPr id="11" name="Text Placeholder 10">
            <a:extLst>
              <a:ext uri="{FF2B5EF4-FFF2-40B4-BE49-F238E27FC236}">
                <a16:creationId xmlns:a16="http://schemas.microsoft.com/office/drawing/2014/main" id="{4BDE9F8D-6C8A-DE2D-936C-14A3E0B28111}"/>
              </a:ext>
            </a:extLst>
          </p:cNvPr>
          <p:cNvSpPr>
            <a:spLocks noGrp="1"/>
          </p:cNvSpPr>
          <p:nvPr>
            <p:ph type="body" sz="quarter" idx="89" hasCustomPrompt="1"/>
            <p:custDataLst>
              <p:tags r:id="rId7"/>
            </p:custDataLst>
          </p:nvPr>
        </p:nvSpPr>
        <p:spPr>
          <a:xfrm>
            <a:off x="525601" y="1501837"/>
            <a:ext cx="701675" cy="360363"/>
          </a:xfrm>
        </p:spPr>
        <p:txBody>
          <a:bodyPr/>
          <a:lstStyle>
            <a:lvl1pPr marL="0" indent="0">
              <a:buNone/>
              <a:defRPr sz="1100" b="1"/>
            </a:lvl1pPr>
          </a:lstStyle>
          <a:p>
            <a:pPr lvl="0"/>
            <a:r>
              <a:rPr lang="en-NL"/>
              <a:t>Figure:</a:t>
            </a:r>
          </a:p>
        </p:txBody>
      </p:sp>
      <p:sp>
        <p:nvSpPr>
          <p:cNvPr id="12" name="Text Placeholder 10">
            <a:extLst>
              <a:ext uri="{FF2B5EF4-FFF2-40B4-BE49-F238E27FC236}">
                <a16:creationId xmlns:a16="http://schemas.microsoft.com/office/drawing/2014/main" id="{CB6C7C77-E939-6A5A-C618-E74E37BB0433}"/>
              </a:ext>
            </a:extLst>
          </p:cNvPr>
          <p:cNvSpPr>
            <a:spLocks noGrp="1"/>
          </p:cNvSpPr>
          <p:nvPr>
            <p:ph type="body" sz="quarter" idx="90" hasCustomPrompt="1"/>
            <p:custDataLst>
              <p:tags r:id="rId8"/>
            </p:custDataLst>
          </p:nvPr>
        </p:nvSpPr>
        <p:spPr>
          <a:xfrm>
            <a:off x="1228415" y="1501837"/>
            <a:ext cx="2716240" cy="360363"/>
          </a:xfrm>
        </p:spPr>
        <p:txBody>
          <a:bodyPr/>
          <a:lstStyle>
            <a:lvl1pPr marL="0" indent="0">
              <a:buNone/>
              <a:defRPr sz="1100" b="0"/>
            </a:lvl1pPr>
          </a:lstStyle>
          <a:p>
            <a:pPr marL="0" marR="0" lvl="0" indent="0" algn="l" defTabSz="914377" rtl="0" eaLnBrk="1" fontAlgn="auto" latinLnBrk="0" hangingPunct="1">
              <a:lnSpc>
                <a:spcPct val="100000"/>
              </a:lnSpc>
              <a:spcBef>
                <a:spcPts val="600"/>
              </a:spcBef>
              <a:spcAft>
                <a:spcPct val="0"/>
              </a:spcAft>
              <a:buClr>
                <a:schemeClr val="tx2"/>
              </a:buClr>
              <a:buSzTx/>
              <a:buFont typeface="Arial" panose="020B0604020202020204" pitchFamily="34" charset="0"/>
              <a:buNone/>
              <a:defRPr/>
            </a:pPr>
            <a:r>
              <a:rPr lang="en-US"/>
              <a:t> Chart title goes here (do not add an extra title to the chart below)</a:t>
            </a:r>
          </a:p>
        </p:txBody>
      </p:sp>
      <p:sp>
        <p:nvSpPr>
          <p:cNvPr id="13" name="Chart Placeholder 1">
            <a:extLst>
              <a:ext uri="{FF2B5EF4-FFF2-40B4-BE49-F238E27FC236}">
                <a16:creationId xmlns:a16="http://schemas.microsoft.com/office/drawing/2014/main" id="{E34DE0DC-B23A-7408-B6BB-A43292813CBE}"/>
              </a:ext>
            </a:extLst>
          </p:cNvPr>
          <p:cNvSpPr>
            <a:spLocks noGrp="1"/>
          </p:cNvSpPr>
          <p:nvPr>
            <p:ph type="chart" sz="quarter" idx="94" hasCustomPrompt="1"/>
            <p:custDataLst>
              <p:tags r:id="rId9"/>
            </p:custDataLst>
          </p:nvPr>
        </p:nvSpPr>
        <p:spPr>
          <a:xfrm>
            <a:off x="4386000" y="1916112"/>
            <a:ext cx="3420000" cy="3960813"/>
          </a:xfrm>
          <a:solidFill>
            <a:srgbClr val="F2F2F2"/>
          </a:solidFill>
        </p:spPr>
        <p:txBody>
          <a:bodyPr anchor="ctr" anchorCtr="0">
            <a:noAutofit/>
          </a:bodyPr>
          <a:lstStyle>
            <a:lvl1pPr marL="0" indent="0" algn="ctr">
              <a:buNone/>
              <a:defRPr sz="1200">
                <a:latin typeface="Arial" panose="020B0604020202020204" pitchFamily="34" charset="0"/>
                <a:cs typeface="Arial" panose="020B0604020202020204" pitchFamily="34" charset="0"/>
              </a:defRPr>
            </a:lvl1pPr>
          </a:lstStyle>
          <a:p>
            <a:pPr lvl="0"/>
            <a:r>
              <a:rPr lang="en-US"/>
              <a:t>Pick a chart / table from the chart.ppt document.</a:t>
            </a:r>
          </a:p>
          <a:p>
            <a:pPr lvl="0"/>
            <a:r>
              <a:rPr lang="en-US"/>
              <a:t>These have been pre-defined so they have the correct font &amp; color usage.</a:t>
            </a:r>
          </a:p>
          <a:p>
            <a:pPr lvl="0"/>
            <a:r>
              <a:rPr lang="nl-NL"/>
              <a:t>Copy/paste it into this document.</a:t>
            </a:r>
          </a:p>
          <a:p>
            <a:pPr lvl="0"/>
            <a:r>
              <a:rPr lang="nl-NL"/>
              <a:t>Make sure it fits (exactly) within the grey area, just resize the outer edges of the chart/table to fit.</a:t>
            </a:r>
          </a:p>
          <a:p>
            <a:pPr lvl="0"/>
            <a:r>
              <a:rPr lang="nl-NL" err="1"/>
              <a:t>Once applied, move the chart to the side and make this box white so you don’t see it anymore.</a:t>
            </a:r>
            <a:endParaRPr lang="en-US"/>
          </a:p>
        </p:txBody>
      </p:sp>
      <p:sp>
        <p:nvSpPr>
          <p:cNvPr id="16" name="Text Placeholder 10">
            <a:extLst>
              <a:ext uri="{FF2B5EF4-FFF2-40B4-BE49-F238E27FC236}">
                <a16:creationId xmlns:a16="http://schemas.microsoft.com/office/drawing/2014/main" id="{3B59D095-5746-9B74-8ADB-BE8FA6E639C1}"/>
              </a:ext>
            </a:extLst>
          </p:cNvPr>
          <p:cNvSpPr>
            <a:spLocks noGrp="1"/>
          </p:cNvSpPr>
          <p:nvPr>
            <p:ph type="body" sz="quarter" idx="95" hasCustomPrompt="1"/>
            <p:custDataLst>
              <p:tags r:id="rId10"/>
            </p:custDataLst>
          </p:nvPr>
        </p:nvSpPr>
        <p:spPr>
          <a:xfrm>
            <a:off x="4386945" y="1501837"/>
            <a:ext cx="701675" cy="360363"/>
          </a:xfrm>
        </p:spPr>
        <p:txBody>
          <a:bodyPr/>
          <a:lstStyle>
            <a:lvl1pPr marL="0" indent="0">
              <a:buNone/>
              <a:defRPr sz="1100" b="1"/>
            </a:lvl1pPr>
          </a:lstStyle>
          <a:p>
            <a:pPr lvl="0"/>
            <a:r>
              <a:rPr lang="en-NL"/>
              <a:t>Figure:</a:t>
            </a:r>
          </a:p>
        </p:txBody>
      </p:sp>
      <p:sp>
        <p:nvSpPr>
          <p:cNvPr id="17" name="Text Placeholder 10">
            <a:extLst>
              <a:ext uri="{FF2B5EF4-FFF2-40B4-BE49-F238E27FC236}">
                <a16:creationId xmlns:a16="http://schemas.microsoft.com/office/drawing/2014/main" id="{A37CF058-C7D2-4658-017E-18BAECBC9292}"/>
              </a:ext>
            </a:extLst>
          </p:cNvPr>
          <p:cNvSpPr>
            <a:spLocks noGrp="1"/>
          </p:cNvSpPr>
          <p:nvPr>
            <p:ph type="body" sz="quarter" idx="96" hasCustomPrompt="1"/>
            <p:custDataLst>
              <p:tags r:id="rId11"/>
            </p:custDataLst>
          </p:nvPr>
        </p:nvSpPr>
        <p:spPr>
          <a:xfrm>
            <a:off x="5089760" y="1501837"/>
            <a:ext cx="2716240" cy="360363"/>
          </a:xfrm>
        </p:spPr>
        <p:txBody>
          <a:bodyPr/>
          <a:lstStyle>
            <a:lvl1pPr marL="0" indent="0">
              <a:buNone/>
              <a:defRPr sz="1100" b="0"/>
            </a:lvl1pPr>
          </a:lstStyle>
          <a:p>
            <a:pPr marL="0" marR="0" lvl="0" indent="0" algn="l" defTabSz="914377" rtl="0" eaLnBrk="1" fontAlgn="auto" latinLnBrk="0" hangingPunct="1">
              <a:lnSpc>
                <a:spcPct val="100000"/>
              </a:lnSpc>
              <a:spcBef>
                <a:spcPts val="600"/>
              </a:spcBef>
              <a:spcAft>
                <a:spcPct val="0"/>
              </a:spcAft>
              <a:buClr>
                <a:schemeClr val="tx2"/>
              </a:buClr>
              <a:buSzTx/>
              <a:buFont typeface="Arial" panose="020B0604020202020204" pitchFamily="34" charset="0"/>
              <a:buNone/>
              <a:defRPr/>
            </a:pPr>
            <a:r>
              <a:rPr lang="en-US"/>
              <a:t> Chart title goes here (do not add an extra title to the chart below)</a:t>
            </a:r>
          </a:p>
        </p:txBody>
      </p:sp>
      <p:sp>
        <p:nvSpPr>
          <p:cNvPr id="18" name="Chart Placeholder 1">
            <a:extLst>
              <a:ext uri="{FF2B5EF4-FFF2-40B4-BE49-F238E27FC236}">
                <a16:creationId xmlns:a16="http://schemas.microsoft.com/office/drawing/2014/main" id="{4AD6CB2E-3110-5415-8F46-573D04412885}"/>
              </a:ext>
            </a:extLst>
          </p:cNvPr>
          <p:cNvSpPr>
            <a:spLocks noGrp="1"/>
          </p:cNvSpPr>
          <p:nvPr>
            <p:ph type="chart" sz="quarter" idx="97" hasCustomPrompt="1"/>
            <p:custDataLst>
              <p:tags r:id="rId12"/>
            </p:custDataLst>
          </p:nvPr>
        </p:nvSpPr>
        <p:spPr>
          <a:xfrm>
            <a:off x="8272800" y="1916112"/>
            <a:ext cx="3420000" cy="3960813"/>
          </a:xfrm>
          <a:solidFill>
            <a:srgbClr val="F2F2F2"/>
          </a:solidFill>
        </p:spPr>
        <p:txBody>
          <a:bodyPr anchor="ctr" anchorCtr="0">
            <a:noAutofit/>
          </a:bodyPr>
          <a:lstStyle>
            <a:lvl1pPr marL="0" indent="0" algn="ctr">
              <a:buNone/>
              <a:defRPr sz="1200">
                <a:latin typeface="Arial" panose="020B0604020202020204" pitchFamily="34" charset="0"/>
                <a:cs typeface="Arial" panose="020B0604020202020204" pitchFamily="34" charset="0"/>
              </a:defRPr>
            </a:lvl1pPr>
          </a:lstStyle>
          <a:p>
            <a:pPr lvl="0"/>
            <a:r>
              <a:rPr lang="en-US"/>
              <a:t>Pick a chart / table from the chart.ppt document.</a:t>
            </a:r>
          </a:p>
          <a:p>
            <a:pPr lvl="0"/>
            <a:r>
              <a:rPr lang="en-US"/>
              <a:t>These have been pre-defined so they have the correct font &amp; color usage.</a:t>
            </a:r>
          </a:p>
          <a:p>
            <a:pPr lvl="0"/>
            <a:r>
              <a:rPr lang="nl-NL"/>
              <a:t>Copy/paste it into this document.</a:t>
            </a:r>
          </a:p>
          <a:p>
            <a:pPr lvl="0"/>
            <a:r>
              <a:rPr lang="nl-NL"/>
              <a:t>Make sure it fits (exactly) within the grey area, just resize the outer edges of the chart/table to fit.</a:t>
            </a:r>
          </a:p>
          <a:p>
            <a:pPr lvl="0"/>
            <a:r>
              <a:rPr lang="nl-NL" err="1"/>
              <a:t>Once applied, move the chart to the side and make this box white so you don’t see it anymore.</a:t>
            </a:r>
            <a:endParaRPr lang="en-US"/>
          </a:p>
        </p:txBody>
      </p:sp>
      <p:sp>
        <p:nvSpPr>
          <p:cNvPr id="19" name="Text Placeholder 10">
            <a:extLst>
              <a:ext uri="{FF2B5EF4-FFF2-40B4-BE49-F238E27FC236}">
                <a16:creationId xmlns:a16="http://schemas.microsoft.com/office/drawing/2014/main" id="{0FF17075-EE8E-DE2B-A7D2-F5766F9B22DF}"/>
              </a:ext>
            </a:extLst>
          </p:cNvPr>
          <p:cNvSpPr>
            <a:spLocks noGrp="1"/>
          </p:cNvSpPr>
          <p:nvPr>
            <p:ph type="body" sz="quarter" idx="98" hasCustomPrompt="1"/>
            <p:custDataLst>
              <p:tags r:id="rId13"/>
            </p:custDataLst>
          </p:nvPr>
        </p:nvSpPr>
        <p:spPr>
          <a:xfrm>
            <a:off x="8273745" y="1501837"/>
            <a:ext cx="701675" cy="360363"/>
          </a:xfrm>
        </p:spPr>
        <p:txBody>
          <a:bodyPr/>
          <a:lstStyle>
            <a:lvl1pPr marL="0" indent="0">
              <a:buNone/>
              <a:defRPr sz="1100" b="1"/>
            </a:lvl1pPr>
          </a:lstStyle>
          <a:p>
            <a:pPr lvl="0"/>
            <a:r>
              <a:rPr lang="en-NL"/>
              <a:t>Figure:</a:t>
            </a:r>
          </a:p>
        </p:txBody>
      </p:sp>
      <p:sp>
        <p:nvSpPr>
          <p:cNvPr id="21" name="Text Placeholder 10">
            <a:extLst>
              <a:ext uri="{FF2B5EF4-FFF2-40B4-BE49-F238E27FC236}">
                <a16:creationId xmlns:a16="http://schemas.microsoft.com/office/drawing/2014/main" id="{500EA6D7-09D9-466A-91E7-534BAD9B441B}"/>
              </a:ext>
            </a:extLst>
          </p:cNvPr>
          <p:cNvSpPr>
            <a:spLocks noGrp="1"/>
          </p:cNvSpPr>
          <p:nvPr>
            <p:ph type="body" sz="quarter" idx="99" hasCustomPrompt="1"/>
            <p:custDataLst>
              <p:tags r:id="rId14"/>
            </p:custDataLst>
          </p:nvPr>
        </p:nvSpPr>
        <p:spPr>
          <a:xfrm>
            <a:off x="8976560" y="1501837"/>
            <a:ext cx="2716240" cy="360363"/>
          </a:xfrm>
        </p:spPr>
        <p:txBody>
          <a:bodyPr/>
          <a:lstStyle>
            <a:lvl1pPr marL="0" indent="0">
              <a:buNone/>
              <a:defRPr sz="1100" b="0"/>
            </a:lvl1pPr>
          </a:lstStyle>
          <a:p>
            <a:pPr marL="0" marR="0" lvl="0" indent="0" algn="l" defTabSz="914377" rtl="0" eaLnBrk="1" fontAlgn="auto" latinLnBrk="0" hangingPunct="1">
              <a:lnSpc>
                <a:spcPct val="100000"/>
              </a:lnSpc>
              <a:spcBef>
                <a:spcPts val="600"/>
              </a:spcBef>
              <a:spcAft>
                <a:spcPct val="0"/>
              </a:spcAft>
              <a:buClr>
                <a:schemeClr val="tx2"/>
              </a:buClr>
              <a:buSzTx/>
              <a:buFont typeface="Arial" panose="020B0604020202020204" pitchFamily="34" charset="0"/>
              <a:buNone/>
              <a:defRPr/>
            </a:pPr>
            <a:r>
              <a:rPr lang="en-US"/>
              <a:t> Chart title goes here (do not add an extra title to the chart below)</a:t>
            </a:r>
          </a:p>
        </p:txBody>
      </p:sp>
    </p:spTree>
    <p:extLst>
      <p:ext uri="{BB962C8B-B14F-4D97-AF65-F5344CB8AC3E}">
        <p14:creationId xmlns:p14="http://schemas.microsoft.com/office/powerpoint/2010/main" val="3954237614"/>
      </p:ext>
    </p:extLst>
  </p:cSld>
  <p:clrMapOvr>
    <a:masterClrMapping/>
  </p:clrMapOvr>
  <p:transition/>
  <p:extLst>
    <p:ext uri="{DCECCB84-F9BA-43D5-87BE-67443E8EF086}">
      <p15:sldGuideLst xmlns:p15="http://schemas.microsoft.com/office/powerpoint/2012/main">
        <p15:guide id="2" pos="3727">
          <p15:clr>
            <a:srgbClr val="FBAE40"/>
          </p15:clr>
        </p15:guide>
        <p15:guide id="3" pos="3953">
          <p15:clr>
            <a:srgbClr val="FBAE40"/>
          </p15:clr>
        </p15:guide>
        <p15:guide id="4" orient="horz" pos="890">
          <p15:clr>
            <a:srgbClr val="FBAE40"/>
          </p15:clr>
        </p15:guide>
        <p15:guide id="5" orient="horz" pos="935">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and 2 objec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80800" y="1703997"/>
            <a:ext cx="5400000" cy="4173987"/>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hasCustomPrompt="1"/>
          </p:nvPr>
        </p:nvSpPr>
        <p:spPr>
          <a:xfrm>
            <a:off x="6216264" y="1703997"/>
            <a:ext cx="5400000" cy="4173987"/>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p:cNvSpPr>
            <a:spLocks noGrp="1"/>
          </p:cNvSpPr>
          <p:nvPr>
            <p:ph type="dt" sz="half" idx="10"/>
          </p:nvPr>
        </p:nvSpPr>
        <p:spPr/>
        <p:txBody>
          <a:bodyPr/>
          <a:lstStyle/>
          <a:p>
            <a:fld id="{B2EF230F-AF24-4334-8CC3-2295CF4DD0DF}" type="datetime1">
              <a:rPr lang="en-US" smtClean="0"/>
              <a:t>4/18/2025</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9BE0E23E-9022-4929-B297-EB2777CDBB1F}" type="slidenum">
              <a:rPr lang="en-GB" smtClean="0"/>
              <a:t>‹#›</a:t>
            </a:fld>
            <a:endParaRPr lang="en-GB"/>
          </a:p>
        </p:txBody>
      </p:sp>
      <p:sp>
        <p:nvSpPr>
          <p:cNvPr id="8" name="Titel 7">
            <a:extLst>
              <a:ext uri="{FF2B5EF4-FFF2-40B4-BE49-F238E27FC236}">
                <a16:creationId xmlns:a16="http://schemas.microsoft.com/office/drawing/2014/main" id="{26BE0271-8E9F-4D14-97DF-D828AE403B0B}"/>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147529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subtitle, 2 objec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80800" y="2077592"/>
            <a:ext cx="5400000" cy="3800392"/>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hasCustomPrompt="1"/>
          </p:nvPr>
        </p:nvSpPr>
        <p:spPr>
          <a:xfrm>
            <a:off x="6216265" y="2077592"/>
            <a:ext cx="5400000" cy="3800392"/>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p:cNvSpPr>
            <a:spLocks noGrp="1"/>
          </p:cNvSpPr>
          <p:nvPr>
            <p:ph type="dt" sz="half" idx="10"/>
          </p:nvPr>
        </p:nvSpPr>
        <p:spPr/>
        <p:txBody>
          <a:bodyPr/>
          <a:lstStyle/>
          <a:p>
            <a:fld id="{87D03B98-8938-49EB-809A-69CB67E9114A}" type="datetime1">
              <a:rPr lang="en-US" smtClean="0"/>
              <a:t>4/18/2025</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9BE0E23E-9022-4929-B297-EB2777CDBB1F}" type="slidenum">
              <a:rPr lang="en-GB" smtClean="0"/>
              <a:t>‹#›</a:t>
            </a:fld>
            <a:endParaRPr lang="en-GB"/>
          </a:p>
        </p:txBody>
      </p:sp>
      <p:sp>
        <p:nvSpPr>
          <p:cNvPr id="9" name="Tijdelijke aanduiding voor tekst 7">
            <a:extLst>
              <a:ext uri="{FF2B5EF4-FFF2-40B4-BE49-F238E27FC236}">
                <a16:creationId xmlns:a16="http://schemas.microsoft.com/office/drawing/2014/main" id="{27508BEF-285C-40D0-8A0C-EE0B84C47D52}"/>
              </a:ext>
            </a:extLst>
          </p:cNvPr>
          <p:cNvSpPr>
            <a:spLocks noGrp="1"/>
          </p:cNvSpPr>
          <p:nvPr>
            <p:ph type="body" sz="quarter" idx="13" hasCustomPrompt="1"/>
          </p:nvPr>
        </p:nvSpPr>
        <p:spPr>
          <a:xfrm>
            <a:off x="580291" y="1701800"/>
            <a:ext cx="5400000" cy="375792"/>
          </a:xfrm>
        </p:spPr>
        <p:txBody>
          <a:bodyPr wrap="none"/>
          <a:lstStyle>
            <a:lvl1pPr marL="0" indent="0">
              <a:buNone/>
              <a:defRPr>
                <a:solidFill>
                  <a:schemeClr val="accent1"/>
                </a:solidFill>
              </a:defRPr>
            </a:lvl1pPr>
          </a:lstStyle>
          <a:p>
            <a:pPr lvl="0"/>
            <a:r>
              <a:rPr lang="en-GB"/>
              <a:t>Subtitle</a:t>
            </a:r>
          </a:p>
        </p:txBody>
      </p:sp>
      <p:sp>
        <p:nvSpPr>
          <p:cNvPr id="10" name="Tijdelijke aanduiding voor tekst 7">
            <a:extLst>
              <a:ext uri="{FF2B5EF4-FFF2-40B4-BE49-F238E27FC236}">
                <a16:creationId xmlns:a16="http://schemas.microsoft.com/office/drawing/2014/main" id="{9913EE84-7DEC-4A2D-AD57-9B4798154DE0}"/>
              </a:ext>
            </a:extLst>
          </p:cNvPr>
          <p:cNvSpPr>
            <a:spLocks noGrp="1"/>
          </p:cNvSpPr>
          <p:nvPr>
            <p:ph type="body" sz="quarter" idx="14" hasCustomPrompt="1"/>
          </p:nvPr>
        </p:nvSpPr>
        <p:spPr>
          <a:xfrm>
            <a:off x="6216264" y="1703997"/>
            <a:ext cx="5400000" cy="375792"/>
          </a:xfrm>
        </p:spPr>
        <p:txBody>
          <a:bodyPr wrap="none"/>
          <a:lstStyle>
            <a:lvl1pPr marL="0" indent="0">
              <a:buNone/>
              <a:defRPr>
                <a:solidFill>
                  <a:schemeClr val="accent1"/>
                </a:solidFill>
              </a:defRPr>
            </a:lvl1pPr>
          </a:lstStyle>
          <a:p>
            <a:pPr lvl="0"/>
            <a:r>
              <a:rPr lang="en-GB" err="1"/>
              <a:t>Subtitel</a:t>
            </a:r>
            <a:endParaRPr lang="en-GB"/>
          </a:p>
        </p:txBody>
      </p:sp>
      <p:sp>
        <p:nvSpPr>
          <p:cNvPr id="8" name="Titel 7">
            <a:extLst>
              <a:ext uri="{FF2B5EF4-FFF2-40B4-BE49-F238E27FC236}">
                <a16:creationId xmlns:a16="http://schemas.microsoft.com/office/drawing/2014/main" id="{8ABE8B1D-E1F9-4E74-945C-E81D06AF0D78}"/>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1140770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text and tab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80800" y="1703997"/>
            <a:ext cx="5400000" cy="4175419"/>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p:cNvSpPr>
            <a:spLocks noGrp="1"/>
          </p:cNvSpPr>
          <p:nvPr>
            <p:ph type="dt" sz="half" idx="10"/>
          </p:nvPr>
        </p:nvSpPr>
        <p:spPr/>
        <p:txBody>
          <a:bodyPr/>
          <a:lstStyle/>
          <a:p>
            <a:fld id="{2AE884EF-3A03-4E4B-B555-F69692EBA442}" type="datetime1">
              <a:rPr lang="en-US" smtClean="0"/>
              <a:t>4/18/2025</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9BE0E23E-9022-4929-B297-EB2777CDBB1F}" type="slidenum">
              <a:rPr lang="en-GB" smtClean="0"/>
              <a:t>‹#›</a:t>
            </a:fld>
            <a:endParaRPr lang="en-GB"/>
          </a:p>
        </p:txBody>
      </p:sp>
      <p:sp>
        <p:nvSpPr>
          <p:cNvPr id="10" name="Tijdelijke aanduiding voor tabel 8">
            <a:extLst>
              <a:ext uri="{FF2B5EF4-FFF2-40B4-BE49-F238E27FC236}">
                <a16:creationId xmlns:a16="http://schemas.microsoft.com/office/drawing/2014/main" id="{D2E9F6DD-7E2C-4192-BBC9-125146AEF9DA}"/>
              </a:ext>
            </a:extLst>
          </p:cNvPr>
          <p:cNvSpPr>
            <a:spLocks noGrp="1"/>
          </p:cNvSpPr>
          <p:nvPr>
            <p:ph type="tbl" sz="quarter" idx="13"/>
          </p:nvPr>
        </p:nvSpPr>
        <p:spPr>
          <a:xfrm>
            <a:off x="6216651" y="1701800"/>
            <a:ext cx="5394549" cy="4176184"/>
          </a:xfrm>
        </p:spPr>
        <p:txBody>
          <a:bodyPr/>
          <a:lstStyle/>
          <a:p>
            <a:r>
              <a:rPr lang="en-GB"/>
              <a:t>Click icon to add table</a:t>
            </a:r>
          </a:p>
        </p:txBody>
      </p:sp>
      <p:sp>
        <p:nvSpPr>
          <p:cNvPr id="4" name="Titel 3">
            <a:extLst>
              <a:ext uri="{FF2B5EF4-FFF2-40B4-BE49-F238E27FC236}">
                <a16:creationId xmlns:a16="http://schemas.microsoft.com/office/drawing/2014/main" id="{5DE9D13A-D41B-4FAB-8651-676FFDB4FE5F}"/>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17295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4" name="Date Placeholder 3"/>
          <p:cNvSpPr>
            <a:spLocks noGrp="1"/>
          </p:cNvSpPr>
          <p:nvPr>
            <p:ph type="dt" sz="half" idx="10"/>
          </p:nvPr>
        </p:nvSpPr>
        <p:spPr/>
        <p:txBody>
          <a:bodyPr/>
          <a:lstStyle/>
          <a:p>
            <a:fld id="{E6B091DC-626C-4A94-8E07-17FADD1CAF38}" type="datetime1">
              <a:rPr lang="en-US" smtClean="0"/>
              <a:t>4/18/2025</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9" name="Tijdelijke aanduiding voor tabel 7">
            <a:extLst>
              <a:ext uri="{FF2B5EF4-FFF2-40B4-BE49-F238E27FC236}">
                <a16:creationId xmlns:a16="http://schemas.microsoft.com/office/drawing/2014/main" id="{DEED083B-6C6C-41E9-9AEE-A277FCC01CE9}"/>
              </a:ext>
            </a:extLst>
          </p:cNvPr>
          <p:cNvSpPr>
            <a:spLocks noGrp="1"/>
          </p:cNvSpPr>
          <p:nvPr>
            <p:ph type="tbl" sz="quarter" idx="13"/>
          </p:nvPr>
        </p:nvSpPr>
        <p:spPr>
          <a:xfrm>
            <a:off x="575734" y="1701801"/>
            <a:ext cx="11040533" cy="4176184"/>
          </a:xfrm>
        </p:spPr>
        <p:txBody>
          <a:bodyPr/>
          <a:lstStyle/>
          <a:p>
            <a:r>
              <a:rPr lang="en-GB"/>
              <a:t>Click icon to add table</a:t>
            </a:r>
          </a:p>
        </p:txBody>
      </p:sp>
    </p:spTree>
    <p:extLst>
      <p:ext uri="{BB962C8B-B14F-4D97-AF65-F5344CB8AC3E}">
        <p14:creationId xmlns:p14="http://schemas.microsoft.com/office/powerpoint/2010/main" val="2810270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3 text boxes">
    <p:spTree>
      <p:nvGrpSpPr>
        <p:cNvPr id="1" name=""/>
        <p:cNvGrpSpPr/>
        <p:nvPr/>
      </p:nvGrpSpPr>
      <p:grpSpPr>
        <a:xfrm>
          <a:off x="0" y="0"/>
          <a:ext cx="0" cy="0"/>
          <a:chOff x="0" y="0"/>
          <a:chExt cx="0" cy="0"/>
        </a:xfrm>
      </p:grpSpPr>
      <p:sp>
        <p:nvSpPr>
          <p:cNvPr id="10" name="Tijdelijke aanduiding voor tekst 9">
            <a:extLst>
              <a:ext uri="{FF2B5EF4-FFF2-40B4-BE49-F238E27FC236}">
                <a16:creationId xmlns:a16="http://schemas.microsoft.com/office/drawing/2014/main" id="{6E44AC7A-399D-4447-913F-693F8257E520}"/>
              </a:ext>
            </a:extLst>
          </p:cNvPr>
          <p:cNvSpPr>
            <a:spLocks noGrp="1"/>
          </p:cNvSpPr>
          <p:nvPr>
            <p:ph type="body" sz="quarter" idx="19" hasCustomPrompt="1"/>
          </p:nvPr>
        </p:nvSpPr>
        <p:spPr>
          <a:xfrm>
            <a:off x="575734" y="2495373"/>
            <a:ext cx="3441700" cy="3382612"/>
          </a:xfrm>
          <a:solidFill>
            <a:schemeClr val="bg1"/>
          </a:solidFill>
          <a:ln>
            <a:solidFill>
              <a:schemeClr val="accent1"/>
            </a:solidFill>
          </a:ln>
        </p:spPr>
        <p:txBody>
          <a:bodyPr lIns="72000" tIns="288000" rIns="72000"/>
          <a:lstStyle>
            <a:lvl1pPr>
              <a:defRPr sz="1600"/>
            </a:lvl1pPr>
            <a:lvl2pPr>
              <a:defRPr sz="1600"/>
            </a:lvl2pPr>
            <a:lvl3pPr>
              <a:defRPr sz="1600"/>
            </a:lvl3pPr>
            <a:lvl4pPr>
              <a:defRPr sz="1600"/>
            </a:lvl4pPr>
            <a:lvl5pPr>
              <a:defRPr sz="1600"/>
            </a:lvl5pPr>
          </a:lstStyle>
          <a:p>
            <a:pPr lvl="0"/>
            <a:r>
              <a:rPr lang="en-GB" err="1"/>
              <a:t>Klikken</a:t>
            </a:r>
            <a:r>
              <a:rPr lang="en-GB"/>
              <a:t> om de </a:t>
            </a:r>
            <a:r>
              <a:rPr lang="en-GB" err="1"/>
              <a:t>tekststijl</a:t>
            </a:r>
            <a:r>
              <a:rPr lang="en-GB"/>
              <a:t> van het model te </a:t>
            </a:r>
            <a:r>
              <a:rPr lang="en-GB" err="1"/>
              <a:t>bewerken</a:t>
            </a:r>
            <a:endParaRPr lang="en-GB"/>
          </a:p>
          <a:p>
            <a:pPr lvl="1"/>
            <a:r>
              <a:rPr lang="en-GB" err="1"/>
              <a:t>Tweede</a:t>
            </a:r>
            <a:r>
              <a:rPr lang="en-GB"/>
              <a:t> </a:t>
            </a:r>
            <a:r>
              <a:rPr lang="en-GB" err="1"/>
              <a:t>niveau</a:t>
            </a:r>
            <a:endParaRPr lang="en-GB"/>
          </a:p>
          <a:p>
            <a:pPr lvl="2"/>
            <a:r>
              <a:rPr lang="en-GB" err="1"/>
              <a:t>Derde</a:t>
            </a:r>
            <a:r>
              <a:rPr lang="en-GB"/>
              <a:t> </a:t>
            </a:r>
            <a:r>
              <a:rPr lang="en-GB" err="1"/>
              <a:t>niveau</a:t>
            </a:r>
            <a:endParaRPr lang="en-GB"/>
          </a:p>
          <a:p>
            <a:pPr lvl="3"/>
            <a:r>
              <a:rPr lang="en-GB" err="1"/>
              <a:t>Vierde</a:t>
            </a:r>
            <a:r>
              <a:rPr lang="en-GB"/>
              <a:t> </a:t>
            </a:r>
            <a:r>
              <a:rPr lang="en-GB" err="1"/>
              <a:t>niveau</a:t>
            </a:r>
            <a:endParaRPr lang="en-GB"/>
          </a:p>
          <a:p>
            <a:pPr lvl="4"/>
            <a:r>
              <a:rPr lang="en-GB" err="1"/>
              <a:t>Vijfde</a:t>
            </a:r>
            <a:r>
              <a:rPr lang="en-GB"/>
              <a:t> </a:t>
            </a:r>
            <a:r>
              <a:rPr lang="en-GB" err="1"/>
              <a:t>niveau</a:t>
            </a:r>
            <a:endParaRPr lang="en-GB"/>
          </a:p>
        </p:txBody>
      </p:sp>
      <p:sp>
        <p:nvSpPr>
          <p:cNvPr id="17" name="Tijdelijke aanduiding voor tekst 9">
            <a:extLst>
              <a:ext uri="{FF2B5EF4-FFF2-40B4-BE49-F238E27FC236}">
                <a16:creationId xmlns:a16="http://schemas.microsoft.com/office/drawing/2014/main" id="{FA5263FC-52AF-4B41-B9E2-8646A7426720}"/>
              </a:ext>
            </a:extLst>
          </p:cNvPr>
          <p:cNvSpPr>
            <a:spLocks noGrp="1"/>
          </p:cNvSpPr>
          <p:nvPr>
            <p:ph type="body" sz="quarter" idx="20" hasCustomPrompt="1"/>
          </p:nvPr>
        </p:nvSpPr>
        <p:spPr>
          <a:xfrm>
            <a:off x="4375102" y="2495373"/>
            <a:ext cx="3441700" cy="3382612"/>
          </a:xfrm>
          <a:solidFill>
            <a:schemeClr val="bg1"/>
          </a:solidFill>
          <a:ln>
            <a:solidFill>
              <a:schemeClr val="accent1"/>
            </a:solidFill>
          </a:ln>
        </p:spPr>
        <p:txBody>
          <a:bodyPr lIns="72000" tIns="288000" rIns="72000"/>
          <a:lstStyle>
            <a:lvl1pPr>
              <a:defRPr sz="1600"/>
            </a:lvl1pPr>
            <a:lvl2pPr>
              <a:defRPr sz="1600"/>
            </a:lvl2pPr>
            <a:lvl3pPr>
              <a:defRPr sz="1600"/>
            </a:lvl3pPr>
            <a:lvl4pPr>
              <a:defRPr sz="1600"/>
            </a:lvl4pPr>
            <a:lvl5pPr>
              <a:defRPr sz="1600"/>
            </a:lvl5pPr>
          </a:lstStyle>
          <a:p>
            <a:pPr lvl="0"/>
            <a:r>
              <a:rPr lang="en-GB" err="1"/>
              <a:t>Klikken</a:t>
            </a:r>
            <a:r>
              <a:rPr lang="en-GB"/>
              <a:t> om de </a:t>
            </a:r>
            <a:r>
              <a:rPr lang="en-GB" err="1"/>
              <a:t>tekststijl</a:t>
            </a:r>
            <a:r>
              <a:rPr lang="en-GB"/>
              <a:t> van het model te </a:t>
            </a:r>
            <a:r>
              <a:rPr lang="en-GB" err="1"/>
              <a:t>bewerken</a:t>
            </a:r>
            <a:endParaRPr lang="en-GB"/>
          </a:p>
          <a:p>
            <a:pPr lvl="1"/>
            <a:r>
              <a:rPr lang="en-GB" err="1"/>
              <a:t>Tweede</a:t>
            </a:r>
            <a:r>
              <a:rPr lang="en-GB"/>
              <a:t> </a:t>
            </a:r>
            <a:r>
              <a:rPr lang="en-GB" err="1"/>
              <a:t>niveau</a:t>
            </a:r>
            <a:endParaRPr lang="en-GB"/>
          </a:p>
          <a:p>
            <a:pPr lvl="2"/>
            <a:r>
              <a:rPr lang="en-GB" err="1"/>
              <a:t>Derde</a:t>
            </a:r>
            <a:r>
              <a:rPr lang="en-GB"/>
              <a:t> </a:t>
            </a:r>
            <a:r>
              <a:rPr lang="en-GB" err="1"/>
              <a:t>niveau</a:t>
            </a:r>
            <a:endParaRPr lang="en-GB"/>
          </a:p>
          <a:p>
            <a:pPr lvl="3"/>
            <a:r>
              <a:rPr lang="en-GB" err="1"/>
              <a:t>Vierde</a:t>
            </a:r>
            <a:r>
              <a:rPr lang="en-GB"/>
              <a:t> </a:t>
            </a:r>
            <a:r>
              <a:rPr lang="en-GB" err="1"/>
              <a:t>niveau</a:t>
            </a:r>
            <a:endParaRPr lang="en-GB"/>
          </a:p>
          <a:p>
            <a:pPr lvl="4"/>
            <a:r>
              <a:rPr lang="en-GB" err="1"/>
              <a:t>Vijfde</a:t>
            </a:r>
            <a:r>
              <a:rPr lang="en-GB"/>
              <a:t> </a:t>
            </a:r>
            <a:r>
              <a:rPr lang="en-GB" err="1"/>
              <a:t>niveau</a:t>
            </a:r>
            <a:endParaRPr lang="en-GB"/>
          </a:p>
        </p:txBody>
      </p:sp>
      <p:sp>
        <p:nvSpPr>
          <p:cNvPr id="18" name="Tijdelijke aanduiding voor tekst 9">
            <a:extLst>
              <a:ext uri="{FF2B5EF4-FFF2-40B4-BE49-F238E27FC236}">
                <a16:creationId xmlns:a16="http://schemas.microsoft.com/office/drawing/2014/main" id="{492614B2-9824-40F5-8714-52933A386792}"/>
              </a:ext>
            </a:extLst>
          </p:cNvPr>
          <p:cNvSpPr>
            <a:spLocks noGrp="1"/>
          </p:cNvSpPr>
          <p:nvPr>
            <p:ph type="body" sz="quarter" idx="21" hasCustomPrompt="1"/>
          </p:nvPr>
        </p:nvSpPr>
        <p:spPr>
          <a:xfrm>
            <a:off x="8174570" y="2495373"/>
            <a:ext cx="3441700" cy="3382612"/>
          </a:xfrm>
          <a:solidFill>
            <a:schemeClr val="bg1"/>
          </a:solidFill>
          <a:ln>
            <a:solidFill>
              <a:schemeClr val="accent1"/>
            </a:solidFill>
          </a:ln>
        </p:spPr>
        <p:txBody>
          <a:bodyPr lIns="72000" tIns="288000" rIns="72000"/>
          <a:lstStyle>
            <a:lvl1pPr>
              <a:defRPr sz="1600"/>
            </a:lvl1pPr>
            <a:lvl2pPr>
              <a:defRPr sz="1600"/>
            </a:lvl2pPr>
            <a:lvl3pPr>
              <a:defRPr sz="1600"/>
            </a:lvl3pPr>
            <a:lvl4pPr>
              <a:defRPr sz="1600"/>
            </a:lvl4pPr>
            <a:lvl5pPr>
              <a:defRPr sz="1600"/>
            </a:lvl5pPr>
          </a:lstStyle>
          <a:p>
            <a:pPr lvl="0"/>
            <a:r>
              <a:rPr lang="en-GB" err="1"/>
              <a:t>Klikken</a:t>
            </a:r>
            <a:r>
              <a:rPr lang="en-GB"/>
              <a:t> om de </a:t>
            </a:r>
            <a:r>
              <a:rPr lang="en-GB" err="1"/>
              <a:t>tekststijl</a:t>
            </a:r>
            <a:r>
              <a:rPr lang="en-GB"/>
              <a:t> van het model te </a:t>
            </a:r>
            <a:r>
              <a:rPr lang="en-GB" err="1"/>
              <a:t>bewerken</a:t>
            </a:r>
            <a:endParaRPr lang="en-GB"/>
          </a:p>
          <a:p>
            <a:pPr lvl="1"/>
            <a:r>
              <a:rPr lang="en-GB" err="1"/>
              <a:t>Tweede</a:t>
            </a:r>
            <a:r>
              <a:rPr lang="en-GB"/>
              <a:t> </a:t>
            </a:r>
            <a:r>
              <a:rPr lang="en-GB" err="1"/>
              <a:t>niveau</a:t>
            </a:r>
            <a:endParaRPr lang="en-GB"/>
          </a:p>
          <a:p>
            <a:pPr lvl="2"/>
            <a:r>
              <a:rPr lang="en-GB" err="1"/>
              <a:t>Derde</a:t>
            </a:r>
            <a:r>
              <a:rPr lang="en-GB"/>
              <a:t> </a:t>
            </a:r>
            <a:r>
              <a:rPr lang="en-GB" err="1"/>
              <a:t>niveau</a:t>
            </a:r>
            <a:endParaRPr lang="en-GB"/>
          </a:p>
          <a:p>
            <a:pPr lvl="3"/>
            <a:r>
              <a:rPr lang="en-GB" err="1"/>
              <a:t>Vierde</a:t>
            </a:r>
            <a:r>
              <a:rPr lang="en-GB"/>
              <a:t> </a:t>
            </a:r>
            <a:r>
              <a:rPr lang="en-GB" err="1"/>
              <a:t>niveau</a:t>
            </a:r>
            <a:endParaRPr lang="en-GB"/>
          </a:p>
          <a:p>
            <a:pPr lvl="4"/>
            <a:r>
              <a:rPr lang="en-GB" err="1"/>
              <a:t>Vijfde</a:t>
            </a:r>
            <a:r>
              <a:rPr lang="en-GB"/>
              <a:t> </a:t>
            </a:r>
            <a:r>
              <a:rPr lang="en-GB" err="1"/>
              <a:t>niveau</a:t>
            </a:r>
            <a:endParaRPr lang="en-GB"/>
          </a:p>
        </p:txBody>
      </p:sp>
      <p:sp>
        <p:nvSpPr>
          <p:cNvPr id="2" name="Title 1"/>
          <p:cNvSpPr>
            <a:spLocks noGrp="1"/>
          </p:cNvSpPr>
          <p:nvPr>
            <p:ph type="title"/>
          </p:nvPr>
        </p:nvSpPr>
        <p:spPr/>
        <p:txBody>
          <a:bodyPr/>
          <a:lstStyle/>
          <a:p>
            <a:r>
              <a:rPr lang="en-GB"/>
              <a:t>Click to edit Master title style</a:t>
            </a:r>
          </a:p>
        </p:txBody>
      </p:sp>
      <p:sp>
        <p:nvSpPr>
          <p:cNvPr id="4" name="Date Placeholder 3"/>
          <p:cNvSpPr>
            <a:spLocks noGrp="1"/>
          </p:cNvSpPr>
          <p:nvPr>
            <p:ph type="dt" sz="half" idx="10"/>
          </p:nvPr>
        </p:nvSpPr>
        <p:spPr/>
        <p:txBody>
          <a:bodyPr/>
          <a:lstStyle/>
          <a:p>
            <a:fld id="{D7A17774-D91D-481F-9FB2-4A87E4A88429}" type="datetime1">
              <a:rPr lang="en-US" smtClean="0"/>
              <a:t>4/18/2025</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14" name="Tijdelijke aanduiding voor tekst 13">
            <a:extLst>
              <a:ext uri="{FF2B5EF4-FFF2-40B4-BE49-F238E27FC236}">
                <a16:creationId xmlns:a16="http://schemas.microsoft.com/office/drawing/2014/main" id="{CE04E62B-DFE8-49C6-BCEC-A19BF0599890}"/>
              </a:ext>
            </a:extLst>
          </p:cNvPr>
          <p:cNvSpPr>
            <a:spLocks noGrp="1"/>
          </p:cNvSpPr>
          <p:nvPr>
            <p:ph type="body" sz="quarter" idx="16" hasCustomPrompt="1"/>
          </p:nvPr>
        </p:nvSpPr>
        <p:spPr>
          <a:xfrm>
            <a:off x="575732" y="1881238"/>
            <a:ext cx="34416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a:ln>
            <a:solidFill>
              <a:schemeClr val="accent1"/>
            </a:solidFill>
          </a:ln>
        </p:spPr>
        <p:txBody>
          <a:bodyPr wrap="square" lIns="72000" rIns="72000" anchor="ctr" anchorCtr="0">
            <a:noAutofit/>
          </a:bodyPr>
          <a:lstStyle>
            <a:lvl1pPr marL="0" indent="0" algn="ctr">
              <a:lnSpc>
                <a:spcPct val="100000"/>
              </a:lnSpc>
              <a:spcBef>
                <a:spcPts val="0"/>
              </a:spcBef>
              <a:buNone/>
              <a:defRPr>
                <a:solidFill>
                  <a:schemeClr val="bg1"/>
                </a:solidFill>
              </a:defRPr>
            </a:lvl1pPr>
          </a:lstStyle>
          <a:p>
            <a:pPr lvl="0"/>
            <a:r>
              <a:rPr lang="en-GB"/>
              <a:t>text</a:t>
            </a:r>
          </a:p>
        </p:txBody>
      </p:sp>
      <p:sp>
        <p:nvSpPr>
          <p:cNvPr id="15" name="Tijdelijke aanduiding voor tekst 14">
            <a:extLst>
              <a:ext uri="{FF2B5EF4-FFF2-40B4-BE49-F238E27FC236}">
                <a16:creationId xmlns:a16="http://schemas.microsoft.com/office/drawing/2014/main" id="{93339D03-BA0D-439C-9AE3-76BF835F80BC}"/>
              </a:ext>
            </a:extLst>
          </p:cNvPr>
          <p:cNvSpPr>
            <a:spLocks noGrp="1"/>
          </p:cNvSpPr>
          <p:nvPr>
            <p:ph type="body" sz="quarter" idx="17" hasCustomPrompt="1"/>
          </p:nvPr>
        </p:nvSpPr>
        <p:spPr>
          <a:xfrm>
            <a:off x="4375201" y="1881238"/>
            <a:ext cx="34416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a:ln>
            <a:solidFill>
              <a:schemeClr val="accent1"/>
            </a:solidFill>
          </a:ln>
        </p:spPr>
        <p:txBody>
          <a:bodyPr wrap="square" lIns="72000" rIns="72000" anchor="ctr" anchorCtr="0">
            <a:noAutofit/>
          </a:bodyPr>
          <a:lstStyle>
            <a:lvl1pPr marL="0" indent="0" algn="ctr">
              <a:lnSpc>
                <a:spcPct val="100000"/>
              </a:lnSpc>
              <a:spcBef>
                <a:spcPts val="0"/>
              </a:spcBef>
              <a:buNone/>
              <a:defRPr>
                <a:solidFill>
                  <a:schemeClr val="bg1"/>
                </a:solidFill>
              </a:defRPr>
            </a:lvl1pPr>
          </a:lstStyle>
          <a:p>
            <a:pPr lvl="0"/>
            <a:r>
              <a:rPr lang="en-GB"/>
              <a:t>text</a:t>
            </a:r>
          </a:p>
        </p:txBody>
      </p:sp>
      <p:sp>
        <p:nvSpPr>
          <p:cNvPr id="16" name="Tijdelijke aanduiding voor tekst 15">
            <a:extLst>
              <a:ext uri="{FF2B5EF4-FFF2-40B4-BE49-F238E27FC236}">
                <a16:creationId xmlns:a16="http://schemas.microsoft.com/office/drawing/2014/main" id="{93DBC742-8E58-4623-A40E-7D2DB102CDAF}"/>
              </a:ext>
            </a:extLst>
          </p:cNvPr>
          <p:cNvSpPr>
            <a:spLocks noGrp="1"/>
          </p:cNvSpPr>
          <p:nvPr>
            <p:ph type="body" sz="quarter" idx="18" hasCustomPrompt="1"/>
          </p:nvPr>
        </p:nvSpPr>
        <p:spPr>
          <a:xfrm>
            <a:off x="8174669" y="1881238"/>
            <a:ext cx="34416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a:ln>
            <a:solidFill>
              <a:schemeClr val="accent1"/>
            </a:solidFill>
          </a:ln>
        </p:spPr>
        <p:txBody>
          <a:bodyPr wrap="square" lIns="72000" rIns="72000" anchor="ctr" anchorCtr="0">
            <a:noAutofit/>
          </a:bodyPr>
          <a:lstStyle>
            <a:lvl1pPr marL="0" indent="0" algn="ctr">
              <a:lnSpc>
                <a:spcPct val="100000"/>
              </a:lnSpc>
              <a:spcBef>
                <a:spcPts val="0"/>
              </a:spcBef>
              <a:buNone/>
              <a:defRPr>
                <a:solidFill>
                  <a:schemeClr val="bg1"/>
                </a:solidFill>
              </a:defRPr>
            </a:lvl1pPr>
          </a:lstStyle>
          <a:p>
            <a:pPr lvl="0"/>
            <a:r>
              <a:rPr lang="en-GB"/>
              <a:t>text</a:t>
            </a:r>
          </a:p>
        </p:txBody>
      </p:sp>
    </p:spTree>
    <p:extLst>
      <p:ext uri="{BB962C8B-B14F-4D97-AF65-F5344CB8AC3E}">
        <p14:creationId xmlns:p14="http://schemas.microsoft.com/office/powerpoint/2010/main" val="2465691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itle, 4 text boxes">
    <p:spTree>
      <p:nvGrpSpPr>
        <p:cNvPr id="1" name=""/>
        <p:cNvGrpSpPr/>
        <p:nvPr/>
      </p:nvGrpSpPr>
      <p:grpSpPr>
        <a:xfrm>
          <a:off x="0" y="0"/>
          <a:ext cx="0" cy="0"/>
          <a:chOff x="0" y="0"/>
          <a:chExt cx="0" cy="0"/>
        </a:xfrm>
      </p:grpSpPr>
      <p:sp>
        <p:nvSpPr>
          <p:cNvPr id="18" name="Tijdelijke aanduiding voor tekst 9">
            <a:extLst>
              <a:ext uri="{FF2B5EF4-FFF2-40B4-BE49-F238E27FC236}">
                <a16:creationId xmlns:a16="http://schemas.microsoft.com/office/drawing/2014/main" id="{B1DBF5D7-C132-40CC-A85A-C82D8B39A011}"/>
              </a:ext>
            </a:extLst>
          </p:cNvPr>
          <p:cNvSpPr>
            <a:spLocks noGrp="1"/>
          </p:cNvSpPr>
          <p:nvPr>
            <p:ph type="body" sz="quarter" idx="19" hasCustomPrompt="1"/>
          </p:nvPr>
        </p:nvSpPr>
        <p:spPr>
          <a:xfrm>
            <a:off x="575733" y="2495373"/>
            <a:ext cx="2568000" cy="3382612"/>
          </a:xfrm>
          <a:noFill/>
          <a:ln>
            <a:solidFill>
              <a:schemeClr val="accent1"/>
            </a:solidFill>
          </a:ln>
        </p:spPr>
        <p:txBody>
          <a:bodyPr lIns="72000" tIns="288000" rIns="72000"/>
          <a:lstStyle>
            <a:lvl1pPr>
              <a:defRPr sz="1600"/>
            </a:lvl1pPr>
            <a:lvl2pPr>
              <a:defRPr sz="1600"/>
            </a:lvl2pPr>
            <a:lvl3pPr>
              <a:defRPr sz="1600"/>
            </a:lvl3pPr>
            <a:lvl4pPr>
              <a:defRPr sz="1600"/>
            </a:lvl4pPr>
            <a:lvl5pPr>
              <a:defRPr sz="1600"/>
            </a:lvl5pPr>
          </a:lstStyle>
          <a:p>
            <a:pPr lvl="0"/>
            <a:r>
              <a:rPr lang="en-GB" err="1"/>
              <a:t>Klikken</a:t>
            </a:r>
            <a:r>
              <a:rPr lang="en-GB"/>
              <a:t> om de </a:t>
            </a:r>
            <a:r>
              <a:rPr lang="en-GB" err="1"/>
              <a:t>tekststijl</a:t>
            </a:r>
            <a:r>
              <a:rPr lang="en-GB"/>
              <a:t> van het model te </a:t>
            </a:r>
            <a:r>
              <a:rPr lang="en-GB" err="1"/>
              <a:t>bewerken</a:t>
            </a:r>
            <a:endParaRPr lang="en-GB"/>
          </a:p>
          <a:p>
            <a:pPr lvl="1"/>
            <a:r>
              <a:rPr lang="en-GB" err="1"/>
              <a:t>Tweede</a:t>
            </a:r>
            <a:r>
              <a:rPr lang="en-GB"/>
              <a:t> </a:t>
            </a:r>
            <a:r>
              <a:rPr lang="en-GB" err="1"/>
              <a:t>niveau</a:t>
            </a:r>
            <a:endParaRPr lang="en-GB"/>
          </a:p>
          <a:p>
            <a:pPr lvl="2"/>
            <a:r>
              <a:rPr lang="en-GB" err="1"/>
              <a:t>Derde</a:t>
            </a:r>
            <a:r>
              <a:rPr lang="en-GB"/>
              <a:t> </a:t>
            </a:r>
            <a:r>
              <a:rPr lang="en-GB" err="1"/>
              <a:t>niveau</a:t>
            </a:r>
            <a:endParaRPr lang="en-GB"/>
          </a:p>
          <a:p>
            <a:pPr lvl="3"/>
            <a:r>
              <a:rPr lang="en-GB" err="1"/>
              <a:t>Vierde</a:t>
            </a:r>
            <a:r>
              <a:rPr lang="en-GB"/>
              <a:t> </a:t>
            </a:r>
            <a:r>
              <a:rPr lang="en-GB" err="1"/>
              <a:t>niveau</a:t>
            </a:r>
            <a:endParaRPr lang="en-GB"/>
          </a:p>
          <a:p>
            <a:pPr lvl="4"/>
            <a:r>
              <a:rPr lang="en-GB" err="1"/>
              <a:t>Vijfde</a:t>
            </a:r>
            <a:r>
              <a:rPr lang="en-GB"/>
              <a:t> </a:t>
            </a:r>
            <a:r>
              <a:rPr lang="en-GB" err="1"/>
              <a:t>niveau</a:t>
            </a:r>
            <a:endParaRPr lang="en-GB"/>
          </a:p>
        </p:txBody>
      </p:sp>
      <p:sp>
        <p:nvSpPr>
          <p:cNvPr id="19" name="Tijdelijke aanduiding voor tekst 9">
            <a:extLst>
              <a:ext uri="{FF2B5EF4-FFF2-40B4-BE49-F238E27FC236}">
                <a16:creationId xmlns:a16="http://schemas.microsoft.com/office/drawing/2014/main" id="{AEA49228-3077-4774-B49B-014998EF6753}"/>
              </a:ext>
            </a:extLst>
          </p:cNvPr>
          <p:cNvSpPr>
            <a:spLocks noGrp="1"/>
          </p:cNvSpPr>
          <p:nvPr>
            <p:ph type="body" sz="quarter" idx="22" hasCustomPrompt="1"/>
          </p:nvPr>
        </p:nvSpPr>
        <p:spPr>
          <a:xfrm>
            <a:off x="3399911" y="2495373"/>
            <a:ext cx="2568000" cy="3382612"/>
          </a:xfrm>
          <a:noFill/>
          <a:ln>
            <a:solidFill>
              <a:schemeClr val="accent1"/>
            </a:solidFill>
          </a:ln>
        </p:spPr>
        <p:txBody>
          <a:bodyPr lIns="72000" tIns="288000" rIns="72000"/>
          <a:lstStyle>
            <a:lvl1pPr>
              <a:defRPr sz="1600"/>
            </a:lvl1pPr>
            <a:lvl2pPr>
              <a:defRPr sz="1600"/>
            </a:lvl2pPr>
            <a:lvl3pPr>
              <a:defRPr sz="1600"/>
            </a:lvl3pPr>
            <a:lvl4pPr>
              <a:defRPr sz="1600"/>
            </a:lvl4pPr>
            <a:lvl5pPr>
              <a:defRPr sz="1600"/>
            </a:lvl5pPr>
          </a:lstStyle>
          <a:p>
            <a:pPr lvl="0"/>
            <a:r>
              <a:rPr lang="en-GB" err="1"/>
              <a:t>Klikken</a:t>
            </a:r>
            <a:r>
              <a:rPr lang="en-GB"/>
              <a:t> om de </a:t>
            </a:r>
            <a:r>
              <a:rPr lang="en-GB" err="1"/>
              <a:t>tekststijl</a:t>
            </a:r>
            <a:r>
              <a:rPr lang="en-GB"/>
              <a:t> van het model te </a:t>
            </a:r>
            <a:r>
              <a:rPr lang="en-GB" err="1"/>
              <a:t>bewerken</a:t>
            </a:r>
            <a:endParaRPr lang="en-GB"/>
          </a:p>
          <a:p>
            <a:pPr lvl="1"/>
            <a:r>
              <a:rPr lang="en-GB" err="1"/>
              <a:t>Tweede</a:t>
            </a:r>
            <a:r>
              <a:rPr lang="en-GB"/>
              <a:t> </a:t>
            </a:r>
            <a:r>
              <a:rPr lang="en-GB" err="1"/>
              <a:t>niveau</a:t>
            </a:r>
            <a:endParaRPr lang="en-GB"/>
          </a:p>
          <a:p>
            <a:pPr lvl="2"/>
            <a:r>
              <a:rPr lang="en-GB" err="1"/>
              <a:t>Derde</a:t>
            </a:r>
            <a:r>
              <a:rPr lang="en-GB"/>
              <a:t> </a:t>
            </a:r>
            <a:r>
              <a:rPr lang="en-GB" err="1"/>
              <a:t>niveau</a:t>
            </a:r>
            <a:endParaRPr lang="en-GB"/>
          </a:p>
          <a:p>
            <a:pPr lvl="3"/>
            <a:r>
              <a:rPr lang="en-GB" err="1"/>
              <a:t>Vierde</a:t>
            </a:r>
            <a:r>
              <a:rPr lang="en-GB"/>
              <a:t> </a:t>
            </a:r>
            <a:r>
              <a:rPr lang="en-GB" err="1"/>
              <a:t>niveau</a:t>
            </a:r>
            <a:endParaRPr lang="en-GB"/>
          </a:p>
          <a:p>
            <a:pPr lvl="4"/>
            <a:r>
              <a:rPr lang="en-GB" err="1"/>
              <a:t>Vijfde</a:t>
            </a:r>
            <a:r>
              <a:rPr lang="en-GB"/>
              <a:t> </a:t>
            </a:r>
            <a:r>
              <a:rPr lang="en-GB" err="1"/>
              <a:t>niveau</a:t>
            </a:r>
            <a:endParaRPr lang="en-GB"/>
          </a:p>
        </p:txBody>
      </p:sp>
      <p:sp>
        <p:nvSpPr>
          <p:cNvPr id="20" name="Tijdelijke aanduiding voor tekst 9">
            <a:extLst>
              <a:ext uri="{FF2B5EF4-FFF2-40B4-BE49-F238E27FC236}">
                <a16:creationId xmlns:a16="http://schemas.microsoft.com/office/drawing/2014/main" id="{182BA976-3733-49B5-B0A3-2E4CA89FDBE2}"/>
              </a:ext>
            </a:extLst>
          </p:cNvPr>
          <p:cNvSpPr>
            <a:spLocks noGrp="1"/>
          </p:cNvSpPr>
          <p:nvPr>
            <p:ph type="body" sz="quarter" idx="23" hasCustomPrompt="1"/>
          </p:nvPr>
        </p:nvSpPr>
        <p:spPr>
          <a:xfrm>
            <a:off x="6224088" y="2495373"/>
            <a:ext cx="2568000" cy="3382612"/>
          </a:xfrm>
          <a:noFill/>
          <a:ln>
            <a:solidFill>
              <a:schemeClr val="accent1"/>
            </a:solidFill>
          </a:ln>
        </p:spPr>
        <p:txBody>
          <a:bodyPr lIns="72000" tIns="288000" rIns="72000"/>
          <a:lstStyle>
            <a:lvl1pPr>
              <a:defRPr sz="1600"/>
            </a:lvl1pPr>
            <a:lvl2pPr>
              <a:defRPr sz="1600"/>
            </a:lvl2pPr>
            <a:lvl3pPr>
              <a:defRPr sz="1600"/>
            </a:lvl3pPr>
            <a:lvl4pPr>
              <a:defRPr sz="1600"/>
            </a:lvl4pPr>
            <a:lvl5pPr>
              <a:defRPr sz="1600"/>
            </a:lvl5pPr>
          </a:lstStyle>
          <a:p>
            <a:pPr lvl="0"/>
            <a:r>
              <a:rPr lang="en-GB" err="1"/>
              <a:t>Klikken</a:t>
            </a:r>
            <a:r>
              <a:rPr lang="en-GB"/>
              <a:t> om de </a:t>
            </a:r>
            <a:r>
              <a:rPr lang="en-GB" err="1"/>
              <a:t>tekststijl</a:t>
            </a:r>
            <a:r>
              <a:rPr lang="en-GB"/>
              <a:t> van het model te </a:t>
            </a:r>
            <a:r>
              <a:rPr lang="en-GB" err="1"/>
              <a:t>bewerken</a:t>
            </a:r>
            <a:endParaRPr lang="en-GB"/>
          </a:p>
          <a:p>
            <a:pPr lvl="1"/>
            <a:r>
              <a:rPr lang="en-GB" err="1"/>
              <a:t>Tweede</a:t>
            </a:r>
            <a:r>
              <a:rPr lang="en-GB"/>
              <a:t> </a:t>
            </a:r>
            <a:r>
              <a:rPr lang="en-GB" err="1"/>
              <a:t>niveau</a:t>
            </a:r>
            <a:endParaRPr lang="en-GB"/>
          </a:p>
          <a:p>
            <a:pPr lvl="2"/>
            <a:r>
              <a:rPr lang="en-GB" err="1"/>
              <a:t>Derde</a:t>
            </a:r>
            <a:r>
              <a:rPr lang="en-GB"/>
              <a:t> </a:t>
            </a:r>
            <a:r>
              <a:rPr lang="en-GB" err="1"/>
              <a:t>niveau</a:t>
            </a:r>
            <a:endParaRPr lang="en-GB"/>
          </a:p>
          <a:p>
            <a:pPr lvl="3"/>
            <a:r>
              <a:rPr lang="en-GB" err="1"/>
              <a:t>Vierde</a:t>
            </a:r>
            <a:r>
              <a:rPr lang="en-GB"/>
              <a:t> </a:t>
            </a:r>
            <a:r>
              <a:rPr lang="en-GB" err="1"/>
              <a:t>niveau</a:t>
            </a:r>
            <a:endParaRPr lang="en-GB"/>
          </a:p>
          <a:p>
            <a:pPr lvl="4"/>
            <a:r>
              <a:rPr lang="en-GB" err="1"/>
              <a:t>Vijfde</a:t>
            </a:r>
            <a:r>
              <a:rPr lang="en-GB"/>
              <a:t> </a:t>
            </a:r>
            <a:r>
              <a:rPr lang="en-GB" err="1"/>
              <a:t>niveau</a:t>
            </a:r>
            <a:endParaRPr lang="en-GB"/>
          </a:p>
        </p:txBody>
      </p:sp>
      <p:sp>
        <p:nvSpPr>
          <p:cNvPr id="21" name="Tijdelijke aanduiding voor tekst 9">
            <a:extLst>
              <a:ext uri="{FF2B5EF4-FFF2-40B4-BE49-F238E27FC236}">
                <a16:creationId xmlns:a16="http://schemas.microsoft.com/office/drawing/2014/main" id="{732CF53A-4EE3-4F44-B459-A6EACF01AA0E}"/>
              </a:ext>
            </a:extLst>
          </p:cNvPr>
          <p:cNvSpPr>
            <a:spLocks noGrp="1"/>
          </p:cNvSpPr>
          <p:nvPr>
            <p:ph type="body" sz="quarter" idx="24" hasCustomPrompt="1"/>
          </p:nvPr>
        </p:nvSpPr>
        <p:spPr>
          <a:xfrm>
            <a:off x="9048265" y="2495373"/>
            <a:ext cx="2568000" cy="3382612"/>
          </a:xfrm>
          <a:noFill/>
          <a:ln>
            <a:solidFill>
              <a:schemeClr val="accent1"/>
            </a:solidFill>
          </a:ln>
        </p:spPr>
        <p:txBody>
          <a:bodyPr lIns="72000" tIns="288000" rIns="72000"/>
          <a:lstStyle>
            <a:lvl1pPr>
              <a:defRPr sz="1600"/>
            </a:lvl1pPr>
            <a:lvl2pPr>
              <a:defRPr sz="1600"/>
            </a:lvl2pPr>
            <a:lvl3pPr>
              <a:defRPr sz="1600"/>
            </a:lvl3pPr>
            <a:lvl4pPr>
              <a:defRPr sz="1600"/>
            </a:lvl4pPr>
            <a:lvl5pPr>
              <a:defRPr sz="1600"/>
            </a:lvl5pPr>
          </a:lstStyle>
          <a:p>
            <a:pPr lvl="0"/>
            <a:r>
              <a:rPr lang="en-GB" err="1"/>
              <a:t>Klikken</a:t>
            </a:r>
            <a:r>
              <a:rPr lang="en-GB"/>
              <a:t> om de </a:t>
            </a:r>
            <a:r>
              <a:rPr lang="en-GB" err="1"/>
              <a:t>tekststijl</a:t>
            </a:r>
            <a:r>
              <a:rPr lang="en-GB"/>
              <a:t> van het model te </a:t>
            </a:r>
            <a:r>
              <a:rPr lang="en-GB" err="1"/>
              <a:t>bewerken</a:t>
            </a:r>
            <a:endParaRPr lang="en-GB"/>
          </a:p>
          <a:p>
            <a:pPr lvl="1"/>
            <a:r>
              <a:rPr lang="en-GB" err="1"/>
              <a:t>Tweede</a:t>
            </a:r>
            <a:r>
              <a:rPr lang="en-GB"/>
              <a:t> </a:t>
            </a:r>
            <a:r>
              <a:rPr lang="en-GB" err="1"/>
              <a:t>niveau</a:t>
            </a:r>
            <a:endParaRPr lang="en-GB"/>
          </a:p>
          <a:p>
            <a:pPr lvl="2"/>
            <a:r>
              <a:rPr lang="en-GB" err="1"/>
              <a:t>Derde</a:t>
            </a:r>
            <a:r>
              <a:rPr lang="en-GB"/>
              <a:t> </a:t>
            </a:r>
            <a:r>
              <a:rPr lang="en-GB" err="1"/>
              <a:t>niveau</a:t>
            </a:r>
            <a:endParaRPr lang="en-GB"/>
          </a:p>
          <a:p>
            <a:pPr lvl="3"/>
            <a:r>
              <a:rPr lang="en-GB" err="1"/>
              <a:t>Vierde</a:t>
            </a:r>
            <a:r>
              <a:rPr lang="en-GB"/>
              <a:t> </a:t>
            </a:r>
            <a:r>
              <a:rPr lang="en-GB" err="1"/>
              <a:t>niveau</a:t>
            </a:r>
            <a:endParaRPr lang="en-GB"/>
          </a:p>
          <a:p>
            <a:pPr lvl="4"/>
            <a:r>
              <a:rPr lang="en-GB" err="1"/>
              <a:t>Vijfde</a:t>
            </a:r>
            <a:r>
              <a:rPr lang="en-GB"/>
              <a:t> </a:t>
            </a:r>
            <a:r>
              <a:rPr lang="en-GB" err="1"/>
              <a:t>niveau</a:t>
            </a:r>
            <a:endParaRPr lang="en-GB"/>
          </a:p>
        </p:txBody>
      </p:sp>
      <p:sp>
        <p:nvSpPr>
          <p:cNvPr id="2" name="Title 1"/>
          <p:cNvSpPr>
            <a:spLocks noGrp="1"/>
          </p:cNvSpPr>
          <p:nvPr>
            <p:ph type="title"/>
          </p:nvPr>
        </p:nvSpPr>
        <p:spPr/>
        <p:txBody>
          <a:bodyPr/>
          <a:lstStyle/>
          <a:p>
            <a:r>
              <a:rPr lang="en-GB"/>
              <a:t>Click to edit Master title style</a:t>
            </a:r>
          </a:p>
        </p:txBody>
      </p:sp>
      <p:sp>
        <p:nvSpPr>
          <p:cNvPr id="4" name="Date Placeholder 3"/>
          <p:cNvSpPr>
            <a:spLocks noGrp="1"/>
          </p:cNvSpPr>
          <p:nvPr>
            <p:ph type="dt" sz="half" idx="10"/>
          </p:nvPr>
        </p:nvSpPr>
        <p:spPr/>
        <p:txBody>
          <a:bodyPr/>
          <a:lstStyle/>
          <a:p>
            <a:fld id="{B2E7A3E6-91A5-4996-80D5-0B7BBF47692F}" type="datetime1">
              <a:rPr lang="en-US" smtClean="0"/>
              <a:t>4/18/2025</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14" name="Tijdelijke aanduiding voor tekst 13">
            <a:extLst>
              <a:ext uri="{FF2B5EF4-FFF2-40B4-BE49-F238E27FC236}">
                <a16:creationId xmlns:a16="http://schemas.microsoft.com/office/drawing/2014/main" id="{CE04E62B-DFE8-49C6-BCEC-A19BF0599890}"/>
              </a:ext>
            </a:extLst>
          </p:cNvPr>
          <p:cNvSpPr>
            <a:spLocks noGrp="1"/>
          </p:cNvSpPr>
          <p:nvPr>
            <p:ph type="body" sz="quarter" idx="16" hasCustomPrompt="1"/>
          </p:nvPr>
        </p:nvSpPr>
        <p:spPr>
          <a:xfrm>
            <a:off x="575732" y="1881238"/>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a:ln>
            <a:solidFill>
              <a:schemeClr val="accent1"/>
            </a:solidFill>
          </a:ln>
        </p:spPr>
        <p:txBody>
          <a:bodyPr wrap="square" lIns="72000" rIns="72000" anchor="ctr" anchorCtr="0">
            <a:noAutofit/>
          </a:bodyPr>
          <a:lstStyle>
            <a:lvl1pPr marL="0" indent="0" algn="ctr">
              <a:lnSpc>
                <a:spcPct val="100000"/>
              </a:lnSpc>
              <a:spcBef>
                <a:spcPts val="0"/>
              </a:spcBef>
              <a:buNone/>
              <a:defRPr>
                <a:solidFill>
                  <a:schemeClr val="bg1"/>
                </a:solidFill>
              </a:defRPr>
            </a:lvl1pPr>
          </a:lstStyle>
          <a:p>
            <a:pPr lvl="0"/>
            <a:r>
              <a:rPr lang="en-GB"/>
              <a:t>text</a:t>
            </a:r>
          </a:p>
        </p:txBody>
      </p:sp>
      <p:sp>
        <p:nvSpPr>
          <p:cNvPr id="15" name="Tijdelijke aanduiding voor tekst 14">
            <a:extLst>
              <a:ext uri="{FF2B5EF4-FFF2-40B4-BE49-F238E27FC236}">
                <a16:creationId xmlns:a16="http://schemas.microsoft.com/office/drawing/2014/main" id="{93339D03-BA0D-439C-9AE3-76BF835F80BC}"/>
              </a:ext>
            </a:extLst>
          </p:cNvPr>
          <p:cNvSpPr>
            <a:spLocks noGrp="1"/>
          </p:cNvSpPr>
          <p:nvPr>
            <p:ph type="body" sz="quarter" idx="17" hasCustomPrompt="1"/>
          </p:nvPr>
        </p:nvSpPr>
        <p:spPr>
          <a:xfrm>
            <a:off x="3399909" y="1881238"/>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a:ln>
            <a:solidFill>
              <a:schemeClr val="accent1"/>
            </a:solidFill>
          </a:ln>
        </p:spPr>
        <p:txBody>
          <a:bodyPr wrap="square" lIns="72000" rIns="72000" anchor="ctr" anchorCtr="0">
            <a:noAutofit/>
          </a:bodyPr>
          <a:lstStyle>
            <a:lvl1pPr marL="0" indent="0" algn="ctr">
              <a:lnSpc>
                <a:spcPct val="100000"/>
              </a:lnSpc>
              <a:spcBef>
                <a:spcPts val="0"/>
              </a:spcBef>
              <a:buNone/>
              <a:defRPr>
                <a:solidFill>
                  <a:schemeClr val="bg1"/>
                </a:solidFill>
              </a:defRPr>
            </a:lvl1pPr>
          </a:lstStyle>
          <a:p>
            <a:pPr lvl="0"/>
            <a:r>
              <a:rPr lang="en-GB"/>
              <a:t>text</a:t>
            </a:r>
          </a:p>
        </p:txBody>
      </p:sp>
      <p:sp>
        <p:nvSpPr>
          <p:cNvPr id="16" name="Tijdelijke aanduiding voor tekst 15">
            <a:extLst>
              <a:ext uri="{FF2B5EF4-FFF2-40B4-BE49-F238E27FC236}">
                <a16:creationId xmlns:a16="http://schemas.microsoft.com/office/drawing/2014/main" id="{93DBC742-8E58-4623-A40E-7D2DB102CDAF}"/>
              </a:ext>
            </a:extLst>
          </p:cNvPr>
          <p:cNvSpPr>
            <a:spLocks noGrp="1"/>
          </p:cNvSpPr>
          <p:nvPr>
            <p:ph type="body" sz="quarter" idx="18" hasCustomPrompt="1"/>
          </p:nvPr>
        </p:nvSpPr>
        <p:spPr>
          <a:xfrm>
            <a:off x="6224087" y="1881238"/>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a:ln>
            <a:solidFill>
              <a:schemeClr val="accent1"/>
            </a:solidFill>
          </a:ln>
        </p:spPr>
        <p:txBody>
          <a:bodyPr wrap="square" lIns="72000" rIns="72000" anchor="ctr" anchorCtr="0">
            <a:noAutofit/>
          </a:bodyPr>
          <a:lstStyle>
            <a:lvl1pPr marL="0" indent="0" algn="ctr">
              <a:lnSpc>
                <a:spcPct val="100000"/>
              </a:lnSpc>
              <a:spcBef>
                <a:spcPts val="0"/>
              </a:spcBef>
              <a:buNone/>
              <a:defRPr>
                <a:solidFill>
                  <a:schemeClr val="bg1"/>
                </a:solidFill>
              </a:defRPr>
            </a:lvl1pPr>
          </a:lstStyle>
          <a:p>
            <a:pPr lvl="0"/>
            <a:r>
              <a:rPr lang="en-GB"/>
              <a:t>text</a:t>
            </a:r>
          </a:p>
        </p:txBody>
      </p:sp>
      <p:sp>
        <p:nvSpPr>
          <p:cNvPr id="17" name="Tijdelijke aanduiding voor tekst 16">
            <a:extLst>
              <a:ext uri="{FF2B5EF4-FFF2-40B4-BE49-F238E27FC236}">
                <a16:creationId xmlns:a16="http://schemas.microsoft.com/office/drawing/2014/main" id="{8B53FD86-423F-4F36-AC16-3D6CA052A00B}"/>
              </a:ext>
            </a:extLst>
          </p:cNvPr>
          <p:cNvSpPr>
            <a:spLocks noGrp="1"/>
          </p:cNvSpPr>
          <p:nvPr>
            <p:ph type="body" sz="quarter" idx="21" hasCustomPrompt="1"/>
          </p:nvPr>
        </p:nvSpPr>
        <p:spPr>
          <a:xfrm>
            <a:off x="9048265" y="1881238"/>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a:ln>
            <a:solidFill>
              <a:schemeClr val="accent1"/>
            </a:solidFill>
          </a:ln>
        </p:spPr>
        <p:txBody>
          <a:bodyPr wrap="square" lIns="72000" rIns="72000" anchor="ctr" anchorCtr="0">
            <a:noAutofit/>
          </a:bodyPr>
          <a:lstStyle>
            <a:lvl1pPr marL="0" indent="0" algn="ctr">
              <a:lnSpc>
                <a:spcPct val="100000"/>
              </a:lnSpc>
              <a:spcBef>
                <a:spcPts val="0"/>
              </a:spcBef>
              <a:buNone/>
              <a:defRPr>
                <a:solidFill>
                  <a:schemeClr val="bg1"/>
                </a:solidFill>
              </a:defRPr>
            </a:lvl1pPr>
          </a:lstStyle>
          <a:p>
            <a:pPr lvl="0"/>
            <a:r>
              <a:rPr lang="en-GB"/>
              <a:t>text</a:t>
            </a:r>
          </a:p>
        </p:txBody>
      </p:sp>
    </p:spTree>
    <p:extLst>
      <p:ext uri="{BB962C8B-B14F-4D97-AF65-F5344CB8AC3E}">
        <p14:creationId xmlns:p14="http://schemas.microsoft.com/office/powerpoint/2010/main" val="1320614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3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4" name="Date Placeholder 3"/>
          <p:cNvSpPr>
            <a:spLocks noGrp="1"/>
          </p:cNvSpPr>
          <p:nvPr>
            <p:ph type="dt" sz="half" idx="10"/>
          </p:nvPr>
        </p:nvSpPr>
        <p:spPr/>
        <p:txBody>
          <a:bodyPr/>
          <a:lstStyle/>
          <a:p>
            <a:fld id="{74849415-00E6-4532-AAC0-64258CA6975B}" type="datetime1">
              <a:rPr lang="en-US" smtClean="0"/>
              <a:t>4/18/2025</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7" name="Tijdelijke aanduiding voor afbeelding 7">
            <a:extLst>
              <a:ext uri="{FF2B5EF4-FFF2-40B4-BE49-F238E27FC236}">
                <a16:creationId xmlns:a16="http://schemas.microsoft.com/office/drawing/2014/main" id="{65B18880-82CC-4AC0-9FD4-73A347590E4A}"/>
              </a:ext>
            </a:extLst>
          </p:cNvPr>
          <p:cNvSpPr>
            <a:spLocks noGrp="1"/>
          </p:cNvSpPr>
          <p:nvPr>
            <p:ph type="pic" sz="quarter" idx="13" hasCustomPrompt="1"/>
          </p:nvPr>
        </p:nvSpPr>
        <p:spPr>
          <a:xfrm>
            <a:off x="575733" y="1881237"/>
            <a:ext cx="3441600" cy="2760000"/>
          </a:xfrm>
          <a:solidFill>
            <a:schemeClr val="tx1">
              <a:lumMod val="20000"/>
              <a:lumOff val="80000"/>
            </a:schemeClr>
          </a:solidFill>
        </p:spPr>
        <p:txBody>
          <a:bodyPr/>
          <a:lstStyle>
            <a:lvl1pPr marL="0" indent="0" algn="ctr">
              <a:buNone/>
              <a:defRPr>
                <a:solidFill>
                  <a:schemeClr val="accent1"/>
                </a:solidFill>
              </a:defRPr>
            </a:lvl1pPr>
          </a:lstStyle>
          <a:p>
            <a:r>
              <a:rPr lang="en-GB"/>
              <a:t>Image</a:t>
            </a:r>
          </a:p>
        </p:txBody>
      </p:sp>
      <p:sp>
        <p:nvSpPr>
          <p:cNvPr id="8" name="Tijdelijke aanduiding voor afbeelding 7">
            <a:extLst>
              <a:ext uri="{FF2B5EF4-FFF2-40B4-BE49-F238E27FC236}">
                <a16:creationId xmlns:a16="http://schemas.microsoft.com/office/drawing/2014/main" id="{F21877E9-C5B9-480D-8B19-E3F131AE2D94}"/>
              </a:ext>
            </a:extLst>
          </p:cNvPr>
          <p:cNvSpPr>
            <a:spLocks noGrp="1"/>
          </p:cNvSpPr>
          <p:nvPr>
            <p:ph type="pic" sz="quarter" idx="14" hasCustomPrompt="1"/>
          </p:nvPr>
        </p:nvSpPr>
        <p:spPr>
          <a:xfrm>
            <a:off x="4375201" y="1881237"/>
            <a:ext cx="3441600" cy="2760000"/>
          </a:xfrm>
          <a:solidFill>
            <a:schemeClr val="tx1">
              <a:lumMod val="20000"/>
              <a:lumOff val="80000"/>
            </a:schemeClr>
          </a:solidFill>
        </p:spPr>
        <p:txBody>
          <a:bodyPr/>
          <a:lstStyle>
            <a:lvl1pPr marL="0" indent="0" algn="ctr">
              <a:buNone/>
              <a:defRPr>
                <a:solidFill>
                  <a:schemeClr val="accent1"/>
                </a:solidFill>
              </a:defRPr>
            </a:lvl1pPr>
          </a:lstStyle>
          <a:p>
            <a:r>
              <a:rPr lang="en-GB"/>
              <a:t>Image</a:t>
            </a:r>
          </a:p>
        </p:txBody>
      </p:sp>
      <p:sp>
        <p:nvSpPr>
          <p:cNvPr id="9" name="Tijdelijke aanduiding voor afbeelding 7">
            <a:extLst>
              <a:ext uri="{FF2B5EF4-FFF2-40B4-BE49-F238E27FC236}">
                <a16:creationId xmlns:a16="http://schemas.microsoft.com/office/drawing/2014/main" id="{41A0AB49-F1DD-4324-B0FE-DC835BD3B2FB}"/>
              </a:ext>
            </a:extLst>
          </p:cNvPr>
          <p:cNvSpPr>
            <a:spLocks noGrp="1"/>
          </p:cNvSpPr>
          <p:nvPr>
            <p:ph type="pic" sz="quarter" idx="15" hasCustomPrompt="1"/>
          </p:nvPr>
        </p:nvSpPr>
        <p:spPr>
          <a:xfrm>
            <a:off x="8174669" y="1881237"/>
            <a:ext cx="3441600" cy="2760000"/>
          </a:xfrm>
          <a:solidFill>
            <a:schemeClr val="tx1">
              <a:lumMod val="20000"/>
              <a:lumOff val="80000"/>
            </a:schemeClr>
          </a:solidFill>
        </p:spPr>
        <p:txBody>
          <a:bodyPr/>
          <a:lstStyle>
            <a:lvl1pPr marL="0" indent="0" algn="ctr">
              <a:buNone/>
              <a:defRPr>
                <a:solidFill>
                  <a:schemeClr val="accent1"/>
                </a:solidFill>
              </a:defRPr>
            </a:lvl1pPr>
          </a:lstStyle>
          <a:p>
            <a:r>
              <a:rPr lang="en-GB"/>
              <a:t>Image</a:t>
            </a:r>
          </a:p>
        </p:txBody>
      </p:sp>
      <p:sp>
        <p:nvSpPr>
          <p:cNvPr id="14" name="Tijdelijke aanduiding voor tekst 13">
            <a:extLst>
              <a:ext uri="{FF2B5EF4-FFF2-40B4-BE49-F238E27FC236}">
                <a16:creationId xmlns:a16="http://schemas.microsoft.com/office/drawing/2014/main" id="{CE04E62B-DFE8-49C6-BCEC-A19BF0599890}"/>
              </a:ext>
            </a:extLst>
          </p:cNvPr>
          <p:cNvSpPr>
            <a:spLocks noGrp="1"/>
          </p:cNvSpPr>
          <p:nvPr>
            <p:ph type="body" sz="quarter" idx="16" hasCustomPrompt="1"/>
          </p:nvPr>
        </p:nvSpPr>
        <p:spPr>
          <a:xfrm>
            <a:off x="575732" y="4640555"/>
            <a:ext cx="34416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lIns="72000" rIns="72000" anchor="ctr" anchorCtr="0">
            <a:noAutofit/>
          </a:bodyPr>
          <a:lstStyle>
            <a:lvl1pPr marL="0" indent="0" algn="ctr">
              <a:lnSpc>
                <a:spcPct val="100000"/>
              </a:lnSpc>
              <a:spcBef>
                <a:spcPts val="0"/>
              </a:spcBef>
              <a:buNone/>
              <a:defRPr>
                <a:solidFill>
                  <a:schemeClr val="bg1"/>
                </a:solidFill>
              </a:defRPr>
            </a:lvl1pPr>
          </a:lstStyle>
          <a:p>
            <a:pPr lvl="0"/>
            <a:r>
              <a:rPr lang="en-GB"/>
              <a:t>text</a:t>
            </a:r>
          </a:p>
        </p:txBody>
      </p:sp>
      <p:sp>
        <p:nvSpPr>
          <p:cNvPr id="15" name="Tijdelijke aanduiding voor tekst 14">
            <a:extLst>
              <a:ext uri="{FF2B5EF4-FFF2-40B4-BE49-F238E27FC236}">
                <a16:creationId xmlns:a16="http://schemas.microsoft.com/office/drawing/2014/main" id="{93339D03-BA0D-439C-9AE3-76BF835F80BC}"/>
              </a:ext>
            </a:extLst>
          </p:cNvPr>
          <p:cNvSpPr>
            <a:spLocks noGrp="1"/>
          </p:cNvSpPr>
          <p:nvPr>
            <p:ph type="body" sz="quarter" idx="17" hasCustomPrompt="1"/>
          </p:nvPr>
        </p:nvSpPr>
        <p:spPr>
          <a:xfrm>
            <a:off x="4375201" y="4640555"/>
            <a:ext cx="34416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lIns="72000" rIns="72000" anchor="ctr" anchorCtr="0">
            <a:noAutofit/>
          </a:bodyPr>
          <a:lstStyle>
            <a:lvl1pPr marL="0" indent="0" algn="ctr">
              <a:lnSpc>
                <a:spcPct val="100000"/>
              </a:lnSpc>
              <a:spcBef>
                <a:spcPts val="0"/>
              </a:spcBef>
              <a:buNone/>
              <a:defRPr>
                <a:solidFill>
                  <a:schemeClr val="bg1"/>
                </a:solidFill>
              </a:defRPr>
            </a:lvl1pPr>
          </a:lstStyle>
          <a:p>
            <a:pPr lvl="0"/>
            <a:r>
              <a:rPr lang="en-GB"/>
              <a:t>text</a:t>
            </a:r>
          </a:p>
        </p:txBody>
      </p:sp>
      <p:sp>
        <p:nvSpPr>
          <p:cNvPr id="16" name="Tijdelijke aanduiding voor tekst 15">
            <a:extLst>
              <a:ext uri="{FF2B5EF4-FFF2-40B4-BE49-F238E27FC236}">
                <a16:creationId xmlns:a16="http://schemas.microsoft.com/office/drawing/2014/main" id="{93DBC742-8E58-4623-A40E-7D2DB102CDAF}"/>
              </a:ext>
            </a:extLst>
          </p:cNvPr>
          <p:cNvSpPr>
            <a:spLocks noGrp="1"/>
          </p:cNvSpPr>
          <p:nvPr>
            <p:ph type="body" sz="quarter" idx="18" hasCustomPrompt="1"/>
          </p:nvPr>
        </p:nvSpPr>
        <p:spPr>
          <a:xfrm>
            <a:off x="8174669" y="4640555"/>
            <a:ext cx="34416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lIns="72000" rIns="72000" anchor="ctr" anchorCtr="0">
            <a:noAutofit/>
          </a:bodyPr>
          <a:lstStyle>
            <a:lvl1pPr marL="0" indent="0" algn="ctr">
              <a:lnSpc>
                <a:spcPct val="100000"/>
              </a:lnSpc>
              <a:spcBef>
                <a:spcPts val="0"/>
              </a:spcBef>
              <a:buNone/>
              <a:defRPr>
                <a:solidFill>
                  <a:schemeClr val="bg1"/>
                </a:solidFill>
              </a:defRPr>
            </a:lvl1pPr>
          </a:lstStyle>
          <a:p>
            <a:pPr lvl="0"/>
            <a:r>
              <a:rPr lang="en-GB"/>
              <a:t>text</a:t>
            </a:r>
          </a:p>
        </p:txBody>
      </p:sp>
    </p:spTree>
    <p:extLst>
      <p:ext uri="{BB962C8B-B14F-4D97-AF65-F5344CB8AC3E}">
        <p14:creationId xmlns:p14="http://schemas.microsoft.com/office/powerpoint/2010/main" val="2321757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4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4" name="Date Placeholder 3"/>
          <p:cNvSpPr>
            <a:spLocks noGrp="1"/>
          </p:cNvSpPr>
          <p:nvPr>
            <p:ph type="dt" sz="half" idx="10"/>
          </p:nvPr>
        </p:nvSpPr>
        <p:spPr/>
        <p:txBody>
          <a:bodyPr/>
          <a:lstStyle/>
          <a:p>
            <a:fld id="{1E868D9A-ADE9-49B1-8138-04EF86F1676A}" type="datetime1">
              <a:rPr lang="en-US" smtClean="0"/>
              <a:t>4/18/2025</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7" name="Tijdelijke aanduiding voor afbeelding 7">
            <a:extLst>
              <a:ext uri="{FF2B5EF4-FFF2-40B4-BE49-F238E27FC236}">
                <a16:creationId xmlns:a16="http://schemas.microsoft.com/office/drawing/2014/main" id="{65B18880-82CC-4AC0-9FD4-73A347590E4A}"/>
              </a:ext>
            </a:extLst>
          </p:cNvPr>
          <p:cNvSpPr>
            <a:spLocks noGrp="1"/>
          </p:cNvSpPr>
          <p:nvPr>
            <p:ph type="pic" sz="quarter" idx="13" hasCustomPrompt="1"/>
          </p:nvPr>
        </p:nvSpPr>
        <p:spPr>
          <a:xfrm>
            <a:off x="575733" y="1881237"/>
            <a:ext cx="2568000" cy="2760000"/>
          </a:xfrm>
          <a:solidFill>
            <a:schemeClr val="tx1">
              <a:lumMod val="20000"/>
              <a:lumOff val="80000"/>
            </a:schemeClr>
          </a:solidFill>
        </p:spPr>
        <p:txBody>
          <a:bodyPr/>
          <a:lstStyle>
            <a:lvl1pPr marL="0" indent="0" algn="ctr">
              <a:buNone/>
              <a:defRPr>
                <a:solidFill>
                  <a:schemeClr val="accent1"/>
                </a:solidFill>
              </a:defRPr>
            </a:lvl1pPr>
          </a:lstStyle>
          <a:p>
            <a:r>
              <a:rPr lang="en-GB"/>
              <a:t>Image</a:t>
            </a:r>
          </a:p>
        </p:txBody>
      </p:sp>
      <p:sp>
        <p:nvSpPr>
          <p:cNvPr id="8" name="Tijdelijke aanduiding voor afbeelding 7">
            <a:extLst>
              <a:ext uri="{FF2B5EF4-FFF2-40B4-BE49-F238E27FC236}">
                <a16:creationId xmlns:a16="http://schemas.microsoft.com/office/drawing/2014/main" id="{F21877E9-C5B9-480D-8B19-E3F131AE2D94}"/>
              </a:ext>
            </a:extLst>
          </p:cNvPr>
          <p:cNvSpPr>
            <a:spLocks noGrp="1"/>
          </p:cNvSpPr>
          <p:nvPr>
            <p:ph type="pic" sz="quarter" idx="14" hasCustomPrompt="1"/>
          </p:nvPr>
        </p:nvSpPr>
        <p:spPr>
          <a:xfrm>
            <a:off x="3399911" y="1881237"/>
            <a:ext cx="2568000" cy="2760000"/>
          </a:xfrm>
          <a:solidFill>
            <a:schemeClr val="tx1">
              <a:lumMod val="20000"/>
              <a:lumOff val="80000"/>
            </a:schemeClr>
          </a:solidFill>
        </p:spPr>
        <p:txBody>
          <a:bodyPr/>
          <a:lstStyle>
            <a:lvl1pPr marL="0" indent="0" algn="ctr">
              <a:buNone/>
              <a:defRPr>
                <a:solidFill>
                  <a:schemeClr val="accent1"/>
                </a:solidFill>
              </a:defRPr>
            </a:lvl1pPr>
          </a:lstStyle>
          <a:p>
            <a:r>
              <a:rPr lang="en-GB"/>
              <a:t>Image</a:t>
            </a:r>
          </a:p>
        </p:txBody>
      </p:sp>
      <p:sp>
        <p:nvSpPr>
          <p:cNvPr id="9" name="Tijdelijke aanduiding voor afbeelding 7">
            <a:extLst>
              <a:ext uri="{FF2B5EF4-FFF2-40B4-BE49-F238E27FC236}">
                <a16:creationId xmlns:a16="http://schemas.microsoft.com/office/drawing/2014/main" id="{41A0AB49-F1DD-4324-B0FE-DC835BD3B2FB}"/>
              </a:ext>
            </a:extLst>
          </p:cNvPr>
          <p:cNvSpPr>
            <a:spLocks noGrp="1"/>
          </p:cNvSpPr>
          <p:nvPr>
            <p:ph type="pic" sz="quarter" idx="15" hasCustomPrompt="1"/>
          </p:nvPr>
        </p:nvSpPr>
        <p:spPr>
          <a:xfrm>
            <a:off x="6224088" y="1881237"/>
            <a:ext cx="2568000" cy="2760000"/>
          </a:xfrm>
          <a:solidFill>
            <a:schemeClr val="tx1">
              <a:lumMod val="20000"/>
              <a:lumOff val="80000"/>
            </a:schemeClr>
          </a:solidFill>
        </p:spPr>
        <p:txBody>
          <a:bodyPr/>
          <a:lstStyle>
            <a:lvl1pPr marL="0" indent="0" algn="ctr">
              <a:buNone/>
              <a:defRPr>
                <a:solidFill>
                  <a:schemeClr val="accent1"/>
                </a:solidFill>
              </a:defRPr>
            </a:lvl1pPr>
          </a:lstStyle>
          <a:p>
            <a:r>
              <a:rPr lang="en-GB"/>
              <a:t>Image</a:t>
            </a:r>
          </a:p>
        </p:txBody>
      </p:sp>
      <p:sp>
        <p:nvSpPr>
          <p:cNvPr id="14" name="Tijdelijke aanduiding voor tekst 13">
            <a:extLst>
              <a:ext uri="{FF2B5EF4-FFF2-40B4-BE49-F238E27FC236}">
                <a16:creationId xmlns:a16="http://schemas.microsoft.com/office/drawing/2014/main" id="{CE04E62B-DFE8-49C6-BCEC-A19BF0599890}"/>
              </a:ext>
            </a:extLst>
          </p:cNvPr>
          <p:cNvSpPr>
            <a:spLocks noGrp="1"/>
          </p:cNvSpPr>
          <p:nvPr>
            <p:ph type="body" sz="quarter" idx="16" hasCustomPrompt="1"/>
          </p:nvPr>
        </p:nvSpPr>
        <p:spPr>
          <a:xfrm>
            <a:off x="575732" y="4640555"/>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lIns="72000" rIns="72000" anchor="ctr" anchorCtr="0">
            <a:noAutofit/>
          </a:bodyPr>
          <a:lstStyle>
            <a:lvl1pPr marL="0" indent="0" algn="ctr">
              <a:lnSpc>
                <a:spcPct val="100000"/>
              </a:lnSpc>
              <a:spcBef>
                <a:spcPts val="0"/>
              </a:spcBef>
              <a:buNone/>
              <a:defRPr>
                <a:solidFill>
                  <a:schemeClr val="bg1"/>
                </a:solidFill>
              </a:defRPr>
            </a:lvl1pPr>
          </a:lstStyle>
          <a:p>
            <a:pPr lvl="0"/>
            <a:r>
              <a:rPr lang="en-GB"/>
              <a:t>text</a:t>
            </a:r>
          </a:p>
        </p:txBody>
      </p:sp>
      <p:sp>
        <p:nvSpPr>
          <p:cNvPr id="15" name="Tijdelijke aanduiding voor tekst 14">
            <a:extLst>
              <a:ext uri="{FF2B5EF4-FFF2-40B4-BE49-F238E27FC236}">
                <a16:creationId xmlns:a16="http://schemas.microsoft.com/office/drawing/2014/main" id="{93339D03-BA0D-439C-9AE3-76BF835F80BC}"/>
              </a:ext>
            </a:extLst>
          </p:cNvPr>
          <p:cNvSpPr>
            <a:spLocks noGrp="1"/>
          </p:cNvSpPr>
          <p:nvPr>
            <p:ph type="body" sz="quarter" idx="17" hasCustomPrompt="1"/>
          </p:nvPr>
        </p:nvSpPr>
        <p:spPr>
          <a:xfrm>
            <a:off x="3399909" y="4640555"/>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lIns="72000" rIns="72000" anchor="ctr" anchorCtr="0">
            <a:noAutofit/>
          </a:bodyPr>
          <a:lstStyle>
            <a:lvl1pPr marL="0" indent="0" algn="ctr">
              <a:lnSpc>
                <a:spcPct val="100000"/>
              </a:lnSpc>
              <a:spcBef>
                <a:spcPts val="0"/>
              </a:spcBef>
              <a:buNone/>
              <a:defRPr>
                <a:solidFill>
                  <a:schemeClr val="bg1"/>
                </a:solidFill>
              </a:defRPr>
            </a:lvl1pPr>
          </a:lstStyle>
          <a:p>
            <a:pPr lvl="0"/>
            <a:r>
              <a:rPr lang="en-GB"/>
              <a:t>text</a:t>
            </a:r>
          </a:p>
        </p:txBody>
      </p:sp>
      <p:sp>
        <p:nvSpPr>
          <p:cNvPr id="16" name="Tijdelijke aanduiding voor tekst 15">
            <a:extLst>
              <a:ext uri="{FF2B5EF4-FFF2-40B4-BE49-F238E27FC236}">
                <a16:creationId xmlns:a16="http://schemas.microsoft.com/office/drawing/2014/main" id="{93DBC742-8E58-4623-A40E-7D2DB102CDAF}"/>
              </a:ext>
            </a:extLst>
          </p:cNvPr>
          <p:cNvSpPr>
            <a:spLocks noGrp="1"/>
          </p:cNvSpPr>
          <p:nvPr>
            <p:ph type="body" sz="quarter" idx="18" hasCustomPrompt="1"/>
          </p:nvPr>
        </p:nvSpPr>
        <p:spPr>
          <a:xfrm>
            <a:off x="6224087" y="4640555"/>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lIns="72000" rIns="72000" anchor="ctr" anchorCtr="0">
            <a:noAutofit/>
          </a:bodyPr>
          <a:lstStyle>
            <a:lvl1pPr marL="0" indent="0" algn="ctr">
              <a:lnSpc>
                <a:spcPct val="100000"/>
              </a:lnSpc>
              <a:spcBef>
                <a:spcPts val="0"/>
              </a:spcBef>
              <a:buNone/>
              <a:defRPr>
                <a:solidFill>
                  <a:schemeClr val="bg1"/>
                </a:solidFill>
              </a:defRPr>
            </a:lvl1pPr>
          </a:lstStyle>
          <a:p>
            <a:pPr lvl="0"/>
            <a:r>
              <a:rPr lang="en-GB"/>
              <a:t>text</a:t>
            </a:r>
          </a:p>
        </p:txBody>
      </p:sp>
      <p:sp>
        <p:nvSpPr>
          <p:cNvPr id="13" name="Tijdelijke aanduiding voor afbeelding 7">
            <a:extLst>
              <a:ext uri="{FF2B5EF4-FFF2-40B4-BE49-F238E27FC236}">
                <a16:creationId xmlns:a16="http://schemas.microsoft.com/office/drawing/2014/main" id="{9014C87B-4A9B-46A5-92E7-D035D3B01B50}"/>
              </a:ext>
            </a:extLst>
          </p:cNvPr>
          <p:cNvSpPr>
            <a:spLocks noGrp="1"/>
          </p:cNvSpPr>
          <p:nvPr>
            <p:ph type="pic" sz="quarter" idx="20" hasCustomPrompt="1"/>
          </p:nvPr>
        </p:nvSpPr>
        <p:spPr>
          <a:xfrm>
            <a:off x="9048265" y="1881237"/>
            <a:ext cx="2568000" cy="2760000"/>
          </a:xfrm>
          <a:solidFill>
            <a:schemeClr val="tx1">
              <a:lumMod val="20000"/>
              <a:lumOff val="80000"/>
            </a:schemeClr>
          </a:solidFill>
        </p:spPr>
        <p:txBody>
          <a:bodyPr/>
          <a:lstStyle>
            <a:lvl1pPr marL="0" indent="0" algn="ctr">
              <a:buNone/>
              <a:defRPr>
                <a:solidFill>
                  <a:schemeClr val="accent1"/>
                </a:solidFill>
              </a:defRPr>
            </a:lvl1pPr>
          </a:lstStyle>
          <a:p>
            <a:r>
              <a:rPr lang="en-GB"/>
              <a:t>Image</a:t>
            </a:r>
          </a:p>
        </p:txBody>
      </p:sp>
      <p:sp>
        <p:nvSpPr>
          <p:cNvPr id="17" name="Tijdelijke aanduiding voor tekst 16">
            <a:extLst>
              <a:ext uri="{FF2B5EF4-FFF2-40B4-BE49-F238E27FC236}">
                <a16:creationId xmlns:a16="http://schemas.microsoft.com/office/drawing/2014/main" id="{8B53FD86-423F-4F36-AC16-3D6CA052A00B}"/>
              </a:ext>
            </a:extLst>
          </p:cNvPr>
          <p:cNvSpPr>
            <a:spLocks noGrp="1"/>
          </p:cNvSpPr>
          <p:nvPr>
            <p:ph type="body" sz="quarter" idx="21" hasCustomPrompt="1"/>
          </p:nvPr>
        </p:nvSpPr>
        <p:spPr>
          <a:xfrm>
            <a:off x="9048265" y="4640555"/>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lIns="72000" rIns="72000" anchor="ctr" anchorCtr="0">
            <a:noAutofit/>
          </a:bodyPr>
          <a:lstStyle>
            <a:lvl1pPr marL="0" indent="0" algn="ctr">
              <a:lnSpc>
                <a:spcPct val="100000"/>
              </a:lnSpc>
              <a:spcBef>
                <a:spcPts val="0"/>
              </a:spcBef>
              <a:buNone/>
              <a:defRPr>
                <a:solidFill>
                  <a:schemeClr val="bg1"/>
                </a:solidFill>
              </a:defRPr>
            </a:lvl1pPr>
          </a:lstStyle>
          <a:p>
            <a:pPr lvl="0"/>
            <a:r>
              <a:rPr lang="en-GB"/>
              <a:t>text</a:t>
            </a:r>
          </a:p>
        </p:txBody>
      </p:sp>
    </p:spTree>
    <p:extLst>
      <p:ext uri="{BB962C8B-B14F-4D97-AF65-F5344CB8AC3E}">
        <p14:creationId xmlns:p14="http://schemas.microsoft.com/office/powerpoint/2010/main" val="2718646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324111"/>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1_Title, object, image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5735" y="548219"/>
            <a:ext cx="5257804" cy="1036965"/>
          </a:xfrm>
        </p:spPr>
        <p:txBody>
          <a:bodyPr/>
          <a:lstStyle/>
          <a:p>
            <a:r>
              <a:rPr lang="en-US"/>
              <a:t>Click to edit Master title style</a:t>
            </a:r>
          </a:p>
        </p:txBody>
      </p:sp>
      <p:sp>
        <p:nvSpPr>
          <p:cNvPr id="3" name="Content Placeholder 2"/>
          <p:cNvSpPr>
            <a:spLocks noGrp="1"/>
          </p:cNvSpPr>
          <p:nvPr>
            <p:ph idx="1" hasCustomPrompt="1"/>
          </p:nvPr>
        </p:nvSpPr>
        <p:spPr>
          <a:xfrm>
            <a:off x="580294" y="1701801"/>
            <a:ext cx="5257804" cy="41761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379639" y="6491401"/>
            <a:ext cx="458459" cy="102657"/>
          </a:xfrm>
        </p:spPr>
        <p:txBody>
          <a:bodyPr/>
          <a:lstStyle/>
          <a:p>
            <a:fld id="{51604973-F28F-4A2D-9CCE-5FD5B9F19C17}" type="datetime1">
              <a:rPr lang="en-US" smtClean="0"/>
              <a:t>4/1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sp>
        <p:nvSpPr>
          <p:cNvPr id="10" name="Tijdelijke aanduiding voor afbeelding 9">
            <a:extLst>
              <a:ext uri="{FF2B5EF4-FFF2-40B4-BE49-F238E27FC236}">
                <a16:creationId xmlns:a16="http://schemas.microsoft.com/office/drawing/2014/main" id="{DFCEA526-81FA-4002-B45C-BC3F7FFAF64E}"/>
              </a:ext>
            </a:extLst>
          </p:cNvPr>
          <p:cNvSpPr>
            <a:spLocks noGrp="1"/>
          </p:cNvSpPr>
          <p:nvPr>
            <p:ph type="pic" sz="quarter" idx="14" hasCustomPrompt="1"/>
          </p:nvPr>
        </p:nvSpPr>
        <p:spPr>
          <a:xfrm>
            <a:off x="6095999" y="0"/>
            <a:ext cx="6096000" cy="5877984"/>
          </a:xfrm>
          <a:custGeom>
            <a:avLst/>
            <a:gdLst>
              <a:gd name="connsiteX0" fmla="*/ 0 w 4572000"/>
              <a:gd name="connsiteY0" fmla="*/ 0 h 4408488"/>
              <a:gd name="connsiteX1" fmla="*/ 4572000 w 4572000"/>
              <a:gd name="connsiteY1" fmla="*/ 0 h 4408488"/>
              <a:gd name="connsiteX2" fmla="*/ 4572000 w 4572000"/>
              <a:gd name="connsiteY2" fmla="*/ 4408488 h 4408488"/>
              <a:gd name="connsiteX3" fmla="*/ 734763 w 4572000"/>
              <a:gd name="connsiteY3" fmla="*/ 4408488 h 4408488"/>
              <a:gd name="connsiteX4" fmla="*/ 0 w 4572000"/>
              <a:gd name="connsiteY4" fmla="*/ 3673725 h 4408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0" h="4408488">
                <a:moveTo>
                  <a:pt x="0" y="0"/>
                </a:moveTo>
                <a:lnTo>
                  <a:pt x="4572000" y="0"/>
                </a:lnTo>
                <a:lnTo>
                  <a:pt x="4572000" y="4408488"/>
                </a:lnTo>
                <a:lnTo>
                  <a:pt x="734763" y="4408488"/>
                </a:lnTo>
                <a:cubicBezTo>
                  <a:pt x="328965" y="4408488"/>
                  <a:pt x="0" y="4079523"/>
                  <a:pt x="0" y="3673725"/>
                </a:cubicBezTo>
                <a:close/>
              </a:path>
            </a:pathLst>
          </a:custGeom>
          <a:solidFill>
            <a:schemeClr val="tx1">
              <a:lumMod val="20000"/>
              <a:lumOff val="80000"/>
            </a:schemeClr>
          </a:solidFill>
        </p:spPr>
        <p:txBody>
          <a:bodyPr wrap="square">
            <a:noAutofit/>
          </a:bodyPr>
          <a:lstStyle>
            <a:lvl1pPr marL="0" indent="0" algn="ctr">
              <a:buNone/>
              <a:defRPr>
                <a:solidFill>
                  <a:schemeClr val="accent1"/>
                </a:solidFill>
              </a:defRPr>
            </a:lvl1pPr>
          </a:lstStyle>
          <a:p>
            <a:r>
              <a:rPr lang="en-US"/>
              <a:t>Image</a:t>
            </a:r>
          </a:p>
        </p:txBody>
      </p:sp>
    </p:spTree>
    <p:extLst>
      <p:ext uri="{BB962C8B-B14F-4D97-AF65-F5344CB8AC3E}">
        <p14:creationId xmlns:p14="http://schemas.microsoft.com/office/powerpoint/2010/main" val="1490278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Box, Chart">
    <p:spTree>
      <p:nvGrpSpPr>
        <p:cNvPr id="1" name=""/>
        <p:cNvGrpSpPr/>
        <p:nvPr/>
      </p:nvGrpSpPr>
      <p:grpSpPr>
        <a:xfrm>
          <a:off x="0" y="0"/>
          <a:ext cx="0" cy="0"/>
          <a:chOff x="0" y="0"/>
          <a:chExt cx="0" cy="0"/>
        </a:xfrm>
      </p:grpSpPr>
      <p:sp>
        <p:nvSpPr>
          <p:cNvPr id="8" name="Chart Placeholder">
            <a:extLst>
              <a:ext uri="{FF2B5EF4-FFF2-40B4-BE49-F238E27FC236}">
                <a16:creationId xmlns:a16="http://schemas.microsoft.com/office/drawing/2014/main" id="{003A30D7-BC0E-C897-3D0F-8201B7253E73}"/>
              </a:ext>
            </a:extLst>
          </p:cNvPr>
          <p:cNvSpPr>
            <a:spLocks noGrp="1"/>
          </p:cNvSpPr>
          <p:nvPr>
            <p:ph type="chart" sz="quarter" idx="13" hasCustomPrompt="1"/>
            <p:custDataLst>
              <p:tags r:id="rId1"/>
            </p:custDataLst>
          </p:nvPr>
        </p:nvSpPr>
        <p:spPr>
          <a:xfrm>
            <a:off x="525600" y="1934351"/>
            <a:ext cx="11160000" cy="3942575"/>
          </a:xfrm>
          <a:solidFill>
            <a:srgbClr val="F2F2F2"/>
          </a:solidFill>
        </p:spPr>
        <p:txBody>
          <a:bodyPr anchor="ctr" anchorCtr="0">
            <a:noAutofit/>
          </a:bodyPr>
          <a:lstStyle>
            <a:lvl1pPr marL="0" indent="0" algn="ctr">
              <a:buNone/>
              <a:defRPr sz="1200">
                <a:latin typeface="Arial" panose="020B0604020202020204" pitchFamily="34" charset="0"/>
                <a:cs typeface="Arial" panose="020B0604020202020204" pitchFamily="34" charset="0"/>
              </a:defRPr>
            </a:lvl1pPr>
          </a:lstStyle>
          <a:p>
            <a:pPr lvl="0"/>
            <a:r>
              <a:rPr lang="en-US"/>
              <a:t>Pick a chart / table from the chart.ppt document.</a:t>
            </a:r>
          </a:p>
          <a:p>
            <a:pPr lvl="0"/>
            <a:r>
              <a:rPr lang="en-US"/>
              <a:t>These have been pre-defined so they have the correct font &amp; color usage.</a:t>
            </a:r>
          </a:p>
          <a:p>
            <a:pPr lvl="0"/>
            <a:r>
              <a:rPr lang="nl-NL"/>
              <a:t>Copy/paste it into this document.</a:t>
            </a:r>
          </a:p>
          <a:p>
            <a:pPr lvl="0"/>
            <a:r>
              <a:rPr lang="nl-NL"/>
              <a:t>Make sure it fits (exactly) within the grey area, just resize the outer edges of the chart/table to fit.</a:t>
            </a:r>
          </a:p>
          <a:p>
            <a:pPr lvl="0"/>
            <a:r>
              <a:rPr lang="nl-NL" err="1"/>
              <a:t>Once applied, move the chart to the side and make this box white so you don’t see it anymore.</a:t>
            </a:r>
            <a:endParaRPr lang="en-US"/>
          </a:p>
        </p:txBody>
      </p:sp>
      <p:sp>
        <p:nvSpPr>
          <p:cNvPr id="5" name="Title">
            <a:extLst>
              <a:ext uri="{FF2B5EF4-FFF2-40B4-BE49-F238E27FC236}">
                <a16:creationId xmlns:a16="http://schemas.microsoft.com/office/drawing/2014/main" id="{BE4AFF37-9413-2A9F-5CF3-A218AF33FAC9}"/>
              </a:ext>
            </a:extLst>
          </p:cNvPr>
          <p:cNvSpPr>
            <a:spLocks noGrp="1"/>
          </p:cNvSpPr>
          <p:nvPr>
            <p:ph type="title"/>
            <p:custDataLst>
              <p:tags r:id="rId2"/>
            </p:custDataLst>
          </p:nvPr>
        </p:nvSpPr>
        <p:spPr/>
        <p:txBody>
          <a:bodyPr/>
          <a:lstStyle/>
          <a:p>
            <a:r>
              <a:rPr lang="en-US"/>
              <a:t>Click to edit Master title style</a:t>
            </a:r>
            <a:endParaRPr lang="en-NL"/>
          </a:p>
        </p:txBody>
      </p:sp>
      <p:sp>
        <p:nvSpPr>
          <p:cNvPr id="11" name="Text Placeholder 3">
            <a:extLst>
              <a:ext uri="{FF2B5EF4-FFF2-40B4-BE49-F238E27FC236}">
                <a16:creationId xmlns:a16="http://schemas.microsoft.com/office/drawing/2014/main" id="{31E9DA35-863D-88A5-3F4C-5812378C3F5E}"/>
              </a:ext>
            </a:extLst>
          </p:cNvPr>
          <p:cNvSpPr>
            <a:spLocks noGrp="1"/>
          </p:cNvSpPr>
          <p:nvPr>
            <p:ph type="body" sz="quarter" idx="78" hasCustomPrompt="1"/>
            <p:custDataLst>
              <p:tags r:id="rId3"/>
            </p:custDataLst>
          </p:nvPr>
        </p:nvSpPr>
        <p:spPr>
          <a:xfrm>
            <a:off x="525600" y="1062001"/>
            <a:ext cx="11160000" cy="360001"/>
          </a:xfrm>
          <a:prstGeom prst="roundRect">
            <a:avLst/>
          </a:prstGeom>
          <a:solidFill>
            <a:schemeClr val="tx2"/>
          </a:solidFill>
        </p:spPr>
        <p:txBody>
          <a:bodyPr lIns="0" tIns="0" rIns="0" bIns="0" anchor="ctr"/>
          <a:lstStyle>
            <a:lvl1pPr marL="0" indent="0" algn="ctr">
              <a:lnSpc>
                <a:spcPct val="100000"/>
              </a:lnSpc>
              <a:spcBef>
                <a:spcPct val="0"/>
              </a:spcBef>
              <a:buNone/>
              <a:defRPr sz="1400" b="1" baseline="0">
                <a:solidFill>
                  <a:schemeClr val="bg1"/>
                </a:solidFill>
                <a:latin typeface="Calibri" panose="020F0502020204030204" pitchFamily="34" charset="0"/>
                <a:cs typeface="Calibri" panose="020F050202020403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Box Title</a:t>
            </a:r>
            <a:endParaRPr lang="nl-NL"/>
          </a:p>
        </p:txBody>
      </p:sp>
      <p:sp>
        <p:nvSpPr>
          <p:cNvPr id="12" name="Slide Number Placeholder">
            <a:extLst>
              <a:ext uri="{FF2B5EF4-FFF2-40B4-BE49-F238E27FC236}">
                <a16:creationId xmlns:a16="http://schemas.microsoft.com/office/drawing/2014/main" id="{9B8A1402-E3E3-253A-A00D-C59171A6EA44}"/>
              </a:ext>
            </a:extLst>
          </p:cNvPr>
          <p:cNvSpPr>
            <a:spLocks noGrp="1"/>
          </p:cNvSpPr>
          <p:nvPr>
            <p:ph type="sldNum" sz="quarter" idx="12"/>
            <p:custDataLst>
              <p:tags r:id="rId4"/>
            </p:custDataLst>
          </p:nvPr>
        </p:nvSpPr>
        <p:spPr>
          <a:xfrm>
            <a:off x="11425887" y="6215390"/>
            <a:ext cx="243656" cy="169277"/>
          </a:xfrm>
          <a:prstGeom prst="rect">
            <a:avLst/>
          </a:prstGeom>
        </p:spPr>
        <p:txBody>
          <a:bodyPr lIns="0" tIns="0" rIns="0" bIns="0" anchor="ctr"/>
          <a:lstStyle>
            <a:lvl1pPr algn="r">
              <a:defRPr sz="1100">
                <a:solidFill>
                  <a:schemeClr val="bg2"/>
                </a:solidFill>
              </a:defRPr>
            </a:lvl1pPr>
          </a:lstStyle>
          <a:p>
            <a:fld id="{D0281C21-EE02-42A0-BCF6-67BEF936A35A}" type="slidenum">
              <a:rPr lang="en-IN" smtClean="0"/>
              <a:t>‹#›</a:t>
            </a:fld>
            <a:endParaRPr lang="en-IN"/>
          </a:p>
        </p:txBody>
      </p:sp>
      <p:sp>
        <p:nvSpPr>
          <p:cNvPr id="4" name="Text Placeholder 7">
            <a:extLst>
              <a:ext uri="{FF2B5EF4-FFF2-40B4-BE49-F238E27FC236}">
                <a16:creationId xmlns:a16="http://schemas.microsoft.com/office/drawing/2014/main" id="{E889531C-FCEB-D2ED-1640-E97AA53D0AD6}"/>
              </a:ext>
            </a:extLst>
          </p:cNvPr>
          <p:cNvSpPr>
            <a:spLocks noGrp="1"/>
          </p:cNvSpPr>
          <p:nvPr>
            <p:ph type="body" sz="quarter" idx="84" hasCustomPrompt="1"/>
            <p:custDataLst>
              <p:tags r:id="rId5"/>
            </p:custDataLst>
          </p:nvPr>
        </p:nvSpPr>
        <p:spPr>
          <a:xfrm>
            <a:off x="523875" y="6119813"/>
            <a:ext cx="684000" cy="360363"/>
          </a:xfrm>
        </p:spPr>
        <p:txBody>
          <a:bodyPr/>
          <a:lstStyle>
            <a:lvl1pPr marL="0" indent="0">
              <a:buNone/>
              <a:defRPr sz="1100" b="1">
                <a:solidFill>
                  <a:schemeClr val="bg2"/>
                </a:solidFill>
              </a:defRPr>
            </a:lvl1pPr>
            <a:lvl2pPr marL="457189" indent="0">
              <a:buNone/>
              <a:defRPr b="1"/>
            </a:lvl2pPr>
            <a:lvl3pPr marL="914377" indent="0">
              <a:buNone/>
              <a:defRPr b="1"/>
            </a:lvl3pPr>
            <a:lvl4pPr marL="1371566" indent="0">
              <a:buNone/>
              <a:defRPr b="1"/>
            </a:lvl4pPr>
            <a:lvl5pPr marL="1828754" indent="0">
              <a:buNone/>
              <a:defRPr b="1"/>
            </a:lvl5pPr>
          </a:lstStyle>
          <a:p>
            <a:pPr lvl="0"/>
            <a:r>
              <a:rPr lang="en-US"/>
              <a:t>Sources:</a:t>
            </a:r>
          </a:p>
        </p:txBody>
      </p:sp>
      <p:sp>
        <p:nvSpPr>
          <p:cNvPr id="7" name="Text Placeholder 7">
            <a:extLst>
              <a:ext uri="{FF2B5EF4-FFF2-40B4-BE49-F238E27FC236}">
                <a16:creationId xmlns:a16="http://schemas.microsoft.com/office/drawing/2014/main" id="{928FC51C-D55B-5D7E-1DE0-2C3548222A76}"/>
              </a:ext>
            </a:extLst>
          </p:cNvPr>
          <p:cNvSpPr>
            <a:spLocks noGrp="1"/>
          </p:cNvSpPr>
          <p:nvPr>
            <p:ph type="body" sz="quarter" idx="85" hasCustomPrompt="1"/>
            <p:custDataLst>
              <p:tags r:id="rId6"/>
            </p:custDataLst>
          </p:nvPr>
        </p:nvSpPr>
        <p:spPr>
          <a:xfrm>
            <a:off x="1228413" y="6119813"/>
            <a:ext cx="3553451" cy="360363"/>
          </a:xfrm>
        </p:spPr>
        <p:txBody>
          <a:bodyPr/>
          <a:lstStyle>
            <a:lvl1pPr marL="0" indent="0">
              <a:buNone/>
              <a:defRPr sz="1100" b="0">
                <a:solidFill>
                  <a:schemeClr val="tx1"/>
                </a:solidFill>
              </a:defRPr>
            </a:lvl1pPr>
            <a:lvl2pPr marL="457189" indent="0">
              <a:buNone/>
              <a:defRPr b="1"/>
            </a:lvl2pPr>
            <a:lvl3pPr marL="914377" indent="0">
              <a:buNone/>
              <a:defRPr b="1"/>
            </a:lvl3pPr>
            <a:lvl4pPr marL="1371566" indent="0">
              <a:buNone/>
              <a:defRPr b="1"/>
            </a:lvl4pPr>
            <a:lvl5pPr marL="1828754" indent="0">
              <a:buNone/>
              <a:defRPr b="1"/>
            </a:lvl5pPr>
          </a:lstStyle>
          <a:p>
            <a:pPr lvl="0"/>
            <a:r>
              <a:rPr lang="it-IT"/>
              <a:t>Innova Database (click to edit)</a:t>
            </a:r>
          </a:p>
        </p:txBody>
      </p:sp>
      <p:sp>
        <p:nvSpPr>
          <p:cNvPr id="10" name="Text Placeholder 10">
            <a:extLst>
              <a:ext uri="{FF2B5EF4-FFF2-40B4-BE49-F238E27FC236}">
                <a16:creationId xmlns:a16="http://schemas.microsoft.com/office/drawing/2014/main" id="{E5913A2B-AAD4-5267-24D8-03B397025B90}"/>
              </a:ext>
            </a:extLst>
          </p:cNvPr>
          <p:cNvSpPr>
            <a:spLocks noGrp="1"/>
          </p:cNvSpPr>
          <p:nvPr>
            <p:ph type="body" sz="quarter" idx="86" hasCustomPrompt="1"/>
            <p:custDataLst>
              <p:tags r:id="rId7"/>
            </p:custDataLst>
          </p:nvPr>
        </p:nvSpPr>
        <p:spPr>
          <a:xfrm>
            <a:off x="525601" y="1506273"/>
            <a:ext cx="701675" cy="360363"/>
          </a:xfrm>
        </p:spPr>
        <p:txBody>
          <a:bodyPr/>
          <a:lstStyle>
            <a:lvl1pPr marL="0" indent="0">
              <a:buNone/>
              <a:defRPr sz="1100" b="1"/>
            </a:lvl1pPr>
          </a:lstStyle>
          <a:p>
            <a:pPr lvl="0"/>
            <a:r>
              <a:rPr lang="en-NL"/>
              <a:t>Figure:</a:t>
            </a:r>
          </a:p>
        </p:txBody>
      </p:sp>
      <p:sp>
        <p:nvSpPr>
          <p:cNvPr id="14" name="Text Placeholder 10">
            <a:extLst>
              <a:ext uri="{FF2B5EF4-FFF2-40B4-BE49-F238E27FC236}">
                <a16:creationId xmlns:a16="http://schemas.microsoft.com/office/drawing/2014/main" id="{A535719A-F351-5F3A-61F0-1C92FEF05BC2}"/>
              </a:ext>
            </a:extLst>
          </p:cNvPr>
          <p:cNvSpPr>
            <a:spLocks noGrp="1"/>
          </p:cNvSpPr>
          <p:nvPr>
            <p:ph type="body" sz="quarter" idx="87" hasCustomPrompt="1"/>
            <p:custDataLst>
              <p:tags r:id="rId8"/>
            </p:custDataLst>
          </p:nvPr>
        </p:nvSpPr>
        <p:spPr>
          <a:xfrm>
            <a:off x="1228415" y="1506273"/>
            <a:ext cx="10456240" cy="360363"/>
          </a:xfrm>
        </p:spPr>
        <p:txBody>
          <a:bodyPr/>
          <a:lstStyle>
            <a:lvl1pPr marL="0" indent="0">
              <a:buNone/>
              <a:defRPr sz="1100" b="0"/>
            </a:lvl1pPr>
          </a:lstStyle>
          <a:p>
            <a:pPr marL="0" marR="0" lvl="0" indent="0" algn="l" defTabSz="914377" rtl="0" eaLnBrk="1" fontAlgn="auto" latinLnBrk="0" hangingPunct="1">
              <a:lnSpc>
                <a:spcPct val="100000"/>
              </a:lnSpc>
              <a:spcBef>
                <a:spcPts val="600"/>
              </a:spcBef>
              <a:spcAft>
                <a:spcPct val="0"/>
              </a:spcAft>
              <a:buClr>
                <a:schemeClr val="tx2"/>
              </a:buClr>
              <a:buSzTx/>
              <a:buFont typeface="Arial" panose="020B0604020202020204" pitchFamily="34" charset="0"/>
              <a:buNone/>
              <a:defRPr/>
            </a:pPr>
            <a:r>
              <a:rPr lang="en-US"/>
              <a:t> Chart title goes here (do not add an extra title to the chart below)</a:t>
            </a:r>
          </a:p>
        </p:txBody>
      </p:sp>
    </p:spTree>
    <p:extLst>
      <p:ext uri="{BB962C8B-B14F-4D97-AF65-F5344CB8AC3E}">
        <p14:creationId xmlns:p14="http://schemas.microsoft.com/office/powerpoint/2010/main" val="68278168"/>
      </p:ext>
    </p:extLst>
  </p:cSld>
  <p:clrMapOvr>
    <a:masterClrMapping/>
  </p:clrMapOvr>
  <p:transition/>
  <p:extLst>
    <p:ext uri="{DCECCB84-F9BA-43D5-87BE-67443E8EF086}">
      <p15:sldGuideLst xmlns:p15="http://schemas.microsoft.com/office/powerpoint/2012/main">
        <p15:guide id="3">
          <p15:clr>
            <a:srgbClr val="FBAE40"/>
          </p15:clr>
        </p15:guide>
        <p15:guide id="4" orient="horz" pos="935">
          <p15:clr>
            <a:srgbClr val="FBAE40"/>
          </p15:clr>
        </p15:guide>
        <p15:guide id="5" orient="horz" pos="890">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Title slide - 1">
    <p:spTree>
      <p:nvGrpSpPr>
        <p:cNvPr id="1" name=""/>
        <p:cNvGrpSpPr/>
        <p:nvPr/>
      </p:nvGrpSpPr>
      <p:grpSpPr>
        <a:xfrm>
          <a:off x="0" y="0"/>
          <a:ext cx="0" cy="0"/>
          <a:chOff x="0" y="0"/>
          <a:chExt cx="0" cy="0"/>
        </a:xfrm>
      </p:grpSpPr>
      <p:sp>
        <p:nvSpPr>
          <p:cNvPr id="10" name="Tijdelijke aanduiding voor afbeelding 7">
            <a:extLst>
              <a:ext uri="{FF2B5EF4-FFF2-40B4-BE49-F238E27FC236}">
                <a16:creationId xmlns:a16="http://schemas.microsoft.com/office/drawing/2014/main" id="{4DAEAD04-C1FD-4924-B727-1FF08B2835E8}"/>
              </a:ext>
            </a:extLst>
          </p:cNvPr>
          <p:cNvSpPr>
            <a:spLocks noGrp="1"/>
          </p:cNvSpPr>
          <p:nvPr>
            <p:ph type="pic" sz="quarter" idx="13" hasCustomPrompt="1"/>
          </p:nvPr>
        </p:nvSpPr>
        <p:spPr>
          <a:xfrm>
            <a:off x="0" y="0"/>
            <a:ext cx="12192000" cy="6858000"/>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US" sz="800" kern="1200">
                <a:solidFill>
                  <a:schemeClr val="tx1">
                    <a:tint val="75000"/>
                  </a:schemeClr>
                </a:solidFill>
                <a:latin typeface="+mn-lt"/>
                <a:ea typeface="+mn-ea"/>
                <a:cs typeface="+mn-cs"/>
              </a:rPr>
              <a:t>© 2019 FrieslandCampina Ingredients</a:t>
            </a:r>
          </a:p>
        </p:txBody>
      </p:sp>
      <p:sp>
        <p:nvSpPr>
          <p:cNvPr id="18" name="Tijdelijke aanduiding voor tekst 17">
            <a:extLst>
              <a:ext uri="{FF2B5EF4-FFF2-40B4-BE49-F238E27FC236}">
                <a16:creationId xmlns:a16="http://schemas.microsoft.com/office/drawing/2014/main" id="{134848E4-6B17-49A0-B7F6-34867199C050}"/>
              </a:ext>
            </a:extLst>
          </p:cNvPr>
          <p:cNvSpPr>
            <a:spLocks noGrp="1"/>
          </p:cNvSpPr>
          <p:nvPr>
            <p:ph type="body" sz="quarter" idx="18" hasCustomPrompt="1"/>
          </p:nvPr>
        </p:nvSpPr>
        <p:spPr>
          <a:xfrm>
            <a:off x="336552" y="0"/>
            <a:ext cx="5327648" cy="5596669"/>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1080000" anchor="b" anchorCtr="0">
            <a:noAutofit/>
          </a:bodyPr>
          <a:lstStyle>
            <a:lvl1pPr marL="0" indent="0">
              <a:buNone/>
              <a:defRPr sz="3200">
                <a:solidFill>
                  <a:schemeClr val="accent1"/>
                </a:solidFill>
              </a:defRPr>
            </a:lvl1pPr>
          </a:lstStyle>
          <a:p>
            <a:pPr lvl="0"/>
            <a:r>
              <a:rPr lang="nl-NL"/>
              <a:t>Title (max 2 lines)</a:t>
            </a:r>
          </a:p>
        </p:txBody>
      </p:sp>
      <p:sp>
        <p:nvSpPr>
          <p:cNvPr id="3" name="Subtitle 2"/>
          <p:cNvSpPr>
            <a:spLocks noGrp="1"/>
          </p:cNvSpPr>
          <p:nvPr>
            <p:ph type="subTitle" idx="1" hasCustomPrompt="1"/>
          </p:nvPr>
        </p:nvSpPr>
        <p:spPr>
          <a:xfrm>
            <a:off x="1007533" y="4991102"/>
            <a:ext cx="4077992"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Subtitle</a:t>
            </a:r>
          </a:p>
        </p:txBody>
      </p:sp>
      <p:sp>
        <p:nvSpPr>
          <p:cNvPr id="22" name="Tijdelijke aanduiding voor tekst 21">
            <a:extLst>
              <a:ext uri="{FF2B5EF4-FFF2-40B4-BE49-F238E27FC236}">
                <a16:creationId xmlns:a16="http://schemas.microsoft.com/office/drawing/2014/main" id="{FB8EC1E8-CA61-4781-B9FD-8B2A398367C1}"/>
              </a:ext>
            </a:extLst>
          </p:cNvPr>
          <p:cNvSpPr>
            <a:spLocks noGrp="1"/>
          </p:cNvSpPr>
          <p:nvPr>
            <p:ph type="body" sz="quarter" idx="19" hasCustomPrompt="1"/>
          </p:nvPr>
        </p:nvSpPr>
        <p:spPr>
          <a:xfrm>
            <a:off x="662400" y="374400"/>
            <a:ext cx="1737600" cy="10464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nl-NL"/>
              <a:t>.</a:t>
            </a:r>
          </a:p>
        </p:txBody>
      </p:sp>
      <p:grpSp>
        <p:nvGrpSpPr>
          <p:cNvPr id="11" name="Groep 10">
            <a:extLst>
              <a:ext uri="{FF2B5EF4-FFF2-40B4-BE49-F238E27FC236}">
                <a16:creationId xmlns:a16="http://schemas.microsoft.com/office/drawing/2014/main" id="{00535BFA-E28A-45B6-9D3C-16EA9D769715}"/>
              </a:ext>
            </a:extLst>
          </p:cNvPr>
          <p:cNvGrpSpPr/>
          <p:nvPr userDrawn="1"/>
        </p:nvGrpSpPr>
        <p:grpSpPr>
          <a:xfrm>
            <a:off x="12262862" y="696656"/>
            <a:ext cx="1130143" cy="757167"/>
            <a:chOff x="9197145" y="1199569"/>
            <a:chExt cx="847607" cy="567875"/>
          </a:xfrm>
        </p:grpSpPr>
        <p:sp>
          <p:nvSpPr>
            <p:cNvPr id="12" name="Freeform 20">
              <a:extLst>
                <a:ext uri="{FF2B5EF4-FFF2-40B4-BE49-F238E27FC236}">
                  <a16:creationId xmlns:a16="http://schemas.microsoft.com/office/drawing/2014/main" id="{873BFFE2-A199-4561-84F5-D9D0C64EAFC0}"/>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4" name="Tekstvak 13">
              <a:extLst>
                <a:ext uri="{FF2B5EF4-FFF2-40B4-BE49-F238E27FC236}">
                  <a16:creationId xmlns:a16="http://schemas.microsoft.com/office/drawing/2014/main" id="{B4D24D63-913D-4B46-A3FA-1CF82CD08E8D}"/>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US" sz="933" b="0"/>
                <a:t>Delete the stamps</a:t>
              </a:r>
              <a:br>
                <a:rPr lang="en-US" sz="933" b="0"/>
              </a:br>
              <a:r>
                <a:rPr lang="en-US" sz="933" b="0"/>
                <a:t>you don’t use and align the correct one on top</a:t>
              </a:r>
            </a:p>
          </p:txBody>
        </p:sp>
      </p:grpSp>
    </p:spTree>
    <p:extLst>
      <p:ext uri="{BB962C8B-B14F-4D97-AF65-F5344CB8AC3E}">
        <p14:creationId xmlns:p14="http://schemas.microsoft.com/office/powerpoint/2010/main" val="320975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Title slide -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007533" y="2620896"/>
            <a:ext cx="3168651" cy="2460245"/>
          </a:xfrm>
        </p:spPr>
        <p:txBody>
          <a:bodyPr wrap="square" anchor="b"/>
          <a:lstStyle>
            <a:lvl1pPr algn="l">
              <a:defRPr sz="3200"/>
            </a:lvl1pPr>
          </a:lstStyle>
          <a:p>
            <a:r>
              <a:rPr lang="en-US"/>
              <a:t>Click to edit Master title style</a:t>
            </a:r>
          </a:p>
        </p:txBody>
      </p:sp>
      <p:sp>
        <p:nvSpPr>
          <p:cNvPr id="3" name="Subtitle 2"/>
          <p:cNvSpPr>
            <a:spLocks noGrp="1"/>
          </p:cNvSpPr>
          <p:nvPr>
            <p:ph type="subTitle" idx="1" hasCustomPrompt="1"/>
          </p:nvPr>
        </p:nvSpPr>
        <p:spPr>
          <a:xfrm>
            <a:off x="1007535" y="5240497"/>
            <a:ext cx="3168676" cy="644296"/>
          </a:xfrm>
        </p:spPr>
        <p:txBody>
          <a:bodyPr wrap="square">
            <a:noAutofit/>
          </a:bodyPr>
          <a:lstStyle>
            <a:lvl1pPr marL="0" indent="0" algn="l">
              <a:buNone/>
              <a:defRPr sz="1867"/>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7535" y="6536949"/>
            <a:ext cx="1982915" cy="123111"/>
          </a:xfrm>
          <a:prstGeom prst="rect">
            <a:avLst/>
          </a:prstGeom>
          <a:noFill/>
        </p:spPr>
        <p:txBody>
          <a:bodyPr wrap="none" lIns="0" tIns="0" rIns="0" bIns="0" rtlCol="0">
            <a:spAutoFit/>
          </a:bodyPr>
          <a:lstStyle/>
          <a:p>
            <a:r>
              <a:rPr lang="en-US" sz="800" kern="1200">
                <a:solidFill>
                  <a:schemeClr val="tx1">
                    <a:tint val="75000"/>
                  </a:schemeClr>
                </a:solidFill>
                <a:latin typeface="+mn-lt"/>
                <a:ea typeface="+mn-ea"/>
                <a:cs typeface="+mn-cs"/>
              </a:rPr>
              <a:t>© 2019 FrieslandCampina Ingredients</a:t>
            </a:r>
          </a:p>
        </p:txBody>
      </p:sp>
      <p:grpSp>
        <p:nvGrpSpPr>
          <p:cNvPr id="5" name="Groep 4">
            <a:extLst>
              <a:ext uri="{FF2B5EF4-FFF2-40B4-BE49-F238E27FC236}">
                <a16:creationId xmlns:a16="http://schemas.microsoft.com/office/drawing/2014/main" id="{D5A2D930-4F05-43DA-8F93-DEAFE1096447}"/>
              </a:ext>
            </a:extLst>
          </p:cNvPr>
          <p:cNvGrpSpPr/>
          <p:nvPr userDrawn="1"/>
        </p:nvGrpSpPr>
        <p:grpSpPr>
          <a:xfrm>
            <a:off x="12262862" y="696656"/>
            <a:ext cx="1130143" cy="757167"/>
            <a:chOff x="9197145" y="1199569"/>
            <a:chExt cx="847607" cy="567875"/>
          </a:xfrm>
        </p:grpSpPr>
        <p:sp>
          <p:nvSpPr>
            <p:cNvPr id="7" name="Freeform 20">
              <a:extLst>
                <a:ext uri="{FF2B5EF4-FFF2-40B4-BE49-F238E27FC236}">
                  <a16:creationId xmlns:a16="http://schemas.microsoft.com/office/drawing/2014/main" id="{EC6D8501-6CE5-4E1D-B8D6-010E436AF741}"/>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4" name="Tekstvak 3">
              <a:extLst>
                <a:ext uri="{FF2B5EF4-FFF2-40B4-BE49-F238E27FC236}">
                  <a16:creationId xmlns:a16="http://schemas.microsoft.com/office/drawing/2014/main" id="{2565ADC4-81D8-4B71-BCBD-613626D2F4F6}"/>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US" sz="933" b="0"/>
                <a:t>Delete the stamps</a:t>
              </a:r>
              <a:br>
                <a:rPr lang="en-US" sz="933" b="0"/>
              </a:br>
              <a:r>
                <a:rPr lang="en-US" sz="933" b="0"/>
                <a:t>you don’t use and align the correct one on top</a:t>
              </a:r>
            </a:p>
          </p:txBody>
        </p:sp>
      </p:grpSp>
      <p:pic>
        <p:nvPicPr>
          <p:cNvPr id="8" name="Afbeelding 7">
            <a:extLst>
              <a:ext uri="{FF2B5EF4-FFF2-40B4-BE49-F238E27FC236}">
                <a16:creationId xmlns:a16="http://schemas.microsoft.com/office/drawing/2014/main" id="{98B43D0B-1546-47CD-A118-64DC48F2343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48002" y="374400"/>
            <a:ext cx="1727615" cy="1046400"/>
          </a:xfrm>
          <a:prstGeom prst="rect">
            <a:avLst/>
          </a:prstGeom>
        </p:spPr>
      </p:pic>
      <p:sp>
        <p:nvSpPr>
          <p:cNvPr id="18" name="Tijdelijke aanduiding voor afbeelding 17">
            <a:extLst>
              <a:ext uri="{FF2B5EF4-FFF2-40B4-BE49-F238E27FC236}">
                <a16:creationId xmlns:a16="http://schemas.microsoft.com/office/drawing/2014/main" id="{6E9B25BF-2C2A-4C2A-B366-1212A42A49B8}"/>
              </a:ext>
            </a:extLst>
          </p:cNvPr>
          <p:cNvSpPr>
            <a:spLocks noGrp="1"/>
          </p:cNvSpPr>
          <p:nvPr>
            <p:ph type="pic" sz="quarter" idx="14" hasCustomPrompt="1"/>
          </p:nvPr>
        </p:nvSpPr>
        <p:spPr>
          <a:xfrm>
            <a:off x="4526471" y="2"/>
            <a:ext cx="7665532" cy="5884793"/>
          </a:xfrm>
          <a:custGeom>
            <a:avLst/>
            <a:gdLst>
              <a:gd name="connsiteX0" fmla="*/ 0 w 5749149"/>
              <a:gd name="connsiteY0" fmla="*/ 0 h 4413595"/>
              <a:gd name="connsiteX1" fmla="*/ 5749148 w 5749149"/>
              <a:gd name="connsiteY1" fmla="*/ 0 h 4413595"/>
              <a:gd name="connsiteX2" fmla="*/ 5749148 w 5749149"/>
              <a:gd name="connsiteY2" fmla="*/ 712034 h 4413595"/>
              <a:gd name="connsiteX3" fmla="*/ 5749149 w 5749149"/>
              <a:gd name="connsiteY3" fmla="*/ 712034 h 4413595"/>
              <a:gd name="connsiteX4" fmla="*/ 5749149 w 5749149"/>
              <a:gd name="connsiteY4" fmla="*/ 4413595 h 4413595"/>
              <a:gd name="connsiteX5" fmla="*/ 616959 w 5749149"/>
              <a:gd name="connsiteY5" fmla="*/ 4413595 h 4413595"/>
              <a:gd name="connsiteX6" fmla="*/ 20 w 5749149"/>
              <a:gd name="connsiteY6" fmla="*/ 3796656 h 4413595"/>
              <a:gd name="connsiteX7" fmla="*/ 20 w 5749149"/>
              <a:gd name="connsiteY7" fmla="*/ 3452501 h 4413595"/>
              <a:gd name="connsiteX8" fmla="*/ 0 w 5749149"/>
              <a:gd name="connsiteY8" fmla="*/ 3452501 h 441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49149" h="4413595">
                <a:moveTo>
                  <a:pt x="0" y="0"/>
                </a:moveTo>
                <a:lnTo>
                  <a:pt x="5749148" y="0"/>
                </a:lnTo>
                <a:lnTo>
                  <a:pt x="5749148" y="712034"/>
                </a:lnTo>
                <a:lnTo>
                  <a:pt x="5749149" y="712034"/>
                </a:lnTo>
                <a:lnTo>
                  <a:pt x="5749149" y="4413595"/>
                </a:lnTo>
                <a:lnTo>
                  <a:pt x="616959" y="4413595"/>
                </a:lnTo>
                <a:cubicBezTo>
                  <a:pt x="276233" y="4413595"/>
                  <a:pt x="20" y="4137382"/>
                  <a:pt x="20" y="3796656"/>
                </a:cubicBezTo>
                <a:lnTo>
                  <a:pt x="20" y="3452501"/>
                </a:lnTo>
                <a:lnTo>
                  <a:pt x="0" y="3452501"/>
                </a:lnTo>
                <a:close/>
              </a:path>
            </a:pathLst>
          </a:custGeom>
          <a:solidFill>
            <a:schemeClr val="tx1">
              <a:lumMod val="20000"/>
              <a:lumOff val="80000"/>
            </a:schemeClr>
          </a:solidFill>
        </p:spPr>
        <p:txBody>
          <a:bodyPr wrap="square">
            <a:noAutofit/>
          </a:bodyPr>
          <a:lstStyle>
            <a:lvl1pPr marL="0" indent="0" algn="ctr">
              <a:buNone/>
              <a:defRPr>
                <a:solidFill>
                  <a:schemeClr val="accent1"/>
                </a:solidFill>
              </a:defRPr>
            </a:lvl1pPr>
          </a:lstStyle>
          <a:p>
            <a:r>
              <a:rPr lang="en-US"/>
              <a:t>Image</a:t>
            </a:r>
          </a:p>
        </p:txBody>
      </p:sp>
    </p:spTree>
    <p:extLst>
      <p:ext uri="{BB962C8B-B14F-4D97-AF65-F5344CB8AC3E}">
        <p14:creationId xmlns:p14="http://schemas.microsoft.com/office/powerpoint/2010/main" val="366680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3">
          <p15:clr>
            <a:srgbClr val="5ACBF0"/>
          </p15:clr>
        </p15:guide>
        <p15:guide id="2" pos="476">
          <p15:clr>
            <a:srgbClr val="5ACBF0"/>
          </p15:clr>
        </p15:guide>
        <p15:guide id="3" orient="horz" pos="2346">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Breaker">
    <p:spTree>
      <p:nvGrpSpPr>
        <p:cNvPr id="1" name=""/>
        <p:cNvGrpSpPr/>
        <p:nvPr/>
      </p:nvGrpSpPr>
      <p:grpSpPr>
        <a:xfrm>
          <a:off x="0" y="0"/>
          <a:ext cx="0" cy="0"/>
          <a:chOff x="0" y="0"/>
          <a:chExt cx="0" cy="0"/>
        </a:xfrm>
      </p:grpSpPr>
      <p:sp>
        <p:nvSpPr>
          <p:cNvPr id="10" name="Tijdelijke aanduiding voor afbeelding 7">
            <a:extLst>
              <a:ext uri="{FF2B5EF4-FFF2-40B4-BE49-F238E27FC236}">
                <a16:creationId xmlns:a16="http://schemas.microsoft.com/office/drawing/2014/main" id="{4DAEAD04-C1FD-4924-B727-1FF08B2835E8}"/>
              </a:ext>
            </a:extLst>
          </p:cNvPr>
          <p:cNvSpPr>
            <a:spLocks noGrp="1"/>
          </p:cNvSpPr>
          <p:nvPr>
            <p:ph type="pic" sz="quarter" idx="13" hasCustomPrompt="1"/>
          </p:nvPr>
        </p:nvSpPr>
        <p:spPr>
          <a:xfrm>
            <a:off x="0" y="0"/>
            <a:ext cx="12192000" cy="6858000"/>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
        <p:nvSpPr>
          <p:cNvPr id="18" name="Tijdelijke aanduiding voor tekst 17">
            <a:extLst>
              <a:ext uri="{FF2B5EF4-FFF2-40B4-BE49-F238E27FC236}">
                <a16:creationId xmlns:a16="http://schemas.microsoft.com/office/drawing/2014/main" id="{134848E4-6B17-49A0-B7F6-34867199C050}"/>
              </a:ext>
            </a:extLst>
          </p:cNvPr>
          <p:cNvSpPr>
            <a:spLocks noGrp="1"/>
          </p:cNvSpPr>
          <p:nvPr>
            <p:ph type="body" sz="quarter" idx="18" hasCustomPrompt="1"/>
          </p:nvPr>
        </p:nvSpPr>
        <p:spPr>
          <a:xfrm>
            <a:off x="336552" y="3070800"/>
            <a:ext cx="3839632" cy="3787200"/>
          </a:xfrm>
          <a:prstGeom prst="round1Rect">
            <a:avLst/>
          </a:prstGeom>
          <a:solidFill>
            <a:srgbClr val="FFFFFF">
              <a:alpha val="85098"/>
            </a:srgbClr>
          </a:solidFill>
        </p:spPr>
        <p:txBody>
          <a:bodyPr wrap="square" lIns="288000" tIns="468000" rIns="72000" bIns="252000">
            <a:noAutofit/>
          </a:bodyPr>
          <a:lstStyle>
            <a:lvl1pPr marL="0" indent="0">
              <a:buNone/>
              <a:defRPr sz="3200">
                <a:solidFill>
                  <a:schemeClr val="accent1"/>
                </a:solidFill>
              </a:defRPr>
            </a:lvl1pPr>
          </a:lstStyle>
          <a:p>
            <a:pPr lvl="0"/>
            <a:r>
              <a:rPr lang="nl-NL"/>
              <a:t>Breaker text</a:t>
            </a:r>
          </a:p>
        </p:txBody>
      </p:sp>
    </p:spTree>
    <p:extLst>
      <p:ext uri="{BB962C8B-B14F-4D97-AF65-F5344CB8AC3E}">
        <p14:creationId xmlns:p14="http://schemas.microsoft.com/office/powerpoint/2010/main" val="3488674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object, image left">
    <p:spTree>
      <p:nvGrpSpPr>
        <p:cNvPr id="1" name=""/>
        <p:cNvGrpSpPr/>
        <p:nvPr/>
      </p:nvGrpSpPr>
      <p:grpSpPr>
        <a:xfrm>
          <a:off x="0" y="0"/>
          <a:ext cx="0" cy="0"/>
          <a:chOff x="0" y="0"/>
          <a:chExt cx="0" cy="0"/>
        </a:xfrm>
      </p:grpSpPr>
      <p:sp>
        <p:nvSpPr>
          <p:cNvPr id="8" name="Tijdelijke aanduiding voor afbeelding 7">
            <a:extLst>
              <a:ext uri="{FF2B5EF4-FFF2-40B4-BE49-F238E27FC236}">
                <a16:creationId xmlns:a16="http://schemas.microsoft.com/office/drawing/2014/main" id="{F720B503-17F8-4237-9A82-0CEE6CD5AC31}"/>
              </a:ext>
            </a:extLst>
          </p:cNvPr>
          <p:cNvSpPr>
            <a:spLocks noGrp="1"/>
          </p:cNvSpPr>
          <p:nvPr>
            <p:ph type="pic" sz="quarter" idx="13" hasCustomPrompt="1"/>
          </p:nvPr>
        </p:nvSpPr>
        <p:spPr>
          <a:xfrm>
            <a:off x="-1" y="0"/>
            <a:ext cx="4176185" cy="6858000"/>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
        <p:nvSpPr>
          <p:cNvPr id="2" name="Title 1"/>
          <p:cNvSpPr>
            <a:spLocks noGrp="1"/>
          </p:cNvSpPr>
          <p:nvPr>
            <p:ph type="title" hasCustomPrompt="1"/>
          </p:nvPr>
        </p:nvSpPr>
        <p:spPr>
          <a:xfrm>
            <a:off x="4512734" y="548219"/>
            <a:ext cx="7103532" cy="1036965"/>
          </a:xfrm>
        </p:spPr>
        <p:txBody>
          <a:bodyPr/>
          <a:lstStyle/>
          <a:p>
            <a:r>
              <a:rPr lang="en-US"/>
              <a:t>Click to edit Master title style</a:t>
            </a:r>
          </a:p>
        </p:txBody>
      </p:sp>
      <p:sp>
        <p:nvSpPr>
          <p:cNvPr id="3" name="Content Placeholder 2"/>
          <p:cNvSpPr>
            <a:spLocks noGrp="1"/>
          </p:cNvSpPr>
          <p:nvPr>
            <p:ph idx="1" hasCustomPrompt="1"/>
          </p:nvPr>
        </p:nvSpPr>
        <p:spPr>
          <a:xfrm>
            <a:off x="4512735" y="1701801"/>
            <a:ext cx="7103532" cy="41761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A39A013-2650-4809-967D-47BF6FDC4841}" type="datetime1">
              <a:rPr lang="en-US" smtClean="0"/>
              <a:t>4/18/2025</a:t>
            </a:fld>
            <a:endParaRPr lang="en-US"/>
          </a:p>
        </p:txBody>
      </p:sp>
      <p:sp>
        <p:nvSpPr>
          <p:cNvPr id="5" name="Footer Placeholder 4"/>
          <p:cNvSpPr>
            <a:spLocks noGrp="1"/>
          </p:cNvSpPr>
          <p:nvPr>
            <p:ph type="ftr" sz="quarter" idx="11"/>
          </p:nvPr>
        </p:nvSpPr>
        <p:spPr>
          <a:xfrm>
            <a:off x="4792233" y="6491400"/>
            <a:ext cx="65" cy="102657"/>
          </a:xfrm>
        </p:spPr>
        <p:txBody>
          <a:bodyPr/>
          <a:lstStyle/>
          <a:p>
            <a:endParaRPr lang="en-US"/>
          </a:p>
        </p:txBody>
      </p:sp>
      <p:sp>
        <p:nvSpPr>
          <p:cNvPr id="6" name="Slide Number Placeholder 5"/>
          <p:cNvSpPr>
            <a:spLocks noGrp="1"/>
          </p:cNvSpPr>
          <p:nvPr>
            <p:ph type="sldNum" sz="quarter" idx="12"/>
          </p:nvPr>
        </p:nvSpPr>
        <p:spPr>
          <a:xfrm>
            <a:off x="4523663" y="6491401"/>
            <a:ext cx="147476" cy="102657"/>
          </a:xfrm>
        </p:spPr>
        <p:txBody>
          <a:bodyPr/>
          <a:lstStyle/>
          <a:p>
            <a:fld id="{9BE0E23E-9022-4929-B297-EB2777CDBB1F}" type="slidenum">
              <a:rPr lang="en-US" smtClean="0"/>
              <a:t>‹#›</a:t>
            </a:fld>
            <a:endParaRPr lang="en-US"/>
          </a:p>
        </p:txBody>
      </p:sp>
    </p:spTree>
    <p:extLst>
      <p:ext uri="{BB962C8B-B14F-4D97-AF65-F5344CB8AC3E}">
        <p14:creationId xmlns:p14="http://schemas.microsoft.com/office/powerpoint/2010/main" val="3304481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object, image right (small)">
    <p:spTree>
      <p:nvGrpSpPr>
        <p:cNvPr id="1" name=""/>
        <p:cNvGrpSpPr/>
        <p:nvPr/>
      </p:nvGrpSpPr>
      <p:grpSpPr>
        <a:xfrm>
          <a:off x="0" y="0"/>
          <a:ext cx="0" cy="0"/>
          <a:chOff x="0" y="0"/>
          <a:chExt cx="0" cy="0"/>
        </a:xfrm>
      </p:grpSpPr>
      <p:sp>
        <p:nvSpPr>
          <p:cNvPr id="8" name="Tijdelijke aanduiding voor afbeelding 7">
            <a:extLst>
              <a:ext uri="{FF2B5EF4-FFF2-40B4-BE49-F238E27FC236}">
                <a16:creationId xmlns:a16="http://schemas.microsoft.com/office/drawing/2014/main" id="{F720B503-17F8-4237-9A82-0CEE6CD5AC31}"/>
              </a:ext>
            </a:extLst>
          </p:cNvPr>
          <p:cNvSpPr>
            <a:spLocks noGrp="1"/>
          </p:cNvSpPr>
          <p:nvPr>
            <p:ph type="pic" sz="quarter" idx="13" hasCustomPrompt="1"/>
          </p:nvPr>
        </p:nvSpPr>
        <p:spPr>
          <a:xfrm>
            <a:off x="8015818" y="0"/>
            <a:ext cx="4176183" cy="6858000"/>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
        <p:nvSpPr>
          <p:cNvPr id="2" name="Title 1"/>
          <p:cNvSpPr>
            <a:spLocks noGrp="1"/>
          </p:cNvSpPr>
          <p:nvPr>
            <p:ph type="title" hasCustomPrompt="1"/>
          </p:nvPr>
        </p:nvSpPr>
        <p:spPr>
          <a:xfrm>
            <a:off x="575735" y="548219"/>
            <a:ext cx="7096356" cy="1036965"/>
          </a:xfrm>
        </p:spPr>
        <p:txBody>
          <a:bodyPr/>
          <a:lstStyle/>
          <a:p>
            <a:r>
              <a:rPr lang="en-US"/>
              <a:t>Click to edit Master title style</a:t>
            </a:r>
          </a:p>
        </p:txBody>
      </p:sp>
      <p:sp>
        <p:nvSpPr>
          <p:cNvPr id="3" name="Content Placeholder 2"/>
          <p:cNvSpPr>
            <a:spLocks noGrp="1"/>
          </p:cNvSpPr>
          <p:nvPr>
            <p:ph idx="1" hasCustomPrompt="1"/>
          </p:nvPr>
        </p:nvSpPr>
        <p:spPr>
          <a:xfrm>
            <a:off x="580292" y="1701801"/>
            <a:ext cx="7096355" cy="41761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7218188" y="6491401"/>
            <a:ext cx="458459" cy="102657"/>
          </a:xfrm>
        </p:spPr>
        <p:txBody>
          <a:bodyPr/>
          <a:lstStyle/>
          <a:p>
            <a:fld id="{F11C92B5-E7E5-42A5-9E01-32845168644C}" type="datetime1">
              <a:rPr lang="en-US" smtClean="0"/>
              <a:t>4/1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spTree>
    <p:extLst>
      <p:ext uri="{BB962C8B-B14F-4D97-AF65-F5344CB8AC3E}">
        <p14:creationId xmlns:p14="http://schemas.microsoft.com/office/powerpoint/2010/main" val="2394609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object, image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5735" y="548219"/>
            <a:ext cx="5257804" cy="1036965"/>
          </a:xfrm>
        </p:spPr>
        <p:txBody>
          <a:bodyPr/>
          <a:lstStyle/>
          <a:p>
            <a:r>
              <a:rPr lang="en-US"/>
              <a:t>Click to edit Master title style</a:t>
            </a:r>
          </a:p>
        </p:txBody>
      </p:sp>
      <p:sp>
        <p:nvSpPr>
          <p:cNvPr id="3" name="Content Placeholder 2"/>
          <p:cNvSpPr>
            <a:spLocks noGrp="1"/>
          </p:cNvSpPr>
          <p:nvPr>
            <p:ph idx="1" hasCustomPrompt="1"/>
          </p:nvPr>
        </p:nvSpPr>
        <p:spPr>
          <a:xfrm>
            <a:off x="580294" y="1701802"/>
            <a:ext cx="5257804" cy="43666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379639" y="6491401"/>
            <a:ext cx="458459" cy="102657"/>
          </a:xfrm>
        </p:spPr>
        <p:txBody>
          <a:bodyPr/>
          <a:lstStyle/>
          <a:p>
            <a:fld id="{D515A175-0885-4B73-AA2B-03B693D29CDE}" type="datetime1">
              <a:rPr lang="en-US" smtClean="0"/>
              <a:t>4/1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sp>
        <p:nvSpPr>
          <p:cNvPr id="8" name="Tijdelijke aanduiding voor afbeelding 7">
            <a:extLst>
              <a:ext uri="{FF2B5EF4-FFF2-40B4-BE49-F238E27FC236}">
                <a16:creationId xmlns:a16="http://schemas.microsoft.com/office/drawing/2014/main" id="{F720B503-17F8-4237-9A82-0CEE6CD5AC31}"/>
              </a:ext>
            </a:extLst>
          </p:cNvPr>
          <p:cNvSpPr>
            <a:spLocks noGrp="1"/>
          </p:cNvSpPr>
          <p:nvPr>
            <p:ph type="pic" sz="quarter" idx="13" hasCustomPrompt="1"/>
          </p:nvPr>
        </p:nvSpPr>
        <p:spPr>
          <a:xfrm>
            <a:off x="6096000" y="0"/>
            <a:ext cx="6096000" cy="6858000"/>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Tree>
    <p:extLst>
      <p:ext uri="{BB962C8B-B14F-4D97-AF65-F5344CB8AC3E}">
        <p14:creationId xmlns:p14="http://schemas.microsoft.com/office/powerpoint/2010/main" val="2944149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nd im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47042262-890C-45A3-A997-24286667CD5A}" type="datetime1">
              <a:rPr lang="en-US" smtClean="0"/>
              <a:t>4/1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sp>
        <p:nvSpPr>
          <p:cNvPr id="8" name="Tijdelijke aanduiding voor afbeelding 7">
            <a:extLst>
              <a:ext uri="{FF2B5EF4-FFF2-40B4-BE49-F238E27FC236}">
                <a16:creationId xmlns:a16="http://schemas.microsoft.com/office/drawing/2014/main" id="{F720B503-17F8-4237-9A82-0CEE6CD5AC31}"/>
              </a:ext>
            </a:extLst>
          </p:cNvPr>
          <p:cNvSpPr>
            <a:spLocks noGrp="1"/>
          </p:cNvSpPr>
          <p:nvPr>
            <p:ph type="pic" sz="quarter" idx="13" hasCustomPrompt="1"/>
          </p:nvPr>
        </p:nvSpPr>
        <p:spPr>
          <a:xfrm>
            <a:off x="580293" y="1701801"/>
            <a:ext cx="11035975" cy="4176184"/>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Tree>
    <p:extLst>
      <p:ext uri="{BB962C8B-B14F-4D97-AF65-F5344CB8AC3E}">
        <p14:creationId xmlns:p14="http://schemas.microsoft.com/office/powerpoint/2010/main" val="1858494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type="obj" preserve="1">
  <p:cSld name="Title and objec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3" name="Content Placeholder 2"/>
          <p:cNvSpPr>
            <a:spLocks noGrp="1"/>
          </p:cNvSpPr>
          <p:nvPr>
            <p:ph idx="1" hasCustomPrompt="1"/>
          </p:nvPr>
        </p:nvSpPr>
        <p:spPr>
          <a:xfrm>
            <a:off x="580293" y="1701801"/>
            <a:ext cx="11035975" cy="41761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ED746EB-7277-4693-A555-5534074940C3}" type="datetime1">
              <a:rPr lang="en-US" smtClean="0"/>
              <a:t>4/1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spTree>
    <p:extLst>
      <p:ext uri="{BB962C8B-B14F-4D97-AF65-F5344CB8AC3E}">
        <p14:creationId xmlns:p14="http://schemas.microsoft.com/office/powerpoint/2010/main" val="63479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subtitle and objec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3" name="Content Placeholder 2"/>
          <p:cNvSpPr>
            <a:spLocks noGrp="1"/>
          </p:cNvSpPr>
          <p:nvPr>
            <p:ph idx="1" hasCustomPrompt="1"/>
          </p:nvPr>
        </p:nvSpPr>
        <p:spPr>
          <a:xfrm>
            <a:off x="580293" y="2077593"/>
            <a:ext cx="11035975" cy="38003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41A2CCA-04F8-4104-867C-2594028A2CF4}" type="datetime1">
              <a:rPr lang="en-US" smtClean="0"/>
              <a:t>4/1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sp>
        <p:nvSpPr>
          <p:cNvPr id="8" name="Tijdelijke aanduiding voor tekst 7">
            <a:extLst>
              <a:ext uri="{FF2B5EF4-FFF2-40B4-BE49-F238E27FC236}">
                <a16:creationId xmlns:a16="http://schemas.microsoft.com/office/drawing/2014/main" id="{F7DBD289-E124-4653-9BF3-FE57FA1AC736}"/>
              </a:ext>
            </a:extLst>
          </p:cNvPr>
          <p:cNvSpPr>
            <a:spLocks noGrp="1"/>
          </p:cNvSpPr>
          <p:nvPr>
            <p:ph type="body" sz="quarter" idx="13" hasCustomPrompt="1"/>
          </p:nvPr>
        </p:nvSpPr>
        <p:spPr>
          <a:xfrm>
            <a:off x="580291" y="1701800"/>
            <a:ext cx="11035200" cy="375792"/>
          </a:xfrm>
        </p:spPr>
        <p:txBody>
          <a:bodyPr wrap="none"/>
          <a:lstStyle>
            <a:lvl1pPr marL="0" indent="0">
              <a:buNone/>
              <a:defRPr>
                <a:solidFill>
                  <a:schemeClr val="accent1"/>
                </a:solidFill>
              </a:defRPr>
            </a:lvl1pPr>
          </a:lstStyle>
          <a:p>
            <a:pPr lvl="0"/>
            <a:r>
              <a:rPr lang="en-US"/>
              <a:t>Subtitle</a:t>
            </a:r>
          </a:p>
        </p:txBody>
      </p:sp>
    </p:spTree>
    <p:extLst>
      <p:ext uri="{BB962C8B-B14F-4D97-AF65-F5344CB8AC3E}">
        <p14:creationId xmlns:p14="http://schemas.microsoft.com/office/powerpoint/2010/main" val="3272350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and 2 objec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80800" y="1703997"/>
            <a:ext cx="5400000" cy="417398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216264" y="1703997"/>
            <a:ext cx="5400000" cy="417398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967E9CE-2D37-4645-BB4A-C649C8BD5D1E}" type="datetime1">
              <a:rPr lang="en-US" smtClean="0"/>
              <a:t>4/18/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BE0E23E-9022-4929-B297-EB2777CDBB1F}" type="slidenum">
              <a:rPr lang="en-US" smtClean="0"/>
              <a:t>‹#›</a:t>
            </a:fld>
            <a:endParaRPr lang="en-US"/>
          </a:p>
        </p:txBody>
      </p:sp>
      <p:sp>
        <p:nvSpPr>
          <p:cNvPr id="8" name="Titel 7">
            <a:extLst>
              <a:ext uri="{FF2B5EF4-FFF2-40B4-BE49-F238E27FC236}">
                <a16:creationId xmlns:a16="http://schemas.microsoft.com/office/drawing/2014/main" id="{26BE0271-8E9F-4D14-97DF-D828AE403B0B}"/>
              </a:ext>
            </a:extLst>
          </p:cNvPr>
          <p:cNvSpPr>
            <a:spLocks noGrp="1"/>
          </p:cNvSpPr>
          <p:nvPr>
            <p:ph type="title" hasCustomPrompt="1"/>
          </p:nvPr>
        </p:nvSpPr>
        <p:spPr/>
        <p:txBody>
          <a:bodyPr/>
          <a:lstStyle/>
          <a:p>
            <a:r>
              <a:rPr lang="en-US"/>
              <a:t>Click to edit Master title style</a:t>
            </a:r>
            <a:endParaRPr lang="nl-NL"/>
          </a:p>
        </p:txBody>
      </p:sp>
    </p:spTree>
    <p:extLst>
      <p:ext uri="{BB962C8B-B14F-4D97-AF65-F5344CB8AC3E}">
        <p14:creationId xmlns:p14="http://schemas.microsoft.com/office/powerpoint/2010/main" val="2381807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_Title, 4 boxes, 4 Content">
    <p:spTree>
      <p:nvGrpSpPr>
        <p:cNvPr id="1" name=""/>
        <p:cNvGrpSpPr/>
        <p:nvPr/>
      </p:nvGrpSpPr>
      <p:grpSpPr>
        <a:xfrm>
          <a:off x="0" y="0"/>
          <a:ext cx="0" cy="0"/>
          <a:chOff x="0" y="0"/>
          <a:chExt cx="0" cy="0"/>
        </a:xfrm>
      </p:grpSpPr>
      <p:sp>
        <p:nvSpPr>
          <p:cNvPr id="8" name="Content Placeholder 4">
            <a:extLst>
              <a:ext uri="{FF2B5EF4-FFF2-40B4-BE49-F238E27FC236}">
                <a16:creationId xmlns:a16="http://schemas.microsoft.com/office/drawing/2014/main" id="{8FCB292C-A122-3DDE-7A87-C9B377EA7D47}"/>
              </a:ext>
            </a:extLst>
          </p:cNvPr>
          <p:cNvSpPr>
            <a:spLocks noGrp="1"/>
          </p:cNvSpPr>
          <p:nvPr>
            <p:ph idx="55"/>
            <p:custDataLst>
              <p:tags r:id="rId1"/>
            </p:custDataLst>
          </p:nvPr>
        </p:nvSpPr>
        <p:spPr>
          <a:xfrm>
            <a:off x="9156700" y="2218545"/>
            <a:ext cx="2520000" cy="3668071"/>
          </a:xfrm>
        </p:spPr>
        <p:txBody>
          <a:bodyPr vert="horz" lIns="0" tIns="46800" rIns="0" bIns="0" rtlCol="0">
            <a:noAutofit/>
          </a:bodyPr>
          <a:lstStyle>
            <a:lvl1pPr marL="171446" indent="-171446">
              <a:buFont typeface="Arial" panose="020B0604020202020204" pitchFamily="34" charset="0"/>
              <a:buChar char="•"/>
              <a:defRPr lang="en-US"/>
            </a:lvl1pPr>
          </a:lstStyle>
          <a:p>
            <a:pPr lvl="0"/>
            <a:r>
              <a:rPr lang="en-US"/>
              <a:t>Click to edit</a:t>
            </a:r>
          </a:p>
        </p:txBody>
      </p:sp>
      <p:sp>
        <p:nvSpPr>
          <p:cNvPr id="7" name="Content Placeholder 3">
            <a:extLst>
              <a:ext uri="{FF2B5EF4-FFF2-40B4-BE49-F238E27FC236}">
                <a16:creationId xmlns:a16="http://schemas.microsoft.com/office/drawing/2014/main" id="{38EE0D99-6238-C7FD-F215-EBEA19524A6A}"/>
              </a:ext>
            </a:extLst>
          </p:cNvPr>
          <p:cNvSpPr>
            <a:spLocks noGrp="1"/>
          </p:cNvSpPr>
          <p:nvPr>
            <p:ph idx="54"/>
            <p:custDataLst>
              <p:tags r:id="rId2"/>
            </p:custDataLst>
          </p:nvPr>
        </p:nvSpPr>
        <p:spPr>
          <a:xfrm>
            <a:off x="6271200" y="2218545"/>
            <a:ext cx="2520000" cy="3668073"/>
          </a:xfrm>
        </p:spPr>
        <p:txBody>
          <a:bodyPr vert="horz" lIns="0" tIns="46800" rIns="0" bIns="0" rtlCol="0">
            <a:noAutofit/>
          </a:bodyPr>
          <a:lstStyle>
            <a:lvl1pPr>
              <a:defRPr lang="en-US"/>
            </a:lvl1pPr>
          </a:lstStyle>
          <a:p>
            <a:pPr lvl="0"/>
            <a:r>
              <a:rPr lang="en-US"/>
              <a:t>Click to edit</a:t>
            </a:r>
          </a:p>
        </p:txBody>
      </p:sp>
      <p:sp>
        <p:nvSpPr>
          <p:cNvPr id="4" name="Content Placeholder 2">
            <a:extLst>
              <a:ext uri="{FF2B5EF4-FFF2-40B4-BE49-F238E27FC236}">
                <a16:creationId xmlns:a16="http://schemas.microsoft.com/office/drawing/2014/main" id="{B370AC96-7E4E-3E9C-9FF3-ACBD2BC8775B}"/>
              </a:ext>
            </a:extLst>
          </p:cNvPr>
          <p:cNvSpPr>
            <a:spLocks noGrp="1"/>
          </p:cNvSpPr>
          <p:nvPr>
            <p:ph idx="53"/>
            <p:custDataLst>
              <p:tags r:id="rId3"/>
            </p:custDataLst>
          </p:nvPr>
        </p:nvSpPr>
        <p:spPr>
          <a:xfrm>
            <a:off x="3399200" y="2218545"/>
            <a:ext cx="2520000" cy="3668071"/>
          </a:xfrm>
        </p:spPr>
        <p:txBody>
          <a:bodyPr vert="horz" lIns="0" tIns="46800" rIns="0" bIns="0" rtlCol="0">
            <a:noAutofit/>
          </a:bodyPr>
          <a:lstStyle>
            <a:lvl1pPr>
              <a:defRPr lang="en-US"/>
            </a:lvl1pPr>
          </a:lstStyle>
          <a:p>
            <a:pPr lvl="0"/>
            <a:r>
              <a:rPr lang="en-US"/>
              <a:t>Click to edit</a:t>
            </a:r>
          </a:p>
        </p:txBody>
      </p:sp>
      <p:sp>
        <p:nvSpPr>
          <p:cNvPr id="3" name="Content Placeholder 1">
            <a:extLst>
              <a:ext uri="{FF2B5EF4-FFF2-40B4-BE49-F238E27FC236}">
                <a16:creationId xmlns:a16="http://schemas.microsoft.com/office/drawing/2014/main" id="{A04AA393-4F20-0D1B-2BED-90390A60004D}"/>
              </a:ext>
            </a:extLst>
          </p:cNvPr>
          <p:cNvSpPr>
            <a:spLocks noGrp="1"/>
          </p:cNvSpPr>
          <p:nvPr>
            <p:ph idx="52"/>
            <p:custDataLst>
              <p:tags r:id="rId4"/>
            </p:custDataLst>
          </p:nvPr>
        </p:nvSpPr>
        <p:spPr>
          <a:xfrm>
            <a:off x="525600" y="2218545"/>
            <a:ext cx="2520000" cy="3668073"/>
          </a:xfrm>
        </p:spPr>
        <p:txBody>
          <a:bodyPr vert="horz" lIns="0" tIns="46800" rIns="0" bIns="0" rtlCol="0">
            <a:noAutofit/>
          </a:bodyPr>
          <a:lstStyle>
            <a:lvl1pPr>
              <a:defRPr lang="en-US"/>
            </a:lvl1pPr>
          </a:lstStyle>
          <a:p>
            <a:pPr lvl="0"/>
            <a:r>
              <a:rPr lang="en-US"/>
              <a:t>Click to edit</a:t>
            </a:r>
          </a:p>
        </p:txBody>
      </p:sp>
      <p:sp>
        <p:nvSpPr>
          <p:cNvPr id="11" name="Title">
            <a:extLst>
              <a:ext uri="{FF2B5EF4-FFF2-40B4-BE49-F238E27FC236}">
                <a16:creationId xmlns:a16="http://schemas.microsoft.com/office/drawing/2014/main" id="{F93D4ED7-389B-E455-26AD-7426F17CB8D4}"/>
              </a:ext>
            </a:extLst>
          </p:cNvPr>
          <p:cNvSpPr>
            <a:spLocks noGrp="1"/>
          </p:cNvSpPr>
          <p:nvPr>
            <p:ph type="title"/>
            <p:custDataLst>
              <p:tags r:id="rId5"/>
            </p:custDataLst>
          </p:nvPr>
        </p:nvSpPr>
        <p:spPr/>
        <p:txBody>
          <a:bodyPr/>
          <a:lstStyle/>
          <a:p>
            <a:r>
              <a:rPr lang="en-US"/>
              <a:t>Click to edit Master title style</a:t>
            </a:r>
            <a:endParaRPr lang="en-NL"/>
          </a:p>
        </p:txBody>
      </p:sp>
      <p:sp>
        <p:nvSpPr>
          <p:cNvPr id="5" name="Text Placeholder 3">
            <a:extLst>
              <a:ext uri="{FF2B5EF4-FFF2-40B4-BE49-F238E27FC236}">
                <a16:creationId xmlns:a16="http://schemas.microsoft.com/office/drawing/2014/main" id="{09700071-718E-4A36-5E85-CE0ACFD4AC05}"/>
              </a:ext>
            </a:extLst>
          </p:cNvPr>
          <p:cNvSpPr>
            <a:spLocks noGrp="1"/>
          </p:cNvSpPr>
          <p:nvPr>
            <p:ph type="body" sz="quarter" idx="78" hasCustomPrompt="1"/>
            <p:custDataLst>
              <p:tags r:id="rId6"/>
            </p:custDataLst>
          </p:nvPr>
        </p:nvSpPr>
        <p:spPr>
          <a:xfrm>
            <a:off x="525600" y="1054801"/>
            <a:ext cx="2520000" cy="360001"/>
          </a:xfrm>
          <a:prstGeom prst="roundRect">
            <a:avLst/>
          </a:prstGeom>
          <a:solidFill>
            <a:schemeClr val="tx2"/>
          </a:solidFill>
        </p:spPr>
        <p:txBody>
          <a:bodyPr lIns="0" tIns="0" rIns="0" bIns="0" anchor="ctr"/>
          <a:lstStyle>
            <a:lvl1pPr marL="0" indent="0" algn="ctr">
              <a:lnSpc>
                <a:spcPct val="100000"/>
              </a:lnSpc>
              <a:spcBef>
                <a:spcPct val="0"/>
              </a:spcBef>
              <a:buNone/>
              <a:defRPr sz="1400" b="1" baseline="0">
                <a:solidFill>
                  <a:schemeClr val="bg1"/>
                </a:solidFill>
                <a:latin typeface="Calibri" panose="020F0502020204030204" pitchFamily="34" charset="0"/>
                <a:cs typeface="Calibri" panose="020F050202020403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Box Title</a:t>
            </a:r>
            <a:endParaRPr lang="nl-NL"/>
          </a:p>
        </p:txBody>
      </p:sp>
      <p:sp>
        <p:nvSpPr>
          <p:cNvPr id="9" name="Text Placeholder 3">
            <a:extLst>
              <a:ext uri="{FF2B5EF4-FFF2-40B4-BE49-F238E27FC236}">
                <a16:creationId xmlns:a16="http://schemas.microsoft.com/office/drawing/2014/main" id="{DF1B4424-2A66-863F-CE44-4C673C50A574}"/>
              </a:ext>
            </a:extLst>
          </p:cNvPr>
          <p:cNvSpPr>
            <a:spLocks noGrp="1"/>
          </p:cNvSpPr>
          <p:nvPr>
            <p:ph type="body" sz="quarter" idx="79" hasCustomPrompt="1"/>
            <p:custDataLst>
              <p:tags r:id="rId7"/>
            </p:custDataLst>
          </p:nvPr>
        </p:nvSpPr>
        <p:spPr>
          <a:xfrm>
            <a:off x="3398400" y="1054801"/>
            <a:ext cx="2520000" cy="360001"/>
          </a:xfrm>
          <a:prstGeom prst="roundRect">
            <a:avLst/>
          </a:prstGeom>
          <a:solidFill>
            <a:schemeClr val="tx2"/>
          </a:solidFill>
        </p:spPr>
        <p:txBody>
          <a:bodyPr lIns="0" tIns="0" rIns="0" bIns="0" anchor="ctr"/>
          <a:lstStyle>
            <a:lvl1pPr marL="0" indent="0" algn="ctr">
              <a:lnSpc>
                <a:spcPct val="100000"/>
              </a:lnSpc>
              <a:spcBef>
                <a:spcPct val="0"/>
              </a:spcBef>
              <a:buNone/>
              <a:defRPr sz="1400" b="1" baseline="0">
                <a:solidFill>
                  <a:schemeClr val="bg1"/>
                </a:solidFill>
                <a:latin typeface="Calibri" panose="020F0502020204030204" pitchFamily="34" charset="0"/>
                <a:cs typeface="Calibri" panose="020F050202020403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Box Title</a:t>
            </a:r>
            <a:endParaRPr lang="nl-NL"/>
          </a:p>
        </p:txBody>
      </p:sp>
      <p:sp>
        <p:nvSpPr>
          <p:cNvPr id="10" name="Text Placeholder 3">
            <a:extLst>
              <a:ext uri="{FF2B5EF4-FFF2-40B4-BE49-F238E27FC236}">
                <a16:creationId xmlns:a16="http://schemas.microsoft.com/office/drawing/2014/main" id="{FBE90479-DF3B-C01C-080B-7DF454053238}"/>
              </a:ext>
            </a:extLst>
          </p:cNvPr>
          <p:cNvSpPr>
            <a:spLocks noGrp="1"/>
          </p:cNvSpPr>
          <p:nvPr>
            <p:ph type="body" sz="quarter" idx="80" hasCustomPrompt="1"/>
            <p:custDataLst>
              <p:tags r:id="rId8"/>
            </p:custDataLst>
          </p:nvPr>
        </p:nvSpPr>
        <p:spPr>
          <a:xfrm>
            <a:off x="6271200" y="1054801"/>
            <a:ext cx="2520000" cy="360001"/>
          </a:xfrm>
          <a:prstGeom prst="roundRect">
            <a:avLst/>
          </a:prstGeom>
          <a:solidFill>
            <a:schemeClr val="tx2"/>
          </a:solidFill>
        </p:spPr>
        <p:txBody>
          <a:bodyPr lIns="0" tIns="0" rIns="0" bIns="0" anchor="ctr"/>
          <a:lstStyle>
            <a:lvl1pPr marL="0" indent="0" algn="ctr">
              <a:lnSpc>
                <a:spcPct val="100000"/>
              </a:lnSpc>
              <a:spcBef>
                <a:spcPct val="0"/>
              </a:spcBef>
              <a:buNone/>
              <a:defRPr sz="1400" b="1" baseline="0">
                <a:solidFill>
                  <a:schemeClr val="bg1"/>
                </a:solidFill>
                <a:latin typeface="Calibri" panose="020F0502020204030204" pitchFamily="34" charset="0"/>
                <a:cs typeface="Calibri" panose="020F050202020403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Box Title</a:t>
            </a:r>
            <a:endParaRPr lang="nl-NL"/>
          </a:p>
        </p:txBody>
      </p:sp>
      <p:sp>
        <p:nvSpPr>
          <p:cNvPr id="12" name="Text Placeholder 3">
            <a:extLst>
              <a:ext uri="{FF2B5EF4-FFF2-40B4-BE49-F238E27FC236}">
                <a16:creationId xmlns:a16="http://schemas.microsoft.com/office/drawing/2014/main" id="{730CB052-E6BE-CC79-8EFE-C6030772428B}"/>
              </a:ext>
            </a:extLst>
          </p:cNvPr>
          <p:cNvSpPr>
            <a:spLocks noGrp="1"/>
          </p:cNvSpPr>
          <p:nvPr>
            <p:ph type="body" sz="quarter" idx="81" hasCustomPrompt="1"/>
            <p:custDataLst>
              <p:tags r:id="rId9"/>
            </p:custDataLst>
          </p:nvPr>
        </p:nvSpPr>
        <p:spPr>
          <a:xfrm>
            <a:off x="9158400" y="1054801"/>
            <a:ext cx="2520000" cy="360001"/>
          </a:xfrm>
          <a:prstGeom prst="roundRect">
            <a:avLst/>
          </a:prstGeom>
          <a:solidFill>
            <a:schemeClr val="tx2"/>
          </a:solidFill>
        </p:spPr>
        <p:txBody>
          <a:bodyPr lIns="0" tIns="0" rIns="0" bIns="0" anchor="ctr"/>
          <a:lstStyle>
            <a:lvl1pPr marL="0" indent="0" algn="ctr">
              <a:lnSpc>
                <a:spcPct val="100000"/>
              </a:lnSpc>
              <a:spcBef>
                <a:spcPct val="0"/>
              </a:spcBef>
              <a:buNone/>
              <a:defRPr sz="1400" b="1" baseline="0">
                <a:solidFill>
                  <a:schemeClr val="bg1"/>
                </a:solidFill>
                <a:latin typeface="Calibri" panose="020F0502020204030204" pitchFamily="34" charset="0"/>
                <a:cs typeface="Calibri" panose="020F050202020403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Box Title</a:t>
            </a:r>
            <a:endParaRPr lang="nl-NL"/>
          </a:p>
        </p:txBody>
      </p:sp>
      <p:sp>
        <p:nvSpPr>
          <p:cNvPr id="2" name="Slide Number Placeholder">
            <a:extLst>
              <a:ext uri="{FF2B5EF4-FFF2-40B4-BE49-F238E27FC236}">
                <a16:creationId xmlns:a16="http://schemas.microsoft.com/office/drawing/2014/main" id="{B27528EA-BA8B-2414-51A5-FF8A9013105A}"/>
              </a:ext>
            </a:extLst>
          </p:cNvPr>
          <p:cNvSpPr>
            <a:spLocks noGrp="1"/>
          </p:cNvSpPr>
          <p:nvPr>
            <p:ph type="sldNum" sz="quarter" idx="12"/>
            <p:custDataLst>
              <p:tags r:id="rId10"/>
            </p:custDataLst>
          </p:nvPr>
        </p:nvSpPr>
        <p:spPr>
          <a:xfrm>
            <a:off x="11425887" y="6215390"/>
            <a:ext cx="243656" cy="169277"/>
          </a:xfrm>
          <a:prstGeom prst="rect">
            <a:avLst/>
          </a:prstGeom>
        </p:spPr>
        <p:txBody>
          <a:bodyPr lIns="0" tIns="0" rIns="0" bIns="0" anchor="ctr"/>
          <a:lstStyle>
            <a:lvl1pPr algn="r">
              <a:defRPr sz="1100">
                <a:solidFill>
                  <a:schemeClr val="bg2"/>
                </a:solidFill>
              </a:defRPr>
            </a:lvl1pPr>
          </a:lstStyle>
          <a:p>
            <a:fld id="{D0281C21-EE02-42A0-BCF6-67BEF936A35A}" type="slidenum">
              <a:rPr lang="en-IN" smtClean="0"/>
              <a:t>‹#›</a:t>
            </a:fld>
            <a:endParaRPr lang="en-IN"/>
          </a:p>
        </p:txBody>
      </p:sp>
      <p:sp>
        <p:nvSpPr>
          <p:cNvPr id="23" name="Text Placeholder 7">
            <a:extLst>
              <a:ext uri="{FF2B5EF4-FFF2-40B4-BE49-F238E27FC236}">
                <a16:creationId xmlns:a16="http://schemas.microsoft.com/office/drawing/2014/main" id="{6191B84E-420E-3B52-F24D-099BD929CCAF}"/>
              </a:ext>
            </a:extLst>
          </p:cNvPr>
          <p:cNvSpPr>
            <a:spLocks noGrp="1"/>
          </p:cNvSpPr>
          <p:nvPr>
            <p:ph type="body" sz="quarter" idx="82" hasCustomPrompt="1"/>
            <p:custDataLst>
              <p:tags r:id="rId11"/>
            </p:custDataLst>
          </p:nvPr>
        </p:nvSpPr>
        <p:spPr>
          <a:xfrm>
            <a:off x="523875" y="6119813"/>
            <a:ext cx="684000" cy="360363"/>
          </a:xfrm>
        </p:spPr>
        <p:txBody>
          <a:bodyPr/>
          <a:lstStyle>
            <a:lvl1pPr marL="0" indent="0">
              <a:buNone/>
              <a:defRPr sz="1100" b="1">
                <a:solidFill>
                  <a:schemeClr val="bg2"/>
                </a:solidFill>
              </a:defRPr>
            </a:lvl1pPr>
            <a:lvl2pPr marL="457189" indent="0">
              <a:buNone/>
              <a:defRPr b="1"/>
            </a:lvl2pPr>
            <a:lvl3pPr marL="914377" indent="0">
              <a:buNone/>
              <a:defRPr b="1"/>
            </a:lvl3pPr>
            <a:lvl4pPr marL="1371566" indent="0">
              <a:buNone/>
              <a:defRPr b="1"/>
            </a:lvl4pPr>
            <a:lvl5pPr marL="1828754" indent="0">
              <a:buNone/>
              <a:defRPr b="1"/>
            </a:lvl5pPr>
          </a:lstStyle>
          <a:p>
            <a:pPr lvl="0"/>
            <a:r>
              <a:rPr lang="en-US"/>
              <a:t>Sources:</a:t>
            </a:r>
          </a:p>
        </p:txBody>
      </p:sp>
      <p:sp>
        <p:nvSpPr>
          <p:cNvPr id="24" name="Text Placeholder 7">
            <a:extLst>
              <a:ext uri="{FF2B5EF4-FFF2-40B4-BE49-F238E27FC236}">
                <a16:creationId xmlns:a16="http://schemas.microsoft.com/office/drawing/2014/main" id="{6C3D696E-0C1A-5B64-1445-BFC559FB6933}"/>
              </a:ext>
            </a:extLst>
          </p:cNvPr>
          <p:cNvSpPr>
            <a:spLocks noGrp="1"/>
          </p:cNvSpPr>
          <p:nvPr>
            <p:ph type="body" sz="quarter" idx="83" hasCustomPrompt="1"/>
            <p:custDataLst>
              <p:tags r:id="rId12"/>
            </p:custDataLst>
          </p:nvPr>
        </p:nvSpPr>
        <p:spPr>
          <a:xfrm>
            <a:off x="1228413" y="6119813"/>
            <a:ext cx="3553451" cy="360363"/>
          </a:xfrm>
        </p:spPr>
        <p:txBody>
          <a:bodyPr/>
          <a:lstStyle>
            <a:lvl1pPr marL="0" indent="0">
              <a:buNone/>
              <a:defRPr sz="1100" b="0">
                <a:solidFill>
                  <a:schemeClr val="tx1"/>
                </a:solidFill>
              </a:defRPr>
            </a:lvl1pPr>
            <a:lvl2pPr marL="457189" indent="0">
              <a:buNone/>
              <a:defRPr b="1"/>
            </a:lvl2pPr>
            <a:lvl3pPr marL="914377" indent="0">
              <a:buNone/>
              <a:defRPr b="1"/>
            </a:lvl3pPr>
            <a:lvl4pPr marL="1371566" indent="0">
              <a:buNone/>
              <a:defRPr b="1"/>
            </a:lvl4pPr>
            <a:lvl5pPr marL="1828754" indent="0">
              <a:buNone/>
              <a:defRPr b="1"/>
            </a:lvl5pPr>
          </a:lstStyle>
          <a:p>
            <a:pPr lvl="0"/>
            <a:r>
              <a:rPr lang="it-IT"/>
              <a:t>Innova Database (click to edit)</a:t>
            </a:r>
          </a:p>
        </p:txBody>
      </p:sp>
      <p:sp>
        <p:nvSpPr>
          <p:cNvPr id="25" name="Text Placeholder 10">
            <a:extLst>
              <a:ext uri="{FF2B5EF4-FFF2-40B4-BE49-F238E27FC236}">
                <a16:creationId xmlns:a16="http://schemas.microsoft.com/office/drawing/2014/main" id="{5E520496-DE9D-A6D6-8883-E934D924061E}"/>
              </a:ext>
            </a:extLst>
          </p:cNvPr>
          <p:cNvSpPr>
            <a:spLocks noGrp="1"/>
          </p:cNvSpPr>
          <p:nvPr>
            <p:ph type="body" sz="quarter" idx="89" hasCustomPrompt="1"/>
            <p:custDataLst>
              <p:tags r:id="rId13"/>
            </p:custDataLst>
          </p:nvPr>
        </p:nvSpPr>
        <p:spPr>
          <a:xfrm>
            <a:off x="525601" y="1501838"/>
            <a:ext cx="701675" cy="641756"/>
          </a:xfrm>
        </p:spPr>
        <p:txBody>
          <a:bodyPr/>
          <a:lstStyle>
            <a:lvl1pPr marL="0" indent="0">
              <a:buNone/>
              <a:defRPr sz="1100" b="1"/>
            </a:lvl1pPr>
          </a:lstStyle>
          <a:p>
            <a:pPr lvl="0"/>
            <a:r>
              <a:rPr lang="en-NL"/>
              <a:t>Figure:</a:t>
            </a:r>
          </a:p>
        </p:txBody>
      </p:sp>
      <p:sp>
        <p:nvSpPr>
          <p:cNvPr id="26" name="Text Placeholder 10">
            <a:extLst>
              <a:ext uri="{FF2B5EF4-FFF2-40B4-BE49-F238E27FC236}">
                <a16:creationId xmlns:a16="http://schemas.microsoft.com/office/drawing/2014/main" id="{392B7E63-49C8-1D69-5066-CA08E4EB611F}"/>
              </a:ext>
            </a:extLst>
          </p:cNvPr>
          <p:cNvSpPr>
            <a:spLocks noGrp="1"/>
          </p:cNvSpPr>
          <p:nvPr>
            <p:ph type="body" sz="quarter" idx="90" hasCustomPrompt="1"/>
            <p:custDataLst>
              <p:tags r:id="rId14"/>
            </p:custDataLst>
          </p:nvPr>
        </p:nvSpPr>
        <p:spPr>
          <a:xfrm>
            <a:off x="1228415" y="1501838"/>
            <a:ext cx="1817187" cy="641756"/>
          </a:xfrm>
        </p:spPr>
        <p:txBody>
          <a:bodyPr/>
          <a:lstStyle>
            <a:lvl1pPr marL="0" indent="0">
              <a:buNone/>
              <a:defRPr sz="1100" b="0"/>
            </a:lvl1pPr>
          </a:lstStyle>
          <a:p>
            <a:pPr marL="0" marR="0" lvl="0" indent="0" algn="l" defTabSz="914377" rtl="0" eaLnBrk="1" fontAlgn="auto" latinLnBrk="0" hangingPunct="1">
              <a:lnSpc>
                <a:spcPct val="100000"/>
              </a:lnSpc>
              <a:spcBef>
                <a:spcPts val="600"/>
              </a:spcBef>
              <a:spcAft>
                <a:spcPct val="0"/>
              </a:spcAft>
              <a:buClr>
                <a:schemeClr val="tx2"/>
              </a:buClr>
              <a:buSzTx/>
              <a:buFont typeface="Arial" panose="020B0604020202020204" pitchFamily="34" charset="0"/>
              <a:buNone/>
              <a:defRPr/>
            </a:pPr>
            <a:r>
              <a:rPr lang="en-US"/>
              <a:t> Chart title goes here (do not add an extra title to the chart below)</a:t>
            </a:r>
          </a:p>
        </p:txBody>
      </p:sp>
      <p:sp>
        <p:nvSpPr>
          <p:cNvPr id="27" name="Text Placeholder 10">
            <a:extLst>
              <a:ext uri="{FF2B5EF4-FFF2-40B4-BE49-F238E27FC236}">
                <a16:creationId xmlns:a16="http://schemas.microsoft.com/office/drawing/2014/main" id="{73A68884-CEC1-9060-EA7E-07B1B276D537}"/>
              </a:ext>
            </a:extLst>
          </p:cNvPr>
          <p:cNvSpPr>
            <a:spLocks noGrp="1"/>
          </p:cNvSpPr>
          <p:nvPr>
            <p:ph type="body" sz="quarter" idx="91" hasCustomPrompt="1"/>
            <p:custDataLst>
              <p:tags r:id="rId15"/>
            </p:custDataLst>
          </p:nvPr>
        </p:nvSpPr>
        <p:spPr>
          <a:xfrm>
            <a:off x="3398400" y="1501838"/>
            <a:ext cx="701675" cy="641756"/>
          </a:xfrm>
        </p:spPr>
        <p:txBody>
          <a:bodyPr/>
          <a:lstStyle>
            <a:lvl1pPr marL="0" indent="0">
              <a:buNone/>
              <a:defRPr sz="1100" b="1"/>
            </a:lvl1pPr>
          </a:lstStyle>
          <a:p>
            <a:pPr lvl="0"/>
            <a:r>
              <a:rPr lang="en-NL"/>
              <a:t>Figure:</a:t>
            </a:r>
          </a:p>
        </p:txBody>
      </p:sp>
      <p:sp>
        <p:nvSpPr>
          <p:cNvPr id="28" name="Text Placeholder 10">
            <a:extLst>
              <a:ext uri="{FF2B5EF4-FFF2-40B4-BE49-F238E27FC236}">
                <a16:creationId xmlns:a16="http://schemas.microsoft.com/office/drawing/2014/main" id="{5FDD64A8-D3E2-1775-D6E0-C44507EFFB91}"/>
              </a:ext>
            </a:extLst>
          </p:cNvPr>
          <p:cNvSpPr>
            <a:spLocks noGrp="1"/>
          </p:cNvSpPr>
          <p:nvPr>
            <p:ph type="body" sz="quarter" idx="92" hasCustomPrompt="1"/>
            <p:custDataLst>
              <p:tags r:id="rId16"/>
            </p:custDataLst>
          </p:nvPr>
        </p:nvSpPr>
        <p:spPr>
          <a:xfrm>
            <a:off x="4101213" y="1501838"/>
            <a:ext cx="1817187" cy="641756"/>
          </a:xfrm>
        </p:spPr>
        <p:txBody>
          <a:bodyPr/>
          <a:lstStyle>
            <a:lvl1pPr marL="0" indent="0">
              <a:buNone/>
              <a:defRPr sz="1100" b="0"/>
            </a:lvl1pPr>
          </a:lstStyle>
          <a:p>
            <a:pPr marL="0" marR="0" lvl="0" indent="0" algn="l" defTabSz="914377" rtl="0" eaLnBrk="1" fontAlgn="auto" latinLnBrk="0" hangingPunct="1">
              <a:lnSpc>
                <a:spcPct val="100000"/>
              </a:lnSpc>
              <a:spcBef>
                <a:spcPts val="600"/>
              </a:spcBef>
              <a:spcAft>
                <a:spcPct val="0"/>
              </a:spcAft>
              <a:buClr>
                <a:schemeClr val="tx2"/>
              </a:buClr>
              <a:buSzTx/>
              <a:buFont typeface="Arial" panose="020B0604020202020204" pitchFamily="34" charset="0"/>
              <a:buNone/>
              <a:defRPr/>
            </a:pPr>
            <a:r>
              <a:rPr lang="en-US"/>
              <a:t> Chart title goes here (do not add an extra title to the chart below)</a:t>
            </a:r>
          </a:p>
        </p:txBody>
      </p:sp>
      <p:sp>
        <p:nvSpPr>
          <p:cNvPr id="29" name="Text Placeholder 10">
            <a:extLst>
              <a:ext uri="{FF2B5EF4-FFF2-40B4-BE49-F238E27FC236}">
                <a16:creationId xmlns:a16="http://schemas.microsoft.com/office/drawing/2014/main" id="{3397CF0F-83BB-12D0-7A39-713B67B33CD9}"/>
              </a:ext>
            </a:extLst>
          </p:cNvPr>
          <p:cNvSpPr>
            <a:spLocks noGrp="1"/>
          </p:cNvSpPr>
          <p:nvPr>
            <p:ph type="body" sz="quarter" idx="93" hasCustomPrompt="1"/>
            <p:custDataLst>
              <p:tags r:id="rId17"/>
            </p:custDataLst>
          </p:nvPr>
        </p:nvSpPr>
        <p:spPr>
          <a:xfrm>
            <a:off x="6271200" y="1501838"/>
            <a:ext cx="701675" cy="641756"/>
          </a:xfrm>
        </p:spPr>
        <p:txBody>
          <a:bodyPr/>
          <a:lstStyle>
            <a:lvl1pPr marL="0" indent="0">
              <a:buNone/>
              <a:defRPr sz="1100" b="1"/>
            </a:lvl1pPr>
          </a:lstStyle>
          <a:p>
            <a:pPr lvl="0"/>
            <a:r>
              <a:rPr lang="en-NL"/>
              <a:t>Figure:</a:t>
            </a:r>
          </a:p>
        </p:txBody>
      </p:sp>
      <p:sp>
        <p:nvSpPr>
          <p:cNvPr id="30" name="Text Placeholder 10">
            <a:extLst>
              <a:ext uri="{FF2B5EF4-FFF2-40B4-BE49-F238E27FC236}">
                <a16:creationId xmlns:a16="http://schemas.microsoft.com/office/drawing/2014/main" id="{9FB38093-0A2A-04EA-6993-3E4274F7E222}"/>
              </a:ext>
            </a:extLst>
          </p:cNvPr>
          <p:cNvSpPr>
            <a:spLocks noGrp="1"/>
          </p:cNvSpPr>
          <p:nvPr>
            <p:ph type="body" sz="quarter" idx="94" hasCustomPrompt="1"/>
            <p:custDataLst>
              <p:tags r:id="rId18"/>
            </p:custDataLst>
          </p:nvPr>
        </p:nvSpPr>
        <p:spPr>
          <a:xfrm>
            <a:off x="6974013" y="1501838"/>
            <a:ext cx="1817187" cy="641756"/>
          </a:xfrm>
        </p:spPr>
        <p:txBody>
          <a:bodyPr/>
          <a:lstStyle>
            <a:lvl1pPr marL="0" indent="0">
              <a:buNone/>
              <a:defRPr sz="1100" b="0"/>
            </a:lvl1pPr>
          </a:lstStyle>
          <a:p>
            <a:pPr marL="0" marR="0" lvl="0" indent="0" algn="l" defTabSz="914377" rtl="0" eaLnBrk="1" fontAlgn="auto" latinLnBrk="0" hangingPunct="1">
              <a:lnSpc>
                <a:spcPct val="100000"/>
              </a:lnSpc>
              <a:spcBef>
                <a:spcPts val="600"/>
              </a:spcBef>
              <a:spcAft>
                <a:spcPct val="0"/>
              </a:spcAft>
              <a:buClr>
                <a:schemeClr val="tx2"/>
              </a:buClr>
              <a:buSzTx/>
              <a:buFont typeface="Arial" panose="020B0604020202020204" pitchFamily="34" charset="0"/>
              <a:buNone/>
              <a:defRPr/>
            </a:pPr>
            <a:r>
              <a:rPr lang="en-US"/>
              <a:t> Chart title goes here (do not add an extra title to the chart below)</a:t>
            </a:r>
          </a:p>
        </p:txBody>
      </p:sp>
      <p:sp>
        <p:nvSpPr>
          <p:cNvPr id="31" name="Text Placeholder 10">
            <a:extLst>
              <a:ext uri="{FF2B5EF4-FFF2-40B4-BE49-F238E27FC236}">
                <a16:creationId xmlns:a16="http://schemas.microsoft.com/office/drawing/2014/main" id="{C445A551-588D-5948-2994-CBAE11197B0F}"/>
              </a:ext>
            </a:extLst>
          </p:cNvPr>
          <p:cNvSpPr>
            <a:spLocks noGrp="1"/>
          </p:cNvSpPr>
          <p:nvPr>
            <p:ph type="body" sz="quarter" idx="95" hasCustomPrompt="1"/>
            <p:custDataLst>
              <p:tags r:id="rId19"/>
            </p:custDataLst>
          </p:nvPr>
        </p:nvSpPr>
        <p:spPr>
          <a:xfrm>
            <a:off x="9164656" y="1501838"/>
            <a:ext cx="701675" cy="641756"/>
          </a:xfrm>
        </p:spPr>
        <p:txBody>
          <a:bodyPr/>
          <a:lstStyle>
            <a:lvl1pPr marL="0" indent="0">
              <a:buNone/>
              <a:defRPr sz="1100" b="1"/>
            </a:lvl1pPr>
          </a:lstStyle>
          <a:p>
            <a:pPr lvl="0"/>
            <a:r>
              <a:rPr lang="en-NL"/>
              <a:t>Figure:</a:t>
            </a:r>
          </a:p>
        </p:txBody>
      </p:sp>
      <p:sp>
        <p:nvSpPr>
          <p:cNvPr id="32" name="Text Placeholder 10">
            <a:extLst>
              <a:ext uri="{FF2B5EF4-FFF2-40B4-BE49-F238E27FC236}">
                <a16:creationId xmlns:a16="http://schemas.microsoft.com/office/drawing/2014/main" id="{5DE76C34-E119-D0D2-3DED-663697408CE1}"/>
              </a:ext>
            </a:extLst>
          </p:cNvPr>
          <p:cNvSpPr>
            <a:spLocks noGrp="1"/>
          </p:cNvSpPr>
          <p:nvPr>
            <p:ph type="body" sz="quarter" idx="96" hasCustomPrompt="1"/>
            <p:custDataLst>
              <p:tags r:id="rId20"/>
            </p:custDataLst>
          </p:nvPr>
        </p:nvSpPr>
        <p:spPr>
          <a:xfrm>
            <a:off x="9867469" y="1501838"/>
            <a:ext cx="1817187" cy="641756"/>
          </a:xfrm>
        </p:spPr>
        <p:txBody>
          <a:bodyPr/>
          <a:lstStyle>
            <a:lvl1pPr marL="0" indent="0">
              <a:buNone/>
              <a:defRPr sz="1100" b="0"/>
            </a:lvl1pPr>
          </a:lstStyle>
          <a:p>
            <a:pPr marL="0" marR="0" lvl="0" indent="0" algn="l" defTabSz="914377" rtl="0" eaLnBrk="1" fontAlgn="auto" latinLnBrk="0" hangingPunct="1">
              <a:lnSpc>
                <a:spcPct val="100000"/>
              </a:lnSpc>
              <a:spcBef>
                <a:spcPts val="600"/>
              </a:spcBef>
              <a:spcAft>
                <a:spcPct val="0"/>
              </a:spcAft>
              <a:buClr>
                <a:schemeClr val="tx2"/>
              </a:buClr>
              <a:buSzTx/>
              <a:buFont typeface="Arial" panose="020B0604020202020204" pitchFamily="34" charset="0"/>
              <a:buNone/>
              <a:defRPr/>
            </a:pPr>
            <a:r>
              <a:rPr lang="en-US"/>
              <a:t> Chart title goes here (do not add an extra title to the chart below)</a:t>
            </a:r>
          </a:p>
        </p:txBody>
      </p:sp>
    </p:spTree>
    <p:extLst>
      <p:ext uri="{BB962C8B-B14F-4D97-AF65-F5344CB8AC3E}">
        <p14:creationId xmlns:p14="http://schemas.microsoft.com/office/powerpoint/2010/main" val="842347256"/>
      </p:ext>
    </p:extLst>
  </p:cSld>
  <p:clrMapOvr>
    <a:masterClrMapping/>
  </p:clrMapOvr>
  <p:transition/>
  <p:extLst>
    <p:ext uri="{DCECCB84-F9BA-43D5-87BE-67443E8EF086}">
      <p15:sldGuideLst xmlns:p15="http://schemas.microsoft.com/office/powerpoint/2012/main">
        <p15:guide id="1" pos="1912">
          <p15:clr>
            <a:srgbClr val="FBAE40"/>
          </p15:clr>
        </p15:guide>
        <p15:guide id="2" pos="5541">
          <p15:clr>
            <a:srgbClr val="FBAE40"/>
          </p15:clr>
        </p15:guide>
        <p15:guide id="3" pos="5768">
          <p15:clr>
            <a:srgbClr val="FBAE40"/>
          </p15:clr>
        </p15:guide>
        <p15:guide id="4" pos="2139">
          <p15:clr>
            <a:srgbClr val="FBAE40"/>
          </p15:clr>
        </p15:guide>
        <p15:guide id="5" pos="3727">
          <p15:clr>
            <a:srgbClr val="FBAE40"/>
          </p15:clr>
        </p15:guide>
        <p15:guide id="6" pos="3953">
          <p15:clr>
            <a:srgbClr val="FBAE40"/>
          </p15:clr>
        </p15:guide>
        <p15:guide id="7" orient="horz" pos="890">
          <p15:clr>
            <a:srgbClr val="FBAE40"/>
          </p15:clr>
        </p15:guide>
        <p15:guide id="8" orient="horz" pos="935">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subtitle, 2 objec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80800" y="2077592"/>
            <a:ext cx="5400000" cy="38003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216265" y="2077592"/>
            <a:ext cx="5400000" cy="38003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5D670F3-C327-4231-A192-9CF1E7BECF99}" type="datetime1">
              <a:rPr lang="en-US" smtClean="0"/>
              <a:t>4/18/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BE0E23E-9022-4929-B297-EB2777CDBB1F}" type="slidenum">
              <a:rPr lang="en-US" smtClean="0"/>
              <a:t>‹#›</a:t>
            </a:fld>
            <a:endParaRPr lang="en-US"/>
          </a:p>
        </p:txBody>
      </p:sp>
      <p:sp>
        <p:nvSpPr>
          <p:cNvPr id="9" name="Tijdelijke aanduiding voor tekst 7">
            <a:extLst>
              <a:ext uri="{FF2B5EF4-FFF2-40B4-BE49-F238E27FC236}">
                <a16:creationId xmlns:a16="http://schemas.microsoft.com/office/drawing/2014/main" id="{27508BEF-285C-40D0-8A0C-EE0B84C47D52}"/>
              </a:ext>
            </a:extLst>
          </p:cNvPr>
          <p:cNvSpPr>
            <a:spLocks noGrp="1"/>
          </p:cNvSpPr>
          <p:nvPr>
            <p:ph type="body" sz="quarter" idx="13" hasCustomPrompt="1"/>
          </p:nvPr>
        </p:nvSpPr>
        <p:spPr>
          <a:xfrm>
            <a:off x="580291" y="1701800"/>
            <a:ext cx="5400000" cy="375792"/>
          </a:xfrm>
        </p:spPr>
        <p:txBody>
          <a:bodyPr wrap="none"/>
          <a:lstStyle>
            <a:lvl1pPr marL="0" indent="0">
              <a:buNone/>
              <a:defRPr>
                <a:solidFill>
                  <a:schemeClr val="accent1"/>
                </a:solidFill>
              </a:defRPr>
            </a:lvl1pPr>
          </a:lstStyle>
          <a:p>
            <a:pPr lvl="0"/>
            <a:r>
              <a:rPr lang="en-US"/>
              <a:t>Subtitle</a:t>
            </a:r>
          </a:p>
        </p:txBody>
      </p:sp>
      <p:sp>
        <p:nvSpPr>
          <p:cNvPr id="10" name="Tijdelijke aanduiding voor tekst 7">
            <a:extLst>
              <a:ext uri="{FF2B5EF4-FFF2-40B4-BE49-F238E27FC236}">
                <a16:creationId xmlns:a16="http://schemas.microsoft.com/office/drawing/2014/main" id="{9913EE84-7DEC-4A2D-AD57-9B4798154DE0}"/>
              </a:ext>
            </a:extLst>
          </p:cNvPr>
          <p:cNvSpPr>
            <a:spLocks noGrp="1"/>
          </p:cNvSpPr>
          <p:nvPr>
            <p:ph type="body" sz="quarter" idx="14" hasCustomPrompt="1"/>
          </p:nvPr>
        </p:nvSpPr>
        <p:spPr>
          <a:xfrm>
            <a:off x="6216264" y="1703997"/>
            <a:ext cx="5400000" cy="375792"/>
          </a:xfrm>
        </p:spPr>
        <p:txBody>
          <a:bodyPr wrap="none"/>
          <a:lstStyle>
            <a:lvl1pPr marL="0" indent="0">
              <a:buNone/>
              <a:defRPr>
                <a:solidFill>
                  <a:schemeClr val="accent1"/>
                </a:solidFill>
              </a:defRPr>
            </a:lvl1pPr>
          </a:lstStyle>
          <a:p>
            <a:pPr lvl="0"/>
            <a:r>
              <a:rPr lang="en-US"/>
              <a:t>Subtitel</a:t>
            </a:r>
          </a:p>
        </p:txBody>
      </p:sp>
      <p:sp>
        <p:nvSpPr>
          <p:cNvPr id="8" name="Titel 7">
            <a:extLst>
              <a:ext uri="{FF2B5EF4-FFF2-40B4-BE49-F238E27FC236}">
                <a16:creationId xmlns:a16="http://schemas.microsoft.com/office/drawing/2014/main" id="{8ABE8B1D-E1F9-4E74-945C-E81D06AF0D78}"/>
              </a:ext>
            </a:extLst>
          </p:cNvPr>
          <p:cNvSpPr>
            <a:spLocks noGrp="1"/>
          </p:cNvSpPr>
          <p:nvPr>
            <p:ph type="title" hasCustomPrompt="1"/>
          </p:nvPr>
        </p:nvSpPr>
        <p:spPr/>
        <p:txBody>
          <a:bodyPr/>
          <a:lstStyle/>
          <a:p>
            <a:r>
              <a:rPr lang="en-US"/>
              <a:t>Click to edit Master title style</a:t>
            </a:r>
            <a:endParaRPr lang="nl-NL"/>
          </a:p>
        </p:txBody>
      </p:sp>
    </p:spTree>
    <p:extLst>
      <p:ext uri="{BB962C8B-B14F-4D97-AF65-F5344CB8AC3E}">
        <p14:creationId xmlns:p14="http://schemas.microsoft.com/office/powerpoint/2010/main" val="3347257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text and tab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80800" y="1703997"/>
            <a:ext cx="5400000" cy="417541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87ABDA7-E159-4EF7-9D7C-696A6123AFD5}" type="datetime1">
              <a:rPr lang="en-US" smtClean="0"/>
              <a:t>4/18/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BE0E23E-9022-4929-B297-EB2777CDBB1F}" type="slidenum">
              <a:rPr lang="en-US" smtClean="0"/>
              <a:t>‹#›</a:t>
            </a:fld>
            <a:endParaRPr lang="en-US"/>
          </a:p>
        </p:txBody>
      </p:sp>
      <p:sp>
        <p:nvSpPr>
          <p:cNvPr id="10" name="Tijdelijke aanduiding voor tabel 8">
            <a:extLst>
              <a:ext uri="{FF2B5EF4-FFF2-40B4-BE49-F238E27FC236}">
                <a16:creationId xmlns:a16="http://schemas.microsoft.com/office/drawing/2014/main" id="{D2E9F6DD-7E2C-4192-BBC9-125146AEF9DA}"/>
              </a:ext>
            </a:extLst>
          </p:cNvPr>
          <p:cNvSpPr>
            <a:spLocks noGrp="1"/>
          </p:cNvSpPr>
          <p:nvPr>
            <p:ph type="tbl" sz="quarter" idx="13"/>
          </p:nvPr>
        </p:nvSpPr>
        <p:spPr>
          <a:xfrm>
            <a:off x="6216652" y="1701800"/>
            <a:ext cx="5394549" cy="4176184"/>
          </a:xfrm>
        </p:spPr>
        <p:txBody>
          <a:bodyPr/>
          <a:lstStyle/>
          <a:p>
            <a:r>
              <a:rPr lang="en-US"/>
              <a:t>Click icon to add table</a:t>
            </a:r>
            <a:endParaRPr lang="nl-NL"/>
          </a:p>
        </p:txBody>
      </p:sp>
      <p:sp>
        <p:nvSpPr>
          <p:cNvPr id="4" name="Titel 3">
            <a:extLst>
              <a:ext uri="{FF2B5EF4-FFF2-40B4-BE49-F238E27FC236}">
                <a16:creationId xmlns:a16="http://schemas.microsoft.com/office/drawing/2014/main" id="{5DE9D13A-D41B-4FAB-8651-676FFDB4FE5F}"/>
              </a:ext>
            </a:extLst>
          </p:cNvPr>
          <p:cNvSpPr>
            <a:spLocks noGrp="1"/>
          </p:cNvSpPr>
          <p:nvPr>
            <p:ph type="title" hasCustomPrompt="1"/>
          </p:nvPr>
        </p:nvSpPr>
        <p:spPr/>
        <p:txBody>
          <a:bodyPr/>
          <a:lstStyle/>
          <a:p>
            <a:r>
              <a:rPr lang="en-US"/>
              <a:t>Click to edit Master title style</a:t>
            </a:r>
            <a:endParaRPr lang="nl-NL"/>
          </a:p>
        </p:txBody>
      </p:sp>
    </p:spTree>
    <p:extLst>
      <p:ext uri="{BB962C8B-B14F-4D97-AF65-F5344CB8AC3E}">
        <p14:creationId xmlns:p14="http://schemas.microsoft.com/office/powerpoint/2010/main" val="1579605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4969A7C6-6B33-4602-98D3-56EB4515DCB7}" type="datetime1">
              <a:rPr lang="en-US" smtClean="0"/>
              <a:t>4/1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sp>
        <p:nvSpPr>
          <p:cNvPr id="9" name="Tijdelijke aanduiding voor tabel 7">
            <a:extLst>
              <a:ext uri="{FF2B5EF4-FFF2-40B4-BE49-F238E27FC236}">
                <a16:creationId xmlns:a16="http://schemas.microsoft.com/office/drawing/2014/main" id="{DEED083B-6C6C-41E9-9AEE-A277FCC01CE9}"/>
              </a:ext>
            </a:extLst>
          </p:cNvPr>
          <p:cNvSpPr>
            <a:spLocks noGrp="1"/>
          </p:cNvSpPr>
          <p:nvPr>
            <p:ph type="tbl" sz="quarter" idx="13"/>
          </p:nvPr>
        </p:nvSpPr>
        <p:spPr>
          <a:xfrm>
            <a:off x="575735" y="1701801"/>
            <a:ext cx="11040533" cy="4176184"/>
          </a:xfrm>
        </p:spPr>
        <p:txBody>
          <a:bodyPr/>
          <a:lstStyle/>
          <a:p>
            <a:r>
              <a:rPr lang="en-US"/>
              <a:t>Click icon to add table</a:t>
            </a:r>
            <a:endParaRPr lang="nl-NL"/>
          </a:p>
        </p:txBody>
      </p:sp>
    </p:spTree>
    <p:extLst>
      <p:ext uri="{BB962C8B-B14F-4D97-AF65-F5344CB8AC3E}">
        <p14:creationId xmlns:p14="http://schemas.microsoft.com/office/powerpoint/2010/main" val="2441388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3 text boxes and text">
    <p:spTree>
      <p:nvGrpSpPr>
        <p:cNvPr id="1" name=""/>
        <p:cNvGrpSpPr/>
        <p:nvPr/>
      </p:nvGrpSpPr>
      <p:grpSpPr>
        <a:xfrm>
          <a:off x="0" y="0"/>
          <a:ext cx="0" cy="0"/>
          <a:chOff x="0" y="0"/>
          <a:chExt cx="0" cy="0"/>
        </a:xfrm>
      </p:grpSpPr>
      <p:sp>
        <p:nvSpPr>
          <p:cNvPr id="10" name="Tijdelijke aanduiding voor tekst 9">
            <a:extLst>
              <a:ext uri="{FF2B5EF4-FFF2-40B4-BE49-F238E27FC236}">
                <a16:creationId xmlns:a16="http://schemas.microsoft.com/office/drawing/2014/main" id="{6E44AC7A-399D-4447-913F-693F8257E520}"/>
              </a:ext>
            </a:extLst>
          </p:cNvPr>
          <p:cNvSpPr>
            <a:spLocks noGrp="1"/>
          </p:cNvSpPr>
          <p:nvPr>
            <p:ph type="body" sz="quarter" idx="19"/>
          </p:nvPr>
        </p:nvSpPr>
        <p:spPr>
          <a:xfrm>
            <a:off x="575735" y="2329121"/>
            <a:ext cx="3441700" cy="3548865"/>
          </a:xfrm>
          <a:ln>
            <a:solidFill>
              <a:schemeClr val="accent1"/>
            </a:solidFill>
          </a:ln>
        </p:spPr>
        <p:txBody>
          <a:bodyPr lIns="72000" tIns="288000" rIns="72000"/>
          <a:lstStyle>
            <a:lvl1pPr>
              <a:defRPr sz="1600"/>
            </a:lvl1pPr>
            <a:lvl2pPr>
              <a:defRPr sz="1600"/>
            </a:lvl2pPr>
            <a:lvl3pPr>
              <a:defRPr sz="1600"/>
            </a:lvl3pPr>
            <a:lvl4pPr>
              <a:defRPr sz="1600"/>
            </a:lvl4pPr>
            <a:lvl5pPr>
              <a:defRPr sz="16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17" name="Tijdelijke aanduiding voor tekst 9">
            <a:extLst>
              <a:ext uri="{FF2B5EF4-FFF2-40B4-BE49-F238E27FC236}">
                <a16:creationId xmlns:a16="http://schemas.microsoft.com/office/drawing/2014/main" id="{FA5263FC-52AF-4B41-B9E2-8646A7426720}"/>
              </a:ext>
            </a:extLst>
          </p:cNvPr>
          <p:cNvSpPr>
            <a:spLocks noGrp="1"/>
          </p:cNvSpPr>
          <p:nvPr>
            <p:ph type="body" sz="quarter" idx="20"/>
          </p:nvPr>
        </p:nvSpPr>
        <p:spPr>
          <a:xfrm>
            <a:off x="4375103" y="2329121"/>
            <a:ext cx="3441700" cy="3548865"/>
          </a:xfrm>
          <a:ln>
            <a:solidFill>
              <a:schemeClr val="accent1"/>
            </a:solidFill>
          </a:ln>
        </p:spPr>
        <p:txBody>
          <a:bodyPr lIns="72000" tIns="288000" rIns="72000"/>
          <a:lstStyle>
            <a:lvl1pPr>
              <a:defRPr sz="1600"/>
            </a:lvl1pPr>
            <a:lvl2pPr>
              <a:defRPr sz="1600"/>
            </a:lvl2pPr>
            <a:lvl3pPr>
              <a:defRPr sz="1600"/>
            </a:lvl3pPr>
            <a:lvl4pPr>
              <a:defRPr sz="1600"/>
            </a:lvl4pPr>
            <a:lvl5pPr>
              <a:defRPr sz="16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18" name="Tijdelijke aanduiding voor tekst 9">
            <a:extLst>
              <a:ext uri="{FF2B5EF4-FFF2-40B4-BE49-F238E27FC236}">
                <a16:creationId xmlns:a16="http://schemas.microsoft.com/office/drawing/2014/main" id="{492614B2-9824-40F5-8714-52933A386792}"/>
              </a:ext>
            </a:extLst>
          </p:cNvPr>
          <p:cNvSpPr>
            <a:spLocks noGrp="1"/>
          </p:cNvSpPr>
          <p:nvPr>
            <p:ph type="body" sz="quarter" idx="21"/>
          </p:nvPr>
        </p:nvSpPr>
        <p:spPr>
          <a:xfrm>
            <a:off x="8174571" y="2329121"/>
            <a:ext cx="3441700" cy="3548865"/>
          </a:xfrm>
          <a:ln>
            <a:solidFill>
              <a:schemeClr val="accent1"/>
            </a:solidFill>
          </a:ln>
        </p:spPr>
        <p:txBody>
          <a:bodyPr lIns="72000" tIns="288000" rIns="72000"/>
          <a:lstStyle>
            <a:lvl1pPr>
              <a:defRPr sz="1600"/>
            </a:lvl1pPr>
            <a:lvl2pPr>
              <a:defRPr sz="1600"/>
            </a:lvl2pPr>
            <a:lvl3pPr>
              <a:defRPr sz="1600"/>
            </a:lvl3pPr>
            <a:lvl4pPr>
              <a:defRPr sz="1600"/>
            </a:lvl4pPr>
            <a:lvl5pPr>
              <a:defRPr sz="16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2" name="Title 1"/>
          <p:cNvSpPr>
            <a:spLocks noGrp="1"/>
          </p:cNvSpPr>
          <p:nvPr>
            <p:ph type="title" hasCustomPrompt="1"/>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D4BB69CB-A624-4D58-87B5-A021CFA20D80}" type="datetime1">
              <a:rPr lang="en-US" smtClean="0"/>
              <a:t>4/1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sp>
        <p:nvSpPr>
          <p:cNvPr id="14" name="Tijdelijke aanduiding voor tekst 13">
            <a:extLst>
              <a:ext uri="{FF2B5EF4-FFF2-40B4-BE49-F238E27FC236}">
                <a16:creationId xmlns:a16="http://schemas.microsoft.com/office/drawing/2014/main" id="{CE04E62B-DFE8-49C6-BCEC-A19BF0599890}"/>
              </a:ext>
            </a:extLst>
          </p:cNvPr>
          <p:cNvSpPr>
            <a:spLocks noGrp="1"/>
          </p:cNvSpPr>
          <p:nvPr>
            <p:ph type="body" sz="quarter" idx="16" hasCustomPrompt="1"/>
          </p:nvPr>
        </p:nvSpPr>
        <p:spPr>
          <a:xfrm>
            <a:off x="575732" y="1714984"/>
            <a:ext cx="34416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a:ln>
            <a:solidFill>
              <a:schemeClr val="accent1"/>
            </a:solidFill>
          </a:ln>
        </p:spPr>
        <p:txBody>
          <a:bodyPr wrap="square" anchor="ctr" anchorCtr="0">
            <a:noAutofit/>
          </a:bodyPr>
          <a:lstStyle>
            <a:lvl1pPr marL="0" indent="0" algn="ctr">
              <a:buNone/>
              <a:defRPr>
                <a:solidFill>
                  <a:schemeClr val="bg1"/>
                </a:solidFill>
              </a:defRPr>
            </a:lvl1pPr>
          </a:lstStyle>
          <a:p>
            <a:pPr lvl="0"/>
            <a:r>
              <a:rPr lang="nl-NL" err="1"/>
              <a:t>text</a:t>
            </a:r>
            <a:endParaRPr lang="nl-NL"/>
          </a:p>
        </p:txBody>
      </p:sp>
      <p:sp>
        <p:nvSpPr>
          <p:cNvPr id="15" name="Tijdelijke aanduiding voor tekst 14">
            <a:extLst>
              <a:ext uri="{FF2B5EF4-FFF2-40B4-BE49-F238E27FC236}">
                <a16:creationId xmlns:a16="http://schemas.microsoft.com/office/drawing/2014/main" id="{93339D03-BA0D-439C-9AE3-76BF835F80BC}"/>
              </a:ext>
            </a:extLst>
          </p:cNvPr>
          <p:cNvSpPr>
            <a:spLocks noGrp="1"/>
          </p:cNvSpPr>
          <p:nvPr>
            <p:ph type="body" sz="quarter" idx="17" hasCustomPrompt="1"/>
          </p:nvPr>
        </p:nvSpPr>
        <p:spPr>
          <a:xfrm>
            <a:off x="4375201" y="1714984"/>
            <a:ext cx="34416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a:ln>
            <a:solidFill>
              <a:schemeClr val="accent1"/>
            </a:solidFill>
          </a:ln>
        </p:spPr>
        <p:txBody>
          <a:bodyPr wrap="square" anchor="ctr" anchorCtr="0">
            <a:noAutofit/>
          </a:bodyPr>
          <a:lstStyle>
            <a:lvl1pPr marL="0" indent="0" algn="ctr">
              <a:buNone/>
              <a:defRPr>
                <a:solidFill>
                  <a:schemeClr val="bg1"/>
                </a:solidFill>
              </a:defRPr>
            </a:lvl1pPr>
          </a:lstStyle>
          <a:p>
            <a:pPr lvl="0"/>
            <a:r>
              <a:rPr lang="nl-NL"/>
              <a:t>text</a:t>
            </a:r>
          </a:p>
        </p:txBody>
      </p:sp>
      <p:sp>
        <p:nvSpPr>
          <p:cNvPr id="16" name="Tijdelijke aanduiding voor tekst 15">
            <a:extLst>
              <a:ext uri="{FF2B5EF4-FFF2-40B4-BE49-F238E27FC236}">
                <a16:creationId xmlns:a16="http://schemas.microsoft.com/office/drawing/2014/main" id="{93DBC742-8E58-4623-A40E-7D2DB102CDAF}"/>
              </a:ext>
            </a:extLst>
          </p:cNvPr>
          <p:cNvSpPr>
            <a:spLocks noGrp="1"/>
          </p:cNvSpPr>
          <p:nvPr>
            <p:ph type="body" sz="quarter" idx="18" hasCustomPrompt="1"/>
          </p:nvPr>
        </p:nvSpPr>
        <p:spPr>
          <a:xfrm>
            <a:off x="8174669" y="1714984"/>
            <a:ext cx="34416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a:ln>
            <a:solidFill>
              <a:schemeClr val="accent1"/>
            </a:solidFill>
          </a:ln>
        </p:spPr>
        <p:txBody>
          <a:bodyPr wrap="square" anchor="ctr" anchorCtr="0">
            <a:noAutofit/>
          </a:bodyPr>
          <a:lstStyle>
            <a:lvl1pPr marL="0" indent="0" algn="ctr">
              <a:buNone/>
              <a:defRPr>
                <a:solidFill>
                  <a:schemeClr val="bg1"/>
                </a:solidFill>
              </a:defRPr>
            </a:lvl1pPr>
          </a:lstStyle>
          <a:p>
            <a:pPr lvl="0"/>
            <a:r>
              <a:rPr lang="nl-NL"/>
              <a:t>text</a:t>
            </a:r>
          </a:p>
        </p:txBody>
      </p:sp>
    </p:spTree>
    <p:extLst>
      <p:ext uri="{BB962C8B-B14F-4D97-AF65-F5344CB8AC3E}">
        <p14:creationId xmlns:p14="http://schemas.microsoft.com/office/powerpoint/2010/main" val="972062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itle, 4 text boxes and text">
    <p:spTree>
      <p:nvGrpSpPr>
        <p:cNvPr id="1" name=""/>
        <p:cNvGrpSpPr/>
        <p:nvPr/>
      </p:nvGrpSpPr>
      <p:grpSpPr>
        <a:xfrm>
          <a:off x="0" y="0"/>
          <a:ext cx="0" cy="0"/>
          <a:chOff x="0" y="0"/>
          <a:chExt cx="0" cy="0"/>
        </a:xfrm>
      </p:grpSpPr>
      <p:sp>
        <p:nvSpPr>
          <p:cNvPr id="18" name="Tijdelijke aanduiding voor tekst 9">
            <a:extLst>
              <a:ext uri="{FF2B5EF4-FFF2-40B4-BE49-F238E27FC236}">
                <a16:creationId xmlns:a16="http://schemas.microsoft.com/office/drawing/2014/main" id="{B1DBF5D7-C132-40CC-A85A-C82D8B39A011}"/>
              </a:ext>
            </a:extLst>
          </p:cNvPr>
          <p:cNvSpPr>
            <a:spLocks noGrp="1"/>
          </p:cNvSpPr>
          <p:nvPr>
            <p:ph type="body" sz="quarter" idx="19"/>
          </p:nvPr>
        </p:nvSpPr>
        <p:spPr>
          <a:xfrm>
            <a:off x="575733" y="2329112"/>
            <a:ext cx="2568000" cy="3548872"/>
          </a:xfrm>
          <a:ln>
            <a:solidFill>
              <a:schemeClr val="accent1"/>
            </a:solidFill>
          </a:ln>
        </p:spPr>
        <p:txBody>
          <a:bodyPr lIns="72000" tIns="288000" rIns="72000"/>
          <a:lstStyle>
            <a:lvl1pPr>
              <a:defRPr sz="1600"/>
            </a:lvl1pPr>
            <a:lvl2pPr>
              <a:defRPr sz="1600"/>
            </a:lvl2pPr>
            <a:lvl3pPr>
              <a:defRPr sz="1600"/>
            </a:lvl3pPr>
            <a:lvl4pPr>
              <a:defRPr sz="1600"/>
            </a:lvl4pPr>
            <a:lvl5pPr>
              <a:defRPr sz="16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19" name="Tijdelijke aanduiding voor tekst 9">
            <a:extLst>
              <a:ext uri="{FF2B5EF4-FFF2-40B4-BE49-F238E27FC236}">
                <a16:creationId xmlns:a16="http://schemas.microsoft.com/office/drawing/2014/main" id="{AEA49228-3077-4774-B49B-014998EF6753}"/>
              </a:ext>
            </a:extLst>
          </p:cNvPr>
          <p:cNvSpPr>
            <a:spLocks noGrp="1"/>
          </p:cNvSpPr>
          <p:nvPr>
            <p:ph type="body" sz="quarter" idx="22"/>
          </p:nvPr>
        </p:nvSpPr>
        <p:spPr>
          <a:xfrm>
            <a:off x="3399911" y="2329112"/>
            <a:ext cx="2568000" cy="3548872"/>
          </a:xfrm>
          <a:ln>
            <a:solidFill>
              <a:schemeClr val="accent1"/>
            </a:solidFill>
          </a:ln>
        </p:spPr>
        <p:txBody>
          <a:bodyPr lIns="72000" tIns="288000" rIns="72000"/>
          <a:lstStyle>
            <a:lvl1pPr>
              <a:defRPr sz="1600"/>
            </a:lvl1pPr>
            <a:lvl2pPr>
              <a:defRPr sz="1600"/>
            </a:lvl2pPr>
            <a:lvl3pPr>
              <a:defRPr sz="1600"/>
            </a:lvl3pPr>
            <a:lvl4pPr>
              <a:defRPr sz="1600"/>
            </a:lvl4pPr>
            <a:lvl5pPr>
              <a:defRPr sz="16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20" name="Tijdelijke aanduiding voor tekst 9">
            <a:extLst>
              <a:ext uri="{FF2B5EF4-FFF2-40B4-BE49-F238E27FC236}">
                <a16:creationId xmlns:a16="http://schemas.microsoft.com/office/drawing/2014/main" id="{182BA976-3733-49B5-B0A3-2E4CA89FDBE2}"/>
              </a:ext>
            </a:extLst>
          </p:cNvPr>
          <p:cNvSpPr>
            <a:spLocks noGrp="1"/>
          </p:cNvSpPr>
          <p:nvPr>
            <p:ph type="body" sz="quarter" idx="23"/>
          </p:nvPr>
        </p:nvSpPr>
        <p:spPr>
          <a:xfrm>
            <a:off x="6224088" y="2329112"/>
            <a:ext cx="2568000" cy="3548872"/>
          </a:xfrm>
          <a:ln>
            <a:solidFill>
              <a:schemeClr val="accent1"/>
            </a:solidFill>
          </a:ln>
        </p:spPr>
        <p:txBody>
          <a:bodyPr lIns="72000" tIns="288000" rIns="72000"/>
          <a:lstStyle>
            <a:lvl1pPr>
              <a:defRPr sz="1600"/>
            </a:lvl1pPr>
            <a:lvl2pPr>
              <a:defRPr sz="1600"/>
            </a:lvl2pPr>
            <a:lvl3pPr>
              <a:defRPr sz="1600"/>
            </a:lvl3pPr>
            <a:lvl4pPr>
              <a:defRPr sz="1600"/>
            </a:lvl4pPr>
            <a:lvl5pPr>
              <a:defRPr sz="16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21" name="Tijdelijke aanduiding voor tekst 9">
            <a:extLst>
              <a:ext uri="{FF2B5EF4-FFF2-40B4-BE49-F238E27FC236}">
                <a16:creationId xmlns:a16="http://schemas.microsoft.com/office/drawing/2014/main" id="{732CF53A-4EE3-4F44-B459-A6EACF01AA0E}"/>
              </a:ext>
            </a:extLst>
          </p:cNvPr>
          <p:cNvSpPr>
            <a:spLocks noGrp="1"/>
          </p:cNvSpPr>
          <p:nvPr>
            <p:ph type="body" sz="quarter" idx="24"/>
          </p:nvPr>
        </p:nvSpPr>
        <p:spPr>
          <a:xfrm>
            <a:off x="9048265" y="2329112"/>
            <a:ext cx="2568000" cy="3548872"/>
          </a:xfrm>
          <a:ln>
            <a:solidFill>
              <a:schemeClr val="accent1"/>
            </a:solidFill>
          </a:ln>
        </p:spPr>
        <p:txBody>
          <a:bodyPr lIns="72000" tIns="288000" rIns="72000"/>
          <a:lstStyle>
            <a:lvl1pPr>
              <a:defRPr sz="1600"/>
            </a:lvl1pPr>
            <a:lvl2pPr>
              <a:defRPr sz="1600"/>
            </a:lvl2pPr>
            <a:lvl3pPr>
              <a:defRPr sz="1600"/>
            </a:lvl3pPr>
            <a:lvl4pPr>
              <a:defRPr sz="1600"/>
            </a:lvl4pPr>
            <a:lvl5pPr>
              <a:defRPr sz="16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2" name="Title 1"/>
          <p:cNvSpPr>
            <a:spLocks noGrp="1"/>
          </p:cNvSpPr>
          <p:nvPr>
            <p:ph type="title" hasCustomPrompt="1"/>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E4D464CF-54CD-497A-A739-521306F1C69A}" type="datetime1">
              <a:rPr lang="en-US" smtClean="0"/>
              <a:t>4/1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sp>
        <p:nvSpPr>
          <p:cNvPr id="14" name="Tijdelijke aanduiding voor tekst 13">
            <a:extLst>
              <a:ext uri="{FF2B5EF4-FFF2-40B4-BE49-F238E27FC236}">
                <a16:creationId xmlns:a16="http://schemas.microsoft.com/office/drawing/2014/main" id="{CE04E62B-DFE8-49C6-BCEC-A19BF0599890}"/>
              </a:ext>
            </a:extLst>
          </p:cNvPr>
          <p:cNvSpPr>
            <a:spLocks noGrp="1"/>
          </p:cNvSpPr>
          <p:nvPr>
            <p:ph type="body" sz="quarter" idx="16" hasCustomPrompt="1"/>
          </p:nvPr>
        </p:nvSpPr>
        <p:spPr>
          <a:xfrm>
            <a:off x="575732" y="1714979"/>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a:ln>
            <a:solidFill>
              <a:schemeClr val="accent1"/>
            </a:solidFill>
          </a:ln>
        </p:spPr>
        <p:txBody>
          <a:bodyPr wrap="square" anchor="ctr" anchorCtr="0">
            <a:noAutofit/>
          </a:bodyPr>
          <a:lstStyle>
            <a:lvl1pPr marL="0" indent="0" algn="ctr">
              <a:buNone/>
              <a:defRPr>
                <a:solidFill>
                  <a:schemeClr val="bg1"/>
                </a:solidFill>
              </a:defRPr>
            </a:lvl1pPr>
          </a:lstStyle>
          <a:p>
            <a:pPr lvl="0"/>
            <a:r>
              <a:rPr lang="nl-NL"/>
              <a:t>text</a:t>
            </a:r>
          </a:p>
        </p:txBody>
      </p:sp>
      <p:sp>
        <p:nvSpPr>
          <p:cNvPr id="15" name="Tijdelijke aanduiding voor tekst 14">
            <a:extLst>
              <a:ext uri="{FF2B5EF4-FFF2-40B4-BE49-F238E27FC236}">
                <a16:creationId xmlns:a16="http://schemas.microsoft.com/office/drawing/2014/main" id="{93339D03-BA0D-439C-9AE3-76BF835F80BC}"/>
              </a:ext>
            </a:extLst>
          </p:cNvPr>
          <p:cNvSpPr>
            <a:spLocks noGrp="1"/>
          </p:cNvSpPr>
          <p:nvPr>
            <p:ph type="body" sz="quarter" idx="17" hasCustomPrompt="1"/>
          </p:nvPr>
        </p:nvSpPr>
        <p:spPr>
          <a:xfrm>
            <a:off x="3399909" y="1714979"/>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a:ln>
            <a:solidFill>
              <a:schemeClr val="accent1"/>
            </a:solidFill>
          </a:ln>
        </p:spPr>
        <p:txBody>
          <a:bodyPr wrap="square" anchor="ctr" anchorCtr="0">
            <a:noAutofit/>
          </a:bodyPr>
          <a:lstStyle>
            <a:lvl1pPr marL="0" indent="0" algn="ctr">
              <a:buNone/>
              <a:defRPr>
                <a:solidFill>
                  <a:schemeClr val="bg1"/>
                </a:solidFill>
              </a:defRPr>
            </a:lvl1pPr>
          </a:lstStyle>
          <a:p>
            <a:pPr lvl="0"/>
            <a:r>
              <a:rPr lang="nl-NL"/>
              <a:t>text</a:t>
            </a:r>
          </a:p>
        </p:txBody>
      </p:sp>
      <p:sp>
        <p:nvSpPr>
          <p:cNvPr id="16" name="Tijdelijke aanduiding voor tekst 15">
            <a:extLst>
              <a:ext uri="{FF2B5EF4-FFF2-40B4-BE49-F238E27FC236}">
                <a16:creationId xmlns:a16="http://schemas.microsoft.com/office/drawing/2014/main" id="{93DBC742-8E58-4623-A40E-7D2DB102CDAF}"/>
              </a:ext>
            </a:extLst>
          </p:cNvPr>
          <p:cNvSpPr>
            <a:spLocks noGrp="1"/>
          </p:cNvSpPr>
          <p:nvPr>
            <p:ph type="body" sz="quarter" idx="18" hasCustomPrompt="1"/>
          </p:nvPr>
        </p:nvSpPr>
        <p:spPr>
          <a:xfrm>
            <a:off x="6224087" y="1714979"/>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a:ln>
            <a:solidFill>
              <a:schemeClr val="accent1"/>
            </a:solidFill>
          </a:ln>
        </p:spPr>
        <p:txBody>
          <a:bodyPr wrap="square" anchor="ctr" anchorCtr="0">
            <a:noAutofit/>
          </a:bodyPr>
          <a:lstStyle>
            <a:lvl1pPr marL="0" indent="0" algn="ctr">
              <a:buNone/>
              <a:defRPr>
                <a:solidFill>
                  <a:schemeClr val="bg1"/>
                </a:solidFill>
              </a:defRPr>
            </a:lvl1pPr>
          </a:lstStyle>
          <a:p>
            <a:pPr lvl="0"/>
            <a:r>
              <a:rPr lang="nl-NL"/>
              <a:t>text</a:t>
            </a:r>
          </a:p>
        </p:txBody>
      </p:sp>
      <p:sp>
        <p:nvSpPr>
          <p:cNvPr id="17" name="Tijdelijke aanduiding voor tekst 16">
            <a:extLst>
              <a:ext uri="{FF2B5EF4-FFF2-40B4-BE49-F238E27FC236}">
                <a16:creationId xmlns:a16="http://schemas.microsoft.com/office/drawing/2014/main" id="{8B53FD86-423F-4F36-AC16-3D6CA052A00B}"/>
              </a:ext>
            </a:extLst>
          </p:cNvPr>
          <p:cNvSpPr>
            <a:spLocks noGrp="1"/>
          </p:cNvSpPr>
          <p:nvPr>
            <p:ph type="body" sz="quarter" idx="21" hasCustomPrompt="1"/>
          </p:nvPr>
        </p:nvSpPr>
        <p:spPr>
          <a:xfrm>
            <a:off x="9048265" y="1714979"/>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a:ln>
            <a:solidFill>
              <a:schemeClr val="accent1"/>
            </a:solidFill>
          </a:ln>
        </p:spPr>
        <p:txBody>
          <a:bodyPr wrap="square" anchor="ctr" anchorCtr="0">
            <a:noAutofit/>
          </a:bodyPr>
          <a:lstStyle>
            <a:lvl1pPr marL="0" indent="0" algn="ctr">
              <a:buNone/>
              <a:defRPr>
                <a:solidFill>
                  <a:schemeClr val="bg1"/>
                </a:solidFill>
              </a:defRPr>
            </a:lvl1pPr>
          </a:lstStyle>
          <a:p>
            <a:pPr lvl="0"/>
            <a:r>
              <a:rPr lang="nl-NL"/>
              <a:t>text</a:t>
            </a:r>
          </a:p>
        </p:txBody>
      </p:sp>
    </p:spTree>
    <p:extLst>
      <p:ext uri="{BB962C8B-B14F-4D97-AF65-F5344CB8AC3E}">
        <p14:creationId xmlns:p14="http://schemas.microsoft.com/office/powerpoint/2010/main" val="1864305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3 images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F27E7C25-A002-49F6-8772-AD011059876E}" type="datetime1">
              <a:rPr lang="en-US" smtClean="0"/>
              <a:t>4/1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sp>
        <p:nvSpPr>
          <p:cNvPr id="7" name="Tijdelijke aanduiding voor afbeelding 7">
            <a:extLst>
              <a:ext uri="{FF2B5EF4-FFF2-40B4-BE49-F238E27FC236}">
                <a16:creationId xmlns:a16="http://schemas.microsoft.com/office/drawing/2014/main" id="{65B18880-82CC-4AC0-9FD4-73A347590E4A}"/>
              </a:ext>
            </a:extLst>
          </p:cNvPr>
          <p:cNvSpPr>
            <a:spLocks noGrp="1"/>
          </p:cNvSpPr>
          <p:nvPr>
            <p:ph type="pic" sz="quarter" idx="13" hasCustomPrompt="1"/>
          </p:nvPr>
        </p:nvSpPr>
        <p:spPr>
          <a:xfrm>
            <a:off x="575733" y="2014245"/>
            <a:ext cx="3441600" cy="2760000"/>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
        <p:nvSpPr>
          <p:cNvPr id="8" name="Tijdelijke aanduiding voor afbeelding 7">
            <a:extLst>
              <a:ext uri="{FF2B5EF4-FFF2-40B4-BE49-F238E27FC236}">
                <a16:creationId xmlns:a16="http://schemas.microsoft.com/office/drawing/2014/main" id="{F21877E9-C5B9-480D-8B19-E3F131AE2D94}"/>
              </a:ext>
            </a:extLst>
          </p:cNvPr>
          <p:cNvSpPr>
            <a:spLocks noGrp="1"/>
          </p:cNvSpPr>
          <p:nvPr>
            <p:ph type="pic" sz="quarter" idx="14" hasCustomPrompt="1"/>
          </p:nvPr>
        </p:nvSpPr>
        <p:spPr>
          <a:xfrm>
            <a:off x="4375201" y="2014245"/>
            <a:ext cx="3441600" cy="2760000"/>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
        <p:nvSpPr>
          <p:cNvPr id="9" name="Tijdelijke aanduiding voor afbeelding 7">
            <a:extLst>
              <a:ext uri="{FF2B5EF4-FFF2-40B4-BE49-F238E27FC236}">
                <a16:creationId xmlns:a16="http://schemas.microsoft.com/office/drawing/2014/main" id="{41A0AB49-F1DD-4324-B0FE-DC835BD3B2FB}"/>
              </a:ext>
            </a:extLst>
          </p:cNvPr>
          <p:cNvSpPr>
            <a:spLocks noGrp="1"/>
          </p:cNvSpPr>
          <p:nvPr>
            <p:ph type="pic" sz="quarter" idx="15" hasCustomPrompt="1"/>
          </p:nvPr>
        </p:nvSpPr>
        <p:spPr>
          <a:xfrm>
            <a:off x="8174669" y="2014245"/>
            <a:ext cx="3441600" cy="2760000"/>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
        <p:nvSpPr>
          <p:cNvPr id="14" name="Tijdelijke aanduiding voor tekst 13">
            <a:extLst>
              <a:ext uri="{FF2B5EF4-FFF2-40B4-BE49-F238E27FC236}">
                <a16:creationId xmlns:a16="http://schemas.microsoft.com/office/drawing/2014/main" id="{CE04E62B-DFE8-49C6-BCEC-A19BF0599890}"/>
              </a:ext>
            </a:extLst>
          </p:cNvPr>
          <p:cNvSpPr>
            <a:spLocks noGrp="1"/>
          </p:cNvSpPr>
          <p:nvPr>
            <p:ph type="body" sz="quarter" idx="16" hasCustomPrompt="1"/>
          </p:nvPr>
        </p:nvSpPr>
        <p:spPr>
          <a:xfrm>
            <a:off x="575732" y="4773564"/>
            <a:ext cx="34416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anchor="ctr" anchorCtr="0">
            <a:noAutofit/>
          </a:bodyPr>
          <a:lstStyle>
            <a:lvl1pPr marL="0" indent="0" algn="ctr">
              <a:buNone/>
              <a:defRPr>
                <a:solidFill>
                  <a:schemeClr val="bg1"/>
                </a:solidFill>
              </a:defRPr>
            </a:lvl1pPr>
          </a:lstStyle>
          <a:p>
            <a:pPr lvl="0"/>
            <a:r>
              <a:rPr lang="nl-NL"/>
              <a:t>text</a:t>
            </a:r>
          </a:p>
        </p:txBody>
      </p:sp>
      <p:sp>
        <p:nvSpPr>
          <p:cNvPr id="15" name="Tijdelijke aanduiding voor tekst 14">
            <a:extLst>
              <a:ext uri="{FF2B5EF4-FFF2-40B4-BE49-F238E27FC236}">
                <a16:creationId xmlns:a16="http://schemas.microsoft.com/office/drawing/2014/main" id="{93339D03-BA0D-439C-9AE3-76BF835F80BC}"/>
              </a:ext>
            </a:extLst>
          </p:cNvPr>
          <p:cNvSpPr>
            <a:spLocks noGrp="1"/>
          </p:cNvSpPr>
          <p:nvPr>
            <p:ph type="body" sz="quarter" idx="17" hasCustomPrompt="1"/>
          </p:nvPr>
        </p:nvSpPr>
        <p:spPr>
          <a:xfrm>
            <a:off x="4375201" y="4773564"/>
            <a:ext cx="34416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anchor="ctr" anchorCtr="0">
            <a:noAutofit/>
          </a:bodyPr>
          <a:lstStyle>
            <a:lvl1pPr marL="0" indent="0" algn="ctr">
              <a:buNone/>
              <a:defRPr>
                <a:solidFill>
                  <a:schemeClr val="bg1"/>
                </a:solidFill>
              </a:defRPr>
            </a:lvl1pPr>
          </a:lstStyle>
          <a:p>
            <a:pPr lvl="0"/>
            <a:r>
              <a:rPr lang="nl-NL"/>
              <a:t>text</a:t>
            </a:r>
          </a:p>
        </p:txBody>
      </p:sp>
      <p:sp>
        <p:nvSpPr>
          <p:cNvPr id="16" name="Tijdelijke aanduiding voor tekst 15">
            <a:extLst>
              <a:ext uri="{FF2B5EF4-FFF2-40B4-BE49-F238E27FC236}">
                <a16:creationId xmlns:a16="http://schemas.microsoft.com/office/drawing/2014/main" id="{93DBC742-8E58-4623-A40E-7D2DB102CDAF}"/>
              </a:ext>
            </a:extLst>
          </p:cNvPr>
          <p:cNvSpPr>
            <a:spLocks noGrp="1"/>
          </p:cNvSpPr>
          <p:nvPr>
            <p:ph type="body" sz="quarter" idx="18" hasCustomPrompt="1"/>
          </p:nvPr>
        </p:nvSpPr>
        <p:spPr>
          <a:xfrm>
            <a:off x="8174669" y="4773564"/>
            <a:ext cx="34416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anchor="ctr" anchorCtr="0">
            <a:noAutofit/>
          </a:bodyPr>
          <a:lstStyle>
            <a:lvl1pPr marL="0" indent="0" algn="ctr">
              <a:buNone/>
              <a:defRPr>
                <a:solidFill>
                  <a:schemeClr val="bg1"/>
                </a:solidFill>
              </a:defRPr>
            </a:lvl1pPr>
          </a:lstStyle>
          <a:p>
            <a:pPr lvl="0"/>
            <a:r>
              <a:rPr lang="nl-NL"/>
              <a:t>text</a:t>
            </a:r>
          </a:p>
        </p:txBody>
      </p:sp>
    </p:spTree>
    <p:extLst>
      <p:ext uri="{BB962C8B-B14F-4D97-AF65-F5344CB8AC3E}">
        <p14:creationId xmlns:p14="http://schemas.microsoft.com/office/powerpoint/2010/main" val="1012769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4 images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00AE99B0-F3D2-4488-974F-4875D015E690}" type="datetime1">
              <a:rPr lang="en-US" smtClean="0"/>
              <a:t>4/1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sp>
        <p:nvSpPr>
          <p:cNvPr id="7" name="Tijdelijke aanduiding voor afbeelding 7">
            <a:extLst>
              <a:ext uri="{FF2B5EF4-FFF2-40B4-BE49-F238E27FC236}">
                <a16:creationId xmlns:a16="http://schemas.microsoft.com/office/drawing/2014/main" id="{65B18880-82CC-4AC0-9FD4-73A347590E4A}"/>
              </a:ext>
            </a:extLst>
          </p:cNvPr>
          <p:cNvSpPr>
            <a:spLocks noGrp="1"/>
          </p:cNvSpPr>
          <p:nvPr>
            <p:ph type="pic" sz="quarter" idx="13" hasCustomPrompt="1"/>
          </p:nvPr>
        </p:nvSpPr>
        <p:spPr>
          <a:xfrm>
            <a:off x="575733" y="2003161"/>
            <a:ext cx="2568000" cy="2760000"/>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
        <p:nvSpPr>
          <p:cNvPr id="8" name="Tijdelijke aanduiding voor afbeelding 7">
            <a:extLst>
              <a:ext uri="{FF2B5EF4-FFF2-40B4-BE49-F238E27FC236}">
                <a16:creationId xmlns:a16="http://schemas.microsoft.com/office/drawing/2014/main" id="{F21877E9-C5B9-480D-8B19-E3F131AE2D94}"/>
              </a:ext>
            </a:extLst>
          </p:cNvPr>
          <p:cNvSpPr>
            <a:spLocks noGrp="1"/>
          </p:cNvSpPr>
          <p:nvPr>
            <p:ph type="pic" sz="quarter" idx="14" hasCustomPrompt="1"/>
          </p:nvPr>
        </p:nvSpPr>
        <p:spPr>
          <a:xfrm>
            <a:off x="3399911" y="2003161"/>
            <a:ext cx="2568000" cy="2760000"/>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
        <p:nvSpPr>
          <p:cNvPr id="9" name="Tijdelijke aanduiding voor afbeelding 7">
            <a:extLst>
              <a:ext uri="{FF2B5EF4-FFF2-40B4-BE49-F238E27FC236}">
                <a16:creationId xmlns:a16="http://schemas.microsoft.com/office/drawing/2014/main" id="{41A0AB49-F1DD-4324-B0FE-DC835BD3B2FB}"/>
              </a:ext>
            </a:extLst>
          </p:cNvPr>
          <p:cNvSpPr>
            <a:spLocks noGrp="1"/>
          </p:cNvSpPr>
          <p:nvPr>
            <p:ph type="pic" sz="quarter" idx="15" hasCustomPrompt="1"/>
          </p:nvPr>
        </p:nvSpPr>
        <p:spPr>
          <a:xfrm>
            <a:off x="6224088" y="2003161"/>
            <a:ext cx="2568000" cy="2760000"/>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
        <p:nvSpPr>
          <p:cNvPr id="14" name="Tijdelijke aanduiding voor tekst 13">
            <a:extLst>
              <a:ext uri="{FF2B5EF4-FFF2-40B4-BE49-F238E27FC236}">
                <a16:creationId xmlns:a16="http://schemas.microsoft.com/office/drawing/2014/main" id="{CE04E62B-DFE8-49C6-BCEC-A19BF0599890}"/>
              </a:ext>
            </a:extLst>
          </p:cNvPr>
          <p:cNvSpPr>
            <a:spLocks noGrp="1"/>
          </p:cNvSpPr>
          <p:nvPr>
            <p:ph type="body" sz="quarter" idx="16" hasCustomPrompt="1"/>
          </p:nvPr>
        </p:nvSpPr>
        <p:spPr>
          <a:xfrm>
            <a:off x="575732" y="4762480"/>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anchor="ctr" anchorCtr="0">
            <a:noAutofit/>
          </a:bodyPr>
          <a:lstStyle>
            <a:lvl1pPr marL="0" indent="0" algn="ctr">
              <a:buNone/>
              <a:defRPr>
                <a:solidFill>
                  <a:schemeClr val="bg1"/>
                </a:solidFill>
              </a:defRPr>
            </a:lvl1pPr>
          </a:lstStyle>
          <a:p>
            <a:pPr lvl="0"/>
            <a:r>
              <a:rPr lang="nl-NL"/>
              <a:t>text</a:t>
            </a:r>
          </a:p>
        </p:txBody>
      </p:sp>
      <p:sp>
        <p:nvSpPr>
          <p:cNvPr id="15" name="Tijdelijke aanduiding voor tekst 14">
            <a:extLst>
              <a:ext uri="{FF2B5EF4-FFF2-40B4-BE49-F238E27FC236}">
                <a16:creationId xmlns:a16="http://schemas.microsoft.com/office/drawing/2014/main" id="{93339D03-BA0D-439C-9AE3-76BF835F80BC}"/>
              </a:ext>
            </a:extLst>
          </p:cNvPr>
          <p:cNvSpPr>
            <a:spLocks noGrp="1"/>
          </p:cNvSpPr>
          <p:nvPr>
            <p:ph type="body" sz="quarter" idx="17" hasCustomPrompt="1"/>
          </p:nvPr>
        </p:nvSpPr>
        <p:spPr>
          <a:xfrm>
            <a:off x="3399909" y="4762480"/>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anchor="ctr" anchorCtr="0">
            <a:noAutofit/>
          </a:bodyPr>
          <a:lstStyle>
            <a:lvl1pPr marL="0" indent="0" algn="ctr">
              <a:buNone/>
              <a:defRPr>
                <a:solidFill>
                  <a:schemeClr val="bg1"/>
                </a:solidFill>
              </a:defRPr>
            </a:lvl1pPr>
          </a:lstStyle>
          <a:p>
            <a:pPr lvl="0"/>
            <a:r>
              <a:rPr lang="nl-NL"/>
              <a:t>text</a:t>
            </a:r>
          </a:p>
        </p:txBody>
      </p:sp>
      <p:sp>
        <p:nvSpPr>
          <p:cNvPr id="16" name="Tijdelijke aanduiding voor tekst 15">
            <a:extLst>
              <a:ext uri="{FF2B5EF4-FFF2-40B4-BE49-F238E27FC236}">
                <a16:creationId xmlns:a16="http://schemas.microsoft.com/office/drawing/2014/main" id="{93DBC742-8E58-4623-A40E-7D2DB102CDAF}"/>
              </a:ext>
            </a:extLst>
          </p:cNvPr>
          <p:cNvSpPr>
            <a:spLocks noGrp="1"/>
          </p:cNvSpPr>
          <p:nvPr>
            <p:ph type="body" sz="quarter" idx="18" hasCustomPrompt="1"/>
          </p:nvPr>
        </p:nvSpPr>
        <p:spPr>
          <a:xfrm>
            <a:off x="6224087" y="4762480"/>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anchor="ctr" anchorCtr="0">
            <a:noAutofit/>
          </a:bodyPr>
          <a:lstStyle>
            <a:lvl1pPr marL="0" indent="0" algn="ctr">
              <a:buNone/>
              <a:defRPr>
                <a:solidFill>
                  <a:schemeClr val="bg1"/>
                </a:solidFill>
              </a:defRPr>
            </a:lvl1pPr>
          </a:lstStyle>
          <a:p>
            <a:pPr lvl="0"/>
            <a:r>
              <a:rPr lang="nl-NL"/>
              <a:t>text</a:t>
            </a:r>
          </a:p>
        </p:txBody>
      </p:sp>
      <p:sp>
        <p:nvSpPr>
          <p:cNvPr id="13" name="Tijdelijke aanduiding voor afbeelding 7">
            <a:extLst>
              <a:ext uri="{FF2B5EF4-FFF2-40B4-BE49-F238E27FC236}">
                <a16:creationId xmlns:a16="http://schemas.microsoft.com/office/drawing/2014/main" id="{9014C87B-4A9B-46A5-92E7-D035D3B01B50}"/>
              </a:ext>
            </a:extLst>
          </p:cNvPr>
          <p:cNvSpPr>
            <a:spLocks noGrp="1"/>
          </p:cNvSpPr>
          <p:nvPr>
            <p:ph type="pic" sz="quarter" idx="20" hasCustomPrompt="1"/>
          </p:nvPr>
        </p:nvSpPr>
        <p:spPr>
          <a:xfrm>
            <a:off x="9048265" y="2003161"/>
            <a:ext cx="2568000" cy="2760000"/>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
        <p:nvSpPr>
          <p:cNvPr id="17" name="Tijdelijke aanduiding voor tekst 16">
            <a:extLst>
              <a:ext uri="{FF2B5EF4-FFF2-40B4-BE49-F238E27FC236}">
                <a16:creationId xmlns:a16="http://schemas.microsoft.com/office/drawing/2014/main" id="{8B53FD86-423F-4F36-AC16-3D6CA052A00B}"/>
              </a:ext>
            </a:extLst>
          </p:cNvPr>
          <p:cNvSpPr>
            <a:spLocks noGrp="1"/>
          </p:cNvSpPr>
          <p:nvPr>
            <p:ph type="body" sz="quarter" idx="21" hasCustomPrompt="1"/>
          </p:nvPr>
        </p:nvSpPr>
        <p:spPr>
          <a:xfrm>
            <a:off x="9048265" y="4762480"/>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anchor="ctr" anchorCtr="0">
            <a:noAutofit/>
          </a:bodyPr>
          <a:lstStyle>
            <a:lvl1pPr marL="0" indent="0" algn="ctr">
              <a:buNone/>
              <a:defRPr>
                <a:solidFill>
                  <a:schemeClr val="bg1"/>
                </a:solidFill>
              </a:defRPr>
            </a:lvl1pPr>
          </a:lstStyle>
          <a:p>
            <a:pPr lvl="0"/>
            <a:r>
              <a:rPr lang="nl-NL"/>
              <a:t>text</a:t>
            </a:r>
          </a:p>
        </p:txBody>
      </p:sp>
    </p:spTree>
    <p:extLst>
      <p:ext uri="{BB962C8B-B14F-4D97-AF65-F5344CB8AC3E}">
        <p14:creationId xmlns:p14="http://schemas.microsoft.com/office/powerpoint/2010/main" val="3717355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Closing">
    <p:spTree>
      <p:nvGrpSpPr>
        <p:cNvPr id="1" name=""/>
        <p:cNvGrpSpPr/>
        <p:nvPr/>
      </p:nvGrpSpPr>
      <p:grpSpPr>
        <a:xfrm>
          <a:off x="0" y="0"/>
          <a:ext cx="0" cy="0"/>
          <a:chOff x="0" y="0"/>
          <a:chExt cx="0" cy="0"/>
        </a:xfrm>
      </p:grpSpPr>
      <p:pic>
        <p:nvPicPr>
          <p:cNvPr id="6" name="Picture 4">
            <a:extLst>
              <a:ext uri="{FF2B5EF4-FFF2-40B4-BE49-F238E27FC236}">
                <a16:creationId xmlns:a16="http://schemas.microsoft.com/office/drawing/2014/main" id="{68A8DAAF-33ED-4E41-8B04-47F5FF84D3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73556" y="1470380"/>
            <a:ext cx="6454093" cy="3305752"/>
          </a:xfrm>
          <a:prstGeom prst="rect">
            <a:avLst/>
          </a:prstGeom>
        </p:spPr>
      </p:pic>
    </p:spTree>
    <p:extLst>
      <p:ext uri="{BB962C8B-B14F-4D97-AF65-F5344CB8AC3E}">
        <p14:creationId xmlns:p14="http://schemas.microsoft.com/office/powerpoint/2010/main" val="3180391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Title, 4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4" name="Date Placeholder 3"/>
          <p:cNvSpPr>
            <a:spLocks noGrp="1"/>
          </p:cNvSpPr>
          <p:nvPr>
            <p:ph type="dt" sz="half" idx="10"/>
          </p:nvPr>
        </p:nvSpPr>
        <p:spPr/>
        <p:txBody>
          <a:bodyPr/>
          <a:lstStyle/>
          <a:p>
            <a:fld id="{C6AB1F75-F409-4958-8742-D9B735E8292A}" type="datetime1">
              <a:rPr lang="en-US" smtClean="0"/>
              <a:t>4/18/2025</a:t>
            </a:fld>
            <a:endParaRPr lang="en-GB"/>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7" name="Tijdelijke aanduiding voor afbeelding 7">
            <a:extLst>
              <a:ext uri="{FF2B5EF4-FFF2-40B4-BE49-F238E27FC236}">
                <a16:creationId xmlns:a16="http://schemas.microsoft.com/office/drawing/2014/main" id="{65B18880-82CC-4AC0-9FD4-73A347590E4A}"/>
              </a:ext>
            </a:extLst>
          </p:cNvPr>
          <p:cNvSpPr>
            <a:spLocks noGrp="1"/>
          </p:cNvSpPr>
          <p:nvPr>
            <p:ph type="pic" sz="quarter" idx="13" hasCustomPrompt="1"/>
          </p:nvPr>
        </p:nvSpPr>
        <p:spPr>
          <a:xfrm>
            <a:off x="575733" y="1881237"/>
            <a:ext cx="2568000" cy="2760000"/>
          </a:xfrm>
          <a:solidFill>
            <a:schemeClr val="tx1">
              <a:lumMod val="20000"/>
              <a:lumOff val="80000"/>
            </a:schemeClr>
          </a:solidFill>
        </p:spPr>
        <p:txBody>
          <a:bodyPr/>
          <a:lstStyle>
            <a:lvl1pPr marL="0" indent="0" algn="ctr">
              <a:buNone/>
              <a:defRPr>
                <a:solidFill>
                  <a:schemeClr val="accent1"/>
                </a:solidFill>
              </a:defRPr>
            </a:lvl1pPr>
          </a:lstStyle>
          <a:p>
            <a:r>
              <a:rPr lang="en-GB"/>
              <a:t>Image</a:t>
            </a:r>
          </a:p>
        </p:txBody>
      </p:sp>
      <p:sp>
        <p:nvSpPr>
          <p:cNvPr id="8" name="Tijdelijke aanduiding voor afbeelding 7">
            <a:extLst>
              <a:ext uri="{FF2B5EF4-FFF2-40B4-BE49-F238E27FC236}">
                <a16:creationId xmlns:a16="http://schemas.microsoft.com/office/drawing/2014/main" id="{F21877E9-C5B9-480D-8B19-E3F131AE2D94}"/>
              </a:ext>
            </a:extLst>
          </p:cNvPr>
          <p:cNvSpPr>
            <a:spLocks noGrp="1"/>
          </p:cNvSpPr>
          <p:nvPr>
            <p:ph type="pic" sz="quarter" idx="14" hasCustomPrompt="1"/>
          </p:nvPr>
        </p:nvSpPr>
        <p:spPr>
          <a:xfrm>
            <a:off x="3399911" y="1881237"/>
            <a:ext cx="2568000" cy="2760000"/>
          </a:xfrm>
          <a:solidFill>
            <a:schemeClr val="tx1">
              <a:lumMod val="20000"/>
              <a:lumOff val="80000"/>
            </a:schemeClr>
          </a:solidFill>
        </p:spPr>
        <p:txBody>
          <a:bodyPr/>
          <a:lstStyle>
            <a:lvl1pPr marL="0" indent="0" algn="ctr">
              <a:buNone/>
              <a:defRPr>
                <a:solidFill>
                  <a:schemeClr val="accent1"/>
                </a:solidFill>
              </a:defRPr>
            </a:lvl1pPr>
          </a:lstStyle>
          <a:p>
            <a:r>
              <a:rPr lang="en-GB"/>
              <a:t>Image</a:t>
            </a:r>
          </a:p>
        </p:txBody>
      </p:sp>
      <p:sp>
        <p:nvSpPr>
          <p:cNvPr id="9" name="Tijdelijke aanduiding voor afbeelding 7">
            <a:extLst>
              <a:ext uri="{FF2B5EF4-FFF2-40B4-BE49-F238E27FC236}">
                <a16:creationId xmlns:a16="http://schemas.microsoft.com/office/drawing/2014/main" id="{41A0AB49-F1DD-4324-B0FE-DC835BD3B2FB}"/>
              </a:ext>
            </a:extLst>
          </p:cNvPr>
          <p:cNvSpPr>
            <a:spLocks noGrp="1"/>
          </p:cNvSpPr>
          <p:nvPr>
            <p:ph type="pic" sz="quarter" idx="15" hasCustomPrompt="1"/>
          </p:nvPr>
        </p:nvSpPr>
        <p:spPr>
          <a:xfrm>
            <a:off x="6224088" y="1881237"/>
            <a:ext cx="2568000" cy="2760000"/>
          </a:xfrm>
          <a:solidFill>
            <a:schemeClr val="tx1">
              <a:lumMod val="20000"/>
              <a:lumOff val="80000"/>
            </a:schemeClr>
          </a:solidFill>
        </p:spPr>
        <p:txBody>
          <a:bodyPr/>
          <a:lstStyle>
            <a:lvl1pPr marL="0" indent="0" algn="ctr">
              <a:buNone/>
              <a:defRPr>
                <a:solidFill>
                  <a:schemeClr val="accent1"/>
                </a:solidFill>
              </a:defRPr>
            </a:lvl1pPr>
          </a:lstStyle>
          <a:p>
            <a:r>
              <a:rPr lang="en-GB"/>
              <a:t>Image</a:t>
            </a:r>
          </a:p>
        </p:txBody>
      </p:sp>
      <p:sp>
        <p:nvSpPr>
          <p:cNvPr id="14" name="Tijdelijke aanduiding voor tekst 13">
            <a:extLst>
              <a:ext uri="{FF2B5EF4-FFF2-40B4-BE49-F238E27FC236}">
                <a16:creationId xmlns:a16="http://schemas.microsoft.com/office/drawing/2014/main" id="{CE04E62B-DFE8-49C6-BCEC-A19BF0599890}"/>
              </a:ext>
            </a:extLst>
          </p:cNvPr>
          <p:cNvSpPr>
            <a:spLocks noGrp="1"/>
          </p:cNvSpPr>
          <p:nvPr>
            <p:ph type="body" sz="quarter" idx="16" hasCustomPrompt="1"/>
          </p:nvPr>
        </p:nvSpPr>
        <p:spPr>
          <a:xfrm>
            <a:off x="575732" y="4640556"/>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lIns="72000" rIns="72000" anchor="ctr" anchorCtr="0">
            <a:noAutofit/>
          </a:bodyPr>
          <a:lstStyle>
            <a:lvl1pPr marL="0" indent="0" algn="ctr">
              <a:lnSpc>
                <a:spcPct val="100000"/>
              </a:lnSpc>
              <a:spcBef>
                <a:spcPts val="0"/>
              </a:spcBef>
              <a:buNone/>
              <a:defRPr>
                <a:solidFill>
                  <a:schemeClr val="bg1"/>
                </a:solidFill>
              </a:defRPr>
            </a:lvl1pPr>
          </a:lstStyle>
          <a:p>
            <a:pPr lvl="0"/>
            <a:r>
              <a:rPr lang="en-GB"/>
              <a:t>text</a:t>
            </a:r>
          </a:p>
        </p:txBody>
      </p:sp>
      <p:sp>
        <p:nvSpPr>
          <p:cNvPr id="15" name="Tijdelijke aanduiding voor tekst 14">
            <a:extLst>
              <a:ext uri="{FF2B5EF4-FFF2-40B4-BE49-F238E27FC236}">
                <a16:creationId xmlns:a16="http://schemas.microsoft.com/office/drawing/2014/main" id="{93339D03-BA0D-439C-9AE3-76BF835F80BC}"/>
              </a:ext>
            </a:extLst>
          </p:cNvPr>
          <p:cNvSpPr>
            <a:spLocks noGrp="1"/>
          </p:cNvSpPr>
          <p:nvPr>
            <p:ph type="body" sz="quarter" idx="17" hasCustomPrompt="1"/>
          </p:nvPr>
        </p:nvSpPr>
        <p:spPr>
          <a:xfrm>
            <a:off x="3399909" y="4640556"/>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lIns="72000" rIns="72000" anchor="ctr" anchorCtr="0">
            <a:noAutofit/>
          </a:bodyPr>
          <a:lstStyle>
            <a:lvl1pPr marL="0" indent="0" algn="ctr">
              <a:lnSpc>
                <a:spcPct val="100000"/>
              </a:lnSpc>
              <a:spcBef>
                <a:spcPts val="0"/>
              </a:spcBef>
              <a:buNone/>
              <a:defRPr>
                <a:solidFill>
                  <a:schemeClr val="bg1"/>
                </a:solidFill>
              </a:defRPr>
            </a:lvl1pPr>
          </a:lstStyle>
          <a:p>
            <a:pPr lvl="0"/>
            <a:r>
              <a:rPr lang="en-GB"/>
              <a:t>text</a:t>
            </a:r>
          </a:p>
        </p:txBody>
      </p:sp>
      <p:sp>
        <p:nvSpPr>
          <p:cNvPr id="16" name="Tijdelijke aanduiding voor tekst 15">
            <a:extLst>
              <a:ext uri="{FF2B5EF4-FFF2-40B4-BE49-F238E27FC236}">
                <a16:creationId xmlns:a16="http://schemas.microsoft.com/office/drawing/2014/main" id="{93DBC742-8E58-4623-A40E-7D2DB102CDAF}"/>
              </a:ext>
            </a:extLst>
          </p:cNvPr>
          <p:cNvSpPr>
            <a:spLocks noGrp="1"/>
          </p:cNvSpPr>
          <p:nvPr>
            <p:ph type="body" sz="quarter" idx="18" hasCustomPrompt="1"/>
          </p:nvPr>
        </p:nvSpPr>
        <p:spPr>
          <a:xfrm>
            <a:off x="6224087" y="4640556"/>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lIns="72000" rIns="72000" anchor="ctr" anchorCtr="0">
            <a:noAutofit/>
          </a:bodyPr>
          <a:lstStyle>
            <a:lvl1pPr marL="0" indent="0" algn="ctr">
              <a:lnSpc>
                <a:spcPct val="100000"/>
              </a:lnSpc>
              <a:spcBef>
                <a:spcPts val="0"/>
              </a:spcBef>
              <a:buNone/>
              <a:defRPr>
                <a:solidFill>
                  <a:schemeClr val="bg1"/>
                </a:solidFill>
              </a:defRPr>
            </a:lvl1pPr>
          </a:lstStyle>
          <a:p>
            <a:pPr lvl="0"/>
            <a:r>
              <a:rPr lang="en-GB"/>
              <a:t>text</a:t>
            </a:r>
          </a:p>
        </p:txBody>
      </p:sp>
      <p:sp>
        <p:nvSpPr>
          <p:cNvPr id="13" name="Tijdelijke aanduiding voor afbeelding 7">
            <a:extLst>
              <a:ext uri="{FF2B5EF4-FFF2-40B4-BE49-F238E27FC236}">
                <a16:creationId xmlns:a16="http://schemas.microsoft.com/office/drawing/2014/main" id="{9014C87B-4A9B-46A5-92E7-D035D3B01B50}"/>
              </a:ext>
            </a:extLst>
          </p:cNvPr>
          <p:cNvSpPr>
            <a:spLocks noGrp="1"/>
          </p:cNvSpPr>
          <p:nvPr>
            <p:ph type="pic" sz="quarter" idx="20" hasCustomPrompt="1"/>
          </p:nvPr>
        </p:nvSpPr>
        <p:spPr>
          <a:xfrm>
            <a:off x="9048265" y="1881237"/>
            <a:ext cx="2568000" cy="2760000"/>
          </a:xfrm>
          <a:solidFill>
            <a:schemeClr val="tx1">
              <a:lumMod val="20000"/>
              <a:lumOff val="80000"/>
            </a:schemeClr>
          </a:solidFill>
        </p:spPr>
        <p:txBody>
          <a:bodyPr/>
          <a:lstStyle>
            <a:lvl1pPr marL="0" indent="0" algn="ctr">
              <a:buNone/>
              <a:defRPr>
                <a:solidFill>
                  <a:schemeClr val="accent1"/>
                </a:solidFill>
              </a:defRPr>
            </a:lvl1pPr>
          </a:lstStyle>
          <a:p>
            <a:r>
              <a:rPr lang="en-GB"/>
              <a:t>Image</a:t>
            </a:r>
          </a:p>
        </p:txBody>
      </p:sp>
      <p:sp>
        <p:nvSpPr>
          <p:cNvPr id="17" name="Tijdelijke aanduiding voor tekst 16">
            <a:extLst>
              <a:ext uri="{FF2B5EF4-FFF2-40B4-BE49-F238E27FC236}">
                <a16:creationId xmlns:a16="http://schemas.microsoft.com/office/drawing/2014/main" id="{8B53FD86-423F-4F36-AC16-3D6CA052A00B}"/>
              </a:ext>
            </a:extLst>
          </p:cNvPr>
          <p:cNvSpPr>
            <a:spLocks noGrp="1"/>
          </p:cNvSpPr>
          <p:nvPr>
            <p:ph type="body" sz="quarter" idx="21" hasCustomPrompt="1"/>
          </p:nvPr>
        </p:nvSpPr>
        <p:spPr>
          <a:xfrm>
            <a:off x="9048265" y="4640556"/>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lIns="72000" rIns="72000" anchor="ctr" anchorCtr="0">
            <a:noAutofit/>
          </a:bodyPr>
          <a:lstStyle>
            <a:lvl1pPr marL="0" indent="0" algn="ctr">
              <a:lnSpc>
                <a:spcPct val="100000"/>
              </a:lnSpc>
              <a:spcBef>
                <a:spcPts val="0"/>
              </a:spcBef>
              <a:buNone/>
              <a:defRPr>
                <a:solidFill>
                  <a:schemeClr val="bg1"/>
                </a:solidFill>
              </a:defRPr>
            </a:lvl1pPr>
          </a:lstStyle>
          <a:p>
            <a:pPr lvl="0"/>
            <a:r>
              <a:rPr lang="en-GB"/>
              <a:t>text</a:t>
            </a:r>
          </a:p>
        </p:txBody>
      </p:sp>
    </p:spTree>
    <p:extLst>
      <p:ext uri="{BB962C8B-B14F-4D97-AF65-F5344CB8AC3E}">
        <p14:creationId xmlns:p14="http://schemas.microsoft.com/office/powerpoint/2010/main" val="1354429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Title slide - 1">
    <p:spTree>
      <p:nvGrpSpPr>
        <p:cNvPr id="1" name=""/>
        <p:cNvGrpSpPr/>
        <p:nvPr/>
      </p:nvGrpSpPr>
      <p:grpSpPr>
        <a:xfrm>
          <a:off x="0" y="0"/>
          <a:ext cx="0" cy="0"/>
          <a:chOff x="0" y="0"/>
          <a:chExt cx="0" cy="0"/>
        </a:xfrm>
      </p:grpSpPr>
      <p:sp>
        <p:nvSpPr>
          <p:cNvPr id="10" name="Tijdelijke aanduiding voor afbeelding 7">
            <a:extLst>
              <a:ext uri="{FF2B5EF4-FFF2-40B4-BE49-F238E27FC236}">
                <a16:creationId xmlns:a16="http://schemas.microsoft.com/office/drawing/2014/main" id="{4DAEAD04-C1FD-4924-B727-1FF08B2835E8}"/>
              </a:ext>
            </a:extLst>
          </p:cNvPr>
          <p:cNvSpPr>
            <a:spLocks noGrp="1"/>
          </p:cNvSpPr>
          <p:nvPr>
            <p:ph type="pic" sz="quarter" idx="13" hasCustomPrompt="1"/>
          </p:nvPr>
        </p:nvSpPr>
        <p:spPr>
          <a:xfrm>
            <a:off x="0" y="0"/>
            <a:ext cx="12192000" cy="6858000"/>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3" y="6536947"/>
            <a:ext cx="1982915" cy="123111"/>
          </a:xfrm>
          <a:prstGeom prst="rect">
            <a:avLst/>
          </a:prstGeom>
          <a:noFill/>
        </p:spPr>
        <p:txBody>
          <a:bodyPr wrap="none" lIns="0" tIns="0" rIns="0" bIns="0" rtlCol="0">
            <a:spAutoFit/>
          </a:bodyPr>
          <a:lstStyle/>
          <a:p>
            <a:r>
              <a:rPr lang="en-US" sz="800" kern="1200">
                <a:solidFill>
                  <a:schemeClr val="tx1">
                    <a:tint val="75000"/>
                  </a:schemeClr>
                </a:solidFill>
                <a:latin typeface="+mn-lt"/>
                <a:ea typeface="+mn-ea"/>
                <a:cs typeface="+mn-cs"/>
              </a:rPr>
              <a:t>© 2019 FrieslandCampina Ingredients</a:t>
            </a:r>
          </a:p>
        </p:txBody>
      </p:sp>
      <p:sp>
        <p:nvSpPr>
          <p:cNvPr id="18" name="Tijdelijke aanduiding voor tekst 17">
            <a:extLst>
              <a:ext uri="{FF2B5EF4-FFF2-40B4-BE49-F238E27FC236}">
                <a16:creationId xmlns:a16="http://schemas.microsoft.com/office/drawing/2014/main" id="{134848E4-6B17-49A0-B7F6-34867199C050}"/>
              </a:ext>
            </a:extLst>
          </p:cNvPr>
          <p:cNvSpPr>
            <a:spLocks noGrp="1"/>
          </p:cNvSpPr>
          <p:nvPr>
            <p:ph type="body" sz="quarter" idx="18" hasCustomPrompt="1"/>
          </p:nvPr>
        </p:nvSpPr>
        <p:spPr>
          <a:xfrm>
            <a:off x="336552" y="0"/>
            <a:ext cx="5327648" cy="5596669"/>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1080000" anchor="b" anchorCtr="0">
            <a:noAutofit/>
          </a:bodyPr>
          <a:lstStyle>
            <a:lvl1pPr marL="0" indent="0">
              <a:buNone/>
              <a:defRPr sz="3200">
                <a:solidFill>
                  <a:schemeClr val="accent1"/>
                </a:solidFill>
              </a:defRPr>
            </a:lvl1pPr>
          </a:lstStyle>
          <a:p>
            <a:pPr lvl="0"/>
            <a:r>
              <a:rPr lang="nl-NL"/>
              <a:t>Title (max 2 lines)</a:t>
            </a:r>
          </a:p>
        </p:txBody>
      </p:sp>
      <p:sp>
        <p:nvSpPr>
          <p:cNvPr id="3" name="Subtitle 2"/>
          <p:cNvSpPr>
            <a:spLocks noGrp="1"/>
          </p:cNvSpPr>
          <p:nvPr>
            <p:ph type="subTitle" idx="1" hasCustomPrompt="1"/>
          </p:nvPr>
        </p:nvSpPr>
        <p:spPr>
          <a:xfrm>
            <a:off x="1007533" y="4991101"/>
            <a:ext cx="4077992" cy="429684"/>
          </a:xfrm>
        </p:spPr>
        <p:txBody>
          <a:bodyPr wrap="none" lIns="0">
            <a:noAutofit/>
          </a:bodyPr>
          <a:lstStyle>
            <a:lvl1pPr marL="0" indent="0" algn="l">
              <a:buNone/>
              <a:defRPr sz="1333"/>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Subtitle</a:t>
            </a:r>
          </a:p>
        </p:txBody>
      </p:sp>
      <p:sp>
        <p:nvSpPr>
          <p:cNvPr id="22" name="Tijdelijke aanduiding voor tekst 21">
            <a:extLst>
              <a:ext uri="{FF2B5EF4-FFF2-40B4-BE49-F238E27FC236}">
                <a16:creationId xmlns:a16="http://schemas.microsoft.com/office/drawing/2014/main" id="{FB8EC1E8-CA61-4781-B9FD-8B2A398367C1}"/>
              </a:ext>
            </a:extLst>
          </p:cNvPr>
          <p:cNvSpPr>
            <a:spLocks noGrp="1"/>
          </p:cNvSpPr>
          <p:nvPr>
            <p:ph type="body" sz="quarter" idx="19" hasCustomPrompt="1"/>
          </p:nvPr>
        </p:nvSpPr>
        <p:spPr>
          <a:xfrm>
            <a:off x="662400" y="374400"/>
            <a:ext cx="1737600" cy="10464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33">
                <a:solidFill>
                  <a:schemeClr val="bg1">
                    <a:alpha val="80000"/>
                  </a:schemeClr>
                </a:solidFill>
              </a:defRPr>
            </a:lvl1pPr>
            <a:lvl2pPr marL="251878" indent="0">
              <a:buNone/>
              <a:defRPr/>
            </a:lvl2pPr>
            <a:lvl3pPr marL="486821" indent="0">
              <a:buNone/>
              <a:defRPr/>
            </a:lvl3pPr>
            <a:lvl4pPr marL="732348" indent="0">
              <a:buNone/>
              <a:defRPr/>
            </a:lvl4pPr>
            <a:lvl5pPr marL="967293" indent="0">
              <a:buNone/>
              <a:defRPr/>
            </a:lvl5pPr>
          </a:lstStyle>
          <a:p>
            <a:pPr lvl="0"/>
            <a:r>
              <a:rPr lang="nl-NL"/>
              <a:t>.</a:t>
            </a:r>
          </a:p>
        </p:txBody>
      </p:sp>
      <p:grpSp>
        <p:nvGrpSpPr>
          <p:cNvPr id="11" name="Groep 10">
            <a:extLst>
              <a:ext uri="{FF2B5EF4-FFF2-40B4-BE49-F238E27FC236}">
                <a16:creationId xmlns:a16="http://schemas.microsoft.com/office/drawing/2014/main" id="{00535BFA-E28A-45B6-9D3C-16EA9D769715}"/>
              </a:ext>
            </a:extLst>
          </p:cNvPr>
          <p:cNvGrpSpPr/>
          <p:nvPr userDrawn="1"/>
        </p:nvGrpSpPr>
        <p:grpSpPr>
          <a:xfrm>
            <a:off x="12262861" y="696657"/>
            <a:ext cx="1130143" cy="757167"/>
            <a:chOff x="9197145" y="1199569"/>
            <a:chExt cx="847607" cy="567875"/>
          </a:xfrm>
        </p:grpSpPr>
        <p:sp>
          <p:nvSpPr>
            <p:cNvPr id="12" name="Freeform 20">
              <a:extLst>
                <a:ext uri="{FF2B5EF4-FFF2-40B4-BE49-F238E27FC236}">
                  <a16:creationId xmlns:a16="http://schemas.microsoft.com/office/drawing/2014/main" id="{873BFFE2-A199-4561-84F5-D9D0C64EAFC0}"/>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4" name="Tekstvak 13">
              <a:extLst>
                <a:ext uri="{FF2B5EF4-FFF2-40B4-BE49-F238E27FC236}">
                  <a16:creationId xmlns:a16="http://schemas.microsoft.com/office/drawing/2014/main" id="{B4D24D63-913D-4B46-A3FA-1CF82CD08E8D}"/>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US" sz="933" b="0"/>
                <a:t>Delete the stamps</a:t>
              </a:r>
              <a:br>
                <a:rPr lang="en-US" sz="933" b="0"/>
              </a:br>
              <a:r>
                <a:rPr lang="en-US" sz="933" b="0"/>
                <a:t>you don’t use and align the correct one on top</a:t>
              </a:r>
            </a:p>
          </p:txBody>
        </p:sp>
      </p:grpSp>
    </p:spTree>
    <p:extLst>
      <p:ext uri="{BB962C8B-B14F-4D97-AF65-F5344CB8AC3E}">
        <p14:creationId xmlns:p14="http://schemas.microsoft.com/office/powerpoint/2010/main" val="267200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cxnSp>
        <p:nvCxnSpPr>
          <p:cNvPr id="4" name="Straight Connector 3"/>
          <p:cNvCxnSpPr/>
          <p:nvPr userDrawn="1"/>
        </p:nvCxnSpPr>
        <p:spPr>
          <a:xfrm>
            <a:off x="623712" y="6140352"/>
            <a:ext cx="10844387" cy="0"/>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623712" y="915092"/>
            <a:ext cx="10759352" cy="0"/>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Text Placeholder 2"/>
          <p:cNvSpPr>
            <a:spLocks noGrp="1"/>
          </p:cNvSpPr>
          <p:nvPr>
            <p:ph type="body" sz="quarter" idx="42" hasCustomPrompt="1"/>
          </p:nvPr>
        </p:nvSpPr>
        <p:spPr>
          <a:xfrm>
            <a:off x="666840" y="193963"/>
            <a:ext cx="10745067" cy="581892"/>
          </a:xfrm>
          <a:prstGeom prst="rect">
            <a:avLst/>
          </a:prstGeom>
        </p:spPr>
        <p:txBody>
          <a:bodyPr lIns="0" tIns="0" rIns="0" bIns="0" anchor="b"/>
          <a:lstStyle>
            <a:lvl1pPr marL="0" indent="0">
              <a:lnSpc>
                <a:spcPts val="2800"/>
              </a:lnSpc>
              <a:spcBef>
                <a:spcPct val="0"/>
              </a:spcBef>
              <a:buNone/>
              <a:defRPr sz="2711" b="1" baseline="0">
                <a:solidFill>
                  <a:srgbClr val="2A2D88"/>
                </a:solidFill>
                <a:latin typeface="Proxima Nova Rg" panose="02000506030000020004" pitchFamily="2"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PPT 4.0</a:t>
            </a:r>
          </a:p>
        </p:txBody>
      </p:sp>
      <p:sp>
        <p:nvSpPr>
          <p:cNvPr id="28" name="Text Placeholder 2"/>
          <p:cNvSpPr>
            <a:spLocks noGrp="1"/>
          </p:cNvSpPr>
          <p:nvPr>
            <p:ph type="body" sz="quarter" idx="11" hasCustomPrompt="1"/>
          </p:nvPr>
        </p:nvSpPr>
        <p:spPr>
          <a:xfrm>
            <a:off x="713775" y="6247912"/>
            <a:ext cx="638776" cy="478699"/>
          </a:xfrm>
          <a:prstGeom prst="rect">
            <a:avLst/>
          </a:prstGeom>
        </p:spPr>
        <p:txBody>
          <a:bodyPr lIns="0"/>
          <a:lstStyle>
            <a:lvl1pPr marL="0" indent="0">
              <a:buNone/>
              <a:defRPr sz="1200" b="1">
                <a:solidFill>
                  <a:srgbClr val="E25303"/>
                </a:solidFill>
                <a:latin typeface="Proxima Nova Rg" panose="02000506030000020004" pitchFamily="2" charset="0"/>
              </a:defRPr>
            </a:lvl1pPr>
            <a:lvl2pPr marL="457189" indent="0">
              <a:buNone/>
              <a:defRPr sz="1200">
                <a:latin typeface="Proxima Nova Rg" panose="02000506030000020004" pitchFamily="2" charset="0"/>
              </a:defRPr>
            </a:lvl2pPr>
            <a:lvl3pPr marL="914377" indent="0">
              <a:buNone/>
              <a:defRPr sz="1200">
                <a:latin typeface="Proxima Nova Rg" panose="02000506030000020004" pitchFamily="2" charset="0"/>
              </a:defRPr>
            </a:lvl3pPr>
            <a:lvl4pPr marL="1371566" indent="0">
              <a:buNone/>
              <a:defRPr sz="1200">
                <a:latin typeface="Proxima Nova Rg" panose="02000506030000020004" pitchFamily="2" charset="0"/>
              </a:defRPr>
            </a:lvl4pPr>
            <a:lvl5pPr marL="1828754" indent="0">
              <a:buNone/>
              <a:defRPr sz="1200">
                <a:latin typeface="Proxima Nova Rg" panose="02000506030000020004" pitchFamily="2" charset="0"/>
              </a:defRPr>
            </a:lvl5pPr>
          </a:lstStyle>
          <a:p>
            <a:pPr lvl="0"/>
            <a:r>
              <a:rPr lang="en-US"/>
              <a:t>Source: </a:t>
            </a:r>
            <a:endParaRPr lang="nl-NL"/>
          </a:p>
        </p:txBody>
      </p:sp>
      <p:sp>
        <p:nvSpPr>
          <p:cNvPr id="29" name="Text Placeholder 2"/>
          <p:cNvSpPr>
            <a:spLocks noGrp="1"/>
          </p:cNvSpPr>
          <p:nvPr>
            <p:ph type="body" sz="quarter" idx="12" hasCustomPrompt="1"/>
          </p:nvPr>
        </p:nvSpPr>
        <p:spPr>
          <a:xfrm>
            <a:off x="1364861" y="6247912"/>
            <a:ext cx="7941068" cy="478699"/>
          </a:xfrm>
          <a:prstGeom prst="rect">
            <a:avLst/>
          </a:prstGeom>
        </p:spPr>
        <p:txBody>
          <a:bodyPr lIns="0"/>
          <a:lstStyle>
            <a:lvl1pPr marL="0" indent="0">
              <a:lnSpc>
                <a:spcPts val="1440"/>
              </a:lnSpc>
              <a:spcBef>
                <a:spcPct val="0"/>
              </a:spcBef>
              <a:buNone/>
              <a:defRPr sz="1200" b="0" i="0" baseline="0">
                <a:solidFill>
                  <a:srgbClr val="555555"/>
                </a:solidFill>
                <a:latin typeface="Proxima Nova Rg" panose="02000506030000020004" pitchFamily="2" charset="0"/>
              </a:defRPr>
            </a:lvl1pPr>
            <a:lvl2pPr marL="457189" indent="0">
              <a:buNone/>
              <a:defRPr sz="1200">
                <a:latin typeface="Proxima Nova Rg" panose="02000506030000020004" pitchFamily="2" charset="0"/>
              </a:defRPr>
            </a:lvl2pPr>
            <a:lvl3pPr marL="914377" indent="0">
              <a:buNone/>
              <a:defRPr sz="1200">
                <a:latin typeface="Proxima Nova Rg" panose="02000506030000020004" pitchFamily="2" charset="0"/>
              </a:defRPr>
            </a:lvl3pPr>
            <a:lvl4pPr marL="1371566" indent="0">
              <a:buNone/>
              <a:defRPr sz="1200">
                <a:latin typeface="Proxima Nova Rg" panose="02000506030000020004" pitchFamily="2" charset="0"/>
              </a:defRPr>
            </a:lvl4pPr>
            <a:lvl5pPr marL="1828754" indent="0">
              <a:buNone/>
              <a:defRPr sz="1200">
                <a:latin typeface="Proxima Nova Rg" panose="02000506030000020004" pitchFamily="2" charset="0"/>
              </a:defRPr>
            </a:lvl5pPr>
          </a:lstStyle>
          <a:p>
            <a:pPr lvl="0"/>
            <a:r>
              <a:rPr lang="en-US"/>
              <a:t>Innova New Products Database 2019</a:t>
            </a:r>
          </a:p>
        </p:txBody>
      </p:sp>
      <p:cxnSp>
        <p:nvCxnSpPr>
          <p:cNvPr id="30" name="Straight Arrow Connector 29"/>
          <p:cNvCxnSpPr/>
          <p:nvPr userDrawn="1"/>
        </p:nvCxnSpPr>
        <p:spPr>
          <a:xfrm flipH="1">
            <a:off x="3173799" y="1820428"/>
            <a:ext cx="0" cy="2067291"/>
          </a:xfrm>
          <a:prstGeom prst="straightConnector1">
            <a:avLst/>
          </a:prstGeom>
          <a:ln>
            <a:solidFill>
              <a:srgbClr val="D9D9D9"/>
            </a:solidFill>
            <a:prstDash val="solid"/>
            <a:round/>
            <a:tailEnd type="non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userDrawn="1"/>
        </p:nvCxnSpPr>
        <p:spPr>
          <a:xfrm flipH="1">
            <a:off x="8975983" y="1833491"/>
            <a:ext cx="0" cy="2067291"/>
          </a:xfrm>
          <a:prstGeom prst="straightConnector1">
            <a:avLst/>
          </a:prstGeom>
          <a:ln>
            <a:solidFill>
              <a:srgbClr val="D9D9D9"/>
            </a:solidFill>
            <a:prstDash val="solid"/>
            <a:round/>
            <a:tailEnd type="non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userDrawn="1"/>
        </p:nvCxnSpPr>
        <p:spPr>
          <a:xfrm flipH="1">
            <a:off x="6048765" y="1846553"/>
            <a:ext cx="0" cy="2067291"/>
          </a:xfrm>
          <a:prstGeom prst="straightConnector1">
            <a:avLst/>
          </a:prstGeom>
          <a:ln>
            <a:solidFill>
              <a:srgbClr val="D9D9D9"/>
            </a:solidFill>
            <a:prstDash val="solid"/>
            <a:round/>
            <a:tailEnd type="none"/>
          </a:ln>
        </p:spPr>
        <p:style>
          <a:lnRef idx="1">
            <a:schemeClr val="accent1"/>
          </a:lnRef>
          <a:fillRef idx="0">
            <a:schemeClr val="accent1"/>
          </a:fillRef>
          <a:effectRef idx="0">
            <a:schemeClr val="accent1"/>
          </a:effectRef>
          <a:fontRef idx="minor">
            <a:schemeClr val="tx1"/>
          </a:fontRef>
        </p:style>
      </p:cxnSp>
      <p:pic>
        <p:nvPicPr>
          <p:cNvPr id="6" name="Graphic 5" descr="imiorangelogo">
            <a:extLst>
              <a:ext uri="{FF2B5EF4-FFF2-40B4-BE49-F238E27FC236}">
                <a16:creationId xmlns:a16="http://schemas.microsoft.com/office/drawing/2014/main" id="{1693C0A3-BCA5-48AA-B199-25C0F472381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55408" y="6231310"/>
            <a:ext cx="1373331" cy="495300"/>
          </a:xfrm>
          <a:prstGeom prst="rect">
            <a:avLst/>
          </a:prstGeom>
        </p:spPr>
      </p:pic>
    </p:spTree>
    <p:extLst>
      <p:ext uri="{BB962C8B-B14F-4D97-AF65-F5344CB8AC3E}">
        <p14:creationId xmlns:p14="http://schemas.microsoft.com/office/powerpoint/2010/main" val="3087390497"/>
      </p:ext>
    </p:extLst>
  </p:cSld>
  <p:clrMapOvr>
    <a:masterClrMapping/>
  </p:clrMapOvr>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userDrawn="1">
  <p:cSld name="Title slide -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007533" y="2620895"/>
            <a:ext cx="3168651" cy="2460245"/>
          </a:xfrm>
        </p:spPr>
        <p:txBody>
          <a:bodyPr wrap="square" anchor="b"/>
          <a:lstStyle>
            <a:lvl1pPr algn="l">
              <a:defRPr sz="3200"/>
            </a:lvl1pPr>
          </a:lstStyle>
          <a:p>
            <a:r>
              <a:rPr lang="en-US"/>
              <a:t>Click to edit Master title style</a:t>
            </a:r>
          </a:p>
        </p:txBody>
      </p:sp>
      <p:sp>
        <p:nvSpPr>
          <p:cNvPr id="3" name="Subtitle 2"/>
          <p:cNvSpPr>
            <a:spLocks noGrp="1"/>
          </p:cNvSpPr>
          <p:nvPr>
            <p:ph type="subTitle" idx="1" hasCustomPrompt="1"/>
          </p:nvPr>
        </p:nvSpPr>
        <p:spPr>
          <a:xfrm>
            <a:off x="1007534" y="5240497"/>
            <a:ext cx="3168676" cy="644296"/>
          </a:xfrm>
        </p:spPr>
        <p:txBody>
          <a:bodyPr wrap="square">
            <a:noAutofit/>
          </a:bodyPr>
          <a:lstStyle>
            <a:lvl1pPr marL="0" indent="0" algn="l">
              <a:buNone/>
              <a:defRPr sz="1867"/>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7534" y="6536947"/>
            <a:ext cx="1982915" cy="123111"/>
          </a:xfrm>
          <a:prstGeom prst="rect">
            <a:avLst/>
          </a:prstGeom>
          <a:noFill/>
        </p:spPr>
        <p:txBody>
          <a:bodyPr wrap="none" lIns="0" tIns="0" rIns="0" bIns="0" rtlCol="0">
            <a:spAutoFit/>
          </a:bodyPr>
          <a:lstStyle/>
          <a:p>
            <a:r>
              <a:rPr lang="en-US" sz="800" kern="1200">
                <a:solidFill>
                  <a:schemeClr val="tx1">
                    <a:tint val="75000"/>
                  </a:schemeClr>
                </a:solidFill>
                <a:latin typeface="+mn-lt"/>
                <a:ea typeface="+mn-ea"/>
                <a:cs typeface="+mn-cs"/>
              </a:rPr>
              <a:t>© 2019 FrieslandCampina Ingredients</a:t>
            </a:r>
          </a:p>
        </p:txBody>
      </p:sp>
      <p:grpSp>
        <p:nvGrpSpPr>
          <p:cNvPr id="5" name="Groep 4">
            <a:extLst>
              <a:ext uri="{FF2B5EF4-FFF2-40B4-BE49-F238E27FC236}">
                <a16:creationId xmlns:a16="http://schemas.microsoft.com/office/drawing/2014/main" id="{D5A2D930-4F05-43DA-8F93-DEAFE1096447}"/>
              </a:ext>
            </a:extLst>
          </p:cNvPr>
          <p:cNvGrpSpPr/>
          <p:nvPr userDrawn="1"/>
        </p:nvGrpSpPr>
        <p:grpSpPr>
          <a:xfrm>
            <a:off x="12262861" y="696657"/>
            <a:ext cx="1130143" cy="757167"/>
            <a:chOff x="9197145" y="1199569"/>
            <a:chExt cx="847607" cy="567875"/>
          </a:xfrm>
        </p:grpSpPr>
        <p:sp>
          <p:nvSpPr>
            <p:cNvPr id="7" name="Freeform 20">
              <a:extLst>
                <a:ext uri="{FF2B5EF4-FFF2-40B4-BE49-F238E27FC236}">
                  <a16:creationId xmlns:a16="http://schemas.microsoft.com/office/drawing/2014/main" id="{EC6D8501-6CE5-4E1D-B8D6-010E436AF741}"/>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4" name="Tekstvak 3">
              <a:extLst>
                <a:ext uri="{FF2B5EF4-FFF2-40B4-BE49-F238E27FC236}">
                  <a16:creationId xmlns:a16="http://schemas.microsoft.com/office/drawing/2014/main" id="{2565ADC4-81D8-4B71-BCBD-613626D2F4F6}"/>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US" sz="933" b="0"/>
                <a:t>Delete the stamps</a:t>
              </a:r>
              <a:br>
                <a:rPr lang="en-US" sz="933" b="0"/>
              </a:br>
              <a:r>
                <a:rPr lang="en-US" sz="933" b="0"/>
                <a:t>you don’t use and align the correct one on top</a:t>
              </a:r>
            </a:p>
          </p:txBody>
        </p:sp>
      </p:grpSp>
      <p:pic>
        <p:nvPicPr>
          <p:cNvPr id="8" name="Afbeelding 7">
            <a:extLst>
              <a:ext uri="{FF2B5EF4-FFF2-40B4-BE49-F238E27FC236}">
                <a16:creationId xmlns:a16="http://schemas.microsoft.com/office/drawing/2014/main" id="{98B43D0B-1546-47CD-A118-64DC48F2343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48001" y="374400"/>
            <a:ext cx="1727615" cy="1046400"/>
          </a:xfrm>
          <a:prstGeom prst="rect">
            <a:avLst/>
          </a:prstGeom>
        </p:spPr>
      </p:pic>
      <p:sp>
        <p:nvSpPr>
          <p:cNvPr id="18" name="Tijdelijke aanduiding voor afbeelding 17">
            <a:extLst>
              <a:ext uri="{FF2B5EF4-FFF2-40B4-BE49-F238E27FC236}">
                <a16:creationId xmlns:a16="http://schemas.microsoft.com/office/drawing/2014/main" id="{6E9B25BF-2C2A-4C2A-B366-1212A42A49B8}"/>
              </a:ext>
            </a:extLst>
          </p:cNvPr>
          <p:cNvSpPr>
            <a:spLocks noGrp="1"/>
          </p:cNvSpPr>
          <p:nvPr>
            <p:ph type="pic" sz="quarter" idx="14" hasCustomPrompt="1"/>
          </p:nvPr>
        </p:nvSpPr>
        <p:spPr>
          <a:xfrm>
            <a:off x="4526470" y="1"/>
            <a:ext cx="7665532" cy="5884793"/>
          </a:xfrm>
          <a:custGeom>
            <a:avLst/>
            <a:gdLst>
              <a:gd name="connsiteX0" fmla="*/ 0 w 5749149"/>
              <a:gd name="connsiteY0" fmla="*/ 0 h 4413595"/>
              <a:gd name="connsiteX1" fmla="*/ 5749148 w 5749149"/>
              <a:gd name="connsiteY1" fmla="*/ 0 h 4413595"/>
              <a:gd name="connsiteX2" fmla="*/ 5749148 w 5749149"/>
              <a:gd name="connsiteY2" fmla="*/ 712034 h 4413595"/>
              <a:gd name="connsiteX3" fmla="*/ 5749149 w 5749149"/>
              <a:gd name="connsiteY3" fmla="*/ 712034 h 4413595"/>
              <a:gd name="connsiteX4" fmla="*/ 5749149 w 5749149"/>
              <a:gd name="connsiteY4" fmla="*/ 4413595 h 4413595"/>
              <a:gd name="connsiteX5" fmla="*/ 616959 w 5749149"/>
              <a:gd name="connsiteY5" fmla="*/ 4413595 h 4413595"/>
              <a:gd name="connsiteX6" fmla="*/ 20 w 5749149"/>
              <a:gd name="connsiteY6" fmla="*/ 3796656 h 4413595"/>
              <a:gd name="connsiteX7" fmla="*/ 20 w 5749149"/>
              <a:gd name="connsiteY7" fmla="*/ 3452501 h 4413595"/>
              <a:gd name="connsiteX8" fmla="*/ 0 w 5749149"/>
              <a:gd name="connsiteY8" fmla="*/ 3452501 h 441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49149" h="4413595">
                <a:moveTo>
                  <a:pt x="0" y="0"/>
                </a:moveTo>
                <a:lnTo>
                  <a:pt x="5749148" y="0"/>
                </a:lnTo>
                <a:lnTo>
                  <a:pt x="5749148" y="712034"/>
                </a:lnTo>
                <a:lnTo>
                  <a:pt x="5749149" y="712034"/>
                </a:lnTo>
                <a:lnTo>
                  <a:pt x="5749149" y="4413595"/>
                </a:lnTo>
                <a:lnTo>
                  <a:pt x="616959" y="4413595"/>
                </a:lnTo>
                <a:cubicBezTo>
                  <a:pt x="276233" y="4413595"/>
                  <a:pt x="20" y="4137382"/>
                  <a:pt x="20" y="3796656"/>
                </a:cubicBezTo>
                <a:lnTo>
                  <a:pt x="20" y="3452501"/>
                </a:lnTo>
                <a:lnTo>
                  <a:pt x="0" y="3452501"/>
                </a:lnTo>
                <a:close/>
              </a:path>
            </a:pathLst>
          </a:custGeom>
          <a:solidFill>
            <a:schemeClr val="tx1">
              <a:lumMod val="20000"/>
              <a:lumOff val="80000"/>
            </a:schemeClr>
          </a:solidFill>
        </p:spPr>
        <p:txBody>
          <a:bodyPr wrap="square">
            <a:noAutofit/>
          </a:bodyPr>
          <a:lstStyle>
            <a:lvl1pPr marL="0" indent="0" algn="ctr">
              <a:buNone/>
              <a:defRPr>
                <a:solidFill>
                  <a:schemeClr val="accent1"/>
                </a:solidFill>
              </a:defRPr>
            </a:lvl1pPr>
          </a:lstStyle>
          <a:p>
            <a:r>
              <a:rPr lang="en-US"/>
              <a:t>Image</a:t>
            </a:r>
          </a:p>
        </p:txBody>
      </p:sp>
    </p:spTree>
    <p:extLst>
      <p:ext uri="{BB962C8B-B14F-4D97-AF65-F5344CB8AC3E}">
        <p14:creationId xmlns:p14="http://schemas.microsoft.com/office/powerpoint/2010/main" val="1764011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3">
          <p15:clr>
            <a:srgbClr val="5ACBF0"/>
          </p15:clr>
        </p15:guide>
        <p15:guide id="2" pos="476">
          <p15:clr>
            <a:srgbClr val="5ACBF0"/>
          </p15:clr>
        </p15:guide>
        <p15:guide id="3" orient="horz" pos="2346">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userDrawn="1">
  <p:cSld name="Breaker">
    <p:spTree>
      <p:nvGrpSpPr>
        <p:cNvPr id="1" name=""/>
        <p:cNvGrpSpPr/>
        <p:nvPr/>
      </p:nvGrpSpPr>
      <p:grpSpPr>
        <a:xfrm>
          <a:off x="0" y="0"/>
          <a:ext cx="0" cy="0"/>
          <a:chOff x="0" y="0"/>
          <a:chExt cx="0" cy="0"/>
        </a:xfrm>
      </p:grpSpPr>
      <p:sp>
        <p:nvSpPr>
          <p:cNvPr id="10" name="Tijdelijke aanduiding voor afbeelding 7">
            <a:extLst>
              <a:ext uri="{FF2B5EF4-FFF2-40B4-BE49-F238E27FC236}">
                <a16:creationId xmlns:a16="http://schemas.microsoft.com/office/drawing/2014/main" id="{4DAEAD04-C1FD-4924-B727-1FF08B2835E8}"/>
              </a:ext>
            </a:extLst>
          </p:cNvPr>
          <p:cNvSpPr>
            <a:spLocks noGrp="1"/>
          </p:cNvSpPr>
          <p:nvPr>
            <p:ph type="pic" sz="quarter" idx="13" hasCustomPrompt="1"/>
          </p:nvPr>
        </p:nvSpPr>
        <p:spPr>
          <a:xfrm>
            <a:off x="0" y="0"/>
            <a:ext cx="12192000" cy="6858000"/>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
        <p:nvSpPr>
          <p:cNvPr id="18" name="Tijdelijke aanduiding voor tekst 17">
            <a:extLst>
              <a:ext uri="{FF2B5EF4-FFF2-40B4-BE49-F238E27FC236}">
                <a16:creationId xmlns:a16="http://schemas.microsoft.com/office/drawing/2014/main" id="{134848E4-6B17-49A0-B7F6-34867199C050}"/>
              </a:ext>
            </a:extLst>
          </p:cNvPr>
          <p:cNvSpPr>
            <a:spLocks noGrp="1"/>
          </p:cNvSpPr>
          <p:nvPr>
            <p:ph type="body" sz="quarter" idx="18" hasCustomPrompt="1"/>
          </p:nvPr>
        </p:nvSpPr>
        <p:spPr>
          <a:xfrm>
            <a:off x="336552" y="3070800"/>
            <a:ext cx="3839632" cy="3787200"/>
          </a:xfrm>
          <a:prstGeom prst="round1Rect">
            <a:avLst/>
          </a:prstGeom>
          <a:solidFill>
            <a:srgbClr val="FFFFFF">
              <a:alpha val="85098"/>
            </a:srgbClr>
          </a:solidFill>
        </p:spPr>
        <p:txBody>
          <a:bodyPr wrap="square" lIns="288000" tIns="468000" rIns="72000" bIns="252000">
            <a:noAutofit/>
          </a:bodyPr>
          <a:lstStyle>
            <a:lvl1pPr marL="0" indent="0">
              <a:buNone/>
              <a:defRPr sz="3200">
                <a:solidFill>
                  <a:schemeClr val="accent1"/>
                </a:solidFill>
              </a:defRPr>
            </a:lvl1pPr>
          </a:lstStyle>
          <a:p>
            <a:pPr lvl="0"/>
            <a:r>
              <a:rPr lang="nl-NL"/>
              <a:t>Breaker text</a:t>
            </a:r>
          </a:p>
        </p:txBody>
      </p:sp>
    </p:spTree>
    <p:extLst>
      <p:ext uri="{BB962C8B-B14F-4D97-AF65-F5344CB8AC3E}">
        <p14:creationId xmlns:p14="http://schemas.microsoft.com/office/powerpoint/2010/main" val="2821051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object, image left">
    <p:spTree>
      <p:nvGrpSpPr>
        <p:cNvPr id="1" name=""/>
        <p:cNvGrpSpPr/>
        <p:nvPr/>
      </p:nvGrpSpPr>
      <p:grpSpPr>
        <a:xfrm>
          <a:off x="0" y="0"/>
          <a:ext cx="0" cy="0"/>
          <a:chOff x="0" y="0"/>
          <a:chExt cx="0" cy="0"/>
        </a:xfrm>
      </p:grpSpPr>
      <p:sp>
        <p:nvSpPr>
          <p:cNvPr id="8" name="Tijdelijke aanduiding voor afbeelding 7">
            <a:extLst>
              <a:ext uri="{FF2B5EF4-FFF2-40B4-BE49-F238E27FC236}">
                <a16:creationId xmlns:a16="http://schemas.microsoft.com/office/drawing/2014/main" id="{F720B503-17F8-4237-9A82-0CEE6CD5AC31}"/>
              </a:ext>
            </a:extLst>
          </p:cNvPr>
          <p:cNvSpPr>
            <a:spLocks noGrp="1"/>
          </p:cNvSpPr>
          <p:nvPr>
            <p:ph type="pic" sz="quarter" idx="13" hasCustomPrompt="1"/>
          </p:nvPr>
        </p:nvSpPr>
        <p:spPr>
          <a:xfrm>
            <a:off x="-2" y="0"/>
            <a:ext cx="4176185" cy="6858000"/>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
        <p:nvSpPr>
          <p:cNvPr id="2" name="Title 1"/>
          <p:cNvSpPr>
            <a:spLocks noGrp="1"/>
          </p:cNvSpPr>
          <p:nvPr>
            <p:ph type="title" hasCustomPrompt="1"/>
          </p:nvPr>
        </p:nvSpPr>
        <p:spPr>
          <a:xfrm>
            <a:off x="4512733" y="548218"/>
            <a:ext cx="7103532" cy="1036965"/>
          </a:xfrm>
        </p:spPr>
        <p:txBody>
          <a:bodyPr/>
          <a:lstStyle/>
          <a:p>
            <a:r>
              <a:rPr lang="en-US"/>
              <a:t>Click to edit Master title style</a:t>
            </a:r>
          </a:p>
        </p:txBody>
      </p:sp>
      <p:sp>
        <p:nvSpPr>
          <p:cNvPr id="3" name="Content Placeholder 2"/>
          <p:cNvSpPr>
            <a:spLocks noGrp="1"/>
          </p:cNvSpPr>
          <p:nvPr>
            <p:ph idx="1" hasCustomPrompt="1"/>
          </p:nvPr>
        </p:nvSpPr>
        <p:spPr>
          <a:xfrm>
            <a:off x="4512734" y="1701801"/>
            <a:ext cx="7103532" cy="41761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96D31A7-F258-47E6-8A14-59FCDF69C82B}" type="datetime1">
              <a:rPr lang="en-US" smtClean="0"/>
              <a:t>4/18/2025</a:t>
            </a:fld>
            <a:endParaRPr lang="en-US"/>
          </a:p>
        </p:txBody>
      </p:sp>
      <p:sp>
        <p:nvSpPr>
          <p:cNvPr id="5" name="Footer Placeholder 4"/>
          <p:cNvSpPr>
            <a:spLocks noGrp="1"/>
          </p:cNvSpPr>
          <p:nvPr>
            <p:ph type="ftr" sz="quarter" idx="11"/>
          </p:nvPr>
        </p:nvSpPr>
        <p:spPr>
          <a:xfrm>
            <a:off x="4792232" y="6491432"/>
            <a:ext cx="1652163" cy="102592"/>
          </a:xfrm>
        </p:spPr>
        <p:txBody>
          <a:bodyPr/>
          <a:lstStyle/>
          <a:p>
            <a:r>
              <a:rPr lang="en-US"/>
              <a:t>Draft | Internal use only | Confidential</a:t>
            </a:r>
          </a:p>
        </p:txBody>
      </p:sp>
      <p:sp>
        <p:nvSpPr>
          <p:cNvPr id="6" name="Slide Number Placeholder 5"/>
          <p:cNvSpPr>
            <a:spLocks noGrp="1"/>
          </p:cNvSpPr>
          <p:nvPr>
            <p:ph type="sldNum" sz="quarter" idx="12"/>
          </p:nvPr>
        </p:nvSpPr>
        <p:spPr>
          <a:xfrm>
            <a:off x="4523662" y="6491400"/>
            <a:ext cx="147476" cy="102657"/>
          </a:xfrm>
        </p:spPr>
        <p:txBody>
          <a:bodyPr/>
          <a:lstStyle/>
          <a:p>
            <a:fld id="{9BE0E23E-9022-4929-B297-EB2777CDBB1F}" type="slidenum">
              <a:rPr lang="en-US" smtClean="0"/>
              <a:t>‹#›</a:t>
            </a:fld>
            <a:endParaRPr lang="en-US"/>
          </a:p>
        </p:txBody>
      </p:sp>
    </p:spTree>
    <p:extLst>
      <p:ext uri="{BB962C8B-B14F-4D97-AF65-F5344CB8AC3E}">
        <p14:creationId xmlns:p14="http://schemas.microsoft.com/office/powerpoint/2010/main" val="761636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object, image right (small)">
    <p:spTree>
      <p:nvGrpSpPr>
        <p:cNvPr id="1" name=""/>
        <p:cNvGrpSpPr/>
        <p:nvPr/>
      </p:nvGrpSpPr>
      <p:grpSpPr>
        <a:xfrm>
          <a:off x="0" y="0"/>
          <a:ext cx="0" cy="0"/>
          <a:chOff x="0" y="0"/>
          <a:chExt cx="0" cy="0"/>
        </a:xfrm>
      </p:grpSpPr>
      <p:sp>
        <p:nvSpPr>
          <p:cNvPr id="8" name="Tijdelijke aanduiding voor afbeelding 7">
            <a:extLst>
              <a:ext uri="{FF2B5EF4-FFF2-40B4-BE49-F238E27FC236}">
                <a16:creationId xmlns:a16="http://schemas.microsoft.com/office/drawing/2014/main" id="{F720B503-17F8-4237-9A82-0CEE6CD5AC31}"/>
              </a:ext>
            </a:extLst>
          </p:cNvPr>
          <p:cNvSpPr>
            <a:spLocks noGrp="1"/>
          </p:cNvSpPr>
          <p:nvPr>
            <p:ph type="pic" sz="quarter" idx="13" hasCustomPrompt="1"/>
          </p:nvPr>
        </p:nvSpPr>
        <p:spPr>
          <a:xfrm>
            <a:off x="8015817" y="0"/>
            <a:ext cx="4176183" cy="6858000"/>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
        <p:nvSpPr>
          <p:cNvPr id="2" name="Title 1"/>
          <p:cNvSpPr>
            <a:spLocks noGrp="1"/>
          </p:cNvSpPr>
          <p:nvPr>
            <p:ph type="title" hasCustomPrompt="1"/>
          </p:nvPr>
        </p:nvSpPr>
        <p:spPr>
          <a:xfrm>
            <a:off x="575734" y="548218"/>
            <a:ext cx="7096356" cy="1036965"/>
          </a:xfrm>
        </p:spPr>
        <p:txBody>
          <a:bodyPr/>
          <a:lstStyle/>
          <a:p>
            <a:r>
              <a:rPr lang="en-US"/>
              <a:t>Click to edit Master title style</a:t>
            </a:r>
          </a:p>
        </p:txBody>
      </p:sp>
      <p:sp>
        <p:nvSpPr>
          <p:cNvPr id="3" name="Content Placeholder 2"/>
          <p:cNvSpPr>
            <a:spLocks noGrp="1"/>
          </p:cNvSpPr>
          <p:nvPr>
            <p:ph idx="1" hasCustomPrompt="1"/>
          </p:nvPr>
        </p:nvSpPr>
        <p:spPr>
          <a:xfrm>
            <a:off x="580291" y="1701801"/>
            <a:ext cx="7096355" cy="41761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7218187" y="6491400"/>
            <a:ext cx="458459" cy="102657"/>
          </a:xfrm>
        </p:spPr>
        <p:txBody>
          <a:bodyPr/>
          <a:lstStyle/>
          <a:p>
            <a:fld id="{94C26F1B-8268-4E69-8D70-B2661C0FCB0D}" type="datetime1">
              <a:rPr lang="en-US" smtClean="0"/>
              <a:t>4/18/2025</a:t>
            </a:fld>
            <a:endParaRPr lang="en-US"/>
          </a:p>
        </p:txBody>
      </p:sp>
      <p:sp>
        <p:nvSpPr>
          <p:cNvPr id="5" name="Footer Placeholder 4"/>
          <p:cNvSpPr>
            <a:spLocks noGrp="1"/>
          </p:cNvSpPr>
          <p:nvPr>
            <p:ph type="ftr" sz="quarter" idx="11"/>
          </p:nvPr>
        </p:nvSpPr>
        <p:spPr/>
        <p:txBody>
          <a:bodyPr/>
          <a:lstStyle/>
          <a:p>
            <a:r>
              <a:rPr lang="en-US"/>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spTree>
    <p:extLst>
      <p:ext uri="{BB962C8B-B14F-4D97-AF65-F5344CB8AC3E}">
        <p14:creationId xmlns:p14="http://schemas.microsoft.com/office/powerpoint/2010/main" val="4062979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object, image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5734" y="548218"/>
            <a:ext cx="5257804" cy="1036965"/>
          </a:xfrm>
        </p:spPr>
        <p:txBody>
          <a:bodyPr/>
          <a:lstStyle/>
          <a:p>
            <a:r>
              <a:rPr lang="en-US"/>
              <a:t>Click to edit Master title style</a:t>
            </a:r>
          </a:p>
        </p:txBody>
      </p:sp>
      <p:sp>
        <p:nvSpPr>
          <p:cNvPr id="3" name="Content Placeholder 2"/>
          <p:cNvSpPr>
            <a:spLocks noGrp="1"/>
          </p:cNvSpPr>
          <p:nvPr>
            <p:ph idx="1" hasCustomPrompt="1"/>
          </p:nvPr>
        </p:nvSpPr>
        <p:spPr>
          <a:xfrm>
            <a:off x="580293" y="1701801"/>
            <a:ext cx="5257804" cy="43666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379638" y="6491400"/>
            <a:ext cx="458459" cy="102657"/>
          </a:xfrm>
        </p:spPr>
        <p:txBody>
          <a:bodyPr/>
          <a:lstStyle/>
          <a:p>
            <a:fld id="{17B25873-DF50-4FB9-8139-F761F70AF5B6}" type="datetime1">
              <a:rPr lang="en-US" smtClean="0"/>
              <a:t>4/18/2025</a:t>
            </a:fld>
            <a:endParaRPr lang="en-US"/>
          </a:p>
        </p:txBody>
      </p:sp>
      <p:sp>
        <p:nvSpPr>
          <p:cNvPr id="5" name="Footer Placeholder 4"/>
          <p:cNvSpPr>
            <a:spLocks noGrp="1"/>
          </p:cNvSpPr>
          <p:nvPr>
            <p:ph type="ftr" sz="quarter" idx="11"/>
          </p:nvPr>
        </p:nvSpPr>
        <p:spPr/>
        <p:txBody>
          <a:bodyPr/>
          <a:lstStyle/>
          <a:p>
            <a:r>
              <a:rPr lang="en-US"/>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sp>
        <p:nvSpPr>
          <p:cNvPr id="8" name="Tijdelijke aanduiding voor afbeelding 7">
            <a:extLst>
              <a:ext uri="{FF2B5EF4-FFF2-40B4-BE49-F238E27FC236}">
                <a16:creationId xmlns:a16="http://schemas.microsoft.com/office/drawing/2014/main" id="{F720B503-17F8-4237-9A82-0CEE6CD5AC31}"/>
              </a:ext>
            </a:extLst>
          </p:cNvPr>
          <p:cNvSpPr>
            <a:spLocks noGrp="1"/>
          </p:cNvSpPr>
          <p:nvPr>
            <p:ph type="pic" sz="quarter" idx="13" hasCustomPrompt="1"/>
          </p:nvPr>
        </p:nvSpPr>
        <p:spPr>
          <a:xfrm>
            <a:off x="6096000" y="0"/>
            <a:ext cx="6096000" cy="6858000"/>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Tree>
    <p:extLst>
      <p:ext uri="{BB962C8B-B14F-4D97-AF65-F5344CB8AC3E}">
        <p14:creationId xmlns:p14="http://schemas.microsoft.com/office/powerpoint/2010/main" val="1726768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and im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45F08BB-9013-46FC-9F78-D7ECE4C78F61}" type="datetime1">
              <a:rPr lang="en-US" smtClean="0"/>
              <a:t>4/18/2025</a:t>
            </a:fld>
            <a:endParaRPr lang="en-US"/>
          </a:p>
        </p:txBody>
      </p:sp>
      <p:sp>
        <p:nvSpPr>
          <p:cNvPr id="5" name="Footer Placeholder 4"/>
          <p:cNvSpPr>
            <a:spLocks noGrp="1"/>
          </p:cNvSpPr>
          <p:nvPr>
            <p:ph type="ftr" sz="quarter" idx="11"/>
          </p:nvPr>
        </p:nvSpPr>
        <p:spPr/>
        <p:txBody>
          <a:bodyPr/>
          <a:lstStyle/>
          <a:p>
            <a:r>
              <a:rPr lang="en-US"/>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sp>
        <p:nvSpPr>
          <p:cNvPr id="8" name="Tijdelijke aanduiding voor afbeelding 7">
            <a:extLst>
              <a:ext uri="{FF2B5EF4-FFF2-40B4-BE49-F238E27FC236}">
                <a16:creationId xmlns:a16="http://schemas.microsoft.com/office/drawing/2014/main" id="{F720B503-17F8-4237-9A82-0CEE6CD5AC31}"/>
              </a:ext>
            </a:extLst>
          </p:cNvPr>
          <p:cNvSpPr>
            <a:spLocks noGrp="1"/>
          </p:cNvSpPr>
          <p:nvPr>
            <p:ph type="pic" sz="quarter" idx="13" hasCustomPrompt="1"/>
          </p:nvPr>
        </p:nvSpPr>
        <p:spPr>
          <a:xfrm>
            <a:off x="580291" y="1701801"/>
            <a:ext cx="11035975" cy="4176184"/>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Tree>
    <p:extLst>
      <p:ext uri="{BB962C8B-B14F-4D97-AF65-F5344CB8AC3E}">
        <p14:creationId xmlns:p14="http://schemas.microsoft.com/office/powerpoint/2010/main" val="365382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type="obj" preserve="1">
  <p:cSld name="Title and objec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3" name="Content Placeholder 2"/>
          <p:cNvSpPr>
            <a:spLocks noGrp="1"/>
          </p:cNvSpPr>
          <p:nvPr>
            <p:ph idx="1" hasCustomPrompt="1"/>
          </p:nvPr>
        </p:nvSpPr>
        <p:spPr>
          <a:xfrm>
            <a:off x="580291" y="1701801"/>
            <a:ext cx="11035975" cy="41761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536A26D-089B-49C7-883A-83110EEB22BF}" type="datetime1">
              <a:rPr lang="en-US" smtClean="0"/>
              <a:t>4/18/2025</a:t>
            </a:fld>
            <a:endParaRPr lang="en-US"/>
          </a:p>
        </p:txBody>
      </p:sp>
      <p:sp>
        <p:nvSpPr>
          <p:cNvPr id="5" name="Footer Placeholder 4"/>
          <p:cNvSpPr>
            <a:spLocks noGrp="1"/>
          </p:cNvSpPr>
          <p:nvPr>
            <p:ph type="ftr" sz="quarter" idx="11"/>
          </p:nvPr>
        </p:nvSpPr>
        <p:spPr/>
        <p:txBody>
          <a:bodyPr/>
          <a:lstStyle/>
          <a:p>
            <a:r>
              <a:rPr lang="en-US"/>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spTree>
    <p:extLst>
      <p:ext uri="{BB962C8B-B14F-4D97-AF65-F5344CB8AC3E}">
        <p14:creationId xmlns:p14="http://schemas.microsoft.com/office/powerpoint/2010/main" val="2415919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subtitle and objec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3" name="Content Placeholder 2"/>
          <p:cNvSpPr>
            <a:spLocks noGrp="1"/>
          </p:cNvSpPr>
          <p:nvPr>
            <p:ph idx="1" hasCustomPrompt="1"/>
          </p:nvPr>
        </p:nvSpPr>
        <p:spPr>
          <a:xfrm>
            <a:off x="580291" y="2077593"/>
            <a:ext cx="11035975" cy="38003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44C72E4-1609-4E2B-81D9-B3080DFCBD83}" type="datetime1">
              <a:rPr lang="en-US" smtClean="0"/>
              <a:t>4/18/2025</a:t>
            </a:fld>
            <a:endParaRPr lang="en-US"/>
          </a:p>
        </p:txBody>
      </p:sp>
      <p:sp>
        <p:nvSpPr>
          <p:cNvPr id="5" name="Footer Placeholder 4"/>
          <p:cNvSpPr>
            <a:spLocks noGrp="1"/>
          </p:cNvSpPr>
          <p:nvPr>
            <p:ph type="ftr" sz="quarter" idx="11"/>
          </p:nvPr>
        </p:nvSpPr>
        <p:spPr/>
        <p:txBody>
          <a:bodyPr/>
          <a:lstStyle/>
          <a:p>
            <a:r>
              <a:rPr lang="en-US"/>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sp>
        <p:nvSpPr>
          <p:cNvPr id="8" name="Tijdelijke aanduiding voor tekst 7">
            <a:extLst>
              <a:ext uri="{FF2B5EF4-FFF2-40B4-BE49-F238E27FC236}">
                <a16:creationId xmlns:a16="http://schemas.microsoft.com/office/drawing/2014/main" id="{F7DBD289-E124-4653-9BF3-FE57FA1AC736}"/>
              </a:ext>
            </a:extLst>
          </p:cNvPr>
          <p:cNvSpPr>
            <a:spLocks noGrp="1"/>
          </p:cNvSpPr>
          <p:nvPr>
            <p:ph type="body" sz="quarter" idx="13" hasCustomPrompt="1"/>
          </p:nvPr>
        </p:nvSpPr>
        <p:spPr>
          <a:xfrm>
            <a:off x="580291" y="1701800"/>
            <a:ext cx="11035200" cy="375792"/>
          </a:xfrm>
        </p:spPr>
        <p:txBody>
          <a:bodyPr wrap="none"/>
          <a:lstStyle>
            <a:lvl1pPr marL="0" indent="0">
              <a:buNone/>
              <a:defRPr>
                <a:solidFill>
                  <a:schemeClr val="accent1"/>
                </a:solidFill>
              </a:defRPr>
            </a:lvl1pPr>
          </a:lstStyle>
          <a:p>
            <a:pPr lvl="0"/>
            <a:r>
              <a:rPr lang="en-US"/>
              <a:t>Subtitle</a:t>
            </a:r>
          </a:p>
        </p:txBody>
      </p:sp>
    </p:spTree>
    <p:extLst>
      <p:ext uri="{BB962C8B-B14F-4D97-AF65-F5344CB8AC3E}">
        <p14:creationId xmlns:p14="http://schemas.microsoft.com/office/powerpoint/2010/main" val="2221149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and 2 objec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80800" y="1703997"/>
            <a:ext cx="5400000" cy="417398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216264" y="1703997"/>
            <a:ext cx="5400000" cy="417398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77E08C8-DDC9-4BEB-BE59-17E5F7D6D516}" type="datetime1">
              <a:rPr lang="en-US" smtClean="0"/>
              <a:t>4/18/2025</a:t>
            </a:fld>
            <a:endParaRPr lang="en-US"/>
          </a:p>
        </p:txBody>
      </p:sp>
      <p:sp>
        <p:nvSpPr>
          <p:cNvPr id="6" name="Footer Placeholder 5"/>
          <p:cNvSpPr>
            <a:spLocks noGrp="1"/>
          </p:cNvSpPr>
          <p:nvPr>
            <p:ph type="ftr" sz="quarter" idx="11"/>
          </p:nvPr>
        </p:nvSpPr>
        <p:spPr/>
        <p:txBody>
          <a:bodyPr/>
          <a:lstStyle/>
          <a:p>
            <a:r>
              <a:rPr lang="en-US"/>
              <a:t>Draft | Internal use only | Confidential</a:t>
            </a:r>
          </a:p>
        </p:txBody>
      </p:sp>
      <p:sp>
        <p:nvSpPr>
          <p:cNvPr id="7" name="Slide Number Placeholder 6"/>
          <p:cNvSpPr>
            <a:spLocks noGrp="1"/>
          </p:cNvSpPr>
          <p:nvPr>
            <p:ph type="sldNum" sz="quarter" idx="12"/>
          </p:nvPr>
        </p:nvSpPr>
        <p:spPr/>
        <p:txBody>
          <a:bodyPr/>
          <a:lstStyle/>
          <a:p>
            <a:fld id="{9BE0E23E-9022-4929-B297-EB2777CDBB1F}" type="slidenum">
              <a:rPr lang="en-US" smtClean="0"/>
              <a:t>‹#›</a:t>
            </a:fld>
            <a:endParaRPr lang="en-US"/>
          </a:p>
        </p:txBody>
      </p:sp>
      <p:sp>
        <p:nvSpPr>
          <p:cNvPr id="8" name="Titel 7">
            <a:extLst>
              <a:ext uri="{FF2B5EF4-FFF2-40B4-BE49-F238E27FC236}">
                <a16:creationId xmlns:a16="http://schemas.microsoft.com/office/drawing/2014/main" id="{26BE0271-8E9F-4D14-97DF-D828AE403B0B}"/>
              </a:ext>
            </a:extLst>
          </p:cNvPr>
          <p:cNvSpPr>
            <a:spLocks noGrp="1"/>
          </p:cNvSpPr>
          <p:nvPr>
            <p:ph type="title" hasCustomPrompt="1"/>
          </p:nvPr>
        </p:nvSpPr>
        <p:spPr/>
        <p:txBody>
          <a:bodyPr/>
          <a:lstStyle/>
          <a:p>
            <a:r>
              <a:rPr lang="en-US"/>
              <a:t>Click to edit Master title style</a:t>
            </a:r>
            <a:endParaRPr lang="nl-NL"/>
          </a:p>
        </p:txBody>
      </p:sp>
    </p:spTree>
    <p:extLst>
      <p:ext uri="{BB962C8B-B14F-4D97-AF65-F5344CB8AC3E}">
        <p14:creationId xmlns:p14="http://schemas.microsoft.com/office/powerpoint/2010/main" val="3502247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subtitle, 2 objec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80800" y="2077592"/>
            <a:ext cx="5400000" cy="38003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216265" y="2077592"/>
            <a:ext cx="5400000" cy="38003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B7501D9-8A3C-4BCE-A8E7-4A33255C7CDA}" type="datetime1">
              <a:rPr lang="en-US" smtClean="0"/>
              <a:t>4/18/2025</a:t>
            </a:fld>
            <a:endParaRPr lang="en-US"/>
          </a:p>
        </p:txBody>
      </p:sp>
      <p:sp>
        <p:nvSpPr>
          <p:cNvPr id="6" name="Footer Placeholder 5"/>
          <p:cNvSpPr>
            <a:spLocks noGrp="1"/>
          </p:cNvSpPr>
          <p:nvPr>
            <p:ph type="ftr" sz="quarter" idx="11"/>
          </p:nvPr>
        </p:nvSpPr>
        <p:spPr/>
        <p:txBody>
          <a:bodyPr/>
          <a:lstStyle/>
          <a:p>
            <a:r>
              <a:rPr lang="en-US"/>
              <a:t>Draft | Internal use only | Confidential</a:t>
            </a:r>
          </a:p>
        </p:txBody>
      </p:sp>
      <p:sp>
        <p:nvSpPr>
          <p:cNvPr id="7" name="Slide Number Placeholder 6"/>
          <p:cNvSpPr>
            <a:spLocks noGrp="1"/>
          </p:cNvSpPr>
          <p:nvPr>
            <p:ph type="sldNum" sz="quarter" idx="12"/>
          </p:nvPr>
        </p:nvSpPr>
        <p:spPr/>
        <p:txBody>
          <a:bodyPr/>
          <a:lstStyle/>
          <a:p>
            <a:fld id="{9BE0E23E-9022-4929-B297-EB2777CDBB1F}" type="slidenum">
              <a:rPr lang="en-US" smtClean="0"/>
              <a:t>‹#›</a:t>
            </a:fld>
            <a:endParaRPr lang="en-US"/>
          </a:p>
        </p:txBody>
      </p:sp>
      <p:sp>
        <p:nvSpPr>
          <p:cNvPr id="9" name="Tijdelijke aanduiding voor tekst 7">
            <a:extLst>
              <a:ext uri="{FF2B5EF4-FFF2-40B4-BE49-F238E27FC236}">
                <a16:creationId xmlns:a16="http://schemas.microsoft.com/office/drawing/2014/main" id="{27508BEF-285C-40D0-8A0C-EE0B84C47D52}"/>
              </a:ext>
            </a:extLst>
          </p:cNvPr>
          <p:cNvSpPr>
            <a:spLocks noGrp="1"/>
          </p:cNvSpPr>
          <p:nvPr>
            <p:ph type="body" sz="quarter" idx="13" hasCustomPrompt="1"/>
          </p:nvPr>
        </p:nvSpPr>
        <p:spPr>
          <a:xfrm>
            <a:off x="580291" y="1701800"/>
            <a:ext cx="5400000" cy="375792"/>
          </a:xfrm>
        </p:spPr>
        <p:txBody>
          <a:bodyPr wrap="none"/>
          <a:lstStyle>
            <a:lvl1pPr marL="0" indent="0">
              <a:buNone/>
              <a:defRPr>
                <a:solidFill>
                  <a:schemeClr val="accent1"/>
                </a:solidFill>
              </a:defRPr>
            </a:lvl1pPr>
          </a:lstStyle>
          <a:p>
            <a:pPr lvl="0"/>
            <a:r>
              <a:rPr lang="en-US"/>
              <a:t>Subtitle</a:t>
            </a:r>
          </a:p>
        </p:txBody>
      </p:sp>
      <p:sp>
        <p:nvSpPr>
          <p:cNvPr id="10" name="Tijdelijke aanduiding voor tekst 7">
            <a:extLst>
              <a:ext uri="{FF2B5EF4-FFF2-40B4-BE49-F238E27FC236}">
                <a16:creationId xmlns:a16="http://schemas.microsoft.com/office/drawing/2014/main" id="{9913EE84-7DEC-4A2D-AD57-9B4798154DE0}"/>
              </a:ext>
            </a:extLst>
          </p:cNvPr>
          <p:cNvSpPr>
            <a:spLocks noGrp="1"/>
          </p:cNvSpPr>
          <p:nvPr>
            <p:ph type="body" sz="quarter" idx="14" hasCustomPrompt="1"/>
          </p:nvPr>
        </p:nvSpPr>
        <p:spPr>
          <a:xfrm>
            <a:off x="6216264" y="1703997"/>
            <a:ext cx="5400000" cy="375792"/>
          </a:xfrm>
        </p:spPr>
        <p:txBody>
          <a:bodyPr wrap="none"/>
          <a:lstStyle>
            <a:lvl1pPr marL="0" indent="0">
              <a:buNone/>
              <a:defRPr>
                <a:solidFill>
                  <a:schemeClr val="accent1"/>
                </a:solidFill>
              </a:defRPr>
            </a:lvl1pPr>
          </a:lstStyle>
          <a:p>
            <a:pPr lvl="0"/>
            <a:r>
              <a:rPr lang="en-US"/>
              <a:t>Subtitel</a:t>
            </a:r>
          </a:p>
        </p:txBody>
      </p:sp>
      <p:sp>
        <p:nvSpPr>
          <p:cNvPr id="8" name="Titel 7">
            <a:extLst>
              <a:ext uri="{FF2B5EF4-FFF2-40B4-BE49-F238E27FC236}">
                <a16:creationId xmlns:a16="http://schemas.microsoft.com/office/drawing/2014/main" id="{8ABE8B1D-E1F9-4E74-945C-E81D06AF0D78}"/>
              </a:ext>
            </a:extLst>
          </p:cNvPr>
          <p:cNvSpPr>
            <a:spLocks noGrp="1"/>
          </p:cNvSpPr>
          <p:nvPr>
            <p:ph type="title" hasCustomPrompt="1"/>
          </p:nvPr>
        </p:nvSpPr>
        <p:spPr/>
        <p:txBody>
          <a:bodyPr/>
          <a:lstStyle/>
          <a:p>
            <a:r>
              <a:rPr lang="en-US"/>
              <a:t>Click to edit Master title style</a:t>
            </a:r>
            <a:endParaRPr lang="nl-NL"/>
          </a:p>
        </p:txBody>
      </p:sp>
    </p:spTree>
    <p:extLst>
      <p:ext uri="{BB962C8B-B14F-4D97-AF65-F5344CB8AC3E}">
        <p14:creationId xmlns:p14="http://schemas.microsoft.com/office/powerpoint/2010/main" val="3727983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bwMode="auto">
          <a:xfrm>
            <a:off x="914639" y="6248401"/>
            <a:ext cx="2539075" cy="307777"/>
          </a:xfrm>
          <a:prstGeom prst="rect">
            <a:avLst/>
          </a:prstGeom>
          <a:noFill/>
          <a:ln>
            <a:noFill/>
          </a:ln>
          <a:effectLst/>
        </p:spPr>
        <p:txBody>
          <a:bodyPr vert="horz" wrap="square" lIns="91440" tIns="45720" rIns="91440" bIns="45720" numCol="1" anchor="t" anchorCtr="0" compatLnSpc="1">
            <a:prstTxWarp prst="textNoShape">
              <a:avLst/>
            </a:prstTxWarp>
          </a:bodyPr>
          <a:lstStyle>
            <a:lvl1pPr eaLnBrk="1" hangingPunct="1">
              <a:defRPr sz="1400">
                <a:latin typeface="Times New Roman" charset="0"/>
                <a:cs typeface="Times New Roman"/>
              </a:defRPr>
            </a:lvl1pPr>
          </a:lstStyle>
          <a:p>
            <a:pPr algn="l" defTabSz="914377" fontAlgn="base">
              <a:spcBef>
                <a:spcPct val="0"/>
              </a:spcBef>
              <a:spcAft>
                <a:spcPct val="0"/>
              </a:spcAft>
              <a:defRPr/>
            </a:pPr>
            <a:endParaRPr lang="en-GB">
              <a:solidFill>
                <a:schemeClr val="tx1"/>
              </a:solidFill>
            </a:endParaRPr>
          </a:p>
        </p:txBody>
      </p:sp>
      <p:sp>
        <p:nvSpPr>
          <p:cNvPr id="3" name="Rectangle 5"/>
          <p:cNvSpPr>
            <a:spLocks noGrp="1" noChangeArrowheads="1"/>
          </p:cNvSpPr>
          <p:nvPr>
            <p:ph type="ftr" sz="quarter" idx="11"/>
          </p:nvPr>
        </p:nvSpPr>
        <p:spPr bwMode="auto">
          <a:xfrm>
            <a:off x="4165098" y="6248401"/>
            <a:ext cx="3861805" cy="307777"/>
          </a:xfrm>
          <a:prstGeom prst="rect">
            <a:avLst/>
          </a:prstGeom>
          <a:noFill/>
          <a:ln>
            <a:noFill/>
          </a:ln>
          <a:effectLst/>
        </p:spPr>
        <p:txBody>
          <a:bodyPr vert="horz" wrap="square" lIns="91440" tIns="45720" rIns="91440" bIns="45720" numCol="1" anchor="t" anchorCtr="0" compatLnSpc="1">
            <a:prstTxWarp prst="textNoShape">
              <a:avLst/>
            </a:prstTxWarp>
          </a:bodyPr>
          <a:lstStyle>
            <a:lvl1pPr algn="ctr" eaLnBrk="1" hangingPunct="1">
              <a:defRPr sz="1400">
                <a:latin typeface="Times New Roman" charset="0"/>
                <a:cs typeface="Times New Roman"/>
              </a:defRPr>
            </a:lvl1pPr>
          </a:lstStyle>
          <a:p>
            <a:pPr defTabSz="914377" fontAlgn="base">
              <a:spcBef>
                <a:spcPct val="0"/>
              </a:spcBef>
              <a:spcAft>
                <a:spcPct val="0"/>
              </a:spcAft>
              <a:defRPr/>
            </a:pPr>
            <a:endParaRPr lang="en-GB">
              <a:solidFill>
                <a:schemeClr val="tx1"/>
              </a:solidFill>
            </a:endParaRPr>
          </a:p>
        </p:txBody>
      </p:sp>
      <p:sp>
        <p:nvSpPr>
          <p:cNvPr id="4" name="Rectangle 6"/>
          <p:cNvSpPr>
            <a:spLocks noGrp="1" noChangeArrowheads="1"/>
          </p:cNvSpPr>
          <p:nvPr>
            <p:ph type="sldNum" sz="quarter" idx="12"/>
          </p:nvPr>
        </p:nvSpPr>
        <p:spPr bwMode="auto">
          <a:xfrm>
            <a:off x="8738289" y="6248400"/>
            <a:ext cx="2539073" cy="457200"/>
          </a:xfrm>
          <a:prstGeom prst="rect">
            <a:avLst/>
          </a:prstGeom>
          <a:noFill/>
          <a:ln>
            <a:noFill/>
          </a:ln>
          <a:effectLst/>
        </p:spPr>
        <p:txBody>
          <a:bodyPr numCol="1" compatLnSpc="1">
            <a:prstTxWarp prst="textNoShape">
              <a:avLst/>
            </a:prstTxWarp>
            <a:noAutofit/>
          </a:bodyPr>
          <a:lstStyle>
            <a:lvl1pPr marL="0" indent="0" algn="l" defTabSz="914377" rtl="0" eaLnBrk="0" fontAlgn="base" hangingPunct="0">
              <a:lnSpc>
                <a:spcPct val="100000"/>
              </a:lnSpc>
              <a:spcBef>
                <a:spcPct val="0"/>
              </a:spcBef>
              <a:spcAft>
                <a:spcPct val="0"/>
              </a:spcAft>
              <a:buClrTx/>
              <a:buSzTx/>
              <a:buFontTx/>
              <a:buNone/>
              <a:defRPr kumimoji="0" lang="en-GB" altLang="en-US" sz="2400" b="0" i="0" u="none" baseline="0">
                <a:solidFill>
                  <a:schemeClr val="tx1"/>
                </a:solidFill>
                <a:effectLst/>
                <a:latin typeface="Times New Roman" charset="0"/>
                <a:ea typeface="Times New Roman" charset="0"/>
              </a:defRPr>
            </a:lvl1pPr>
            <a:lvl2pPr marL="457189" indent="0" algn="l" defTabSz="914377" rtl="0" eaLnBrk="0" fontAlgn="base" hangingPunct="0">
              <a:lnSpc>
                <a:spcPct val="100000"/>
              </a:lnSpc>
              <a:spcBef>
                <a:spcPct val="0"/>
              </a:spcBef>
              <a:spcAft>
                <a:spcPct val="0"/>
              </a:spcAft>
              <a:buClrTx/>
              <a:buSzTx/>
              <a:buFontTx/>
              <a:buNone/>
              <a:defRPr kumimoji="0" lang="en-GB" altLang="en-US" sz="2400" b="0" i="0" u="none" baseline="0">
                <a:solidFill>
                  <a:schemeClr val="tx1"/>
                </a:solidFill>
                <a:effectLst/>
                <a:latin typeface="Times New Roman" charset="0"/>
                <a:ea typeface="Times New Roman" charset="0"/>
              </a:defRPr>
            </a:lvl2pPr>
            <a:lvl3pPr marL="914377" indent="0" algn="l" defTabSz="914377" rtl="0" eaLnBrk="0" fontAlgn="base" hangingPunct="0">
              <a:lnSpc>
                <a:spcPct val="100000"/>
              </a:lnSpc>
              <a:spcBef>
                <a:spcPct val="0"/>
              </a:spcBef>
              <a:spcAft>
                <a:spcPct val="0"/>
              </a:spcAft>
              <a:buClrTx/>
              <a:buSzTx/>
              <a:buFontTx/>
              <a:buNone/>
              <a:defRPr kumimoji="0" lang="en-GB" altLang="en-US" sz="2400" b="0" i="0" u="none" baseline="0">
                <a:solidFill>
                  <a:schemeClr val="tx1"/>
                </a:solidFill>
                <a:effectLst/>
                <a:latin typeface="Times New Roman" charset="0"/>
                <a:ea typeface="Times New Roman" charset="0"/>
              </a:defRPr>
            </a:lvl3pPr>
            <a:lvl4pPr marL="1371566" indent="0" algn="l" defTabSz="914377" rtl="0" eaLnBrk="0" fontAlgn="base" hangingPunct="0">
              <a:lnSpc>
                <a:spcPct val="100000"/>
              </a:lnSpc>
              <a:spcBef>
                <a:spcPct val="0"/>
              </a:spcBef>
              <a:spcAft>
                <a:spcPct val="0"/>
              </a:spcAft>
              <a:buClrTx/>
              <a:buSzTx/>
              <a:buFontTx/>
              <a:buNone/>
              <a:defRPr kumimoji="0" lang="en-GB" altLang="en-US" sz="2400" b="0" i="0" u="none" baseline="0">
                <a:solidFill>
                  <a:schemeClr val="tx1"/>
                </a:solidFill>
                <a:effectLst/>
                <a:latin typeface="Times New Roman" charset="0"/>
                <a:ea typeface="Times New Roman" charset="0"/>
              </a:defRPr>
            </a:lvl4pPr>
            <a:lvl5pPr marL="1828754" indent="0" algn="l" defTabSz="914377" rtl="0" eaLnBrk="0" fontAlgn="base" hangingPunct="0">
              <a:lnSpc>
                <a:spcPct val="100000"/>
              </a:lnSpc>
              <a:spcBef>
                <a:spcPct val="0"/>
              </a:spcBef>
              <a:spcAft>
                <a:spcPct val="0"/>
              </a:spcAft>
              <a:buClrTx/>
              <a:buSzTx/>
              <a:buFontTx/>
              <a:buNone/>
              <a:defRPr kumimoji="0" lang="en-GB" altLang="en-US" sz="2400" b="0" i="0" u="none" baseline="0">
                <a:solidFill>
                  <a:schemeClr val="tx1"/>
                </a:solidFill>
                <a:effectLst/>
                <a:latin typeface="Times New Roman" charset="0"/>
                <a:ea typeface="Times New Roman" charset="0"/>
              </a:defRPr>
            </a:lvl5pPr>
          </a:lstStyle>
          <a:p>
            <a:pPr algn="r" eaLnBrk="1" hangingPunct="1"/>
            <a:fld id="{160A75DB-69DB-4F42-9782-24970605F5B3}" type="slidenum">
              <a:rPr lang="en-GB" sz="1400" smtClean="0"/>
              <a:pPr algn="r" eaLnBrk="1" hangingPunct="1"/>
              <a:t>‹#›</a:t>
            </a:fld>
            <a:endParaRPr lang="en-GB" sz="1400"/>
          </a:p>
        </p:txBody>
      </p:sp>
    </p:spTree>
    <p:extLst>
      <p:ext uri="{BB962C8B-B14F-4D97-AF65-F5344CB8AC3E}">
        <p14:creationId xmlns:p14="http://schemas.microsoft.com/office/powerpoint/2010/main" val="827912369"/>
      </p:ext>
    </p:extLst>
  </p:cSld>
  <p:clrMapOvr>
    <a:masterClrMapping/>
  </p:clrMapOvr>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text and tab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80800" y="1703997"/>
            <a:ext cx="5400000" cy="417541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D08C6F7-A411-4909-A073-0B614A3F547E}" type="datetime1">
              <a:rPr lang="en-US" smtClean="0"/>
              <a:t>4/18/2025</a:t>
            </a:fld>
            <a:endParaRPr lang="en-US"/>
          </a:p>
        </p:txBody>
      </p:sp>
      <p:sp>
        <p:nvSpPr>
          <p:cNvPr id="6" name="Footer Placeholder 5"/>
          <p:cNvSpPr>
            <a:spLocks noGrp="1"/>
          </p:cNvSpPr>
          <p:nvPr>
            <p:ph type="ftr" sz="quarter" idx="11"/>
          </p:nvPr>
        </p:nvSpPr>
        <p:spPr/>
        <p:txBody>
          <a:bodyPr/>
          <a:lstStyle/>
          <a:p>
            <a:r>
              <a:rPr lang="en-US"/>
              <a:t>Draft | Internal use only | Confidential</a:t>
            </a:r>
          </a:p>
        </p:txBody>
      </p:sp>
      <p:sp>
        <p:nvSpPr>
          <p:cNvPr id="7" name="Slide Number Placeholder 6"/>
          <p:cNvSpPr>
            <a:spLocks noGrp="1"/>
          </p:cNvSpPr>
          <p:nvPr>
            <p:ph type="sldNum" sz="quarter" idx="12"/>
          </p:nvPr>
        </p:nvSpPr>
        <p:spPr/>
        <p:txBody>
          <a:bodyPr/>
          <a:lstStyle/>
          <a:p>
            <a:fld id="{9BE0E23E-9022-4929-B297-EB2777CDBB1F}" type="slidenum">
              <a:rPr lang="en-US" smtClean="0"/>
              <a:t>‹#›</a:t>
            </a:fld>
            <a:endParaRPr lang="en-US"/>
          </a:p>
        </p:txBody>
      </p:sp>
      <p:sp>
        <p:nvSpPr>
          <p:cNvPr id="10" name="Tijdelijke aanduiding voor tabel 8">
            <a:extLst>
              <a:ext uri="{FF2B5EF4-FFF2-40B4-BE49-F238E27FC236}">
                <a16:creationId xmlns:a16="http://schemas.microsoft.com/office/drawing/2014/main" id="{D2E9F6DD-7E2C-4192-BBC9-125146AEF9DA}"/>
              </a:ext>
            </a:extLst>
          </p:cNvPr>
          <p:cNvSpPr>
            <a:spLocks noGrp="1"/>
          </p:cNvSpPr>
          <p:nvPr>
            <p:ph type="tbl" sz="quarter" idx="13"/>
          </p:nvPr>
        </p:nvSpPr>
        <p:spPr>
          <a:xfrm>
            <a:off x="6216651" y="1701800"/>
            <a:ext cx="5394549" cy="4176184"/>
          </a:xfrm>
        </p:spPr>
        <p:txBody>
          <a:bodyPr/>
          <a:lstStyle/>
          <a:p>
            <a:r>
              <a:rPr lang="en-US"/>
              <a:t>Click icon to add table</a:t>
            </a:r>
            <a:endParaRPr lang="nl-NL"/>
          </a:p>
        </p:txBody>
      </p:sp>
      <p:sp>
        <p:nvSpPr>
          <p:cNvPr id="4" name="Titel 3">
            <a:extLst>
              <a:ext uri="{FF2B5EF4-FFF2-40B4-BE49-F238E27FC236}">
                <a16:creationId xmlns:a16="http://schemas.microsoft.com/office/drawing/2014/main" id="{5DE9D13A-D41B-4FAB-8651-676FFDB4FE5F}"/>
              </a:ext>
            </a:extLst>
          </p:cNvPr>
          <p:cNvSpPr>
            <a:spLocks noGrp="1"/>
          </p:cNvSpPr>
          <p:nvPr>
            <p:ph type="title" hasCustomPrompt="1"/>
          </p:nvPr>
        </p:nvSpPr>
        <p:spPr/>
        <p:txBody>
          <a:bodyPr/>
          <a:lstStyle/>
          <a:p>
            <a:r>
              <a:rPr lang="en-US"/>
              <a:t>Click to edit Master title style</a:t>
            </a:r>
            <a:endParaRPr lang="nl-NL"/>
          </a:p>
        </p:txBody>
      </p:sp>
    </p:spTree>
    <p:extLst>
      <p:ext uri="{BB962C8B-B14F-4D97-AF65-F5344CB8AC3E}">
        <p14:creationId xmlns:p14="http://schemas.microsoft.com/office/powerpoint/2010/main" val="1865058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424CEDA4-B2CB-48C4-BBD2-AABA264D8F37}" type="datetime1">
              <a:rPr lang="en-US" smtClean="0"/>
              <a:t>4/18/2025</a:t>
            </a:fld>
            <a:endParaRPr lang="en-US"/>
          </a:p>
        </p:txBody>
      </p:sp>
      <p:sp>
        <p:nvSpPr>
          <p:cNvPr id="5" name="Footer Placeholder 4"/>
          <p:cNvSpPr>
            <a:spLocks noGrp="1"/>
          </p:cNvSpPr>
          <p:nvPr>
            <p:ph type="ftr" sz="quarter" idx="11"/>
          </p:nvPr>
        </p:nvSpPr>
        <p:spPr/>
        <p:txBody>
          <a:bodyPr/>
          <a:lstStyle/>
          <a:p>
            <a:r>
              <a:rPr lang="en-US"/>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sp>
        <p:nvSpPr>
          <p:cNvPr id="9" name="Tijdelijke aanduiding voor tabel 7">
            <a:extLst>
              <a:ext uri="{FF2B5EF4-FFF2-40B4-BE49-F238E27FC236}">
                <a16:creationId xmlns:a16="http://schemas.microsoft.com/office/drawing/2014/main" id="{DEED083B-6C6C-41E9-9AEE-A277FCC01CE9}"/>
              </a:ext>
            </a:extLst>
          </p:cNvPr>
          <p:cNvSpPr>
            <a:spLocks noGrp="1"/>
          </p:cNvSpPr>
          <p:nvPr>
            <p:ph type="tbl" sz="quarter" idx="13"/>
          </p:nvPr>
        </p:nvSpPr>
        <p:spPr>
          <a:xfrm>
            <a:off x="575734" y="1701801"/>
            <a:ext cx="11040533" cy="4176184"/>
          </a:xfrm>
        </p:spPr>
        <p:txBody>
          <a:bodyPr/>
          <a:lstStyle/>
          <a:p>
            <a:r>
              <a:rPr lang="en-US"/>
              <a:t>Click icon to add table</a:t>
            </a:r>
            <a:endParaRPr lang="nl-NL"/>
          </a:p>
        </p:txBody>
      </p:sp>
    </p:spTree>
    <p:extLst>
      <p:ext uri="{BB962C8B-B14F-4D97-AF65-F5344CB8AC3E}">
        <p14:creationId xmlns:p14="http://schemas.microsoft.com/office/powerpoint/2010/main" val="3595538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3 text boxes and text">
    <p:spTree>
      <p:nvGrpSpPr>
        <p:cNvPr id="1" name=""/>
        <p:cNvGrpSpPr/>
        <p:nvPr/>
      </p:nvGrpSpPr>
      <p:grpSpPr>
        <a:xfrm>
          <a:off x="0" y="0"/>
          <a:ext cx="0" cy="0"/>
          <a:chOff x="0" y="0"/>
          <a:chExt cx="0" cy="0"/>
        </a:xfrm>
      </p:grpSpPr>
      <p:sp>
        <p:nvSpPr>
          <p:cNvPr id="10" name="Tijdelijke aanduiding voor tekst 9">
            <a:extLst>
              <a:ext uri="{FF2B5EF4-FFF2-40B4-BE49-F238E27FC236}">
                <a16:creationId xmlns:a16="http://schemas.microsoft.com/office/drawing/2014/main" id="{6E44AC7A-399D-4447-913F-693F8257E520}"/>
              </a:ext>
            </a:extLst>
          </p:cNvPr>
          <p:cNvSpPr>
            <a:spLocks noGrp="1"/>
          </p:cNvSpPr>
          <p:nvPr>
            <p:ph type="body" sz="quarter" idx="19"/>
          </p:nvPr>
        </p:nvSpPr>
        <p:spPr>
          <a:xfrm>
            <a:off x="575734" y="2329120"/>
            <a:ext cx="3441700" cy="3548865"/>
          </a:xfrm>
          <a:ln>
            <a:solidFill>
              <a:schemeClr val="accent1"/>
            </a:solidFill>
          </a:ln>
        </p:spPr>
        <p:txBody>
          <a:bodyPr lIns="72000" tIns="288000" rIns="72000"/>
          <a:lstStyle>
            <a:lvl1pPr>
              <a:defRPr sz="1600"/>
            </a:lvl1pPr>
            <a:lvl2pPr>
              <a:defRPr sz="1600"/>
            </a:lvl2pPr>
            <a:lvl3pPr>
              <a:defRPr sz="1600"/>
            </a:lvl3pPr>
            <a:lvl4pPr>
              <a:defRPr sz="1600"/>
            </a:lvl4pPr>
            <a:lvl5pPr>
              <a:defRPr sz="16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17" name="Tijdelijke aanduiding voor tekst 9">
            <a:extLst>
              <a:ext uri="{FF2B5EF4-FFF2-40B4-BE49-F238E27FC236}">
                <a16:creationId xmlns:a16="http://schemas.microsoft.com/office/drawing/2014/main" id="{FA5263FC-52AF-4B41-B9E2-8646A7426720}"/>
              </a:ext>
            </a:extLst>
          </p:cNvPr>
          <p:cNvSpPr>
            <a:spLocks noGrp="1"/>
          </p:cNvSpPr>
          <p:nvPr>
            <p:ph type="body" sz="quarter" idx="20"/>
          </p:nvPr>
        </p:nvSpPr>
        <p:spPr>
          <a:xfrm>
            <a:off x="4375102" y="2329120"/>
            <a:ext cx="3441700" cy="3548865"/>
          </a:xfrm>
          <a:ln>
            <a:solidFill>
              <a:schemeClr val="accent1"/>
            </a:solidFill>
          </a:ln>
        </p:spPr>
        <p:txBody>
          <a:bodyPr lIns="72000" tIns="288000" rIns="72000"/>
          <a:lstStyle>
            <a:lvl1pPr>
              <a:defRPr sz="1600"/>
            </a:lvl1pPr>
            <a:lvl2pPr>
              <a:defRPr sz="1600"/>
            </a:lvl2pPr>
            <a:lvl3pPr>
              <a:defRPr sz="1600"/>
            </a:lvl3pPr>
            <a:lvl4pPr>
              <a:defRPr sz="1600"/>
            </a:lvl4pPr>
            <a:lvl5pPr>
              <a:defRPr sz="16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18" name="Tijdelijke aanduiding voor tekst 9">
            <a:extLst>
              <a:ext uri="{FF2B5EF4-FFF2-40B4-BE49-F238E27FC236}">
                <a16:creationId xmlns:a16="http://schemas.microsoft.com/office/drawing/2014/main" id="{492614B2-9824-40F5-8714-52933A386792}"/>
              </a:ext>
            </a:extLst>
          </p:cNvPr>
          <p:cNvSpPr>
            <a:spLocks noGrp="1"/>
          </p:cNvSpPr>
          <p:nvPr>
            <p:ph type="body" sz="quarter" idx="21"/>
          </p:nvPr>
        </p:nvSpPr>
        <p:spPr>
          <a:xfrm>
            <a:off x="8174570" y="2329120"/>
            <a:ext cx="3441700" cy="3548865"/>
          </a:xfrm>
          <a:ln>
            <a:solidFill>
              <a:schemeClr val="accent1"/>
            </a:solidFill>
          </a:ln>
        </p:spPr>
        <p:txBody>
          <a:bodyPr lIns="72000" tIns="288000" rIns="72000"/>
          <a:lstStyle>
            <a:lvl1pPr>
              <a:defRPr sz="1600"/>
            </a:lvl1pPr>
            <a:lvl2pPr>
              <a:defRPr sz="1600"/>
            </a:lvl2pPr>
            <a:lvl3pPr>
              <a:defRPr sz="1600"/>
            </a:lvl3pPr>
            <a:lvl4pPr>
              <a:defRPr sz="1600"/>
            </a:lvl4pPr>
            <a:lvl5pPr>
              <a:defRPr sz="16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2" name="Title 1"/>
          <p:cNvSpPr>
            <a:spLocks noGrp="1"/>
          </p:cNvSpPr>
          <p:nvPr>
            <p:ph type="title" hasCustomPrompt="1"/>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A875CC9D-7414-4D4A-904F-17C67D97B18A}" type="datetime1">
              <a:rPr lang="en-US" smtClean="0"/>
              <a:t>4/18/2025</a:t>
            </a:fld>
            <a:endParaRPr lang="en-US"/>
          </a:p>
        </p:txBody>
      </p:sp>
      <p:sp>
        <p:nvSpPr>
          <p:cNvPr id="5" name="Footer Placeholder 4"/>
          <p:cNvSpPr>
            <a:spLocks noGrp="1"/>
          </p:cNvSpPr>
          <p:nvPr>
            <p:ph type="ftr" sz="quarter" idx="11"/>
          </p:nvPr>
        </p:nvSpPr>
        <p:spPr/>
        <p:txBody>
          <a:bodyPr/>
          <a:lstStyle/>
          <a:p>
            <a:r>
              <a:rPr lang="en-US"/>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sp>
        <p:nvSpPr>
          <p:cNvPr id="14" name="Tijdelijke aanduiding voor tekst 13">
            <a:extLst>
              <a:ext uri="{FF2B5EF4-FFF2-40B4-BE49-F238E27FC236}">
                <a16:creationId xmlns:a16="http://schemas.microsoft.com/office/drawing/2014/main" id="{CE04E62B-DFE8-49C6-BCEC-A19BF0599890}"/>
              </a:ext>
            </a:extLst>
          </p:cNvPr>
          <p:cNvSpPr>
            <a:spLocks noGrp="1"/>
          </p:cNvSpPr>
          <p:nvPr>
            <p:ph type="body" sz="quarter" idx="16" hasCustomPrompt="1"/>
          </p:nvPr>
        </p:nvSpPr>
        <p:spPr>
          <a:xfrm>
            <a:off x="575732" y="1714984"/>
            <a:ext cx="34416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a:ln>
            <a:solidFill>
              <a:schemeClr val="accent1"/>
            </a:solidFill>
          </a:ln>
        </p:spPr>
        <p:txBody>
          <a:bodyPr wrap="square" anchor="ctr" anchorCtr="0">
            <a:noAutofit/>
          </a:bodyPr>
          <a:lstStyle>
            <a:lvl1pPr marL="0" indent="0" algn="ctr">
              <a:buNone/>
              <a:defRPr>
                <a:solidFill>
                  <a:schemeClr val="bg1"/>
                </a:solidFill>
              </a:defRPr>
            </a:lvl1pPr>
          </a:lstStyle>
          <a:p>
            <a:pPr lvl="0"/>
            <a:r>
              <a:rPr lang="nl-NL" err="1"/>
              <a:t>text</a:t>
            </a:r>
            <a:endParaRPr lang="nl-NL"/>
          </a:p>
        </p:txBody>
      </p:sp>
      <p:sp>
        <p:nvSpPr>
          <p:cNvPr id="15" name="Tijdelijke aanduiding voor tekst 14">
            <a:extLst>
              <a:ext uri="{FF2B5EF4-FFF2-40B4-BE49-F238E27FC236}">
                <a16:creationId xmlns:a16="http://schemas.microsoft.com/office/drawing/2014/main" id="{93339D03-BA0D-439C-9AE3-76BF835F80BC}"/>
              </a:ext>
            </a:extLst>
          </p:cNvPr>
          <p:cNvSpPr>
            <a:spLocks noGrp="1"/>
          </p:cNvSpPr>
          <p:nvPr>
            <p:ph type="body" sz="quarter" idx="17" hasCustomPrompt="1"/>
          </p:nvPr>
        </p:nvSpPr>
        <p:spPr>
          <a:xfrm>
            <a:off x="4375201" y="1714984"/>
            <a:ext cx="34416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a:ln>
            <a:solidFill>
              <a:schemeClr val="accent1"/>
            </a:solidFill>
          </a:ln>
        </p:spPr>
        <p:txBody>
          <a:bodyPr wrap="square" anchor="ctr" anchorCtr="0">
            <a:noAutofit/>
          </a:bodyPr>
          <a:lstStyle>
            <a:lvl1pPr marL="0" indent="0" algn="ctr">
              <a:buNone/>
              <a:defRPr>
                <a:solidFill>
                  <a:schemeClr val="bg1"/>
                </a:solidFill>
              </a:defRPr>
            </a:lvl1pPr>
          </a:lstStyle>
          <a:p>
            <a:pPr lvl="0"/>
            <a:r>
              <a:rPr lang="nl-NL"/>
              <a:t>text</a:t>
            </a:r>
          </a:p>
        </p:txBody>
      </p:sp>
      <p:sp>
        <p:nvSpPr>
          <p:cNvPr id="16" name="Tijdelijke aanduiding voor tekst 15">
            <a:extLst>
              <a:ext uri="{FF2B5EF4-FFF2-40B4-BE49-F238E27FC236}">
                <a16:creationId xmlns:a16="http://schemas.microsoft.com/office/drawing/2014/main" id="{93DBC742-8E58-4623-A40E-7D2DB102CDAF}"/>
              </a:ext>
            </a:extLst>
          </p:cNvPr>
          <p:cNvSpPr>
            <a:spLocks noGrp="1"/>
          </p:cNvSpPr>
          <p:nvPr>
            <p:ph type="body" sz="quarter" idx="18" hasCustomPrompt="1"/>
          </p:nvPr>
        </p:nvSpPr>
        <p:spPr>
          <a:xfrm>
            <a:off x="8174669" y="1714984"/>
            <a:ext cx="34416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a:ln>
            <a:solidFill>
              <a:schemeClr val="accent1"/>
            </a:solidFill>
          </a:ln>
        </p:spPr>
        <p:txBody>
          <a:bodyPr wrap="square" anchor="ctr" anchorCtr="0">
            <a:noAutofit/>
          </a:bodyPr>
          <a:lstStyle>
            <a:lvl1pPr marL="0" indent="0" algn="ctr">
              <a:buNone/>
              <a:defRPr>
                <a:solidFill>
                  <a:schemeClr val="bg1"/>
                </a:solidFill>
              </a:defRPr>
            </a:lvl1pPr>
          </a:lstStyle>
          <a:p>
            <a:pPr lvl="0"/>
            <a:r>
              <a:rPr lang="nl-NL"/>
              <a:t>text</a:t>
            </a:r>
          </a:p>
        </p:txBody>
      </p:sp>
    </p:spTree>
    <p:extLst>
      <p:ext uri="{BB962C8B-B14F-4D97-AF65-F5344CB8AC3E}">
        <p14:creationId xmlns:p14="http://schemas.microsoft.com/office/powerpoint/2010/main" val="1332100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itle, 4 text boxes and text">
    <p:spTree>
      <p:nvGrpSpPr>
        <p:cNvPr id="1" name=""/>
        <p:cNvGrpSpPr/>
        <p:nvPr/>
      </p:nvGrpSpPr>
      <p:grpSpPr>
        <a:xfrm>
          <a:off x="0" y="0"/>
          <a:ext cx="0" cy="0"/>
          <a:chOff x="0" y="0"/>
          <a:chExt cx="0" cy="0"/>
        </a:xfrm>
      </p:grpSpPr>
      <p:sp>
        <p:nvSpPr>
          <p:cNvPr id="18" name="Tijdelijke aanduiding voor tekst 9">
            <a:extLst>
              <a:ext uri="{FF2B5EF4-FFF2-40B4-BE49-F238E27FC236}">
                <a16:creationId xmlns:a16="http://schemas.microsoft.com/office/drawing/2014/main" id="{B1DBF5D7-C132-40CC-A85A-C82D8B39A011}"/>
              </a:ext>
            </a:extLst>
          </p:cNvPr>
          <p:cNvSpPr>
            <a:spLocks noGrp="1"/>
          </p:cNvSpPr>
          <p:nvPr>
            <p:ph type="body" sz="quarter" idx="19"/>
          </p:nvPr>
        </p:nvSpPr>
        <p:spPr>
          <a:xfrm>
            <a:off x="575733" y="2329112"/>
            <a:ext cx="2568000" cy="3548872"/>
          </a:xfrm>
          <a:ln>
            <a:solidFill>
              <a:schemeClr val="accent1"/>
            </a:solidFill>
          </a:ln>
        </p:spPr>
        <p:txBody>
          <a:bodyPr lIns="72000" tIns="288000" rIns="72000"/>
          <a:lstStyle>
            <a:lvl1pPr>
              <a:defRPr sz="1600"/>
            </a:lvl1pPr>
            <a:lvl2pPr>
              <a:defRPr sz="1600"/>
            </a:lvl2pPr>
            <a:lvl3pPr>
              <a:defRPr sz="1600"/>
            </a:lvl3pPr>
            <a:lvl4pPr>
              <a:defRPr sz="1600"/>
            </a:lvl4pPr>
            <a:lvl5pPr>
              <a:defRPr sz="16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19" name="Tijdelijke aanduiding voor tekst 9">
            <a:extLst>
              <a:ext uri="{FF2B5EF4-FFF2-40B4-BE49-F238E27FC236}">
                <a16:creationId xmlns:a16="http://schemas.microsoft.com/office/drawing/2014/main" id="{AEA49228-3077-4774-B49B-014998EF6753}"/>
              </a:ext>
            </a:extLst>
          </p:cNvPr>
          <p:cNvSpPr>
            <a:spLocks noGrp="1"/>
          </p:cNvSpPr>
          <p:nvPr>
            <p:ph type="body" sz="quarter" idx="22"/>
          </p:nvPr>
        </p:nvSpPr>
        <p:spPr>
          <a:xfrm>
            <a:off x="3399911" y="2329112"/>
            <a:ext cx="2568000" cy="3548872"/>
          </a:xfrm>
          <a:ln>
            <a:solidFill>
              <a:schemeClr val="accent1"/>
            </a:solidFill>
          </a:ln>
        </p:spPr>
        <p:txBody>
          <a:bodyPr lIns="72000" tIns="288000" rIns="72000"/>
          <a:lstStyle>
            <a:lvl1pPr>
              <a:defRPr sz="1600"/>
            </a:lvl1pPr>
            <a:lvl2pPr>
              <a:defRPr sz="1600"/>
            </a:lvl2pPr>
            <a:lvl3pPr>
              <a:defRPr sz="1600"/>
            </a:lvl3pPr>
            <a:lvl4pPr>
              <a:defRPr sz="1600"/>
            </a:lvl4pPr>
            <a:lvl5pPr>
              <a:defRPr sz="16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20" name="Tijdelijke aanduiding voor tekst 9">
            <a:extLst>
              <a:ext uri="{FF2B5EF4-FFF2-40B4-BE49-F238E27FC236}">
                <a16:creationId xmlns:a16="http://schemas.microsoft.com/office/drawing/2014/main" id="{182BA976-3733-49B5-B0A3-2E4CA89FDBE2}"/>
              </a:ext>
            </a:extLst>
          </p:cNvPr>
          <p:cNvSpPr>
            <a:spLocks noGrp="1"/>
          </p:cNvSpPr>
          <p:nvPr>
            <p:ph type="body" sz="quarter" idx="23"/>
          </p:nvPr>
        </p:nvSpPr>
        <p:spPr>
          <a:xfrm>
            <a:off x="6224088" y="2329112"/>
            <a:ext cx="2568000" cy="3548872"/>
          </a:xfrm>
          <a:ln>
            <a:solidFill>
              <a:schemeClr val="accent1"/>
            </a:solidFill>
          </a:ln>
        </p:spPr>
        <p:txBody>
          <a:bodyPr lIns="72000" tIns="288000" rIns="72000"/>
          <a:lstStyle>
            <a:lvl1pPr>
              <a:defRPr sz="1600"/>
            </a:lvl1pPr>
            <a:lvl2pPr>
              <a:defRPr sz="1600"/>
            </a:lvl2pPr>
            <a:lvl3pPr>
              <a:defRPr sz="1600"/>
            </a:lvl3pPr>
            <a:lvl4pPr>
              <a:defRPr sz="1600"/>
            </a:lvl4pPr>
            <a:lvl5pPr>
              <a:defRPr sz="16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21" name="Tijdelijke aanduiding voor tekst 9">
            <a:extLst>
              <a:ext uri="{FF2B5EF4-FFF2-40B4-BE49-F238E27FC236}">
                <a16:creationId xmlns:a16="http://schemas.microsoft.com/office/drawing/2014/main" id="{732CF53A-4EE3-4F44-B459-A6EACF01AA0E}"/>
              </a:ext>
            </a:extLst>
          </p:cNvPr>
          <p:cNvSpPr>
            <a:spLocks noGrp="1"/>
          </p:cNvSpPr>
          <p:nvPr>
            <p:ph type="body" sz="quarter" idx="24"/>
          </p:nvPr>
        </p:nvSpPr>
        <p:spPr>
          <a:xfrm>
            <a:off x="9048265" y="2329112"/>
            <a:ext cx="2568000" cy="3548872"/>
          </a:xfrm>
          <a:ln>
            <a:solidFill>
              <a:schemeClr val="accent1"/>
            </a:solidFill>
          </a:ln>
        </p:spPr>
        <p:txBody>
          <a:bodyPr lIns="72000" tIns="288000" rIns="72000"/>
          <a:lstStyle>
            <a:lvl1pPr>
              <a:defRPr sz="1600"/>
            </a:lvl1pPr>
            <a:lvl2pPr>
              <a:defRPr sz="1600"/>
            </a:lvl2pPr>
            <a:lvl3pPr>
              <a:defRPr sz="1600"/>
            </a:lvl3pPr>
            <a:lvl4pPr>
              <a:defRPr sz="1600"/>
            </a:lvl4pPr>
            <a:lvl5pPr>
              <a:defRPr sz="16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2" name="Title 1"/>
          <p:cNvSpPr>
            <a:spLocks noGrp="1"/>
          </p:cNvSpPr>
          <p:nvPr>
            <p:ph type="title" hasCustomPrompt="1"/>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D906E73B-726F-4135-B2B9-CB745EB57389}" type="datetime1">
              <a:rPr lang="en-US" smtClean="0"/>
              <a:t>4/18/2025</a:t>
            </a:fld>
            <a:endParaRPr lang="en-US"/>
          </a:p>
        </p:txBody>
      </p:sp>
      <p:sp>
        <p:nvSpPr>
          <p:cNvPr id="5" name="Footer Placeholder 4"/>
          <p:cNvSpPr>
            <a:spLocks noGrp="1"/>
          </p:cNvSpPr>
          <p:nvPr>
            <p:ph type="ftr" sz="quarter" idx="11"/>
          </p:nvPr>
        </p:nvSpPr>
        <p:spPr/>
        <p:txBody>
          <a:bodyPr/>
          <a:lstStyle/>
          <a:p>
            <a:r>
              <a:rPr lang="en-US"/>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sp>
        <p:nvSpPr>
          <p:cNvPr id="14" name="Tijdelijke aanduiding voor tekst 13">
            <a:extLst>
              <a:ext uri="{FF2B5EF4-FFF2-40B4-BE49-F238E27FC236}">
                <a16:creationId xmlns:a16="http://schemas.microsoft.com/office/drawing/2014/main" id="{CE04E62B-DFE8-49C6-BCEC-A19BF0599890}"/>
              </a:ext>
            </a:extLst>
          </p:cNvPr>
          <p:cNvSpPr>
            <a:spLocks noGrp="1"/>
          </p:cNvSpPr>
          <p:nvPr>
            <p:ph type="body" sz="quarter" idx="16" hasCustomPrompt="1"/>
          </p:nvPr>
        </p:nvSpPr>
        <p:spPr>
          <a:xfrm>
            <a:off x="575732" y="1714978"/>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a:ln>
            <a:solidFill>
              <a:schemeClr val="accent1"/>
            </a:solidFill>
          </a:ln>
        </p:spPr>
        <p:txBody>
          <a:bodyPr wrap="square" anchor="ctr" anchorCtr="0">
            <a:noAutofit/>
          </a:bodyPr>
          <a:lstStyle>
            <a:lvl1pPr marL="0" indent="0" algn="ctr">
              <a:buNone/>
              <a:defRPr>
                <a:solidFill>
                  <a:schemeClr val="bg1"/>
                </a:solidFill>
              </a:defRPr>
            </a:lvl1pPr>
          </a:lstStyle>
          <a:p>
            <a:pPr lvl="0"/>
            <a:r>
              <a:rPr lang="nl-NL"/>
              <a:t>text</a:t>
            </a:r>
          </a:p>
        </p:txBody>
      </p:sp>
      <p:sp>
        <p:nvSpPr>
          <p:cNvPr id="15" name="Tijdelijke aanduiding voor tekst 14">
            <a:extLst>
              <a:ext uri="{FF2B5EF4-FFF2-40B4-BE49-F238E27FC236}">
                <a16:creationId xmlns:a16="http://schemas.microsoft.com/office/drawing/2014/main" id="{93339D03-BA0D-439C-9AE3-76BF835F80BC}"/>
              </a:ext>
            </a:extLst>
          </p:cNvPr>
          <p:cNvSpPr>
            <a:spLocks noGrp="1"/>
          </p:cNvSpPr>
          <p:nvPr>
            <p:ph type="body" sz="quarter" idx="17" hasCustomPrompt="1"/>
          </p:nvPr>
        </p:nvSpPr>
        <p:spPr>
          <a:xfrm>
            <a:off x="3399909" y="1714978"/>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a:ln>
            <a:solidFill>
              <a:schemeClr val="accent1"/>
            </a:solidFill>
          </a:ln>
        </p:spPr>
        <p:txBody>
          <a:bodyPr wrap="square" anchor="ctr" anchorCtr="0">
            <a:noAutofit/>
          </a:bodyPr>
          <a:lstStyle>
            <a:lvl1pPr marL="0" indent="0" algn="ctr">
              <a:buNone/>
              <a:defRPr>
                <a:solidFill>
                  <a:schemeClr val="bg1"/>
                </a:solidFill>
              </a:defRPr>
            </a:lvl1pPr>
          </a:lstStyle>
          <a:p>
            <a:pPr lvl="0"/>
            <a:r>
              <a:rPr lang="nl-NL"/>
              <a:t>text</a:t>
            </a:r>
          </a:p>
        </p:txBody>
      </p:sp>
      <p:sp>
        <p:nvSpPr>
          <p:cNvPr id="16" name="Tijdelijke aanduiding voor tekst 15">
            <a:extLst>
              <a:ext uri="{FF2B5EF4-FFF2-40B4-BE49-F238E27FC236}">
                <a16:creationId xmlns:a16="http://schemas.microsoft.com/office/drawing/2014/main" id="{93DBC742-8E58-4623-A40E-7D2DB102CDAF}"/>
              </a:ext>
            </a:extLst>
          </p:cNvPr>
          <p:cNvSpPr>
            <a:spLocks noGrp="1"/>
          </p:cNvSpPr>
          <p:nvPr>
            <p:ph type="body" sz="quarter" idx="18" hasCustomPrompt="1"/>
          </p:nvPr>
        </p:nvSpPr>
        <p:spPr>
          <a:xfrm>
            <a:off x="6224087" y="1714978"/>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a:ln>
            <a:solidFill>
              <a:schemeClr val="accent1"/>
            </a:solidFill>
          </a:ln>
        </p:spPr>
        <p:txBody>
          <a:bodyPr wrap="square" anchor="ctr" anchorCtr="0">
            <a:noAutofit/>
          </a:bodyPr>
          <a:lstStyle>
            <a:lvl1pPr marL="0" indent="0" algn="ctr">
              <a:buNone/>
              <a:defRPr>
                <a:solidFill>
                  <a:schemeClr val="bg1"/>
                </a:solidFill>
              </a:defRPr>
            </a:lvl1pPr>
          </a:lstStyle>
          <a:p>
            <a:pPr lvl="0"/>
            <a:r>
              <a:rPr lang="nl-NL"/>
              <a:t>text</a:t>
            </a:r>
          </a:p>
        </p:txBody>
      </p:sp>
      <p:sp>
        <p:nvSpPr>
          <p:cNvPr id="17" name="Tijdelijke aanduiding voor tekst 16">
            <a:extLst>
              <a:ext uri="{FF2B5EF4-FFF2-40B4-BE49-F238E27FC236}">
                <a16:creationId xmlns:a16="http://schemas.microsoft.com/office/drawing/2014/main" id="{8B53FD86-423F-4F36-AC16-3D6CA052A00B}"/>
              </a:ext>
            </a:extLst>
          </p:cNvPr>
          <p:cNvSpPr>
            <a:spLocks noGrp="1"/>
          </p:cNvSpPr>
          <p:nvPr>
            <p:ph type="body" sz="quarter" idx="21" hasCustomPrompt="1"/>
          </p:nvPr>
        </p:nvSpPr>
        <p:spPr>
          <a:xfrm>
            <a:off x="9048265" y="1714978"/>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a:ln>
            <a:solidFill>
              <a:schemeClr val="accent1"/>
            </a:solidFill>
          </a:ln>
        </p:spPr>
        <p:txBody>
          <a:bodyPr wrap="square" anchor="ctr" anchorCtr="0">
            <a:noAutofit/>
          </a:bodyPr>
          <a:lstStyle>
            <a:lvl1pPr marL="0" indent="0" algn="ctr">
              <a:buNone/>
              <a:defRPr>
                <a:solidFill>
                  <a:schemeClr val="bg1"/>
                </a:solidFill>
              </a:defRPr>
            </a:lvl1pPr>
          </a:lstStyle>
          <a:p>
            <a:pPr lvl="0"/>
            <a:r>
              <a:rPr lang="nl-NL"/>
              <a:t>text</a:t>
            </a:r>
          </a:p>
        </p:txBody>
      </p:sp>
    </p:spTree>
    <p:extLst>
      <p:ext uri="{BB962C8B-B14F-4D97-AF65-F5344CB8AC3E}">
        <p14:creationId xmlns:p14="http://schemas.microsoft.com/office/powerpoint/2010/main" val="1568286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3 images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BD39DD2F-0A09-411E-BC8F-D49CD4C768A5}" type="datetime1">
              <a:rPr lang="en-US" smtClean="0"/>
              <a:t>4/18/2025</a:t>
            </a:fld>
            <a:endParaRPr lang="en-US"/>
          </a:p>
        </p:txBody>
      </p:sp>
      <p:sp>
        <p:nvSpPr>
          <p:cNvPr id="5" name="Footer Placeholder 4"/>
          <p:cNvSpPr>
            <a:spLocks noGrp="1"/>
          </p:cNvSpPr>
          <p:nvPr>
            <p:ph type="ftr" sz="quarter" idx="11"/>
          </p:nvPr>
        </p:nvSpPr>
        <p:spPr/>
        <p:txBody>
          <a:bodyPr/>
          <a:lstStyle/>
          <a:p>
            <a:r>
              <a:rPr lang="en-US"/>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sp>
        <p:nvSpPr>
          <p:cNvPr id="7" name="Tijdelijke aanduiding voor afbeelding 7">
            <a:extLst>
              <a:ext uri="{FF2B5EF4-FFF2-40B4-BE49-F238E27FC236}">
                <a16:creationId xmlns:a16="http://schemas.microsoft.com/office/drawing/2014/main" id="{65B18880-82CC-4AC0-9FD4-73A347590E4A}"/>
              </a:ext>
            </a:extLst>
          </p:cNvPr>
          <p:cNvSpPr>
            <a:spLocks noGrp="1"/>
          </p:cNvSpPr>
          <p:nvPr>
            <p:ph type="pic" sz="quarter" idx="13" hasCustomPrompt="1"/>
          </p:nvPr>
        </p:nvSpPr>
        <p:spPr>
          <a:xfrm>
            <a:off x="575733" y="2014245"/>
            <a:ext cx="3441600" cy="2760000"/>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
        <p:nvSpPr>
          <p:cNvPr id="8" name="Tijdelijke aanduiding voor afbeelding 7">
            <a:extLst>
              <a:ext uri="{FF2B5EF4-FFF2-40B4-BE49-F238E27FC236}">
                <a16:creationId xmlns:a16="http://schemas.microsoft.com/office/drawing/2014/main" id="{F21877E9-C5B9-480D-8B19-E3F131AE2D94}"/>
              </a:ext>
            </a:extLst>
          </p:cNvPr>
          <p:cNvSpPr>
            <a:spLocks noGrp="1"/>
          </p:cNvSpPr>
          <p:nvPr>
            <p:ph type="pic" sz="quarter" idx="14" hasCustomPrompt="1"/>
          </p:nvPr>
        </p:nvSpPr>
        <p:spPr>
          <a:xfrm>
            <a:off x="4375201" y="2014245"/>
            <a:ext cx="3441600" cy="2760000"/>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
        <p:nvSpPr>
          <p:cNvPr id="9" name="Tijdelijke aanduiding voor afbeelding 7">
            <a:extLst>
              <a:ext uri="{FF2B5EF4-FFF2-40B4-BE49-F238E27FC236}">
                <a16:creationId xmlns:a16="http://schemas.microsoft.com/office/drawing/2014/main" id="{41A0AB49-F1DD-4324-B0FE-DC835BD3B2FB}"/>
              </a:ext>
            </a:extLst>
          </p:cNvPr>
          <p:cNvSpPr>
            <a:spLocks noGrp="1"/>
          </p:cNvSpPr>
          <p:nvPr>
            <p:ph type="pic" sz="quarter" idx="15" hasCustomPrompt="1"/>
          </p:nvPr>
        </p:nvSpPr>
        <p:spPr>
          <a:xfrm>
            <a:off x="8174669" y="2014245"/>
            <a:ext cx="3441600" cy="2760000"/>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
        <p:nvSpPr>
          <p:cNvPr id="14" name="Tijdelijke aanduiding voor tekst 13">
            <a:extLst>
              <a:ext uri="{FF2B5EF4-FFF2-40B4-BE49-F238E27FC236}">
                <a16:creationId xmlns:a16="http://schemas.microsoft.com/office/drawing/2014/main" id="{CE04E62B-DFE8-49C6-BCEC-A19BF0599890}"/>
              </a:ext>
            </a:extLst>
          </p:cNvPr>
          <p:cNvSpPr>
            <a:spLocks noGrp="1"/>
          </p:cNvSpPr>
          <p:nvPr>
            <p:ph type="body" sz="quarter" idx="16" hasCustomPrompt="1"/>
          </p:nvPr>
        </p:nvSpPr>
        <p:spPr>
          <a:xfrm>
            <a:off x="575732" y="4773563"/>
            <a:ext cx="34416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anchor="ctr" anchorCtr="0">
            <a:noAutofit/>
          </a:bodyPr>
          <a:lstStyle>
            <a:lvl1pPr marL="0" indent="0" algn="ctr">
              <a:buNone/>
              <a:defRPr>
                <a:solidFill>
                  <a:schemeClr val="bg1"/>
                </a:solidFill>
              </a:defRPr>
            </a:lvl1pPr>
          </a:lstStyle>
          <a:p>
            <a:pPr lvl="0"/>
            <a:r>
              <a:rPr lang="nl-NL"/>
              <a:t>text</a:t>
            </a:r>
          </a:p>
        </p:txBody>
      </p:sp>
      <p:sp>
        <p:nvSpPr>
          <p:cNvPr id="15" name="Tijdelijke aanduiding voor tekst 14">
            <a:extLst>
              <a:ext uri="{FF2B5EF4-FFF2-40B4-BE49-F238E27FC236}">
                <a16:creationId xmlns:a16="http://schemas.microsoft.com/office/drawing/2014/main" id="{93339D03-BA0D-439C-9AE3-76BF835F80BC}"/>
              </a:ext>
            </a:extLst>
          </p:cNvPr>
          <p:cNvSpPr>
            <a:spLocks noGrp="1"/>
          </p:cNvSpPr>
          <p:nvPr>
            <p:ph type="body" sz="quarter" idx="17" hasCustomPrompt="1"/>
          </p:nvPr>
        </p:nvSpPr>
        <p:spPr>
          <a:xfrm>
            <a:off x="4375201" y="4773563"/>
            <a:ext cx="34416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anchor="ctr" anchorCtr="0">
            <a:noAutofit/>
          </a:bodyPr>
          <a:lstStyle>
            <a:lvl1pPr marL="0" indent="0" algn="ctr">
              <a:buNone/>
              <a:defRPr>
                <a:solidFill>
                  <a:schemeClr val="bg1"/>
                </a:solidFill>
              </a:defRPr>
            </a:lvl1pPr>
          </a:lstStyle>
          <a:p>
            <a:pPr lvl="0"/>
            <a:r>
              <a:rPr lang="nl-NL"/>
              <a:t>text</a:t>
            </a:r>
          </a:p>
        </p:txBody>
      </p:sp>
      <p:sp>
        <p:nvSpPr>
          <p:cNvPr id="16" name="Tijdelijke aanduiding voor tekst 15">
            <a:extLst>
              <a:ext uri="{FF2B5EF4-FFF2-40B4-BE49-F238E27FC236}">
                <a16:creationId xmlns:a16="http://schemas.microsoft.com/office/drawing/2014/main" id="{93DBC742-8E58-4623-A40E-7D2DB102CDAF}"/>
              </a:ext>
            </a:extLst>
          </p:cNvPr>
          <p:cNvSpPr>
            <a:spLocks noGrp="1"/>
          </p:cNvSpPr>
          <p:nvPr>
            <p:ph type="body" sz="quarter" idx="18" hasCustomPrompt="1"/>
          </p:nvPr>
        </p:nvSpPr>
        <p:spPr>
          <a:xfrm>
            <a:off x="8174669" y="4773563"/>
            <a:ext cx="34416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anchor="ctr" anchorCtr="0">
            <a:noAutofit/>
          </a:bodyPr>
          <a:lstStyle>
            <a:lvl1pPr marL="0" indent="0" algn="ctr">
              <a:buNone/>
              <a:defRPr>
                <a:solidFill>
                  <a:schemeClr val="bg1"/>
                </a:solidFill>
              </a:defRPr>
            </a:lvl1pPr>
          </a:lstStyle>
          <a:p>
            <a:pPr lvl="0"/>
            <a:r>
              <a:rPr lang="nl-NL"/>
              <a:t>text</a:t>
            </a:r>
          </a:p>
        </p:txBody>
      </p:sp>
    </p:spTree>
    <p:extLst>
      <p:ext uri="{BB962C8B-B14F-4D97-AF65-F5344CB8AC3E}">
        <p14:creationId xmlns:p14="http://schemas.microsoft.com/office/powerpoint/2010/main" val="3696372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4 images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DDB2A552-71FE-4DCB-84AC-2A7A278AC4E9}" type="datetime1">
              <a:rPr lang="en-US" smtClean="0"/>
              <a:t>4/18/2025</a:t>
            </a:fld>
            <a:endParaRPr lang="en-US"/>
          </a:p>
        </p:txBody>
      </p:sp>
      <p:sp>
        <p:nvSpPr>
          <p:cNvPr id="5" name="Footer Placeholder 4"/>
          <p:cNvSpPr>
            <a:spLocks noGrp="1"/>
          </p:cNvSpPr>
          <p:nvPr>
            <p:ph type="ftr" sz="quarter" idx="11"/>
          </p:nvPr>
        </p:nvSpPr>
        <p:spPr/>
        <p:txBody>
          <a:bodyPr/>
          <a:lstStyle/>
          <a:p>
            <a:r>
              <a:rPr lang="en-US"/>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sp>
        <p:nvSpPr>
          <p:cNvPr id="7" name="Tijdelijke aanduiding voor afbeelding 7">
            <a:extLst>
              <a:ext uri="{FF2B5EF4-FFF2-40B4-BE49-F238E27FC236}">
                <a16:creationId xmlns:a16="http://schemas.microsoft.com/office/drawing/2014/main" id="{65B18880-82CC-4AC0-9FD4-73A347590E4A}"/>
              </a:ext>
            </a:extLst>
          </p:cNvPr>
          <p:cNvSpPr>
            <a:spLocks noGrp="1"/>
          </p:cNvSpPr>
          <p:nvPr>
            <p:ph type="pic" sz="quarter" idx="13" hasCustomPrompt="1"/>
          </p:nvPr>
        </p:nvSpPr>
        <p:spPr>
          <a:xfrm>
            <a:off x="575733" y="2003161"/>
            <a:ext cx="2568000" cy="2760000"/>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
        <p:nvSpPr>
          <p:cNvPr id="8" name="Tijdelijke aanduiding voor afbeelding 7">
            <a:extLst>
              <a:ext uri="{FF2B5EF4-FFF2-40B4-BE49-F238E27FC236}">
                <a16:creationId xmlns:a16="http://schemas.microsoft.com/office/drawing/2014/main" id="{F21877E9-C5B9-480D-8B19-E3F131AE2D94}"/>
              </a:ext>
            </a:extLst>
          </p:cNvPr>
          <p:cNvSpPr>
            <a:spLocks noGrp="1"/>
          </p:cNvSpPr>
          <p:nvPr>
            <p:ph type="pic" sz="quarter" idx="14" hasCustomPrompt="1"/>
          </p:nvPr>
        </p:nvSpPr>
        <p:spPr>
          <a:xfrm>
            <a:off x="3399911" y="2003161"/>
            <a:ext cx="2568000" cy="2760000"/>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
        <p:nvSpPr>
          <p:cNvPr id="9" name="Tijdelijke aanduiding voor afbeelding 7">
            <a:extLst>
              <a:ext uri="{FF2B5EF4-FFF2-40B4-BE49-F238E27FC236}">
                <a16:creationId xmlns:a16="http://schemas.microsoft.com/office/drawing/2014/main" id="{41A0AB49-F1DD-4324-B0FE-DC835BD3B2FB}"/>
              </a:ext>
            </a:extLst>
          </p:cNvPr>
          <p:cNvSpPr>
            <a:spLocks noGrp="1"/>
          </p:cNvSpPr>
          <p:nvPr>
            <p:ph type="pic" sz="quarter" idx="15" hasCustomPrompt="1"/>
          </p:nvPr>
        </p:nvSpPr>
        <p:spPr>
          <a:xfrm>
            <a:off x="6224088" y="2003161"/>
            <a:ext cx="2568000" cy="2760000"/>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
        <p:nvSpPr>
          <p:cNvPr id="14" name="Tijdelijke aanduiding voor tekst 13">
            <a:extLst>
              <a:ext uri="{FF2B5EF4-FFF2-40B4-BE49-F238E27FC236}">
                <a16:creationId xmlns:a16="http://schemas.microsoft.com/office/drawing/2014/main" id="{CE04E62B-DFE8-49C6-BCEC-A19BF0599890}"/>
              </a:ext>
            </a:extLst>
          </p:cNvPr>
          <p:cNvSpPr>
            <a:spLocks noGrp="1"/>
          </p:cNvSpPr>
          <p:nvPr>
            <p:ph type="body" sz="quarter" idx="16" hasCustomPrompt="1"/>
          </p:nvPr>
        </p:nvSpPr>
        <p:spPr>
          <a:xfrm>
            <a:off x="575732" y="4762479"/>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anchor="ctr" anchorCtr="0">
            <a:noAutofit/>
          </a:bodyPr>
          <a:lstStyle>
            <a:lvl1pPr marL="0" indent="0" algn="ctr">
              <a:buNone/>
              <a:defRPr>
                <a:solidFill>
                  <a:schemeClr val="bg1"/>
                </a:solidFill>
              </a:defRPr>
            </a:lvl1pPr>
          </a:lstStyle>
          <a:p>
            <a:pPr lvl="0"/>
            <a:r>
              <a:rPr lang="nl-NL"/>
              <a:t>text</a:t>
            </a:r>
          </a:p>
        </p:txBody>
      </p:sp>
      <p:sp>
        <p:nvSpPr>
          <p:cNvPr id="15" name="Tijdelijke aanduiding voor tekst 14">
            <a:extLst>
              <a:ext uri="{FF2B5EF4-FFF2-40B4-BE49-F238E27FC236}">
                <a16:creationId xmlns:a16="http://schemas.microsoft.com/office/drawing/2014/main" id="{93339D03-BA0D-439C-9AE3-76BF835F80BC}"/>
              </a:ext>
            </a:extLst>
          </p:cNvPr>
          <p:cNvSpPr>
            <a:spLocks noGrp="1"/>
          </p:cNvSpPr>
          <p:nvPr>
            <p:ph type="body" sz="quarter" idx="17" hasCustomPrompt="1"/>
          </p:nvPr>
        </p:nvSpPr>
        <p:spPr>
          <a:xfrm>
            <a:off x="3399909" y="4762479"/>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anchor="ctr" anchorCtr="0">
            <a:noAutofit/>
          </a:bodyPr>
          <a:lstStyle>
            <a:lvl1pPr marL="0" indent="0" algn="ctr">
              <a:buNone/>
              <a:defRPr>
                <a:solidFill>
                  <a:schemeClr val="bg1"/>
                </a:solidFill>
              </a:defRPr>
            </a:lvl1pPr>
          </a:lstStyle>
          <a:p>
            <a:pPr lvl="0"/>
            <a:r>
              <a:rPr lang="nl-NL"/>
              <a:t>text</a:t>
            </a:r>
          </a:p>
        </p:txBody>
      </p:sp>
      <p:sp>
        <p:nvSpPr>
          <p:cNvPr id="16" name="Tijdelijke aanduiding voor tekst 15">
            <a:extLst>
              <a:ext uri="{FF2B5EF4-FFF2-40B4-BE49-F238E27FC236}">
                <a16:creationId xmlns:a16="http://schemas.microsoft.com/office/drawing/2014/main" id="{93DBC742-8E58-4623-A40E-7D2DB102CDAF}"/>
              </a:ext>
            </a:extLst>
          </p:cNvPr>
          <p:cNvSpPr>
            <a:spLocks noGrp="1"/>
          </p:cNvSpPr>
          <p:nvPr>
            <p:ph type="body" sz="quarter" idx="18" hasCustomPrompt="1"/>
          </p:nvPr>
        </p:nvSpPr>
        <p:spPr>
          <a:xfrm>
            <a:off x="6224087" y="4762479"/>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anchor="ctr" anchorCtr="0">
            <a:noAutofit/>
          </a:bodyPr>
          <a:lstStyle>
            <a:lvl1pPr marL="0" indent="0" algn="ctr">
              <a:buNone/>
              <a:defRPr>
                <a:solidFill>
                  <a:schemeClr val="bg1"/>
                </a:solidFill>
              </a:defRPr>
            </a:lvl1pPr>
          </a:lstStyle>
          <a:p>
            <a:pPr lvl="0"/>
            <a:r>
              <a:rPr lang="nl-NL"/>
              <a:t>text</a:t>
            </a:r>
          </a:p>
        </p:txBody>
      </p:sp>
      <p:sp>
        <p:nvSpPr>
          <p:cNvPr id="13" name="Tijdelijke aanduiding voor afbeelding 7">
            <a:extLst>
              <a:ext uri="{FF2B5EF4-FFF2-40B4-BE49-F238E27FC236}">
                <a16:creationId xmlns:a16="http://schemas.microsoft.com/office/drawing/2014/main" id="{9014C87B-4A9B-46A5-92E7-D035D3B01B50}"/>
              </a:ext>
            </a:extLst>
          </p:cNvPr>
          <p:cNvSpPr>
            <a:spLocks noGrp="1"/>
          </p:cNvSpPr>
          <p:nvPr>
            <p:ph type="pic" sz="quarter" idx="20" hasCustomPrompt="1"/>
          </p:nvPr>
        </p:nvSpPr>
        <p:spPr>
          <a:xfrm>
            <a:off x="9048265" y="2003161"/>
            <a:ext cx="2568000" cy="2760000"/>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
        <p:nvSpPr>
          <p:cNvPr id="17" name="Tijdelijke aanduiding voor tekst 16">
            <a:extLst>
              <a:ext uri="{FF2B5EF4-FFF2-40B4-BE49-F238E27FC236}">
                <a16:creationId xmlns:a16="http://schemas.microsoft.com/office/drawing/2014/main" id="{8B53FD86-423F-4F36-AC16-3D6CA052A00B}"/>
              </a:ext>
            </a:extLst>
          </p:cNvPr>
          <p:cNvSpPr>
            <a:spLocks noGrp="1"/>
          </p:cNvSpPr>
          <p:nvPr>
            <p:ph type="body" sz="quarter" idx="21" hasCustomPrompt="1"/>
          </p:nvPr>
        </p:nvSpPr>
        <p:spPr>
          <a:xfrm>
            <a:off x="9048265" y="4762479"/>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anchor="ctr" anchorCtr="0">
            <a:noAutofit/>
          </a:bodyPr>
          <a:lstStyle>
            <a:lvl1pPr marL="0" indent="0" algn="ctr">
              <a:buNone/>
              <a:defRPr>
                <a:solidFill>
                  <a:schemeClr val="bg1"/>
                </a:solidFill>
              </a:defRPr>
            </a:lvl1pPr>
          </a:lstStyle>
          <a:p>
            <a:pPr lvl="0"/>
            <a:r>
              <a:rPr lang="nl-NL"/>
              <a:t>text</a:t>
            </a:r>
          </a:p>
        </p:txBody>
      </p:sp>
    </p:spTree>
    <p:extLst>
      <p:ext uri="{BB962C8B-B14F-4D97-AF65-F5344CB8AC3E}">
        <p14:creationId xmlns:p14="http://schemas.microsoft.com/office/powerpoint/2010/main" val="1869043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userDrawn="1">
  <p:cSld name="Closing">
    <p:spTree>
      <p:nvGrpSpPr>
        <p:cNvPr id="1" name=""/>
        <p:cNvGrpSpPr/>
        <p:nvPr/>
      </p:nvGrpSpPr>
      <p:grpSpPr>
        <a:xfrm>
          <a:off x="0" y="0"/>
          <a:ext cx="0" cy="0"/>
          <a:chOff x="0" y="0"/>
          <a:chExt cx="0" cy="0"/>
        </a:xfrm>
      </p:grpSpPr>
      <p:pic>
        <p:nvPicPr>
          <p:cNvPr id="6" name="Picture 4">
            <a:extLst>
              <a:ext uri="{FF2B5EF4-FFF2-40B4-BE49-F238E27FC236}">
                <a16:creationId xmlns:a16="http://schemas.microsoft.com/office/drawing/2014/main" id="{68A8DAAF-33ED-4E41-8B04-47F5FF84D3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73555" y="1470380"/>
            <a:ext cx="6454093" cy="3305752"/>
          </a:xfrm>
          <a:prstGeom prst="rect">
            <a:avLst/>
          </a:prstGeom>
        </p:spPr>
      </p:pic>
    </p:spTree>
    <p:extLst>
      <p:ext uri="{BB962C8B-B14F-4D97-AF65-F5344CB8AC3E}">
        <p14:creationId xmlns:p14="http://schemas.microsoft.com/office/powerpoint/2010/main" val="2948247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userDrawn="1">
  <p:cSld name="Title, 4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4" name="Date Placeholder 3"/>
          <p:cNvSpPr>
            <a:spLocks noGrp="1"/>
          </p:cNvSpPr>
          <p:nvPr>
            <p:ph type="dt" sz="half" idx="10"/>
          </p:nvPr>
        </p:nvSpPr>
        <p:spPr/>
        <p:txBody>
          <a:bodyPr/>
          <a:lstStyle/>
          <a:p>
            <a:fld id="{DC7AE4C7-A5EF-4845-A620-2739802B95E8}" type="datetime1">
              <a:rPr lang="en-US" smtClean="0"/>
              <a:t>4/18/2025</a:t>
            </a:fld>
            <a:endParaRPr lang="en-GB"/>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7" name="Tijdelijke aanduiding voor afbeelding 7">
            <a:extLst>
              <a:ext uri="{FF2B5EF4-FFF2-40B4-BE49-F238E27FC236}">
                <a16:creationId xmlns:a16="http://schemas.microsoft.com/office/drawing/2014/main" id="{65B18880-82CC-4AC0-9FD4-73A347590E4A}"/>
              </a:ext>
            </a:extLst>
          </p:cNvPr>
          <p:cNvSpPr>
            <a:spLocks noGrp="1"/>
          </p:cNvSpPr>
          <p:nvPr>
            <p:ph type="pic" sz="quarter" idx="13" hasCustomPrompt="1"/>
          </p:nvPr>
        </p:nvSpPr>
        <p:spPr>
          <a:xfrm>
            <a:off x="575733" y="1881237"/>
            <a:ext cx="2568000" cy="2760000"/>
          </a:xfrm>
          <a:solidFill>
            <a:schemeClr val="tx1">
              <a:lumMod val="20000"/>
              <a:lumOff val="80000"/>
            </a:schemeClr>
          </a:solidFill>
        </p:spPr>
        <p:txBody>
          <a:bodyPr/>
          <a:lstStyle>
            <a:lvl1pPr marL="0" indent="0" algn="ctr">
              <a:buNone/>
              <a:defRPr>
                <a:solidFill>
                  <a:schemeClr val="accent1"/>
                </a:solidFill>
              </a:defRPr>
            </a:lvl1pPr>
          </a:lstStyle>
          <a:p>
            <a:r>
              <a:rPr lang="en-GB"/>
              <a:t>Image</a:t>
            </a:r>
          </a:p>
        </p:txBody>
      </p:sp>
      <p:sp>
        <p:nvSpPr>
          <p:cNvPr id="8" name="Tijdelijke aanduiding voor afbeelding 7">
            <a:extLst>
              <a:ext uri="{FF2B5EF4-FFF2-40B4-BE49-F238E27FC236}">
                <a16:creationId xmlns:a16="http://schemas.microsoft.com/office/drawing/2014/main" id="{F21877E9-C5B9-480D-8B19-E3F131AE2D94}"/>
              </a:ext>
            </a:extLst>
          </p:cNvPr>
          <p:cNvSpPr>
            <a:spLocks noGrp="1"/>
          </p:cNvSpPr>
          <p:nvPr>
            <p:ph type="pic" sz="quarter" idx="14" hasCustomPrompt="1"/>
          </p:nvPr>
        </p:nvSpPr>
        <p:spPr>
          <a:xfrm>
            <a:off x="3399911" y="1881237"/>
            <a:ext cx="2568000" cy="2760000"/>
          </a:xfrm>
          <a:solidFill>
            <a:schemeClr val="tx1">
              <a:lumMod val="20000"/>
              <a:lumOff val="80000"/>
            </a:schemeClr>
          </a:solidFill>
        </p:spPr>
        <p:txBody>
          <a:bodyPr/>
          <a:lstStyle>
            <a:lvl1pPr marL="0" indent="0" algn="ctr">
              <a:buNone/>
              <a:defRPr>
                <a:solidFill>
                  <a:schemeClr val="accent1"/>
                </a:solidFill>
              </a:defRPr>
            </a:lvl1pPr>
          </a:lstStyle>
          <a:p>
            <a:r>
              <a:rPr lang="en-GB"/>
              <a:t>Image</a:t>
            </a:r>
          </a:p>
        </p:txBody>
      </p:sp>
      <p:sp>
        <p:nvSpPr>
          <p:cNvPr id="9" name="Tijdelijke aanduiding voor afbeelding 7">
            <a:extLst>
              <a:ext uri="{FF2B5EF4-FFF2-40B4-BE49-F238E27FC236}">
                <a16:creationId xmlns:a16="http://schemas.microsoft.com/office/drawing/2014/main" id="{41A0AB49-F1DD-4324-B0FE-DC835BD3B2FB}"/>
              </a:ext>
            </a:extLst>
          </p:cNvPr>
          <p:cNvSpPr>
            <a:spLocks noGrp="1"/>
          </p:cNvSpPr>
          <p:nvPr>
            <p:ph type="pic" sz="quarter" idx="15" hasCustomPrompt="1"/>
          </p:nvPr>
        </p:nvSpPr>
        <p:spPr>
          <a:xfrm>
            <a:off x="6224088" y="1881237"/>
            <a:ext cx="2568000" cy="2760000"/>
          </a:xfrm>
          <a:solidFill>
            <a:schemeClr val="tx1">
              <a:lumMod val="20000"/>
              <a:lumOff val="80000"/>
            </a:schemeClr>
          </a:solidFill>
        </p:spPr>
        <p:txBody>
          <a:bodyPr/>
          <a:lstStyle>
            <a:lvl1pPr marL="0" indent="0" algn="ctr">
              <a:buNone/>
              <a:defRPr>
                <a:solidFill>
                  <a:schemeClr val="accent1"/>
                </a:solidFill>
              </a:defRPr>
            </a:lvl1pPr>
          </a:lstStyle>
          <a:p>
            <a:r>
              <a:rPr lang="en-GB"/>
              <a:t>Image</a:t>
            </a:r>
          </a:p>
        </p:txBody>
      </p:sp>
      <p:sp>
        <p:nvSpPr>
          <p:cNvPr id="14" name="Tijdelijke aanduiding voor tekst 13">
            <a:extLst>
              <a:ext uri="{FF2B5EF4-FFF2-40B4-BE49-F238E27FC236}">
                <a16:creationId xmlns:a16="http://schemas.microsoft.com/office/drawing/2014/main" id="{CE04E62B-DFE8-49C6-BCEC-A19BF0599890}"/>
              </a:ext>
            </a:extLst>
          </p:cNvPr>
          <p:cNvSpPr>
            <a:spLocks noGrp="1"/>
          </p:cNvSpPr>
          <p:nvPr>
            <p:ph type="body" sz="quarter" idx="16" hasCustomPrompt="1"/>
          </p:nvPr>
        </p:nvSpPr>
        <p:spPr>
          <a:xfrm>
            <a:off x="575732" y="4640555"/>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lIns="72000" rIns="72000" anchor="ctr" anchorCtr="0">
            <a:noAutofit/>
          </a:bodyPr>
          <a:lstStyle>
            <a:lvl1pPr marL="0" indent="0" algn="ctr">
              <a:lnSpc>
                <a:spcPct val="100000"/>
              </a:lnSpc>
              <a:spcBef>
                <a:spcPts val="0"/>
              </a:spcBef>
              <a:buNone/>
              <a:defRPr>
                <a:solidFill>
                  <a:schemeClr val="bg1"/>
                </a:solidFill>
              </a:defRPr>
            </a:lvl1pPr>
          </a:lstStyle>
          <a:p>
            <a:pPr lvl="0"/>
            <a:r>
              <a:rPr lang="en-GB"/>
              <a:t>text</a:t>
            </a:r>
          </a:p>
        </p:txBody>
      </p:sp>
      <p:sp>
        <p:nvSpPr>
          <p:cNvPr id="15" name="Tijdelijke aanduiding voor tekst 14">
            <a:extLst>
              <a:ext uri="{FF2B5EF4-FFF2-40B4-BE49-F238E27FC236}">
                <a16:creationId xmlns:a16="http://schemas.microsoft.com/office/drawing/2014/main" id="{93339D03-BA0D-439C-9AE3-76BF835F80BC}"/>
              </a:ext>
            </a:extLst>
          </p:cNvPr>
          <p:cNvSpPr>
            <a:spLocks noGrp="1"/>
          </p:cNvSpPr>
          <p:nvPr>
            <p:ph type="body" sz="quarter" idx="17" hasCustomPrompt="1"/>
          </p:nvPr>
        </p:nvSpPr>
        <p:spPr>
          <a:xfrm>
            <a:off x="3399909" y="4640555"/>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lIns="72000" rIns="72000" anchor="ctr" anchorCtr="0">
            <a:noAutofit/>
          </a:bodyPr>
          <a:lstStyle>
            <a:lvl1pPr marL="0" indent="0" algn="ctr">
              <a:lnSpc>
                <a:spcPct val="100000"/>
              </a:lnSpc>
              <a:spcBef>
                <a:spcPts val="0"/>
              </a:spcBef>
              <a:buNone/>
              <a:defRPr>
                <a:solidFill>
                  <a:schemeClr val="bg1"/>
                </a:solidFill>
              </a:defRPr>
            </a:lvl1pPr>
          </a:lstStyle>
          <a:p>
            <a:pPr lvl="0"/>
            <a:r>
              <a:rPr lang="en-GB"/>
              <a:t>text</a:t>
            </a:r>
          </a:p>
        </p:txBody>
      </p:sp>
      <p:sp>
        <p:nvSpPr>
          <p:cNvPr id="16" name="Tijdelijke aanduiding voor tekst 15">
            <a:extLst>
              <a:ext uri="{FF2B5EF4-FFF2-40B4-BE49-F238E27FC236}">
                <a16:creationId xmlns:a16="http://schemas.microsoft.com/office/drawing/2014/main" id="{93DBC742-8E58-4623-A40E-7D2DB102CDAF}"/>
              </a:ext>
            </a:extLst>
          </p:cNvPr>
          <p:cNvSpPr>
            <a:spLocks noGrp="1"/>
          </p:cNvSpPr>
          <p:nvPr>
            <p:ph type="body" sz="quarter" idx="18" hasCustomPrompt="1"/>
          </p:nvPr>
        </p:nvSpPr>
        <p:spPr>
          <a:xfrm>
            <a:off x="6224087" y="4640555"/>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lIns="72000" rIns="72000" anchor="ctr" anchorCtr="0">
            <a:noAutofit/>
          </a:bodyPr>
          <a:lstStyle>
            <a:lvl1pPr marL="0" indent="0" algn="ctr">
              <a:lnSpc>
                <a:spcPct val="100000"/>
              </a:lnSpc>
              <a:spcBef>
                <a:spcPts val="0"/>
              </a:spcBef>
              <a:buNone/>
              <a:defRPr>
                <a:solidFill>
                  <a:schemeClr val="bg1"/>
                </a:solidFill>
              </a:defRPr>
            </a:lvl1pPr>
          </a:lstStyle>
          <a:p>
            <a:pPr lvl="0"/>
            <a:r>
              <a:rPr lang="en-GB"/>
              <a:t>text</a:t>
            </a:r>
          </a:p>
        </p:txBody>
      </p:sp>
      <p:sp>
        <p:nvSpPr>
          <p:cNvPr id="13" name="Tijdelijke aanduiding voor afbeelding 7">
            <a:extLst>
              <a:ext uri="{FF2B5EF4-FFF2-40B4-BE49-F238E27FC236}">
                <a16:creationId xmlns:a16="http://schemas.microsoft.com/office/drawing/2014/main" id="{9014C87B-4A9B-46A5-92E7-D035D3B01B50}"/>
              </a:ext>
            </a:extLst>
          </p:cNvPr>
          <p:cNvSpPr>
            <a:spLocks noGrp="1"/>
          </p:cNvSpPr>
          <p:nvPr>
            <p:ph type="pic" sz="quarter" idx="20" hasCustomPrompt="1"/>
          </p:nvPr>
        </p:nvSpPr>
        <p:spPr>
          <a:xfrm>
            <a:off x="9048265" y="1881237"/>
            <a:ext cx="2568000" cy="2760000"/>
          </a:xfrm>
          <a:solidFill>
            <a:schemeClr val="tx1">
              <a:lumMod val="20000"/>
              <a:lumOff val="80000"/>
            </a:schemeClr>
          </a:solidFill>
        </p:spPr>
        <p:txBody>
          <a:bodyPr/>
          <a:lstStyle>
            <a:lvl1pPr marL="0" indent="0" algn="ctr">
              <a:buNone/>
              <a:defRPr>
                <a:solidFill>
                  <a:schemeClr val="accent1"/>
                </a:solidFill>
              </a:defRPr>
            </a:lvl1pPr>
          </a:lstStyle>
          <a:p>
            <a:r>
              <a:rPr lang="en-GB"/>
              <a:t>Image</a:t>
            </a:r>
          </a:p>
        </p:txBody>
      </p:sp>
      <p:sp>
        <p:nvSpPr>
          <p:cNvPr id="17" name="Tijdelijke aanduiding voor tekst 16">
            <a:extLst>
              <a:ext uri="{FF2B5EF4-FFF2-40B4-BE49-F238E27FC236}">
                <a16:creationId xmlns:a16="http://schemas.microsoft.com/office/drawing/2014/main" id="{8B53FD86-423F-4F36-AC16-3D6CA052A00B}"/>
              </a:ext>
            </a:extLst>
          </p:cNvPr>
          <p:cNvSpPr>
            <a:spLocks noGrp="1"/>
          </p:cNvSpPr>
          <p:nvPr>
            <p:ph type="body" sz="quarter" idx="21" hasCustomPrompt="1"/>
          </p:nvPr>
        </p:nvSpPr>
        <p:spPr>
          <a:xfrm>
            <a:off x="9048265" y="4640555"/>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lIns="72000" rIns="72000" anchor="ctr" anchorCtr="0">
            <a:noAutofit/>
          </a:bodyPr>
          <a:lstStyle>
            <a:lvl1pPr marL="0" indent="0" algn="ctr">
              <a:lnSpc>
                <a:spcPct val="100000"/>
              </a:lnSpc>
              <a:spcBef>
                <a:spcPts val="0"/>
              </a:spcBef>
              <a:buNone/>
              <a:defRPr>
                <a:solidFill>
                  <a:schemeClr val="bg1"/>
                </a:solidFill>
              </a:defRPr>
            </a:lvl1pPr>
          </a:lstStyle>
          <a:p>
            <a:pPr lvl="0"/>
            <a:r>
              <a:rPr lang="en-GB"/>
              <a:t>text</a:t>
            </a:r>
          </a:p>
        </p:txBody>
      </p:sp>
    </p:spTree>
    <p:extLst>
      <p:ext uri="{BB962C8B-B14F-4D97-AF65-F5344CB8AC3E}">
        <p14:creationId xmlns:p14="http://schemas.microsoft.com/office/powerpoint/2010/main" val="1207452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7C227851-E018-138C-0EBF-69AA329D4051}"/>
              </a:ext>
            </a:extLst>
          </p:cNvPr>
          <p:cNvSpPr>
            <a:spLocks noGrp="1"/>
          </p:cNvSpPr>
          <p:nvPr>
            <p:ph idx="1"/>
          </p:nvPr>
        </p:nvSpPr>
        <p:spPr>
          <a:xfrm>
            <a:off x="524655" y="1052513"/>
            <a:ext cx="11160000" cy="4824412"/>
          </a:xfrm>
          <a:prstGeom prst="rect">
            <a:avLst/>
          </a:prstGeom>
        </p:spPr>
        <p:txBody>
          <a:bodyPr/>
          <a:lstStyle/>
          <a:p>
            <a:pPr lvl="0"/>
            <a:r>
              <a:rPr lang="en-US"/>
              <a:t>Click to edit</a:t>
            </a:r>
            <a:endParaRPr lang="en-IN"/>
          </a:p>
        </p:txBody>
      </p:sp>
      <p:sp>
        <p:nvSpPr>
          <p:cNvPr id="5" name="Title">
            <a:extLst>
              <a:ext uri="{FF2B5EF4-FFF2-40B4-BE49-F238E27FC236}">
                <a16:creationId xmlns:a16="http://schemas.microsoft.com/office/drawing/2014/main" id="{B50C97F9-F14F-4AC4-68BB-0274929C3920}"/>
              </a:ext>
            </a:extLst>
          </p:cNvPr>
          <p:cNvSpPr>
            <a:spLocks noGrp="1"/>
          </p:cNvSpPr>
          <p:nvPr>
            <p:ph type="title"/>
          </p:nvPr>
        </p:nvSpPr>
        <p:spPr/>
        <p:txBody>
          <a:bodyPr/>
          <a:lstStyle/>
          <a:p>
            <a:r>
              <a:rPr lang="en-US"/>
              <a:t>Click to edit Master title style</a:t>
            </a:r>
            <a:endParaRPr lang="en-NL"/>
          </a:p>
        </p:txBody>
      </p:sp>
      <p:sp>
        <p:nvSpPr>
          <p:cNvPr id="13" name="Slide Number Placeholder">
            <a:extLst>
              <a:ext uri="{FF2B5EF4-FFF2-40B4-BE49-F238E27FC236}">
                <a16:creationId xmlns:a16="http://schemas.microsoft.com/office/drawing/2014/main" id="{247144F5-9C99-D1E3-C729-FC8496DC011A}"/>
              </a:ext>
            </a:extLst>
          </p:cNvPr>
          <p:cNvSpPr>
            <a:spLocks noGrp="1"/>
          </p:cNvSpPr>
          <p:nvPr>
            <p:ph type="sldNum" sz="quarter" idx="12"/>
          </p:nvPr>
        </p:nvSpPr>
        <p:spPr>
          <a:xfrm>
            <a:off x="11319511" y="6120028"/>
            <a:ext cx="350031" cy="360000"/>
          </a:xfrm>
          <a:prstGeom prst="rect">
            <a:avLst/>
          </a:prstGeom>
        </p:spPr>
        <p:txBody>
          <a:bodyPr lIns="0" tIns="0" rIns="0" bIns="0" anchor="ctr"/>
          <a:lstStyle>
            <a:lvl1pPr algn="r">
              <a:defRPr sz="1100">
                <a:solidFill>
                  <a:schemeClr val="bg2"/>
                </a:solidFill>
              </a:defRPr>
            </a:lvl1pPr>
          </a:lstStyle>
          <a:p>
            <a:fld id="{D0281C21-EE02-42A0-BCF6-67BEF936A35A}" type="slidenum">
              <a:rPr lang="en-IN" smtClean="0"/>
              <a:pPr/>
              <a:t>‹#›</a:t>
            </a:fld>
            <a:endParaRPr lang="en-IN"/>
          </a:p>
        </p:txBody>
      </p:sp>
      <p:sp>
        <p:nvSpPr>
          <p:cNvPr id="2" name="Text Placeholder 5">
            <a:extLst>
              <a:ext uri="{FF2B5EF4-FFF2-40B4-BE49-F238E27FC236}">
                <a16:creationId xmlns:a16="http://schemas.microsoft.com/office/drawing/2014/main" id="{9DF2ADA7-643D-9845-A823-1B8F2BF22741}"/>
              </a:ext>
            </a:extLst>
          </p:cNvPr>
          <p:cNvSpPr>
            <a:spLocks noGrp="1"/>
          </p:cNvSpPr>
          <p:nvPr>
            <p:ph type="body" sz="quarter" idx="80" hasCustomPrompt="1"/>
          </p:nvPr>
        </p:nvSpPr>
        <p:spPr>
          <a:xfrm>
            <a:off x="525600" y="6109200"/>
            <a:ext cx="720000" cy="554400"/>
          </a:xfrm>
        </p:spPr>
        <p:txBody>
          <a:bodyPr/>
          <a:lstStyle>
            <a:lvl1pPr marL="0" indent="0">
              <a:buFontTx/>
              <a:buNone/>
              <a:defRPr sz="1100" b="1">
                <a:solidFill>
                  <a:schemeClr val="bg2"/>
                </a:solidFill>
              </a:defRPr>
            </a:lvl1pPr>
          </a:lstStyle>
          <a:p>
            <a:pPr lvl="0"/>
            <a:r>
              <a:rPr lang="en-US"/>
              <a:t>Sources:</a:t>
            </a:r>
            <a:endParaRPr lang="en-NL"/>
          </a:p>
        </p:txBody>
      </p:sp>
      <p:sp>
        <p:nvSpPr>
          <p:cNvPr id="4" name="Text Placeholder 11">
            <a:extLst>
              <a:ext uri="{FF2B5EF4-FFF2-40B4-BE49-F238E27FC236}">
                <a16:creationId xmlns:a16="http://schemas.microsoft.com/office/drawing/2014/main" id="{3C20D235-5E4A-F4E6-745F-FAA021BD6FDE}"/>
              </a:ext>
            </a:extLst>
          </p:cNvPr>
          <p:cNvSpPr>
            <a:spLocks noGrp="1"/>
          </p:cNvSpPr>
          <p:nvPr>
            <p:ph type="body" sz="quarter" idx="81" hasCustomPrompt="1"/>
          </p:nvPr>
        </p:nvSpPr>
        <p:spPr>
          <a:xfrm>
            <a:off x="1152000" y="6109200"/>
            <a:ext cx="8704216" cy="440904"/>
          </a:xfrm>
        </p:spPr>
        <p:txBody>
          <a:bodyPr/>
          <a:lstStyle>
            <a:lvl1pPr marL="0" indent="0">
              <a:buFontTx/>
              <a:buNone/>
              <a:defRPr sz="1100"/>
            </a:lvl1pPr>
          </a:lstStyle>
          <a:p>
            <a:pPr lvl="0"/>
            <a:r>
              <a:rPr lang="en-US"/>
              <a:t>Innova Database (click to edit)</a:t>
            </a:r>
            <a:endParaRPr lang="en-NL"/>
          </a:p>
        </p:txBody>
      </p:sp>
    </p:spTree>
    <p:extLst>
      <p:ext uri="{BB962C8B-B14F-4D97-AF65-F5344CB8AC3E}">
        <p14:creationId xmlns:p14="http://schemas.microsoft.com/office/powerpoint/2010/main" val="2771732585"/>
      </p:ext>
    </p:extLst>
  </p:cSld>
  <p:clrMapOvr>
    <a:masterClrMapping/>
  </p:clrMapOvr>
  <p:extLst>
    <p:ext uri="{DCECCB84-F9BA-43D5-87BE-67443E8EF086}">
      <p15:sldGuideLst xmlns:p15="http://schemas.microsoft.com/office/powerpoint/2012/main"/>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4" name="Chart Placeholder">
            <a:extLst>
              <a:ext uri="{FF2B5EF4-FFF2-40B4-BE49-F238E27FC236}">
                <a16:creationId xmlns:a16="http://schemas.microsoft.com/office/drawing/2014/main" id="{A97ACAE5-4E2D-3FEE-3F29-40D1A0E835AA}"/>
              </a:ext>
            </a:extLst>
          </p:cNvPr>
          <p:cNvSpPr>
            <a:spLocks noGrp="1"/>
          </p:cNvSpPr>
          <p:nvPr>
            <p:ph type="chart" sz="quarter" idx="13" hasCustomPrompt="1"/>
          </p:nvPr>
        </p:nvSpPr>
        <p:spPr>
          <a:xfrm>
            <a:off x="525600" y="1497600"/>
            <a:ext cx="11160000" cy="4377600"/>
          </a:xfrm>
          <a:solidFill>
            <a:srgbClr val="F2F2F2"/>
          </a:solidFill>
        </p:spPr>
        <p:txBody>
          <a:bodyPr anchor="ctr" anchorCtr="0">
            <a:noAutofit/>
          </a:bodyPr>
          <a:lstStyle>
            <a:lvl1pPr marL="0" indent="0" algn="ctr">
              <a:buNone/>
              <a:defRPr sz="1200">
                <a:solidFill>
                  <a:schemeClr val="tx1"/>
                </a:solidFill>
                <a:latin typeface="Arial" panose="020B0604020202020204" pitchFamily="34" charset="0"/>
                <a:cs typeface="Arial" panose="020B0604020202020204" pitchFamily="34" charset="0"/>
              </a:defRPr>
            </a:lvl1pPr>
          </a:lstStyle>
          <a:p>
            <a:pPr lvl="0"/>
            <a:r>
              <a:rPr lang="en-US"/>
              <a:t>Pick a chart / table from the chart.ppt document.</a:t>
            </a:r>
          </a:p>
          <a:p>
            <a:pPr lvl="0"/>
            <a:r>
              <a:rPr lang="en-US"/>
              <a:t>These have been pre-defined so they have the correct font &amp; color usage.</a:t>
            </a:r>
          </a:p>
          <a:p>
            <a:pPr lvl="0"/>
            <a:r>
              <a:rPr lang="nl-NL"/>
              <a:t>Copy/paste it into this document.</a:t>
            </a:r>
          </a:p>
          <a:p>
            <a:pPr lvl="0"/>
            <a:r>
              <a:rPr lang="nl-NL"/>
              <a:t>Make sure it fits (exactly) within the grey area, just resize the outer edges of the chart/table to fit.</a:t>
            </a:r>
          </a:p>
          <a:p>
            <a:pPr lvl="0"/>
            <a:r>
              <a:rPr lang="nl-NL"/>
              <a:t>Once applied, move the chart to the side and make this box white so you don’t see it anymore.</a:t>
            </a:r>
            <a:endParaRPr lang="en-US"/>
          </a:p>
        </p:txBody>
      </p:sp>
      <p:sp>
        <p:nvSpPr>
          <p:cNvPr id="12" name="Slide Number Placeholder">
            <a:extLst>
              <a:ext uri="{FF2B5EF4-FFF2-40B4-BE49-F238E27FC236}">
                <a16:creationId xmlns:a16="http://schemas.microsoft.com/office/drawing/2014/main" id="{60CD5504-D486-4BFB-CBDD-28C807B20EB9}"/>
              </a:ext>
            </a:extLst>
          </p:cNvPr>
          <p:cNvSpPr>
            <a:spLocks noGrp="1"/>
          </p:cNvSpPr>
          <p:nvPr>
            <p:ph type="sldNum" sz="quarter" idx="12"/>
          </p:nvPr>
        </p:nvSpPr>
        <p:spPr>
          <a:xfrm>
            <a:off x="11319511" y="6120028"/>
            <a:ext cx="350031" cy="360000"/>
          </a:xfrm>
          <a:prstGeom prst="rect">
            <a:avLst/>
          </a:prstGeom>
        </p:spPr>
        <p:txBody>
          <a:bodyPr lIns="0" tIns="0" rIns="0" bIns="0" anchor="ctr"/>
          <a:lstStyle>
            <a:lvl1pPr algn="r">
              <a:defRPr sz="1100">
                <a:solidFill>
                  <a:schemeClr val="bg2"/>
                </a:solidFill>
              </a:defRPr>
            </a:lvl1pPr>
          </a:lstStyle>
          <a:p>
            <a:fld id="{D0281C21-EE02-42A0-BCF6-67BEF936A35A}" type="slidenum">
              <a:rPr lang="en-IN" smtClean="0"/>
              <a:pPr/>
              <a:t>‹#›</a:t>
            </a:fld>
            <a:endParaRPr lang="en-IN"/>
          </a:p>
        </p:txBody>
      </p:sp>
      <p:sp>
        <p:nvSpPr>
          <p:cNvPr id="3" name="Text Placeholder 5">
            <a:extLst>
              <a:ext uri="{FF2B5EF4-FFF2-40B4-BE49-F238E27FC236}">
                <a16:creationId xmlns:a16="http://schemas.microsoft.com/office/drawing/2014/main" id="{6C6D89E5-1341-CD78-8289-F9BD0D70B7A8}"/>
              </a:ext>
            </a:extLst>
          </p:cNvPr>
          <p:cNvSpPr>
            <a:spLocks noGrp="1"/>
          </p:cNvSpPr>
          <p:nvPr>
            <p:ph type="body" sz="quarter" idx="80" hasCustomPrompt="1"/>
          </p:nvPr>
        </p:nvSpPr>
        <p:spPr>
          <a:xfrm>
            <a:off x="525600" y="6109200"/>
            <a:ext cx="720000" cy="554400"/>
          </a:xfrm>
        </p:spPr>
        <p:txBody>
          <a:bodyPr/>
          <a:lstStyle>
            <a:lvl1pPr marL="0" indent="0">
              <a:buFontTx/>
              <a:buNone/>
              <a:defRPr sz="1100" b="1">
                <a:solidFill>
                  <a:schemeClr val="bg2"/>
                </a:solidFill>
              </a:defRPr>
            </a:lvl1pPr>
          </a:lstStyle>
          <a:p>
            <a:pPr lvl="0"/>
            <a:r>
              <a:rPr lang="en-US"/>
              <a:t>Sources:</a:t>
            </a:r>
            <a:endParaRPr lang="en-NL"/>
          </a:p>
        </p:txBody>
      </p:sp>
      <p:sp>
        <p:nvSpPr>
          <p:cNvPr id="5" name="Text Placeholder 11">
            <a:extLst>
              <a:ext uri="{FF2B5EF4-FFF2-40B4-BE49-F238E27FC236}">
                <a16:creationId xmlns:a16="http://schemas.microsoft.com/office/drawing/2014/main" id="{0EF246F8-7959-944C-2E26-11FACA2A69AD}"/>
              </a:ext>
            </a:extLst>
          </p:cNvPr>
          <p:cNvSpPr>
            <a:spLocks noGrp="1"/>
          </p:cNvSpPr>
          <p:nvPr>
            <p:ph type="body" sz="quarter" idx="81" hasCustomPrompt="1"/>
          </p:nvPr>
        </p:nvSpPr>
        <p:spPr>
          <a:xfrm>
            <a:off x="1152000" y="6109200"/>
            <a:ext cx="8704216" cy="440904"/>
          </a:xfrm>
        </p:spPr>
        <p:txBody>
          <a:bodyPr/>
          <a:lstStyle>
            <a:lvl1pPr marL="0" indent="0">
              <a:buFontTx/>
              <a:buNone/>
              <a:defRPr sz="1100"/>
            </a:lvl1pPr>
          </a:lstStyle>
          <a:p>
            <a:pPr lvl="0"/>
            <a:r>
              <a:rPr lang="en-US"/>
              <a:t>Innova Database (click to edit)</a:t>
            </a:r>
            <a:endParaRPr lang="en-NL"/>
          </a:p>
        </p:txBody>
      </p:sp>
      <p:sp>
        <p:nvSpPr>
          <p:cNvPr id="2" name="Title">
            <a:extLst>
              <a:ext uri="{FF2B5EF4-FFF2-40B4-BE49-F238E27FC236}">
                <a16:creationId xmlns:a16="http://schemas.microsoft.com/office/drawing/2014/main" id="{3C59A40D-74DC-D2EB-611A-375DA98303F8}"/>
              </a:ext>
            </a:extLst>
          </p:cNvPr>
          <p:cNvSpPr>
            <a:spLocks noGrp="1"/>
          </p:cNvSpPr>
          <p:nvPr>
            <p:ph type="title"/>
          </p:nvPr>
        </p:nvSpPr>
        <p:spPr>
          <a:xfrm>
            <a:off x="524654" y="193764"/>
            <a:ext cx="11160000" cy="774000"/>
          </a:xfrm>
        </p:spPr>
        <p:txBody>
          <a:bodyPr/>
          <a:lstStyle/>
          <a:p>
            <a:r>
              <a:rPr lang="en-US"/>
              <a:t>Click to edit Master title style</a:t>
            </a:r>
            <a:endParaRPr lang="en-NL"/>
          </a:p>
        </p:txBody>
      </p:sp>
      <p:sp>
        <p:nvSpPr>
          <p:cNvPr id="7" name="Text Placeholder 6">
            <a:extLst>
              <a:ext uri="{FF2B5EF4-FFF2-40B4-BE49-F238E27FC236}">
                <a16:creationId xmlns:a16="http://schemas.microsoft.com/office/drawing/2014/main" id="{13A2B91C-40AF-7C8E-D761-BAC01017A741}"/>
              </a:ext>
            </a:extLst>
          </p:cNvPr>
          <p:cNvSpPr>
            <a:spLocks noGrp="1"/>
          </p:cNvSpPr>
          <p:nvPr>
            <p:ph type="body" sz="quarter" idx="83" hasCustomPrompt="1"/>
          </p:nvPr>
        </p:nvSpPr>
        <p:spPr>
          <a:xfrm>
            <a:off x="1364105" y="1090613"/>
            <a:ext cx="10320549" cy="360362"/>
          </a:xfrm>
          <a:noFill/>
        </p:spPr>
        <p:txBody>
          <a:bodyPr/>
          <a:lstStyle>
            <a:lvl1pPr marL="0" indent="0">
              <a:buFontTx/>
              <a:buNone/>
              <a:defRPr sz="11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marL="0" marR="0" lvl="0" indent="0" algn="l" defTabSz="914400" rtl="0" eaLnBrk="1" fontAlgn="auto" latinLnBrk="0" hangingPunct="1">
              <a:lnSpc>
                <a:spcPct val="100000"/>
              </a:lnSpc>
              <a:spcBef>
                <a:spcPts val="600"/>
              </a:spcBef>
              <a:spcAft>
                <a:spcPts val="0"/>
              </a:spcAft>
              <a:buClr>
                <a:schemeClr val="tx2"/>
              </a:buClr>
              <a:buSzTx/>
              <a:buFont typeface="Arial" panose="020B0604020202020204" pitchFamily="34" charset="0"/>
              <a:buNone/>
              <a:tabLst/>
              <a:defRPr/>
            </a:pPr>
            <a:r>
              <a:rPr lang="en-US"/>
              <a:t> Chart title goes here (do not add an extra title to the chart below)</a:t>
            </a:r>
          </a:p>
        </p:txBody>
      </p:sp>
      <p:sp>
        <p:nvSpPr>
          <p:cNvPr id="8" name="Text Placeholder 6">
            <a:extLst>
              <a:ext uri="{FF2B5EF4-FFF2-40B4-BE49-F238E27FC236}">
                <a16:creationId xmlns:a16="http://schemas.microsoft.com/office/drawing/2014/main" id="{50D91B82-185E-0861-EEB1-62B656935263}"/>
              </a:ext>
            </a:extLst>
          </p:cNvPr>
          <p:cNvSpPr>
            <a:spLocks noGrp="1"/>
          </p:cNvSpPr>
          <p:nvPr>
            <p:ph type="body" sz="quarter" idx="84" hasCustomPrompt="1"/>
          </p:nvPr>
        </p:nvSpPr>
        <p:spPr>
          <a:xfrm>
            <a:off x="524654" y="1090613"/>
            <a:ext cx="779490" cy="360362"/>
          </a:xfrm>
          <a:noFill/>
        </p:spPr>
        <p:txBody>
          <a:bodyPr/>
          <a:lstStyle>
            <a:lvl1pPr marL="0" indent="0">
              <a:buFontTx/>
              <a:buNone/>
              <a:defRPr sz="1100"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Figure:</a:t>
            </a:r>
            <a:endParaRPr lang="en-IN"/>
          </a:p>
        </p:txBody>
      </p:sp>
    </p:spTree>
    <p:extLst>
      <p:ext uri="{BB962C8B-B14F-4D97-AF65-F5344CB8AC3E}">
        <p14:creationId xmlns:p14="http://schemas.microsoft.com/office/powerpoint/2010/main" val="699269645"/>
      </p:ext>
    </p:extLst>
  </p:cSld>
  <p:clrMapOvr>
    <a:masterClrMapping/>
  </p:clrMapOvr>
  <p:extLst>
    <p:ext uri="{DCECCB84-F9BA-43D5-87BE-67443E8EF086}">
      <p15:sldGuideLst xmlns:p15="http://schemas.microsoft.com/office/powerpoint/2012/main">
        <p15:guide id="1" orient="horz" pos="935">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 Picture">
    <p:spTree>
      <p:nvGrpSpPr>
        <p:cNvPr id="1" name=""/>
        <p:cNvGrpSpPr/>
        <p:nvPr/>
      </p:nvGrpSpPr>
      <p:grpSpPr>
        <a:xfrm>
          <a:off x="0" y="0"/>
          <a:ext cx="0" cy="0"/>
          <a:chOff x="0" y="0"/>
          <a:chExt cx="0" cy="0"/>
        </a:xfrm>
      </p:grpSpPr>
      <p:sp>
        <p:nvSpPr>
          <p:cNvPr id="10" name="Tijdelijke aanduiding voor afbeelding 7">
            <a:extLst>
              <a:ext uri="{FF2B5EF4-FFF2-40B4-BE49-F238E27FC236}">
                <a16:creationId xmlns:a16="http://schemas.microsoft.com/office/drawing/2014/main" id="{4DAEAD04-C1FD-4924-B727-1FF08B2835E8}"/>
              </a:ext>
            </a:extLst>
          </p:cNvPr>
          <p:cNvSpPr>
            <a:spLocks noGrp="1"/>
          </p:cNvSpPr>
          <p:nvPr>
            <p:ph type="pic" sz="quarter" idx="13" hasCustomPrompt="1"/>
          </p:nvPr>
        </p:nvSpPr>
        <p:spPr>
          <a:xfrm>
            <a:off x="0" y="0"/>
            <a:ext cx="12192000" cy="6858000"/>
          </a:xfrm>
          <a:solidFill>
            <a:schemeClr val="tx1">
              <a:lumMod val="20000"/>
              <a:lumOff val="80000"/>
            </a:schemeClr>
          </a:solidFill>
        </p:spPr>
        <p:txBody>
          <a:bodyPr/>
          <a:lstStyle>
            <a:lvl1pPr marL="0" indent="0" algn="ctr">
              <a:buNone/>
              <a:defRPr>
                <a:solidFill>
                  <a:schemeClr val="accent1"/>
                </a:solidFill>
              </a:defRPr>
            </a:lvl1pPr>
          </a:lstStyle>
          <a:p>
            <a:r>
              <a:rPr lang="en-GB"/>
              <a:t>Image</a:t>
            </a:r>
          </a:p>
        </p:txBody>
      </p:sp>
      <p:sp>
        <p:nvSpPr>
          <p:cNvPr id="15" name="Tijdelijke aanduiding voor tekst 17">
            <a:extLst>
              <a:ext uri="{FF2B5EF4-FFF2-40B4-BE49-F238E27FC236}">
                <a16:creationId xmlns:a16="http://schemas.microsoft.com/office/drawing/2014/main" id="{30D87D28-D257-424B-AB30-F929E1A73AE4}"/>
              </a:ext>
            </a:extLst>
          </p:cNvPr>
          <p:cNvSpPr>
            <a:spLocks noGrp="1"/>
          </p:cNvSpPr>
          <p:nvPr>
            <p:ph type="body" sz="quarter" idx="18" hasCustomPrompt="1"/>
          </p:nvPr>
        </p:nvSpPr>
        <p:spPr>
          <a:xfrm>
            <a:off x="336554" y="1"/>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2"/>
            <a:ext cx="3168651"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Subtitle</a:t>
            </a:r>
          </a:p>
        </p:txBody>
      </p:sp>
      <p:sp>
        <p:nvSpPr>
          <p:cNvPr id="22" name="Tijdelijke aanduiding voor tekst 21">
            <a:extLst>
              <a:ext uri="{FF2B5EF4-FFF2-40B4-BE49-F238E27FC236}">
                <a16:creationId xmlns:a16="http://schemas.microsoft.com/office/drawing/2014/main" id="{FB8EC1E8-CA61-4781-B9FD-8B2A398367C1}"/>
              </a:ext>
            </a:extLst>
          </p:cNvPr>
          <p:cNvSpPr>
            <a:spLocks noGrp="1"/>
          </p:cNvSpPr>
          <p:nvPr>
            <p:ph type="body" sz="quarter" idx="19" hasCustomPrompt="1"/>
          </p:nvPr>
        </p:nvSpPr>
        <p:spPr>
          <a:xfrm>
            <a:off x="662400" y="374400"/>
            <a:ext cx="1737600" cy="1046400"/>
          </a:xfrm>
          <a:blipFill>
            <a:blip r:embed="rId2" cstate="print">
              <a:extLst>
                <a:ext uri="{28A0092B-C50C-407E-A947-70E740481C1C}">
                  <a14:useLocalDpi xmlns:a14="http://schemas.microsoft.com/office/drawing/2010/main" val="0"/>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en-GB"/>
              <a:t>.</a:t>
            </a:r>
          </a:p>
        </p:txBody>
      </p:sp>
      <p:grpSp>
        <p:nvGrpSpPr>
          <p:cNvPr id="11" name="Groep 10">
            <a:extLst>
              <a:ext uri="{FF2B5EF4-FFF2-40B4-BE49-F238E27FC236}">
                <a16:creationId xmlns:a16="http://schemas.microsoft.com/office/drawing/2014/main" id="{00535BFA-E28A-45B6-9D3C-16EA9D769715}"/>
              </a:ext>
            </a:extLst>
          </p:cNvPr>
          <p:cNvGrpSpPr/>
          <p:nvPr userDrawn="1"/>
        </p:nvGrpSpPr>
        <p:grpSpPr>
          <a:xfrm>
            <a:off x="12262862" y="575999"/>
            <a:ext cx="1130143" cy="757167"/>
            <a:chOff x="9197145" y="1199569"/>
            <a:chExt cx="847607" cy="567875"/>
          </a:xfrm>
        </p:grpSpPr>
        <p:sp>
          <p:nvSpPr>
            <p:cNvPr id="12" name="Freeform 20">
              <a:extLst>
                <a:ext uri="{FF2B5EF4-FFF2-40B4-BE49-F238E27FC236}">
                  <a16:creationId xmlns:a16="http://schemas.microsoft.com/office/drawing/2014/main" id="{873BFFE2-A199-4561-84F5-D9D0C64EAFC0}"/>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4" name="Tekstvak 13">
              <a:extLst>
                <a:ext uri="{FF2B5EF4-FFF2-40B4-BE49-F238E27FC236}">
                  <a16:creationId xmlns:a16="http://schemas.microsoft.com/office/drawing/2014/main" id="{B4D24D63-913D-4B46-A3FA-1CF82CD08E8D}"/>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3174222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 Box, Chart">
    <p:spTree>
      <p:nvGrpSpPr>
        <p:cNvPr id="1" name=""/>
        <p:cNvGrpSpPr/>
        <p:nvPr/>
      </p:nvGrpSpPr>
      <p:grpSpPr>
        <a:xfrm>
          <a:off x="0" y="0"/>
          <a:ext cx="0" cy="0"/>
          <a:chOff x="0" y="0"/>
          <a:chExt cx="0" cy="0"/>
        </a:xfrm>
      </p:grpSpPr>
      <p:sp>
        <p:nvSpPr>
          <p:cNvPr id="8" name="Chart Placeholder">
            <a:extLst>
              <a:ext uri="{FF2B5EF4-FFF2-40B4-BE49-F238E27FC236}">
                <a16:creationId xmlns:a16="http://schemas.microsoft.com/office/drawing/2014/main" id="{003A30D7-BC0E-C897-3D0F-8201B7253E73}"/>
              </a:ext>
            </a:extLst>
          </p:cNvPr>
          <p:cNvSpPr>
            <a:spLocks noGrp="1"/>
          </p:cNvSpPr>
          <p:nvPr>
            <p:ph type="chart" sz="quarter" idx="13" hasCustomPrompt="1"/>
          </p:nvPr>
        </p:nvSpPr>
        <p:spPr>
          <a:xfrm>
            <a:off x="524656" y="1872464"/>
            <a:ext cx="11160000" cy="3942575"/>
          </a:xfrm>
          <a:solidFill>
            <a:srgbClr val="F2F2F2"/>
          </a:solidFill>
        </p:spPr>
        <p:txBody>
          <a:bodyPr anchor="ctr" anchorCtr="0">
            <a:noAutofit/>
          </a:bodyPr>
          <a:lstStyle>
            <a:lvl1pPr marL="0" indent="0" algn="ctr">
              <a:buNone/>
              <a:defRPr sz="1200">
                <a:solidFill>
                  <a:schemeClr val="tx1"/>
                </a:solidFill>
                <a:latin typeface="Arial" panose="020B0604020202020204" pitchFamily="34" charset="0"/>
                <a:cs typeface="Arial" panose="020B0604020202020204" pitchFamily="34" charset="0"/>
              </a:defRPr>
            </a:lvl1pPr>
          </a:lstStyle>
          <a:p>
            <a:pPr lvl="0"/>
            <a:r>
              <a:rPr lang="en-US"/>
              <a:t>Pick a chart / table from the </a:t>
            </a:r>
            <a:r>
              <a:rPr lang="en-US" err="1"/>
              <a:t>chart.ppt</a:t>
            </a:r>
            <a:r>
              <a:rPr lang="en-US"/>
              <a:t> document.</a:t>
            </a:r>
          </a:p>
          <a:p>
            <a:pPr lvl="0"/>
            <a:r>
              <a:rPr lang="en-US"/>
              <a:t>These have been pre-defined so they have the correct font &amp; color usage.</a:t>
            </a:r>
          </a:p>
          <a:p>
            <a:pPr lvl="0"/>
            <a:r>
              <a:rPr lang="nl-NL"/>
              <a:t>Copy/paste </a:t>
            </a:r>
            <a:r>
              <a:rPr lang="nl-NL" err="1"/>
              <a:t>it</a:t>
            </a:r>
            <a:r>
              <a:rPr lang="nl-NL"/>
              <a:t> </a:t>
            </a:r>
            <a:r>
              <a:rPr lang="nl-NL" err="1"/>
              <a:t>into</a:t>
            </a:r>
            <a:r>
              <a:rPr lang="nl-NL"/>
              <a:t> </a:t>
            </a:r>
            <a:r>
              <a:rPr lang="nl-NL" err="1"/>
              <a:t>this</a:t>
            </a:r>
            <a:r>
              <a:rPr lang="nl-NL"/>
              <a:t> document.</a:t>
            </a:r>
          </a:p>
          <a:p>
            <a:pPr lvl="0"/>
            <a:r>
              <a:rPr lang="nl-NL"/>
              <a:t>Make </a:t>
            </a:r>
            <a:r>
              <a:rPr lang="nl-NL" err="1"/>
              <a:t>sure</a:t>
            </a:r>
            <a:r>
              <a:rPr lang="nl-NL"/>
              <a:t> </a:t>
            </a:r>
            <a:r>
              <a:rPr lang="nl-NL" err="1"/>
              <a:t>it</a:t>
            </a:r>
            <a:r>
              <a:rPr lang="nl-NL"/>
              <a:t> fits (</a:t>
            </a:r>
            <a:r>
              <a:rPr lang="nl-NL" err="1"/>
              <a:t>exactly</a:t>
            </a:r>
            <a:r>
              <a:rPr lang="nl-NL"/>
              <a:t>) </a:t>
            </a:r>
            <a:r>
              <a:rPr lang="nl-NL" err="1"/>
              <a:t>within</a:t>
            </a:r>
            <a:r>
              <a:rPr lang="nl-NL"/>
              <a:t> </a:t>
            </a:r>
            <a:r>
              <a:rPr lang="nl-NL" err="1"/>
              <a:t>the</a:t>
            </a:r>
            <a:r>
              <a:rPr lang="nl-NL"/>
              <a:t> </a:t>
            </a:r>
            <a:r>
              <a:rPr lang="nl-NL" err="1"/>
              <a:t>grey</a:t>
            </a:r>
            <a:r>
              <a:rPr lang="nl-NL"/>
              <a:t> area, </a:t>
            </a:r>
            <a:r>
              <a:rPr lang="nl-NL" err="1"/>
              <a:t>just</a:t>
            </a:r>
            <a:r>
              <a:rPr lang="nl-NL"/>
              <a:t> </a:t>
            </a:r>
            <a:r>
              <a:rPr lang="nl-NL" err="1"/>
              <a:t>resize</a:t>
            </a:r>
            <a:r>
              <a:rPr lang="nl-NL"/>
              <a:t> </a:t>
            </a:r>
            <a:r>
              <a:rPr lang="nl-NL" err="1"/>
              <a:t>the</a:t>
            </a:r>
            <a:r>
              <a:rPr lang="nl-NL"/>
              <a:t> </a:t>
            </a:r>
            <a:r>
              <a:rPr lang="nl-NL" err="1"/>
              <a:t>outer</a:t>
            </a:r>
            <a:r>
              <a:rPr lang="nl-NL"/>
              <a:t> </a:t>
            </a:r>
            <a:r>
              <a:rPr lang="nl-NL" err="1"/>
              <a:t>edges</a:t>
            </a:r>
            <a:r>
              <a:rPr lang="nl-NL"/>
              <a:t> of </a:t>
            </a:r>
            <a:r>
              <a:rPr lang="nl-NL" err="1"/>
              <a:t>the</a:t>
            </a:r>
            <a:r>
              <a:rPr lang="nl-NL"/>
              <a:t> </a:t>
            </a:r>
            <a:r>
              <a:rPr lang="nl-NL" err="1"/>
              <a:t>chart</a:t>
            </a:r>
            <a:r>
              <a:rPr lang="nl-NL"/>
              <a:t>/</a:t>
            </a:r>
            <a:r>
              <a:rPr lang="nl-NL" err="1"/>
              <a:t>table</a:t>
            </a:r>
            <a:r>
              <a:rPr lang="nl-NL"/>
              <a:t> </a:t>
            </a:r>
            <a:r>
              <a:rPr lang="nl-NL" err="1"/>
              <a:t>to</a:t>
            </a:r>
            <a:r>
              <a:rPr lang="nl-NL"/>
              <a:t> fit.</a:t>
            </a:r>
          </a:p>
          <a:p>
            <a:pPr lvl="0"/>
            <a:r>
              <a:rPr lang="nl-NL" err="1"/>
              <a:t>Once</a:t>
            </a:r>
            <a:r>
              <a:rPr lang="nl-NL"/>
              <a:t> </a:t>
            </a:r>
            <a:r>
              <a:rPr lang="nl-NL" err="1"/>
              <a:t>applied</a:t>
            </a:r>
            <a:r>
              <a:rPr lang="nl-NL"/>
              <a:t>, move </a:t>
            </a:r>
            <a:r>
              <a:rPr lang="nl-NL" err="1"/>
              <a:t>the</a:t>
            </a:r>
            <a:r>
              <a:rPr lang="nl-NL"/>
              <a:t> </a:t>
            </a:r>
            <a:r>
              <a:rPr lang="nl-NL" err="1"/>
              <a:t>chart</a:t>
            </a:r>
            <a:r>
              <a:rPr lang="nl-NL"/>
              <a:t> </a:t>
            </a:r>
            <a:r>
              <a:rPr lang="nl-NL" err="1"/>
              <a:t>to</a:t>
            </a:r>
            <a:r>
              <a:rPr lang="nl-NL"/>
              <a:t> </a:t>
            </a:r>
            <a:r>
              <a:rPr lang="nl-NL" err="1"/>
              <a:t>the</a:t>
            </a:r>
            <a:r>
              <a:rPr lang="nl-NL"/>
              <a:t> side </a:t>
            </a:r>
            <a:r>
              <a:rPr lang="nl-NL" err="1"/>
              <a:t>and</a:t>
            </a:r>
            <a:r>
              <a:rPr lang="nl-NL"/>
              <a:t> make </a:t>
            </a:r>
            <a:r>
              <a:rPr lang="nl-NL" err="1"/>
              <a:t>this</a:t>
            </a:r>
            <a:r>
              <a:rPr lang="nl-NL"/>
              <a:t> box </a:t>
            </a:r>
            <a:r>
              <a:rPr lang="nl-NL" err="1"/>
              <a:t>white</a:t>
            </a:r>
            <a:r>
              <a:rPr lang="nl-NL"/>
              <a:t> </a:t>
            </a:r>
            <a:r>
              <a:rPr lang="nl-NL" err="1"/>
              <a:t>so</a:t>
            </a:r>
            <a:r>
              <a:rPr lang="nl-NL"/>
              <a:t> </a:t>
            </a:r>
            <a:r>
              <a:rPr lang="nl-NL" err="1"/>
              <a:t>you</a:t>
            </a:r>
            <a:r>
              <a:rPr lang="nl-NL"/>
              <a:t> </a:t>
            </a:r>
            <a:r>
              <a:rPr lang="nl-NL" err="1"/>
              <a:t>don’t</a:t>
            </a:r>
            <a:r>
              <a:rPr lang="nl-NL"/>
              <a:t> </a:t>
            </a:r>
            <a:r>
              <a:rPr lang="nl-NL" err="1"/>
              <a:t>see</a:t>
            </a:r>
            <a:r>
              <a:rPr lang="nl-NL"/>
              <a:t> </a:t>
            </a:r>
            <a:r>
              <a:rPr lang="nl-NL" err="1"/>
              <a:t>it</a:t>
            </a:r>
            <a:r>
              <a:rPr lang="nl-NL"/>
              <a:t> </a:t>
            </a:r>
            <a:r>
              <a:rPr lang="nl-NL" err="1"/>
              <a:t>anymore</a:t>
            </a:r>
            <a:r>
              <a:rPr lang="nl-NL"/>
              <a:t>.</a:t>
            </a:r>
            <a:endParaRPr lang="en-US"/>
          </a:p>
        </p:txBody>
      </p:sp>
      <p:sp>
        <p:nvSpPr>
          <p:cNvPr id="5" name="Title">
            <a:extLst>
              <a:ext uri="{FF2B5EF4-FFF2-40B4-BE49-F238E27FC236}">
                <a16:creationId xmlns:a16="http://schemas.microsoft.com/office/drawing/2014/main" id="{BE4AFF37-9413-2A9F-5CF3-A218AF33FAC9}"/>
              </a:ext>
            </a:extLst>
          </p:cNvPr>
          <p:cNvSpPr>
            <a:spLocks noGrp="1"/>
          </p:cNvSpPr>
          <p:nvPr>
            <p:ph type="title"/>
          </p:nvPr>
        </p:nvSpPr>
        <p:spPr/>
        <p:txBody>
          <a:bodyPr/>
          <a:lstStyle/>
          <a:p>
            <a:r>
              <a:rPr lang="en-US"/>
              <a:t>Click to edit Master title style</a:t>
            </a:r>
            <a:endParaRPr lang="en-NL"/>
          </a:p>
        </p:txBody>
      </p:sp>
      <p:sp>
        <p:nvSpPr>
          <p:cNvPr id="11" name="Text Placeholder 3">
            <a:extLst>
              <a:ext uri="{FF2B5EF4-FFF2-40B4-BE49-F238E27FC236}">
                <a16:creationId xmlns:a16="http://schemas.microsoft.com/office/drawing/2014/main" id="{31E9DA35-863D-88A5-3F4C-5812378C3F5E}"/>
              </a:ext>
            </a:extLst>
          </p:cNvPr>
          <p:cNvSpPr>
            <a:spLocks noGrp="1"/>
          </p:cNvSpPr>
          <p:nvPr>
            <p:ph type="body" sz="quarter" idx="78" hasCustomPrompt="1"/>
          </p:nvPr>
        </p:nvSpPr>
        <p:spPr>
          <a:xfrm>
            <a:off x="525600" y="1062000"/>
            <a:ext cx="11160000" cy="360001"/>
          </a:xfrm>
          <a:prstGeom prst="roundRect">
            <a:avLst/>
          </a:prstGeom>
          <a:solidFill>
            <a:schemeClr val="tx2"/>
          </a:solidFill>
        </p:spPr>
        <p:txBody>
          <a:bodyPr lIns="0" tIns="0" rIns="0" bIns="0" anchor="ctr"/>
          <a:lstStyle>
            <a:lvl1pPr marL="0" indent="0" algn="ctr">
              <a:lnSpc>
                <a:spcPct val="100000"/>
              </a:lnSpc>
              <a:spcBef>
                <a:spcPts val="0"/>
              </a:spcBef>
              <a:buNone/>
              <a:defRPr sz="1400" b="1" baseline="0">
                <a:solidFill>
                  <a:schemeClr val="bg1"/>
                </a:solidFill>
                <a:latin typeface="Calibri" panose="020F0502020204030204" pitchFamily="34" charset="0"/>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Box Title</a:t>
            </a:r>
            <a:endParaRPr lang="nl-NL"/>
          </a:p>
        </p:txBody>
      </p:sp>
      <p:sp>
        <p:nvSpPr>
          <p:cNvPr id="12" name="Slide Number Placeholder">
            <a:extLst>
              <a:ext uri="{FF2B5EF4-FFF2-40B4-BE49-F238E27FC236}">
                <a16:creationId xmlns:a16="http://schemas.microsoft.com/office/drawing/2014/main" id="{9B8A1402-E3E3-253A-A00D-C59171A6EA44}"/>
              </a:ext>
            </a:extLst>
          </p:cNvPr>
          <p:cNvSpPr>
            <a:spLocks noGrp="1"/>
          </p:cNvSpPr>
          <p:nvPr>
            <p:ph type="sldNum" sz="quarter" idx="12"/>
          </p:nvPr>
        </p:nvSpPr>
        <p:spPr>
          <a:xfrm>
            <a:off x="11319511" y="6120028"/>
            <a:ext cx="350031" cy="360000"/>
          </a:xfrm>
          <a:prstGeom prst="rect">
            <a:avLst/>
          </a:prstGeom>
        </p:spPr>
        <p:txBody>
          <a:bodyPr lIns="0" tIns="0" rIns="0" bIns="0" anchor="ctr"/>
          <a:lstStyle>
            <a:lvl1pPr algn="r">
              <a:defRPr sz="1100">
                <a:solidFill>
                  <a:schemeClr val="bg2"/>
                </a:solidFill>
              </a:defRPr>
            </a:lvl1pPr>
          </a:lstStyle>
          <a:p>
            <a:fld id="{D0281C21-EE02-42A0-BCF6-67BEF936A35A}" type="slidenum">
              <a:rPr lang="en-IN" smtClean="0"/>
              <a:pPr/>
              <a:t>‹#›</a:t>
            </a:fld>
            <a:endParaRPr lang="en-IN"/>
          </a:p>
        </p:txBody>
      </p:sp>
      <p:sp>
        <p:nvSpPr>
          <p:cNvPr id="3" name="Text Placeholder 5">
            <a:extLst>
              <a:ext uri="{FF2B5EF4-FFF2-40B4-BE49-F238E27FC236}">
                <a16:creationId xmlns:a16="http://schemas.microsoft.com/office/drawing/2014/main" id="{16C34628-67EE-9318-55F6-5C0FC6CBCFBD}"/>
              </a:ext>
            </a:extLst>
          </p:cNvPr>
          <p:cNvSpPr>
            <a:spLocks noGrp="1"/>
          </p:cNvSpPr>
          <p:nvPr>
            <p:ph type="body" sz="quarter" idx="80" hasCustomPrompt="1"/>
          </p:nvPr>
        </p:nvSpPr>
        <p:spPr>
          <a:xfrm>
            <a:off x="525600" y="6109200"/>
            <a:ext cx="720000" cy="554400"/>
          </a:xfrm>
        </p:spPr>
        <p:txBody>
          <a:bodyPr/>
          <a:lstStyle>
            <a:lvl1pPr marL="0" indent="0">
              <a:buFontTx/>
              <a:buNone/>
              <a:defRPr sz="1100" b="1">
                <a:solidFill>
                  <a:schemeClr val="bg2"/>
                </a:solidFill>
              </a:defRPr>
            </a:lvl1pPr>
          </a:lstStyle>
          <a:p>
            <a:pPr lvl="0"/>
            <a:r>
              <a:rPr lang="en-US"/>
              <a:t>Sources:</a:t>
            </a:r>
            <a:endParaRPr lang="en-NL"/>
          </a:p>
        </p:txBody>
      </p:sp>
      <p:sp>
        <p:nvSpPr>
          <p:cNvPr id="6" name="Text Placeholder 11">
            <a:extLst>
              <a:ext uri="{FF2B5EF4-FFF2-40B4-BE49-F238E27FC236}">
                <a16:creationId xmlns:a16="http://schemas.microsoft.com/office/drawing/2014/main" id="{778DCE4E-0CDE-82B0-5F54-6421D60260DA}"/>
              </a:ext>
            </a:extLst>
          </p:cNvPr>
          <p:cNvSpPr>
            <a:spLocks noGrp="1"/>
          </p:cNvSpPr>
          <p:nvPr>
            <p:ph type="body" sz="quarter" idx="81" hasCustomPrompt="1"/>
          </p:nvPr>
        </p:nvSpPr>
        <p:spPr>
          <a:xfrm>
            <a:off x="1152000" y="6109200"/>
            <a:ext cx="8704216" cy="440904"/>
          </a:xfrm>
        </p:spPr>
        <p:txBody>
          <a:bodyPr/>
          <a:lstStyle>
            <a:lvl1pPr marL="0" indent="0">
              <a:buFontTx/>
              <a:buNone/>
              <a:defRPr sz="1100"/>
            </a:lvl1pPr>
          </a:lstStyle>
          <a:p>
            <a:pPr lvl="0"/>
            <a:r>
              <a:rPr lang="en-US"/>
              <a:t>Innova Database (click to edit)</a:t>
            </a:r>
            <a:endParaRPr lang="en-NL"/>
          </a:p>
        </p:txBody>
      </p:sp>
      <p:sp>
        <p:nvSpPr>
          <p:cNvPr id="16" name="Text Placeholder 6">
            <a:extLst>
              <a:ext uri="{FF2B5EF4-FFF2-40B4-BE49-F238E27FC236}">
                <a16:creationId xmlns:a16="http://schemas.microsoft.com/office/drawing/2014/main" id="{4F640654-5B6A-4677-6D42-3AF45DD8BA02}"/>
              </a:ext>
            </a:extLst>
          </p:cNvPr>
          <p:cNvSpPr>
            <a:spLocks noGrp="1"/>
          </p:cNvSpPr>
          <p:nvPr>
            <p:ph type="body" sz="quarter" idx="83" hasCustomPrompt="1"/>
          </p:nvPr>
        </p:nvSpPr>
        <p:spPr>
          <a:xfrm>
            <a:off x="1364105" y="1450076"/>
            <a:ext cx="10320549" cy="360362"/>
          </a:xfrm>
          <a:noFill/>
        </p:spPr>
        <p:txBody>
          <a:bodyPr/>
          <a:lstStyle>
            <a:lvl1pPr marL="0" indent="0">
              <a:buFontTx/>
              <a:buNone/>
              <a:defRPr sz="11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marL="0" marR="0" lvl="0" indent="0" algn="l" defTabSz="914400" rtl="0" eaLnBrk="1" fontAlgn="auto" latinLnBrk="0" hangingPunct="1">
              <a:lnSpc>
                <a:spcPct val="100000"/>
              </a:lnSpc>
              <a:spcBef>
                <a:spcPts val="600"/>
              </a:spcBef>
              <a:spcAft>
                <a:spcPts val="0"/>
              </a:spcAft>
              <a:buClr>
                <a:schemeClr val="tx2"/>
              </a:buClr>
              <a:buSzTx/>
              <a:buFont typeface="Arial" panose="020B0604020202020204" pitchFamily="34" charset="0"/>
              <a:buNone/>
              <a:tabLst/>
              <a:defRPr/>
            </a:pPr>
            <a:r>
              <a:rPr lang="en-US"/>
              <a:t> Chart title goes here (do not add an extra title to the chart below)</a:t>
            </a:r>
          </a:p>
        </p:txBody>
      </p:sp>
      <p:sp>
        <p:nvSpPr>
          <p:cNvPr id="17" name="Text Placeholder 6">
            <a:extLst>
              <a:ext uri="{FF2B5EF4-FFF2-40B4-BE49-F238E27FC236}">
                <a16:creationId xmlns:a16="http://schemas.microsoft.com/office/drawing/2014/main" id="{25CAF091-F452-8015-3CA1-7FB69E0493B2}"/>
              </a:ext>
            </a:extLst>
          </p:cNvPr>
          <p:cNvSpPr>
            <a:spLocks noGrp="1"/>
          </p:cNvSpPr>
          <p:nvPr>
            <p:ph type="body" sz="quarter" idx="84" hasCustomPrompt="1"/>
          </p:nvPr>
        </p:nvSpPr>
        <p:spPr>
          <a:xfrm>
            <a:off x="524654" y="1450076"/>
            <a:ext cx="779490" cy="360362"/>
          </a:xfrm>
          <a:noFill/>
        </p:spPr>
        <p:txBody>
          <a:bodyPr/>
          <a:lstStyle>
            <a:lvl1pPr marL="0" indent="0">
              <a:buFontTx/>
              <a:buNone/>
              <a:defRPr sz="1100"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Figure:</a:t>
            </a:r>
            <a:endParaRPr lang="en-IN"/>
          </a:p>
        </p:txBody>
      </p:sp>
    </p:spTree>
    <p:extLst>
      <p:ext uri="{BB962C8B-B14F-4D97-AF65-F5344CB8AC3E}">
        <p14:creationId xmlns:p14="http://schemas.microsoft.com/office/powerpoint/2010/main" val="3667222674"/>
      </p:ext>
    </p:extLst>
  </p:cSld>
  <p:clrMapOvr>
    <a:masterClrMapping/>
  </p:clrMapOvr>
  <p:extLst>
    <p:ext uri="{DCECCB84-F9BA-43D5-87BE-67443E8EF086}">
      <p15:sldGuideLst xmlns:p15="http://schemas.microsoft.com/office/powerpoint/2012/main">
        <p15:guide id="3">
          <p15:clr>
            <a:srgbClr val="FBAE40"/>
          </p15:clr>
        </p15:guide>
        <p15:guide id="4" orient="horz" pos="935">
          <p15:clr>
            <a:srgbClr val="FBAE40"/>
          </p15:clr>
        </p15:guide>
        <p15:guide id="5" orient="horz" pos="890">
          <p15:clr>
            <a:srgbClr val="FBAE4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Chart and Content">
    <p:spTree>
      <p:nvGrpSpPr>
        <p:cNvPr id="1" name=""/>
        <p:cNvGrpSpPr/>
        <p:nvPr/>
      </p:nvGrpSpPr>
      <p:grpSpPr>
        <a:xfrm>
          <a:off x="0" y="0"/>
          <a:ext cx="0" cy="0"/>
          <a:chOff x="0" y="0"/>
          <a:chExt cx="0" cy="0"/>
        </a:xfrm>
      </p:grpSpPr>
      <p:sp>
        <p:nvSpPr>
          <p:cNvPr id="8" name="Chart Placeholder">
            <a:extLst>
              <a:ext uri="{FF2B5EF4-FFF2-40B4-BE49-F238E27FC236}">
                <a16:creationId xmlns:a16="http://schemas.microsoft.com/office/drawing/2014/main" id="{003A30D7-BC0E-C897-3D0F-8201B7253E73}"/>
              </a:ext>
            </a:extLst>
          </p:cNvPr>
          <p:cNvSpPr>
            <a:spLocks noGrp="1"/>
          </p:cNvSpPr>
          <p:nvPr>
            <p:ph type="chart" sz="quarter" idx="13" hasCustomPrompt="1"/>
          </p:nvPr>
        </p:nvSpPr>
        <p:spPr>
          <a:xfrm>
            <a:off x="525600" y="1497600"/>
            <a:ext cx="7200000" cy="4379325"/>
          </a:xfrm>
          <a:solidFill>
            <a:srgbClr val="F2F2F2"/>
          </a:solidFill>
        </p:spPr>
        <p:txBody>
          <a:bodyPr anchor="ctr" anchorCtr="0">
            <a:noAutofit/>
          </a:bodyPr>
          <a:lstStyle>
            <a:lvl1pPr marL="0" indent="0" algn="ctr">
              <a:buNone/>
              <a:defRPr sz="1200">
                <a:latin typeface="Arial" panose="020B0604020202020204" pitchFamily="34" charset="0"/>
                <a:cs typeface="Arial" panose="020B0604020202020204" pitchFamily="34" charset="0"/>
              </a:defRPr>
            </a:lvl1pPr>
          </a:lstStyle>
          <a:p>
            <a:pPr lvl="0"/>
            <a:r>
              <a:rPr lang="en-US"/>
              <a:t>Pick a chart / table from the </a:t>
            </a:r>
            <a:r>
              <a:rPr lang="en-US" err="1"/>
              <a:t>chart.ppt</a:t>
            </a:r>
            <a:r>
              <a:rPr lang="en-US"/>
              <a:t> document.</a:t>
            </a:r>
          </a:p>
          <a:p>
            <a:pPr lvl="0"/>
            <a:r>
              <a:rPr lang="en-US"/>
              <a:t>These have been pre-defined so they have the correct font &amp; color usage.</a:t>
            </a:r>
          </a:p>
          <a:p>
            <a:pPr lvl="0"/>
            <a:r>
              <a:rPr lang="nl-NL"/>
              <a:t>Copy/paste </a:t>
            </a:r>
            <a:r>
              <a:rPr lang="nl-NL" err="1"/>
              <a:t>it</a:t>
            </a:r>
            <a:r>
              <a:rPr lang="nl-NL"/>
              <a:t> </a:t>
            </a:r>
            <a:r>
              <a:rPr lang="nl-NL" err="1"/>
              <a:t>into</a:t>
            </a:r>
            <a:r>
              <a:rPr lang="nl-NL"/>
              <a:t> </a:t>
            </a:r>
            <a:r>
              <a:rPr lang="nl-NL" err="1"/>
              <a:t>this</a:t>
            </a:r>
            <a:r>
              <a:rPr lang="nl-NL"/>
              <a:t> document.</a:t>
            </a:r>
          </a:p>
          <a:p>
            <a:pPr lvl="0"/>
            <a:r>
              <a:rPr lang="nl-NL"/>
              <a:t>Make </a:t>
            </a:r>
            <a:r>
              <a:rPr lang="nl-NL" err="1"/>
              <a:t>sure</a:t>
            </a:r>
            <a:r>
              <a:rPr lang="nl-NL"/>
              <a:t> </a:t>
            </a:r>
            <a:r>
              <a:rPr lang="nl-NL" err="1"/>
              <a:t>it</a:t>
            </a:r>
            <a:r>
              <a:rPr lang="nl-NL"/>
              <a:t> fits (</a:t>
            </a:r>
            <a:r>
              <a:rPr lang="nl-NL" err="1"/>
              <a:t>exactly</a:t>
            </a:r>
            <a:r>
              <a:rPr lang="nl-NL"/>
              <a:t>) </a:t>
            </a:r>
            <a:r>
              <a:rPr lang="nl-NL" err="1"/>
              <a:t>within</a:t>
            </a:r>
            <a:r>
              <a:rPr lang="nl-NL"/>
              <a:t> </a:t>
            </a:r>
            <a:r>
              <a:rPr lang="nl-NL" err="1"/>
              <a:t>the</a:t>
            </a:r>
            <a:r>
              <a:rPr lang="nl-NL"/>
              <a:t> </a:t>
            </a:r>
            <a:r>
              <a:rPr lang="nl-NL" err="1"/>
              <a:t>grey</a:t>
            </a:r>
            <a:r>
              <a:rPr lang="nl-NL"/>
              <a:t> area, </a:t>
            </a:r>
            <a:r>
              <a:rPr lang="nl-NL" err="1"/>
              <a:t>just</a:t>
            </a:r>
            <a:r>
              <a:rPr lang="nl-NL"/>
              <a:t> </a:t>
            </a:r>
            <a:r>
              <a:rPr lang="nl-NL" err="1"/>
              <a:t>resize</a:t>
            </a:r>
            <a:r>
              <a:rPr lang="nl-NL"/>
              <a:t> </a:t>
            </a:r>
            <a:r>
              <a:rPr lang="nl-NL" err="1"/>
              <a:t>the</a:t>
            </a:r>
            <a:r>
              <a:rPr lang="nl-NL"/>
              <a:t> </a:t>
            </a:r>
            <a:r>
              <a:rPr lang="nl-NL" err="1"/>
              <a:t>outer</a:t>
            </a:r>
            <a:r>
              <a:rPr lang="nl-NL"/>
              <a:t> </a:t>
            </a:r>
            <a:r>
              <a:rPr lang="nl-NL" err="1"/>
              <a:t>edges</a:t>
            </a:r>
            <a:r>
              <a:rPr lang="nl-NL"/>
              <a:t> of </a:t>
            </a:r>
            <a:r>
              <a:rPr lang="nl-NL" err="1"/>
              <a:t>the</a:t>
            </a:r>
            <a:r>
              <a:rPr lang="nl-NL"/>
              <a:t> </a:t>
            </a:r>
            <a:r>
              <a:rPr lang="nl-NL" err="1"/>
              <a:t>chart</a:t>
            </a:r>
            <a:r>
              <a:rPr lang="nl-NL"/>
              <a:t>/</a:t>
            </a:r>
            <a:r>
              <a:rPr lang="nl-NL" err="1"/>
              <a:t>table</a:t>
            </a:r>
            <a:r>
              <a:rPr lang="nl-NL"/>
              <a:t> </a:t>
            </a:r>
            <a:r>
              <a:rPr lang="nl-NL" err="1"/>
              <a:t>to</a:t>
            </a:r>
            <a:r>
              <a:rPr lang="nl-NL"/>
              <a:t> fit.</a:t>
            </a:r>
          </a:p>
          <a:p>
            <a:pPr lvl="0"/>
            <a:r>
              <a:rPr lang="nl-NL" err="1"/>
              <a:t>Once</a:t>
            </a:r>
            <a:r>
              <a:rPr lang="nl-NL"/>
              <a:t> </a:t>
            </a:r>
            <a:r>
              <a:rPr lang="nl-NL" err="1"/>
              <a:t>applied</a:t>
            </a:r>
            <a:r>
              <a:rPr lang="nl-NL"/>
              <a:t>, move </a:t>
            </a:r>
            <a:r>
              <a:rPr lang="nl-NL" err="1"/>
              <a:t>the</a:t>
            </a:r>
            <a:r>
              <a:rPr lang="nl-NL"/>
              <a:t> </a:t>
            </a:r>
            <a:r>
              <a:rPr lang="nl-NL" err="1"/>
              <a:t>chart</a:t>
            </a:r>
            <a:r>
              <a:rPr lang="nl-NL"/>
              <a:t> </a:t>
            </a:r>
            <a:r>
              <a:rPr lang="nl-NL" err="1"/>
              <a:t>to</a:t>
            </a:r>
            <a:r>
              <a:rPr lang="nl-NL"/>
              <a:t> </a:t>
            </a:r>
            <a:r>
              <a:rPr lang="nl-NL" err="1"/>
              <a:t>the</a:t>
            </a:r>
            <a:r>
              <a:rPr lang="nl-NL"/>
              <a:t> side </a:t>
            </a:r>
            <a:r>
              <a:rPr lang="nl-NL" err="1"/>
              <a:t>and</a:t>
            </a:r>
            <a:r>
              <a:rPr lang="nl-NL"/>
              <a:t> make </a:t>
            </a:r>
            <a:r>
              <a:rPr lang="nl-NL" err="1"/>
              <a:t>this</a:t>
            </a:r>
            <a:r>
              <a:rPr lang="nl-NL"/>
              <a:t> box </a:t>
            </a:r>
            <a:r>
              <a:rPr lang="nl-NL" err="1"/>
              <a:t>white</a:t>
            </a:r>
            <a:r>
              <a:rPr lang="nl-NL"/>
              <a:t> </a:t>
            </a:r>
            <a:r>
              <a:rPr lang="nl-NL" err="1"/>
              <a:t>so</a:t>
            </a:r>
            <a:r>
              <a:rPr lang="nl-NL"/>
              <a:t> </a:t>
            </a:r>
            <a:r>
              <a:rPr lang="nl-NL" err="1"/>
              <a:t>you</a:t>
            </a:r>
            <a:r>
              <a:rPr lang="nl-NL"/>
              <a:t> </a:t>
            </a:r>
            <a:r>
              <a:rPr lang="nl-NL" err="1"/>
              <a:t>don’t</a:t>
            </a:r>
            <a:r>
              <a:rPr lang="nl-NL"/>
              <a:t> </a:t>
            </a:r>
            <a:r>
              <a:rPr lang="nl-NL" err="1"/>
              <a:t>see</a:t>
            </a:r>
            <a:r>
              <a:rPr lang="nl-NL"/>
              <a:t> </a:t>
            </a:r>
            <a:r>
              <a:rPr lang="nl-NL" err="1"/>
              <a:t>it</a:t>
            </a:r>
            <a:r>
              <a:rPr lang="nl-NL"/>
              <a:t> </a:t>
            </a:r>
            <a:r>
              <a:rPr lang="nl-NL" err="1"/>
              <a:t>anymore</a:t>
            </a:r>
            <a:r>
              <a:rPr lang="nl-NL"/>
              <a:t>.</a:t>
            </a:r>
            <a:endParaRPr lang="en-US"/>
          </a:p>
        </p:txBody>
      </p:sp>
      <p:sp>
        <p:nvSpPr>
          <p:cNvPr id="5" name="Title">
            <a:extLst>
              <a:ext uri="{FF2B5EF4-FFF2-40B4-BE49-F238E27FC236}">
                <a16:creationId xmlns:a16="http://schemas.microsoft.com/office/drawing/2014/main" id="{BE4AFF37-9413-2A9F-5CF3-A218AF33FAC9}"/>
              </a:ext>
            </a:extLst>
          </p:cNvPr>
          <p:cNvSpPr>
            <a:spLocks noGrp="1"/>
          </p:cNvSpPr>
          <p:nvPr>
            <p:ph type="title"/>
          </p:nvPr>
        </p:nvSpPr>
        <p:spPr/>
        <p:txBody>
          <a:bodyPr/>
          <a:lstStyle/>
          <a:p>
            <a:r>
              <a:rPr lang="en-US"/>
              <a:t>Click to edit Master title style</a:t>
            </a:r>
            <a:endParaRPr lang="en-NL"/>
          </a:p>
        </p:txBody>
      </p:sp>
      <p:sp>
        <p:nvSpPr>
          <p:cNvPr id="4" name="Slide Number Placeholder">
            <a:extLst>
              <a:ext uri="{FF2B5EF4-FFF2-40B4-BE49-F238E27FC236}">
                <a16:creationId xmlns:a16="http://schemas.microsoft.com/office/drawing/2014/main" id="{74E5728C-DFC0-9FF3-0476-27B4453001D0}"/>
              </a:ext>
            </a:extLst>
          </p:cNvPr>
          <p:cNvSpPr>
            <a:spLocks noGrp="1"/>
          </p:cNvSpPr>
          <p:nvPr>
            <p:ph type="sldNum" sz="quarter" idx="12"/>
          </p:nvPr>
        </p:nvSpPr>
        <p:spPr>
          <a:xfrm>
            <a:off x="11319511" y="6120028"/>
            <a:ext cx="350031" cy="360000"/>
          </a:xfrm>
          <a:prstGeom prst="rect">
            <a:avLst/>
          </a:prstGeom>
        </p:spPr>
        <p:txBody>
          <a:bodyPr lIns="0" tIns="0" rIns="0" bIns="0" anchor="ctr"/>
          <a:lstStyle>
            <a:lvl1pPr algn="r">
              <a:defRPr sz="1100">
                <a:solidFill>
                  <a:schemeClr val="bg2"/>
                </a:solidFill>
              </a:defRPr>
            </a:lvl1pPr>
          </a:lstStyle>
          <a:p>
            <a:fld id="{D0281C21-EE02-42A0-BCF6-67BEF936A35A}" type="slidenum">
              <a:rPr lang="en-IN" smtClean="0"/>
              <a:pPr/>
              <a:t>‹#›</a:t>
            </a:fld>
            <a:endParaRPr lang="en-IN"/>
          </a:p>
        </p:txBody>
      </p:sp>
      <p:sp>
        <p:nvSpPr>
          <p:cNvPr id="6" name="Text Placeholder 5">
            <a:extLst>
              <a:ext uri="{FF2B5EF4-FFF2-40B4-BE49-F238E27FC236}">
                <a16:creationId xmlns:a16="http://schemas.microsoft.com/office/drawing/2014/main" id="{FFE5BAB0-EE98-CA51-9751-E485821582B8}"/>
              </a:ext>
            </a:extLst>
          </p:cNvPr>
          <p:cNvSpPr>
            <a:spLocks noGrp="1"/>
          </p:cNvSpPr>
          <p:nvPr>
            <p:ph type="body" sz="quarter" idx="80" hasCustomPrompt="1"/>
          </p:nvPr>
        </p:nvSpPr>
        <p:spPr>
          <a:xfrm>
            <a:off x="525600" y="6109200"/>
            <a:ext cx="720000" cy="554400"/>
          </a:xfrm>
        </p:spPr>
        <p:txBody>
          <a:bodyPr/>
          <a:lstStyle>
            <a:lvl1pPr marL="0" indent="0">
              <a:buFontTx/>
              <a:buNone/>
              <a:defRPr sz="1100" b="1">
                <a:solidFill>
                  <a:schemeClr val="bg2"/>
                </a:solidFill>
              </a:defRPr>
            </a:lvl1pPr>
          </a:lstStyle>
          <a:p>
            <a:pPr lvl="0"/>
            <a:r>
              <a:rPr lang="en-US"/>
              <a:t>Sources:</a:t>
            </a:r>
            <a:endParaRPr lang="en-NL"/>
          </a:p>
        </p:txBody>
      </p:sp>
      <p:sp>
        <p:nvSpPr>
          <p:cNvPr id="11" name="Text Placeholder 11">
            <a:extLst>
              <a:ext uri="{FF2B5EF4-FFF2-40B4-BE49-F238E27FC236}">
                <a16:creationId xmlns:a16="http://schemas.microsoft.com/office/drawing/2014/main" id="{17871912-F631-10DA-D9C8-755BAFD402A6}"/>
              </a:ext>
            </a:extLst>
          </p:cNvPr>
          <p:cNvSpPr>
            <a:spLocks noGrp="1"/>
          </p:cNvSpPr>
          <p:nvPr>
            <p:ph type="body" sz="quarter" idx="81" hasCustomPrompt="1"/>
          </p:nvPr>
        </p:nvSpPr>
        <p:spPr>
          <a:xfrm>
            <a:off x="1152000" y="6109200"/>
            <a:ext cx="8704216" cy="440904"/>
          </a:xfrm>
        </p:spPr>
        <p:txBody>
          <a:bodyPr/>
          <a:lstStyle>
            <a:lvl1pPr marL="0" indent="0">
              <a:buFontTx/>
              <a:buNone/>
              <a:defRPr sz="1100"/>
            </a:lvl1pPr>
          </a:lstStyle>
          <a:p>
            <a:pPr lvl="0"/>
            <a:r>
              <a:rPr lang="en-US"/>
              <a:t>Innova Database (click to edit)</a:t>
            </a:r>
            <a:endParaRPr lang="en-NL"/>
          </a:p>
        </p:txBody>
      </p:sp>
      <p:sp>
        <p:nvSpPr>
          <p:cNvPr id="7" name="Content Placeholder 6">
            <a:extLst>
              <a:ext uri="{FF2B5EF4-FFF2-40B4-BE49-F238E27FC236}">
                <a16:creationId xmlns:a16="http://schemas.microsoft.com/office/drawing/2014/main" id="{95A7330E-49C6-622B-9C02-335EB59DDF38}"/>
              </a:ext>
            </a:extLst>
          </p:cNvPr>
          <p:cNvSpPr>
            <a:spLocks noGrp="1"/>
          </p:cNvSpPr>
          <p:nvPr>
            <p:ph sz="quarter" idx="84"/>
          </p:nvPr>
        </p:nvSpPr>
        <p:spPr>
          <a:xfrm>
            <a:off x="8085600" y="1052512"/>
            <a:ext cx="3600450" cy="4823099"/>
          </a:xfrm>
        </p:spPr>
        <p:txBody>
          <a:bodyPr tIns="46800"/>
          <a:lstStyle>
            <a:lvl1pPr marL="171450" indent="-171450">
              <a:buFont typeface="Arial" panose="020B0604020202020204" pitchFamily="34" charset="0"/>
              <a:buChar char="•"/>
              <a:defRPr/>
            </a:lvl1pPr>
          </a:lstStyle>
          <a:p>
            <a:pPr lvl="0"/>
            <a:r>
              <a:rPr lang="en-US"/>
              <a:t>Click to edit</a:t>
            </a:r>
            <a:endParaRPr lang="en-NL"/>
          </a:p>
        </p:txBody>
      </p:sp>
      <p:sp>
        <p:nvSpPr>
          <p:cNvPr id="9" name="Text Placeholder 6">
            <a:extLst>
              <a:ext uri="{FF2B5EF4-FFF2-40B4-BE49-F238E27FC236}">
                <a16:creationId xmlns:a16="http://schemas.microsoft.com/office/drawing/2014/main" id="{BCA37059-C979-1710-494D-002335D05A32}"/>
              </a:ext>
            </a:extLst>
          </p:cNvPr>
          <p:cNvSpPr>
            <a:spLocks noGrp="1"/>
          </p:cNvSpPr>
          <p:nvPr>
            <p:ph type="body" sz="quarter" idx="83" hasCustomPrompt="1"/>
          </p:nvPr>
        </p:nvSpPr>
        <p:spPr>
          <a:xfrm>
            <a:off x="1364105" y="1090613"/>
            <a:ext cx="6361495" cy="360362"/>
          </a:xfrm>
          <a:noFill/>
        </p:spPr>
        <p:txBody>
          <a:bodyPr/>
          <a:lstStyle>
            <a:lvl1pPr marL="0" indent="0">
              <a:buFontTx/>
              <a:buNone/>
              <a:defRPr sz="11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marL="0" marR="0" lvl="0" indent="0" algn="l" defTabSz="914400" rtl="0" eaLnBrk="1" fontAlgn="auto" latinLnBrk="0" hangingPunct="1">
              <a:lnSpc>
                <a:spcPct val="100000"/>
              </a:lnSpc>
              <a:spcBef>
                <a:spcPts val="600"/>
              </a:spcBef>
              <a:spcAft>
                <a:spcPts val="0"/>
              </a:spcAft>
              <a:buClr>
                <a:schemeClr val="tx2"/>
              </a:buClr>
              <a:buSzTx/>
              <a:buFont typeface="Arial" panose="020B0604020202020204" pitchFamily="34" charset="0"/>
              <a:buNone/>
              <a:tabLst/>
              <a:defRPr/>
            </a:pPr>
            <a:r>
              <a:rPr lang="en-US"/>
              <a:t> Chart title goes here (do not add an extra title to the chart below)</a:t>
            </a:r>
          </a:p>
        </p:txBody>
      </p:sp>
      <p:sp>
        <p:nvSpPr>
          <p:cNvPr id="10" name="Text Placeholder 6">
            <a:extLst>
              <a:ext uri="{FF2B5EF4-FFF2-40B4-BE49-F238E27FC236}">
                <a16:creationId xmlns:a16="http://schemas.microsoft.com/office/drawing/2014/main" id="{868A1843-DC1C-FFFD-0652-C6DC2C97B3BA}"/>
              </a:ext>
            </a:extLst>
          </p:cNvPr>
          <p:cNvSpPr>
            <a:spLocks noGrp="1"/>
          </p:cNvSpPr>
          <p:nvPr>
            <p:ph type="body" sz="quarter" idx="85" hasCustomPrompt="1"/>
          </p:nvPr>
        </p:nvSpPr>
        <p:spPr>
          <a:xfrm>
            <a:off x="524654" y="1090613"/>
            <a:ext cx="779490" cy="360362"/>
          </a:xfrm>
          <a:noFill/>
        </p:spPr>
        <p:txBody>
          <a:bodyPr/>
          <a:lstStyle>
            <a:lvl1pPr marL="0" indent="0">
              <a:buFontTx/>
              <a:buNone/>
              <a:defRPr sz="1100"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Figure:</a:t>
            </a:r>
            <a:endParaRPr lang="en-IN"/>
          </a:p>
        </p:txBody>
      </p:sp>
    </p:spTree>
    <p:extLst>
      <p:ext uri="{BB962C8B-B14F-4D97-AF65-F5344CB8AC3E}">
        <p14:creationId xmlns:p14="http://schemas.microsoft.com/office/powerpoint/2010/main" val="443826258"/>
      </p:ext>
    </p:extLst>
  </p:cSld>
  <p:clrMapOvr>
    <a:masterClrMapping/>
  </p:clrMapOvr>
  <p:extLst>
    <p:ext uri="{DCECCB84-F9BA-43D5-87BE-67443E8EF086}">
      <p15:sldGuideLst xmlns:p15="http://schemas.microsoft.com/office/powerpoint/2012/main">
        <p15:guide id="2" pos="4861">
          <p15:clr>
            <a:srgbClr val="FBAE40"/>
          </p15:clr>
        </p15:guide>
        <p15:guide id="3" pos="5087">
          <p15:clr>
            <a:srgbClr val="FBAE40"/>
          </p15:clr>
        </p15:guide>
        <p15:guide id="4" orient="horz" pos="935">
          <p15:clr>
            <a:srgbClr val="FBAE4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Boxes, Chart and Content">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30C01F3-C245-F63D-1E2F-2C692181E356}"/>
              </a:ext>
            </a:extLst>
          </p:cNvPr>
          <p:cNvSpPr>
            <a:spLocks noGrp="1"/>
          </p:cNvSpPr>
          <p:nvPr>
            <p:ph idx="51"/>
          </p:nvPr>
        </p:nvSpPr>
        <p:spPr>
          <a:xfrm>
            <a:off x="8085600" y="1497600"/>
            <a:ext cx="3600450" cy="4379325"/>
          </a:xfrm>
        </p:spPr>
        <p:txBody>
          <a:bodyPr vert="horz" lIns="0" tIns="46800" rIns="0" bIns="0" rtlCol="0">
            <a:noAutofit/>
          </a:bodyPr>
          <a:lstStyle>
            <a:lvl1pPr marL="171450" indent="-171450">
              <a:buFont typeface="Arial" panose="020B0604020202020204" pitchFamily="34" charset="0"/>
              <a:buChar char="•"/>
              <a:defRPr lang="en-US" dirty="0"/>
            </a:lvl1pPr>
          </a:lstStyle>
          <a:p>
            <a:pPr lvl="0"/>
            <a:r>
              <a:rPr lang="en-US"/>
              <a:t>Click to edit</a:t>
            </a:r>
          </a:p>
        </p:txBody>
      </p:sp>
      <p:sp>
        <p:nvSpPr>
          <p:cNvPr id="8" name="Chart Placeholder">
            <a:extLst>
              <a:ext uri="{FF2B5EF4-FFF2-40B4-BE49-F238E27FC236}">
                <a16:creationId xmlns:a16="http://schemas.microsoft.com/office/drawing/2014/main" id="{003A30D7-BC0E-C897-3D0F-8201B7253E73}"/>
              </a:ext>
            </a:extLst>
          </p:cNvPr>
          <p:cNvSpPr>
            <a:spLocks noGrp="1"/>
          </p:cNvSpPr>
          <p:nvPr>
            <p:ph type="chart" sz="quarter" idx="13" hasCustomPrompt="1"/>
          </p:nvPr>
        </p:nvSpPr>
        <p:spPr>
          <a:xfrm>
            <a:off x="525600" y="1933200"/>
            <a:ext cx="7200000" cy="3942575"/>
          </a:xfrm>
          <a:solidFill>
            <a:srgbClr val="F2F2F2"/>
          </a:solidFill>
        </p:spPr>
        <p:txBody>
          <a:bodyPr anchor="ctr" anchorCtr="0">
            <a:noAutofit/>
          </a:bodyPr>
          <a:lstStyle>
            <a:lvl1pPr marL="0" indent="0" algn="ctr">
              <a:buNone/>
              <a:defRPr sz="1200">
                <a:latin typeface="Arial" panose="020B0604020202020204" pitchFamily="34" charset="0"/>
                <a:cs typeface="Arial" panose="020B0604020202020204" pitchFamily="34" charset="0"/>
              </a:defRPr>
            </a:lvl1pPr>
          </a:lstStyle>
          <a:p>
            <a:pPr lvl="0"/>
            <a:r>
              <a:rPr lang="en-US"/>
              <a:t>Pick a chart / table from the </a:t>
            </a:r>
            <a:r>
              <a:rPr lang="en-US" err="1"/>
              <a:t>chart.ppt</a:t>
            </a:r>
            <a:r>
              <a:rPr lang="en-US"/>
              <a:t> document.</a:t>
            </a:r>
          </a:p>
          <a:p>
            <a:pPr lvl="0"/>
            <a:r>
              <a:rPr lang="en-US"/>
              <a:t>These have been pre-defined so they have the correct font &amp; color usage.</a:t>
            </a:r>
          </a:p>
          <a:p>
            <a:pPr lvl="0"/>
            <a:r>
              <a:rPr lang="nl-NL"/>
              <a:t>Copy/paste </a:t>
            </a:r>
            <a:r>
              <a:rPr lang="nl-NL" err="1"/>
              <a:t>it</a:t>
            </a:r>
            <a:r>
              <a:rPr lang="nl-NL"/>
              <a:t> </a:t>
            </a:r>
            <a:r>
              <a:rPr lang="nl-NL" err="1"/>
              <a:t>into</a:t>
            </a:r>
            <a:r>
              <a:rPr lang="nl-NL"/>
              <a:t> </a:t>
            </a:r>
            <a:r>
              <a:rPr lang="nl-NL" err="1"/>
              <a:t>this</a:t>
            </a:r>
            <a:r>
              <a:rPr lang="nl-NL"/>
              <a:t> document.</a:t>
            </a:r>
          </a:p>
          <a:p>
            <a:pPr lvl="0"/>
            <a:r>
              <a:rPr lang="nl-NL"/>
              <a:t>Make </a:t>
            </a:r>
            <a:r>
              <a:rPr lang="nl-NL" err="1"/>
              <a:t>sure</a:t>
            </a:r>
            <a:r>
              <a:rPr lang="nl-NL"/>
              <a:t> </a:t>
            </a:r>
            <a:r>
              <a:rPr lang="nl-NL" err="1"/>
              <a:t>it</a:t>
            </a:r>
            <a:r>
              <a:rPr lang="nl-NL"/>
              <a:t> fits (</a:t>
            </a:r>
            <a:r>
              <a:rPr lang="nl-NL" err="1"/>
              <a:t>exactly</a:t>
            </a:r>
            <a:r>
              <a:rPr lang="nl-NL"/>
              <a:t>) </a:t>
            </a:r>
            <a:r>
              <a:rPr lang="nl-NL" err="1"/>
              <a:t>within</a:t>
            </a:r>
            <a:r>
              <a:rPr lang="nl-NL"/>
              <a:t> </a:t>
            </a:r>
            <a:r>
              <a:rPr lang="nl-NL" err="1"/>
              <a:t>the</a:t>
            </a:r>
            <a:r>
              <a:rPr lang="nl-NL"/>
              <a:t> </a:t>
            </a:r>
            <a:r>
              <a:rPr lang="nl-NL" err="1"/>
              <a:t>grey</a:t>
            </a:r>
            <a:r>
              <a:rPr lang="nl-NL"/>
              <a:t> area, </a:t>
            </a:r>
            <a:r>
              <a:rPr lang="nl-NL" err="1"/>
              <a:t>just</a:t>
            </a:r>
            <a:r>
              <a:rPr lang="nl-NL"/>
              <a:t> </a:t>
            </a:r>
            <a:r>
              <a:rPr lang="nl-NL" err="1"/>
              <a:t>resize</a:t>
            </a:r>
            <a:r>
              <a:rPr lang="nl-NL"/>
              <a:t> </a:t>
            </a:r>
            <a:r>
              <a:rPr lang="nl-NL" err="1"/>
              <a:t>the</a:t>
            </a:r>
            <a:r>
              <a:rPr lang="nl-NL"/>
              <a:t> </a:t>
            </a:r>
            <a:r>
              <a:rPr lang="nl-NL" err="1"/>
              <a:t>outer</a:t>
            </a:r>
            <a:r>
              <a:rPr lang="nl-NL"/>
              <a:t> </a:t>
            </a:r>
            <a:r>
              <a:rPr lang="nl-NL" err="1"/>
              <a:t>edges</a:t>
            </a:r>
            <a:r>
              <a:rPr lang="nl-NL"/>
              <a:t> of </a:t>
            </a:r>
            <a:r>
              <a:rPr lang="nl-NL" err="1"/>
              <a:t>the</a:t>
            </a:r>
            <a:r>
              <a:rPr lang="nl-NL"/>
              <a:t> </a:t>
            </a:r>
            <a:r>
              <a:rPr lang="nl-NL" err="1"/>
              <a:t>chart</a:t>
            </a:r>
            <a:r>
              <a:rPr lang="nl-NL"/>
              <a:t>/</a:t>
            </a:r>
            <a:r>
              <a:rPr lang="nl-NL" err="1"/>
              <a:t>table</a:t>
            </a:r>
            <a:r>
              <a:rPr lang="nl-NL"/>
              <a:t> </a:t>
            </a:r>
            <a:r>
              <a:rPr lang="nl-NL" err="1"/>
              <a:t>to</a:t>
            </a:r>
            <a:r>
              <a:rPr lang="nl-NL"/>
              <a:t> fit.</a:t>
            </a:r>
          </a:p>
          <a:p>
            <a:pPr lvl="0"/>
            <a:r>
              <a:rPr lang="nl-NL" err="1"/>
              <a:t>Once</a:t>
            </a:r>
            <a:r>
              <a:rPr lang="nl-NL"/>
              <a:t> </a:t>
            </a:r>
            <a:r>
              <a:rPr lang="nl-NL" err="1"/>
              <a:t>applied</a:t>
            </a:r>
            <a:r>
              <a:rPr lang="nl-NL"/>
              <a:t>, move </a:t>
            </a:r>
            <a:r>
              <a:rPr lang="nl-NL" err="1"/>
              <a:t>the</a:t>
            </a:r>
            <a:r>
              <a:rPr lang="nl-NL"/>
              <a:t> </a:t>
            </a:r>
            <a:r>
              <a:rPr lang="nl-NL" err="1"/>
              <a:t>chart</a:t>
            </a:r>
            <a:r>
              <a:rPr lang="nl-NL"/>
              <a:t> </a:t>
            </a:r>
            <a:r>
              <a:rPr lang="nl-NL" err="1"/>
              <a:t>to</a:t>
            </a:r>
            <a:r>
              <a:rPr lang="nl-NL"/>
              <a:t> </a:t>
            </a:r>
            <a:r>
              <a:rPr lang="nl-NL" err="1"/>
              <a:t>the</a:t>
            </a:r>
            <a:r>
              <a:rPr lang="nl-NL"/>
              <a:t> side </a:t>
            </a:r>
            <a:r>
              <a:rPr lang="nl-NL" err="1"/>
              <a:t>and</a:t>
            </a:r>
            <a:r>
              <a:rPr lang="nl-NL"/>
              <a:t> make </a:t>
            </a:r>
            <a:r>
              <a:rPr lang="nl-NL" err="1"/>
              <a:t>this</a:t>
            </a:r>
            <a:r>
              <a:rPr lang="nl-NL"/>
              <a:t> box </a:t>
            </a:r>
            <a:r>
              <a:rPr lang="nl-NL" err="1"/>
              <a:t>white</a:t>
            </a:r>
            <a:r>
              <a:rPr lang="nl-NL"/>
              <a:t> </a:t>
            </a:r>
            <a:r>
              <a:rPr lang="nl-NL" err="1"/>
              <a:t>so</a:t>
            </a:r>
            <a:r>
              <a:rPr lang="nl-NL"/>
              <a:t> </a:t>
            </a:r>
            <a:r>
              <a:rPr lang="nl-NL" err="1"/>
              <a:t>you</a:t>
            </a:r>
            <a:r>
              <a:rPr lang="nl-NL"/>
              <a:t> </a:t>
            </a:r>
            <a:r>
              <a:rPr lang="nl-NL" err="1"/>
              <a:t>don’t</a:t>
            </a:r>
            <a:r>
              <a:rPr lang="nl-NL"/>
              <a:t> </a:t>
            </a:r>
            <a:r>
              <a:rPr lang="nl-NL" err="1"/>
              <a:t>see</a:t>
            </a:r>
            <a:r>
              <a:rPr lang="nl-NL"/>
              <a:t> </a:t>
            </a:r>
            <a:r>
              <a:rPr lang="nl-NL" err="1"/>
              <a:t>it</a:t>
            </a:r>
            <a:r>
              <a:rPr lang="nl-NL"/>
              <a:t> </a:t>
            </a:r>
            <a:r>
              <a:rPr lang="nl-NL" err="1"/>
              <a:t>anymore</a:t>
            </a:r>
            <a:r>
              <a:rPr lang="nl-NL"/>
              <a:t>.</a:t>
            </a:r>
            <a:endParaRPr lang="en-US"/>
          </a:p>
        </p:txBody>
      </p:sp>
      <p:sp>
        <p:nvSpPr>
          <p:cNvPr id="5" name="Title">
            <a:extLst>
              <a:ext uri="{FF2B5EF4-FFF2-40B4-BE49-F238E27FC236}">
                <a16:creationId xmlns:a16="http://schemas.microsoft.com/office/drawing/2014/main" id="{BE4AFF37-9413-2A9F-5CF3-A218AF33FAC9}"/>
              </a:ext>
            </a:extLst>
          </p:cNvPr>
          <p:cNvSpPr>
            <a:spLocks noGrp="1"/>
          </p:cNvSpPr>
          <p:nvPr>
            <p:ph type="title"/>
          </p:nvPr>
        </p:nvSpPr>
        <p:spPr/>
        <p:txBody>
          <a:bodyPr/>
          <a:lstStyle/>
          <a:p>
            <a:r>
              <a:rPr lang="en-US"/>
              <a:t>Click to edit Master title style</a:t>
            </a:r>
            <a:endParaRPr lang="en-NL"/>
          </a:p>
        </p:txBody>
      </p:sp>
      <p:sp>
        <p:nvSpPr>
          <p:cNvPr id="11" name="Text Placeholder 3">
            <a:extLst>
              <a:ext uri="{FF2B5EF4-FFF2-40B4-BE49-F238E27FC236}">
                <a16:creationId xmlns:a16="http://schemas.microsoft.com/office/drawing/2014/main" id="{31E9DA35-863D-88A5-3F4C-5812378C3F5E}"/>
              </a:ext>
            </a:extLst>
          </p:cNvPr>
          <p:cNvSpPr>
            <a:spLocks noGrp="1"/>
          </p:cNvSpPr>
          <p:nvPr>
            <p:ph type="body" sz="quarter" idx="78" hasCustomPrompt="1"/>
          </p:nvPr>
        </p:nvSpPr>
        <p:spPr>
          <a:xfrm>
            <a:off x="525600" y="1062000"/>
            <a:ext cx="7200000" cy="360001"/>
          </a:xfrm>
          <a:prstGeom prst="roundRect">
            <a:avLst/>
          </a:prstGeom>
          <a:solidFill>
            <a:schemeClr val="tx2"/>
          </a:solidFill>
        </p:spPr>
        <p:txBody>
          <a:bodyPr lIns="0" tIns="0" rIns="0" bIns="0" anchor="ctr"/>
          <a:lstStyle>
            <a:lvl1pPr marL="0" indent="0" algn="ctr">
              <a:lnSpc>
                <a:spcPct val="100000"/>
              </a:lnSpc>
              <a:spcBef>
                <a:spcPts val="0"/>
              </a:spcBef>
              <a:buNone/>
              <a:defRPr sz="1400" b="1" baseline="0">
                <a:solidFill>
                  <a:schemeClr val="bg1"/>
                </a:solidFill>
                <a:latin typeface="Calibri" panose="020F0502020204030204" pitchFamily="34" charset="0"/>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Box Title</a:t>
            </a:r>
            <a:endParaRPr lang="nl-NL"/>
          </a:p>
        </p:txBody>
      </p:sp>
      <p:sp>
        <p:nvSpPr>
          <p:cNvPr id="12" name="Text Placeholder 3">
            <a:extLst>
              <a:ext uri="{FF2B5EF4-FFF2-40B4-BE49-F238E27FC236}">
                <a16:creationId xmlns:a16="http://schemas.microsoft.com/office/drawing/2014/main" id="{95FB5D11-EBC5-8979-6D10-BE0ECBCB06E0}"/>
              </a:ext>
            </a:extLst>
          </p:cNvPr>
          <p:cNvSpPr>
            <a:spLocks noGrp="1"/>
          </p:cNvSpPr>
          <p:nvPr>
            <p:ph type="body" sz="quarter" idx="79" hasCustomPrompt="1"/>
          </p:nvPr>
        </p:nvSpPr>
        <p:spPr>
          <a:xfrm>
            <a:off x="8084204" y="1062000"/>
            <a:ext cx="3600451" cy="360001"/>
          </a:xfrm>
          <a:prstGeom prst="roundRect">
            <a:avLst/>
          </a:prstGeom>
          <a:solidFill>
            <a:schemeClr val="tx2"/>
          </a:solidFill>
        </p:spPr>
        <p:txBody>
          <a:bodyPr lIns="0" tIns="0" rIns="0" bIns="0" anchor="ctr"/>
          <a:lstStyle>
            <a:lvl1pPr marL="0" indent="0" algn="ctr">
              <a:lnSpc>
                <a:spcPct val="100000"/>
              </a:lnSpc>
              <a:spcBef>
                <a:spcPts val="0"/>
              </a:spcBef>
              <a:buNone/>
              <a:defRPr sz="1400" b="1" baseline="0">
                <a:solidFill>
                  <a:schemeClr val="bg1"/>
                </a:solidFill>
                <a:latin typeface="Calibri" panose="020F0502020204030204" pitchFamily="34" charset="0"/>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Box Title</a:t>
            </a:r>
            <a:endParaRPr lang="nl-NL"/>
          </a:p>
        </p:txBody>
      </p:sp>
      <p:sp>
        <p:nvSpPr>
          <p:cNvPr id="4" name="Slide Number Placeholder">
            <a:extLst>
              <a:ext uri="{FF2B5EF4-FFF2-40B4-BE49-F238E27FC236}">
                <a16:creationId xmlns:a16="http://schemas.microsoft.com/office/drawing/2014/main" id="{B284A54F-E1ED-2AC6-D9F5-7AB8C62586A7}"/>
              </a:ext>
            </a:extLst>
          </p:cNvPr>
          <p:cNvSpPr>
            <a:spLocks noGrp="1"/>
          </p:cNvSpPr>
          <p:nvPr>
            <p:ph type="sldNum" sz="quarter" idx="12"/>
          </p:nvPr>
        </p:nvSpPr>
        <p:spPr>
          <a:xfrm>
            <a:off x="11319511" y="6120028"/>
            <a:ext cx="350031" cy="360000"/>
          </a:xfrm>
          <a:prstGeom prst="rect">
            <a:avLst/>
          </a:prstGeom>
        </p:spPr>
        <p:txBody>
          <a:bodyPr lIns="0" tIns="0" rIns="0" bIns="0" anchor="ctr"/>
          <a:lstStyle>
            <a:lvl1pPr algn="r">
              <a:defRPr sz="1100">
                <a:solidFill>
                  <a:schemeClr val="bg2"/>
                </a:solidFill>
              </a:defRPr>
            </a:lvl1pPr>
          </a:lstStyle>
          <a:p>
            <a:fld id="{D0281C21-EE02-42A0-BCF6-67BEF936A35A}" type="slidenum">
              <a:rPr lang="en-IN" smtClean="0"/>
              <a:pPr/>
              <a:t>‹#›</a:t>
            </a:fld>
            <a:endParaRPr lang="en-IN"/>
          </a:p>
        </p:txBody>
      </p:sp>
      <p:sp>
        <p:nvSpPr>
          <p:cNvPr id="6" name="Text Placeholder 5">
            <a:extLst>
              <a:ext uri="{FF2B5EF4-FFF2-40B4-BE49-F238E27FC236}">
                <a16:creationId xmlns:a16="http://schemas.microsoft.com/office/drawing/2014/main" id="{98331404-F0F5-2AD0-31AB-B6DD96C05B32}"/>
              </a:ext>
            </a:extLst>
          </p:cNvPr>
          <p:cNvSpPr>
            <a:spLocks noGrp="1"/>
          </p:cNvSpPr>
          <p:nvPr>
            <p:ph type="body" sz="quarter" idx="80" hasCustomPrompt="1"/>
          </p:nvPr>
        </p:nvSpPr>
        <p:spPr>
          <a:xfrm>
            <a:off x="525600" y="6109200"/>
            <a:ext cx="720000" cy="554400"/>
          </a:xfrm>
        </p:spPr>
        <p:txBody>
          <a:bodyPr/>
          <a:lstStyle>
            <a:lvl1pPr marL="0" indent="0">
              <a:buFontTx/>
              <a:buNone/>
              <a:defRPr sz="1100" b="1">
                <a:solidFill>
                  <a:schemeClr val="bg2"/>
                </a:solidFill>
              </a:defRPr>
            </a:lvl1pPr>
          </a:lstStyle>
          <a:p>
            <a:pPr lvl="0"/>
            <a:r>
              <a:rPr lang="en-US"/>
              <a:t>Sources:</a:t>
            </a:r>
            <a:endParaRPr lang="en-NL"/>
          </a:p>
        </p:txBody>
      </p:sp>
      <p:sp>
        <p:nvSpPr>
          <p:cNvPr id="13" name="Text Placeholder 11">
            <a:extLst>
              <a:ext uri="{FF2B5EF4-FFF2-40B4-BE49-F238E27FC236}">
                <a16:creationId xmlns:a16="http://schemas.microsoft.com/office/drawing/2014/main" id="{6D783E42-F1C7-8262-883B-537EBDE83649}"/>
              </a:ext>
            </a:extLst>
          </p:cNvPr>
          <p:cNvSpPr>
            <a:spLocks noGrp="1"/>
          </p:cNvSpPr>
          <p:nvPr>
            <p:ph type="body" sz="quarter" idx="81" hasCustomPrompt="1"/>
          </p:nvPr>
        </p:nvSpPr>
        <p:spPr>
          <a:xfrm>
            <a:off x="1152000" y="6109200"/>
            <a:ext cx="8704216" cy="440904"/>
          </a:xfrm>
        </p:spPr>
        <p:txBody>
          <a:bodyPr/>
          <a:lstStyle>
            <a:lvl1pPr marL="0" indent="0">
              <a:buFontTx/>
              <a:buNone/>
              <a:defRPr sz="1100"/>
            </a:lvl1pPr>
          </a:lstStyle>
          <a:p>
            <a:pPr lvl="0"/>
            <a:r>
              <a:rPr lang="en-US"/>
              <a:t>Innova Database (click to edit)</a:t>
            </a:r>
            <a:endParaRPr lang="en-NL"/>
          </a:p>
        </p:txBody>
      </p:sp>
      <p:sp>
        <p:nvSpPr>
          <p:cNvPr id="9" name="Text Placeholder 6">
            <a:extLst>
              <a:ext uri="{FF2B5EF4-FFF2-40B4-BE49-F238E27FC236}">
                <a16:creationId xmlns:a16="http://schemas.microsoft.com/office/drawing/2014/main" id="{4C855AFC-3640-6C17-D3E6-184CB708675B}"/>
              </a:ext>
            </a:extLst>
          </p:cNvPr>
          <p:cNvSpPr>
            <a:spLocks noGrp="1"/>
          </p:cNvSpPr>
          <p:nvPr>
            <p:ph type="body" sz="quarter" idx="83" hasCustomPrompt="1"/>
          </p:nvPr>
        </p:nvSpPr>
        <p:spPr>
          <a:xfrm>
            <a:off x="1364105" y="1489322"/>
            <a:ext cx="6361495" cy="360362"/>
          </a:xfrm>
          <a:noFill/>
        </p:spPr>
        <p:txBody>
          <a:bodyPr/>
          <a:lstStyle>
            <a:lvl1pPr marL="0" indent="0">
              <a:buFontTx/>
              <a:buNone/>
              <a:defRPr sz="11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marL="0" marR="0" lvl="0" indent="0" algn="l" defTabSz="914400" rtl="0" eaLnBrk="1" fontAlgn="auto" latinLnBrk="0" hangingPunct="1">
              <a:lnSpc>
                <a:spcPct val="100000"/>
              </a:lnSpc>
              <a:spcBef>
                <a:spcPts val="600"/>
              </a:spcBef>
              <a:spcAft>
                <a:spcPts val="0"/>
              </a:spcAft>
              <a:buClr>
                <a:schemeClr val="tx2"/>
              </a:buClr>
              <a:buSzTx/>
              <a:buFont typeface="Arial" panose="020B0604020202020204" pitchFamily="34" charset="0"/>
              <a:buNone/>
              <a:tabLst/>
              <a:defRPr/>
            </a:pPr>
            <a:r>
              <a:rPr lang="en-US"/>
              <a:t> Chart title goes here (do not add an extra title to the chart below)</a:t>
            </a:r>
          </a:p>
        </p:txBody>
      </p:sp>
      <p:sp>
        <p:nvSpPr>
          <p:cNvPr id="10" name="Text Placeholder 6">
            <a:extLst>
              <a:ext uri="{FF2B5EF4-FFF2-40B4-BE49-F238E27FC236}">
                <a16:creationId xmlns:a16="http://schemas.microsoft.com/office/drawing/2014/main" id="{BD931FF7-8981-20C7-6B4C-27043C413C47}"/>
              </a:ext>
            </a:extLst>
          </p:cNvPr>
          <p:cNvSpPr>
            <a:spLocks noGrp="1"/>
          </p:cNvSpPr>
          <p:nvPr>
            <p:ph type="body" sz="quarter" idx="84" hasCustomPrompt="1"/>
          </p:nvPr>
        </p:nvSpPr>
        <p:spPr>
          <a:xfrm>
            <a:off x="524654" y="1489322"/>
            <a:ext cx="779490" cy="360362"/>
          </a:xfrm>
          <a:noFill/>
        </p:spPr>
        <p:txBody>
          <a:bodyPr/>
          <a:lstStyle>
            <a:lvl1pPr marL="0" indent="0">
              <a:buFontTx/>
              <a:buNone/>
              <a:defRPr sz="1100"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Figure:</a:t>
            </a:r>
            <a:endParaRPr lang="en-IN"/>
          </a:p>
        </p:txBody>
      </p:sp>
    </p:spTree>
    <p:extLst>
      <p:ext uri="{BB962C8B-B14F-4D97-AF65-F5344CB8AC3E}">
        <p14:creationId xmlns:p14="http://schemas.microsoft.com/office/powerpoint/2010/main" val="470805857"/>
      </p:ext>
    </p:extLst>
  </p:cSld>
  <p:clrMapOvr>
    <a:masterClrMapping/>
  </p:clrMapOvr>
  <p:extLst>
    <p:ext uri="{DCECCB84-F9BA-43D5-87BE-67443E8EF086}">
      <p15:sldGuideLst xmlns:p15="http://schemas.microsoft.com/office/powerpoint/2012/main">
        <p15:guide id="3" pos="5087">
          <p15:clr>
            <a:srgbClr val="FBAE40"/>
          </p15:clr>
        </p15:guide>
        <p15:guide id="4" orient="horz" pos="935">
          <p15:clr>
            <a:srgbClr val="FBAE40"/>
          </p15:clr>
        </p15:guide>
        <p15:guide id="5" orient="horz" pos="890">
          <p15:clr>
            <a:srgbClr val="FBAE4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Box, Chart and Content">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30C01F3-C245-F63D-1E2F-2C692181E356}"/>
              </a:ext>
            </a:extLst>
          </p:cNvPr>
          <p:cNvSpPr>
            <a:spLocks noGrp="1"/>
          </p:cNvSpPr>
          <p:nvPr>
            <p:ph idx="51"/>
          </p:nvPr>
        </p:nvSpPr>
        <p:spPr>
          <a:xfrm>
            <a:off x="8085600" y="1497600"/>
            <a:ext cx="3600450" cy="4379325"/>
          </a:xfrm>
        </p:spPr>
        <p:txBody>
          <a:bodyPr vert="horz" lIns="0" tIns="46800" rIns="0" bIns="0" rtlCol="0">
            <a:noAutofit/>
          </a:bodyPr>
          <a:lstStyle>
            <a:lvl1pPr marL="171450" indent="-171450">
              <a:buFont typeface="Arial" panose="020B0604020202020204" pitchFamily="34" charset="0"/>
              <a:buChar char="•"/>
              <a:defRPr lang="en-US" dirty="0"/>
            </a:lvl1pPr>
          </a:lstStyle>
          <a:p>
            <a:pPr lvl="0"/>
            <a:r>
              <a:rPr lang="en-US"/>
              <a:t>Click to edit</a:t>
            </a:r>
          </a:p>
        </p:txBody>
      </p:sp>
      <p:sp>
        <p:nvSpPr>
          <p:cNvPr id="8" name="Chart Placeholder">
            <a:extLst>
              <a:ext uri="{FF2B5EF4-FFF2-40B4-BE49-F238E27FC236}">
                <a16:creationId xmlns:a16="http://schemas.microsoft.com/office/drawing/2014/main" id="{003A30D7-BC0E-C897-3D0F-8201B7253E73}"/>
              </a:ext>
            </a:extLst>
          </p:cNvPr>
          <p:cNvSpPr>
            <a:spLocks noGrp="1"/>
          </p:cNvSpPr>
          <p:nvPr>
            <p:ph type="chart" sz="quarter" idx="13" hasCustomPrompt="1"/>
          </p:nvPr>
        </p:nvSpPr>
        <p:spPr>
          <a:xfrm>
            <a:off x="525600" y="1933200"/>
            <a:ext cx="7200000" cy="3942575"/>
          </a:xfrm>
          <a:solidFill>
            <a:srgbClr val="F2F2F2"/>
          </a:solidFill>
        </p:spPr>
        <p:txBody>
          <a:bodyPr anchor="ctr" anchorCtr="0">
            <a:noAutofit/>
          </a:bodyPr>
          <a:lstStyle>
            <a:lvl1pPr marL="0" indent="0" algn="ctr">
              <a:buNone/>
              <a:defRPr sz="1200">
                <a:latin typeface="Arial" panose="020B0604020202020204" pitchFamily="34" charset="0"/>
                <a:cs typeface="Arial" panose="020B0604020202020204" pitchFamily="34" charset="0"/>
              </a:defRPr>
            </a:lvl1pPr>
          </a:lstStyle>
          <a:p>
            <a:pPr lvl="0"/>
            <a:r>
              <a:rPr lang="en-US"/>
              <a:t>Pick a chart / table from the </a:t>
            </a:r>
            <a:r>
              <a:rPr lang="en-US" err="1"/>
              <a:t>chart.ppt</a:t>
            </a:r>
            <a:r>
              <a:rPr lang="en-US"/>
              <a:t> document.</a:t>
            </a:r>
          </a:p>
          <a:p>
            <a:pPr lvl="0"/>
            <a:r>
              <a:rPr lang="en-US"/>
              <a:t>These have been pre-defined so they have the correct font &amp; color usage.</a:t>
            </a:r>
          </a:p>
          <a:p>
            <a:pPr lvl="0"/>
            <a:r>
              <a:rPr lang="nl-NL"/>
              <a:t>Copy/paste </a:t>
            </a:r>
            <a:r>
              <a:rPr lang="nl-NL" err="1"/>
              <a:t>it</a:t>
            </a:r>
            <a:r>
              <a:rPr lang="nl-NL"/>
              <a:t> </a:t>
            </a:r>
            <a:r>
              <a:rPr lang="nl-NL" err="1"/>
              <a:t>into</a:t>
            </a:r>
            <a:r>
              <a:rPr lang="nl-NL"/>
              <a:t> </a:t>
            </a:r>
            <a:r>
              <a:rPr lang="nl-NL" err="1"/>
              <a:t>this</a:t>
            </a:r>
            <a:r>
              <a:rPr lang="nl-NL"/>
              <a:t> document.</a:t>
            </a:r>
          </a:p>
          <a:p>
            <a:pPr lvl="0"/>
            <a:r>
              <a:rPr lang="nl-NL"/>
              <a:t>Make </a:t>
            </a:r>
            <a:r>
              <a:rPr lang="nl-NL" err="1"/>
              <a:t>sure</a:t>
            </a:r>
            <a:r>
              <a:rPr lang="nl-NL"/>
              <a:t> </a:t>
            </a:r>
            <a:r>
              <a:rPr lang="nl-NL" err="1"/>
              <a:t>it</a:t>
            </a:r>
            <a:r>
              <a:rPr lang="nl-NL"/>
              <a:t> fits (</a:t>
            </a:r>
            <a:r>
              <a:rPr lang="nl-NL" err="1"/>
              <a:t>exactly</a:t>
            </a:r>
            <a:r>
              <a:rPr lang="nl-NL"/>
              <a:t>) </a:t>
            </a:r>
            <a:r>
              <a:rPr lang="nl-NL" err="1"/>
              <a:t>within</a:t>
            </a:r>
            <a:r>
              <a:rPr lang="nl-NL"/>
              <a:t> </a:t>
            </a:r>
            <a:r>
              <a:rPr lang="nl-NL" err="1"/>
              <a:t>the</a:t>
            </a:r>
            <a:r>
              <a:rPr lang="nl-NL"/>
              <a:t> </a:t>
            </a:r>
            <a:r>
              <a:rPr lang="nl-NL" err="1"/>
              <a:t>grey</a:t>
            </a:r>
            <a:r>
              <a:rPr lang="nl-NL"/>
              <a:t> area, </a:t>
            </a:r>
            <a:r>
              <a:rPr lang="nl-NL" err="1"/>
              <a:t>just</a:t>
            </a:r>
            <a:r>
              <a:rPr lang="nl-NL"/>
              <a:t> </a:t>
            </a:r>
            <a:r>
              <a:rPr lang="nl-NL" err="1"/>
              <a:t>resize</a:t>
            </a:r>
            <a:r>
              <a:rPr lang="nl-NL"/>
              <a:t> </a:t>
            </a:r>
            <a:r>
              <a:rPr lang="nl-NL" err="1"/>
              <a:t>the</a:t>
            </a:r>
            <a:r>
              <a:rPr lang="nl-NL"/>
              <a:t> </a:t>
            </a:r>
            <a:r>
              <a:rPr lang="nl-NL" err="1"/>
              <a:t>outer</a:t>
            </a:r>
            <a:r>
              <a:rPr lang="nl-NL"/>
              <a:t> </a:t>
            </a:r>
            <a:r>
              <a:rPr lang="nl-NL" err="1"/>
              <a:t>edges</a:t>
            </a:r>
            <a:r>
              <a:rPr lang="nl-NL"/>
              <a:t> of </a:t>
            </a:r>
            <a:r>
              <a:rPr lang="nl-NL" err="1"/>
              <a:t>the</a:t>
            </a:r>
            <a:r>
              <a:rPr lang="nl-NL"/>
              <a:t> </a:t>
            </a:r>
            <a:r>
              <a:rPr lang="nl-NL" err="1"/>
              <a:t>chart</a:t>
            </a:r>
            <a:r>
              <a:rPr lang="nl-NL"/>
              <a:t>/</a:t>
            </a:r>
            <a:r>
              <a:rPr lang="nl-NL" err="1"/>
              <a:t>table</a:t>
            </a:r>
            <a:r>
              <a:rPr lang="nl-NL"/>
              <a:t> </a:t>
            </a:r>
            <a:r>
              <a:rPr lang="nl-NL" err="1"/>
              <a:t>to</a:t>
            </a:r>
            <a:r>
              <a:rPr lang="nl-NL"/>
              <a:t> fit.</a:t>
            </a:r>
          </a:p>
          <a:p>
            <a:pPr lvl="0"/>
            <a:r>
              <a:rPr lang="nl-NL" err="1"/>
              <a:t>Once</a:t>
            </a:r>
            <a:r>
              <a:rPr lang="nl-NL"/>
              <a:t> </a:t>
            </a:r>
            <a:r>
              <a:rPr lang="nl-NL" err="1"/>
              <a:t>applied</a:t>
            </a:r>
            <a:r>
              <a:rPr lang="nl-NL"/>
              <a:t>, move </a:t>
            </a:r>
            <a:r>
              <a:rPr lang="nl-NL" err="1"/>
              <a:t>the</a:t>
            </a:r>
            <a:r>
              <a:rPr lang="nl-NL"/>
              <a:t> </a:t>
            </a:r>
            <a:r>
              <a:rPr lang="nl-NL" err="1"/>
              <a:t>chart</a:t>
            </a:r>
            <a:r>
              <a:rPr lang="nl-NL"/>
              <a:t> </a:t>
            </a:r>
            <a:r>
              <a:rPr lang="nl-NL" err="1"/>
              <a:t>to</a:t>
            </a:r>
            <a:r>
              <a:rPr lang="nl-NL"/>
              <a:t> </a:t>
            </a:r>
            <a:r>
              <a:rPr lang="nl-NL" err="1"/>
              <a:t>the</a:t>
            </a:r>
            <a:r>
              <a:rPr lang="nl-NL"/>
              <a:t> side </a:t>
            </a:r>
            <a:r>
              <a:rPr lang="nl-NL" err="1"/>
              <a:t>and</a:t>
            </a:r>
            <a:r>
              <a:rPr lang="nl-NL"/>
              <a:t> make </a:t>
            </a:r>
            <a:r>
              <a:rPr lang="nl-NL" err="1"/>
              <a:t>this</a:t>
            </a:r>
            <a:r>
              <a:rPr lang="nl-NL"/>
              <a:t> box </a:t>
            </a:r>
            <a:r>
              <a:rPr lang="nl-NL" err="1"/>
              <a:t>white</a:t>
            </a:r>
            <a:r>
              <a:rPr lang="nl-NL"/>
              <a:t> </a:t>
            </a:r>
            <a:r>
              <a:rPr lang="nl-NL" err="1"/>
              <a:t>so</a:t>
            </a:r>
            <a:r>
              <a:rPr lang="nl-NL"/>
              <a:t> </a:t>
            </a:r>
            <a:r>
              <a:rPr lang="nl-NL" err="1"/>
              <a:t>you</a:t>
            </a:r>
            <a:r>
              <a:rPr lang="nl-NL"/>
              <a:t> </a:t>
            </a:r>
            <a:r>
              <a:rPr lang="nl-NL" err="1"/>
              <a:t>don’t</a:t>
            </a:r>
            <a:r>
              <a:rPr lang="nl-NL"/>
              <a:t> </a:t>
            </a:r>
            <a:r>
              <a:rPr lang="nl-NL" err="1"/>
              <a:t>see</a:t>
            </a:r>
            <a:r>
              <a:rPr lang="nl-NL"/>
              <a:t> </a:t>
            </a:r>
            <a:r>
              <a:rPr lang="nl-NL" err="1"/>
              <a:t>it</a:t>
            </a:r>
            <a:r>
              <a:rPr lang="nl-NL"/>
              <a:t> </a:t>
            </a:r>
            <a:r>
              <a:rPr lang="nl-NL" err="1"/>
              <a:t>anymore</a:t>
            </a:r>
            <a:r>
              <a:rPr lang="nl-NL"/>
              <a:t>.</a:t>
            </a:r>
            <a:endParaRPr lang="en-US"/>
          </a:p>
        </p:txBody>
      </p:sp>
      <p:sp>
        <p:nvSpPr>
          <p:cNvPr id="5" name="Title">
            <a:extLst>
              <a:ext uri="{FF2B5EF4-FFF2-40B4-BE49-F238E27FC236}">
                <a16:creationId xmlns:a16="http://schemas.microsoft.com/office/drawing/2014/main" id="{BE4AFF37-9413-2A9F-5CF3-A218AF33FAC9}"/>
              </a:ext>
            </a:extLst>
          </p:cNvPr>
          <p:cNvSpPr>
            <a:spLocks noGrp="1"/>
          </p:cNvSpPr>
          <p:nvPr>
            <p:ph type="title"/>
          </p:nvPr>
        </p:nvSpPr>
        <p:spPr/>
        <p:txBody>
          <a:bodyPr/>
          <a:lstStyle/>
          <a:p>
            <a:r>
              <a:rPr lang="en-US"/>
              <a:t>Click to edit Master title style</a:t>
            </a:r>
            <a:endParaRPr lang="en-NL"/>
          </a:p>
        </p:txBody>
      </p:sp>
      <p:sp>
        <p:nvSpPr>
          <p:cNvPr id="11" name="Text Placeholder 3">
            <a:extLst>
              <a:ext uri="{FF2B5EF4-FFF2-40B4-BE49-F238E27FC236}">
                <a16:creationId xmlns:a16="http://schemas.microsoft.com/office/drawing/2014/main" id="{31E9DA35-863D-88A5-3F4C-5812378C3F5E}"/>
              </a:ext>
            </a:extLst>
          </p:cNvPr>
          <p:cNvSpPr>
            <a:spLocks noGrp="1"/>
          </p:cNvSpPr>
          <p:nvPr>
            <p:ph type="body" sz="quarter" idx="78" hasCustomPrompt="1"/>
          </p:nvPr>
        </p:nvSpPr>
        <p:spPr>
          <a:xfrm>
            <a:off x="525600" y="1062000"/>
            <a:ext cx="11160125" cy="360001"/>
          </a:xfrm>
          <a:prstGeom prst="roundRect">
            <a:avLst/>
          </a:prstGeom>
          <a:solidFill>
            <a:schemeClr val="tx2"/>
          </a:solidFill>
        </p:spPr>
        <p:txBody>
          <a:bodyPr lIns="0" tIns="0" rIns="0" bIns="0" anchor="ctr"/>
          <a:lstStyle>
            <a:lvl1pPr marL="0" indent="0" algn="ctr">
              <a:lnSpc>
                <a:spcPct val="100000"/>
              </a:lnSpc>
              <a:spcBef>
                <a:spcPts val="0"/>
              </a:spcBef>
              <a:buNone/>
              <a:defRPr sz="1400" b="1" baseline="0">
                <a:solidFill>
                  <a:schemeClr val="bg1"/>
                </a:solidFill>
                <a:latin typeface="Calibri" panose="020F0502020204030204" pitchFamily="34" charset="0"/>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Box Title</a:t>
            </a:r>
            <a:endParaRPr lang="nl-NL"/>
          </a:p>
        </p:txBody>
      </p:sp>
      <p:sp>
        <p:nvSpPr>
          <p:cNvPr id="4" name="Slide Number Placeholder">
            <a:extLst>
              <a:ext uri="{FF2B5EF4-FFF2-40B4-BE49-F238E27FC236}">
                <a16:creationId xmlns:a16="http://schemas.microsoft.com/office/drawing/2014/main" id="{6DA344D6-9566-0B7F-5342-B8AD54B96DAC}"/>
              </a:ext>
            </a:extLst>
          </p:cNvPr>
          <p:cNvSpPr>
            <a:spLocks noGrp="1"/>
          </p:cNvSpPr>
          <p:nvPr>
            <p:ph type="sldNum" sz="quarter" idx="12"/>
          </p:nvPr>
        </p:nvSpPr>
        <p:spPr>
          <a:xfrm>
            <a:off x="11319511" y="6120028"/>
            <a:ext cx="350031" cy="360000"/>
          </a:xfrm>
          <a:prstGeom prst="rect">
            <a:avLst/>
          </a:prstGeom>
        </p:spPr>
        <p:txBody>
          <a:bodyPr lIns="0" tIns="0" rIns="0" bIns="0" anchor="ctr"/>
          <a:lstStyle>
            <a:lvl1pPr algn="r">
              <a:defRPr sz="1100">
                <a:solidFill>
                  <a:schemeClr val="bg2"/>
                </a:solidFill>
              </a:defRPr>
            </a:lvl1pPr>
          </a:lstStyle>
          <a:p>
            <a:fld id="{D0281C21-EE02-42A0-BCF6-67BEF936A35A}" type="slidenum">
              <a:rPr lang="en-IN" smtClean="0"/>
              <a:pPr/>
              <a:t>‹#›</a:t>
            </a:fld>
            <a:endParaRPr lang="en-IN"/>
          </a:p>
        </p:txBody>
      </p:sp>
      <p:sp>
        <p:nvSpPr>
          <p:cNvPr id="6" name="Text Placeholder 5">
            <a:extLst>
              <a:ext uri="{FF2B5EF4-FFF2-40B4-BE49-F238E27FC236}">
                <a16:creationId xmlns:a16="http://schemas.microsoft.com/office/drawing/2014/main" id="{C28EF7ED-B83A-9A71-3DC7-E712C03B5095}"/>
              </a:ext>
            </a:extLst>
          </p:cNvPr>
          <p:cNvSpPr>
            <a:spLocks noGrp="1"/>
          </p:cNvSpPr>
          <p:nvPr>
            <p:ph type="body" sz="quarter" idx="80" hasCustomPrompt="1"/>
          </p:nvPr>
        </p:nvSpPr>
        <p:spPr>
          <a:xfrm>
            <a:off x="525600" y="6109200"/>
            <a:ext cx="720000" cy="554400"/>
          </a:xfrm>
        </p:spPr>
        <p:txBody>
          <a:bodyPr/>
          <a:lstStyle>
            <a:lvl1pPr marL="0" indent="0">
              <a:buFontTx/>
              <a:buNone/>
              <a:defRPr sz="1100" b="1">
                <a:solidFill>
                  <a:schemeClr val="bg2"/>
                </a:solidFill>
              </a:defRPr>
            </a:lvl1pPr>
          </a:lstStyle>
          <a:p>
            <a:pPr lvl="0"/>
            <a:r>
              <a:rPr lang="en-US"/>
              <a:t>Sources:</a:t>
            </a:r>
            <a:endParaRPr lang="en-NL"/>
          </a:p>
        </p:txBody>
      </p:sp>
      <p:sp>
        <p:nvSpPr>
          <p:cNvPr id="12" name="Text Placeholder 11">
            <a:extLst>
              <a:ext uri="{FF2B5EF4-FFF2-40B4-BE49-F238E27FC236}">
                <a16:creationId xmlns:a16="http://schemas.microsoft.com/office/drawing/2014/main" id="{169A0C37-DA7D-87B7-7E33-6413ACAA4F5C}"/>
              </a:ext>
            </a:extLst>
          </p:cNvPr>
          <p:cNvSpPr>
            <a:spLocks noGrp="1"/>
          </p:cNvSpPr>
          <p:nvPr>
            <p:ph type="body" sz="quarter" idx="81" hasCustomPrompt="1"/>
          </p:nvPr>
        </p:nvSpPr>
        <p:spPr>
          <a:xfrm>
            <a:off x="1152000" y="6109200"/>
            <a:ext cx="8704216" cy="440904"/>
          </a:xfrm>
        </p:spPr>
        <p:txBody>
          <a:bodyPr/>
          <a:lstStyle>
            <a:lvl1pPr marL="0" indent="0">
              <a:buFontTx/>
              <a:buNone/>
              <a:defRPr sz="1100"/>
            </a:lvl1pPr>
          </a:lstStyle>
          <a:p>
            <a:pPr lvl="0"/>
            <a:r>
              <a:rPr lang="en-US"/>
              <a:t>Innova Database (click to edit)</a:t>
            </a:r>
            <a:endParaRPr lang="en-NL"/>
          </a:p>
        </p:txBody>
      </p:sp>
      <p:sp>
        <p:nvSpPr>
          <p:cNvPr id="9" name="Text Placeholder 6">
            <a:extLst>
              <a:ext uri="{FF2B5EF4-FFF2-40B4-BE49-F238E27FC236}">
                <a16:creationId xmlns:a16="http://schemas.microsoft.com/office/drawing/2014/main" id="{4A23747A-7FDB-15E0-DAF6-E6806A992148}"/>
              </a:ext>
            </a:extLst>
          </p:cNvPr>
          <p:cNvSpPr>
            <a:spLocks noGrp="1"/>
          </p:cNvSpPr>
          <p:nvPr>
            <p:ph type="body" sz="quarter" idx="83" hasCustomPrompt="1"/>
          </p:nvPr>
        </p:nvSpPr>
        <p:spPr>
          <a:xfrm>
            <a:off x="1364105" y="1489322"/>
            <a:ext cx="6361495" cy="360362"/>
          </a:xfrm>
          <a:noFill/>
        </p:spPr>
        <p:txBody>
          <a:bodyPr/>
          <a:lstStyle>
            <a:lvl1pPr marL="0" indent="0">
              <a:buFontTx/>
              <a:buNone/>
              <a:defRPr sz="11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marL="0" marR="0" lvl="0" indent="0" algn="l" defTabSz="914400" rtl="0" eaLnBrk="1" fontAlgn="auto" latinLnBrk="0" hangingPunct="1">
              <a:lnSpc>
                <a:spcPct val="100000"/>
              </a:lnSpc>
              <a:spcBef>
                <a:spcPts val="600"/>
              </a:spcBef>
              <a:spcAft>
                <a:spcPts val="0"/>
              </a:spcAft>
              <a:buClr>
                <a:schemeClr val="tx2"/>
              </a:buClr>
              <a:buSzTx/>
              <a:buFont typeface="Arial" panose="020B0604020202020204" pitchFamily="34" charset="0"/>
              <a:buNone/>
              <a:tabLst/>
              <a:defRPr/>
            </a:pPr>
            <a:r>
              <a:rPr lang="en-US"/>
              <a:t> Chart title goes here (do not add an extra title to the chart below)</a:t>
            </a:r>
          </a:p>
        </p:txBody>
      </p:sp>
      <p:sp>
        <p:nvSpPr>
          <p:cNvPr id="10" name="Text Placeholder 6">
            <a:extLst>
              <a:ext uri="{FF2B5EF4-FFF2-40B4-BE49-F238E27FC236}">
                <a16:creationId xmlns:a16="http://schemas.microsoft.com/office/drawing/2014/main" id="{E78B86C7-CFE9-701C-C877-7F94BFFC0647}"/>
              </a:ext>
            </a:extLst>
          </p:cNvPr>
          <p:cNvSpPr>
            <a:spLocks noGrp="1"/>
          </p:cNvSpPr>
          <p:nvPr>
            <p:ph type="body" sz="quarter" idx="84" hasCustomPrompt="1"/>
          </p:nvPr>
        </p:nvSpPr>
        <p:spPr>
          <a:xfrm>
            <a:off x="524654" y="1489322"/>
            <a:ext cx="779490" cy="360362"/>
          </a:xfrm>
          <a:noFill/>
        </p:spPr>
        <p:txBody>
          <a:bodyPr/>
          <a:lstStyle>
            <a:lvl1pPr marL="0" indent="0">
              <a:buFontTx/>
              <a:buNone/>
              <a:defRPr sz="1100"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Figure:</a:t>
            </a:r>
            <a:endParaRPr lang="en-IN"/>
          </a:p>
        </p:txBody>
      </p:sp>
    </p:spTree>
    <p:extLst>
      <p:ext uri="{BB962C8B-B14F-4D97-AF65-F5344CB8AC3E}">
        <p14:creationId xmlns:p14="http://schemas.microsoft.com/office/powerpoint/2010/main" val="2964858080"/>
      </p:ext>
    </p:extLst>
  </p:cSld>
  <p:clrMapOvr>
    <a:masterClrMapping/>
  </p:clrMapOvr>
  <p:extLst>
    <p:ext uri="{DCECCB84-F9BA-43D5-87BE-67443E8EF086}">
      <p15:sldGuideLst xmlns:p15="http://schemas.microsoft.com/office/powerpoint/2012/main"/>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2 Chart and 2 Content">
    <p:spTree>
      <p:nvGrpSpPr>
        <p:cNvPr id="1" name=""/>
        <p:cNvGrpSpPr/>
        <p:nvPr/>
      </p:nvGrpSpPr>
      <p:grpSpPr>
        <a:xfrm>
          <a:off x="0" y="0"/>
          <a:ext cx="0" cy="0"/>
          <a:chOff x="0" y="0"/>
          <a:chExt cx="0" cy="0"/>
        </a:xfrm>
      </p:grpSpPr>
      <p:sp>
        <p:nvSpPr>
          <p:cNvPr id="3" name="Chart Placeholder 2">
            <a:extLst>
              <a:ext uri="{FF2B5EF4-FFF2-40B4-BE49-F238E27FC236}">
                <a16:creationId xmlns:a16="http://schemas.microsoft.com/office/drawing/2014/main" id="{C94CF9B6-3827-4D35-5865-E32D3C5C81FB}"/>
              </a:ext>
            </a:extLst>
          </p:cNvPr>
          <p:cNvSpPr>
            <a:spLocks noGrp="1"/>
          </p:cNvSpPr>
          <p:nvPr>
            <p:ph type="chart" sz="quarter" idx="18" hasCustomPrompt="1"/>
          </p:nvPr>
        </p:nvSpPr>
        <p:spPr>
          <a:xfrm>
            <a:off x="6292800" y="1497600"/>
            <a:ext cx="5400000" cy="3240000"/>
          </a:xfrm>
          <a:solidFill>
            <a:srgbClr val="F2F2F2"/>
          </a:solidFill>
        </p:spPr>
        <p:txBody>
          <a:bodyPr anchor="ctr" anchorCtr="0">
            <a:noAutofit/>
          </a:bodyPr>
          <a:lstStyle>
            <a:lvl1pPr marL="0" indent="0" algn="ctr">
              <a:buNone/>
              <a:defRPr sz="1200">
                <a:latin typeface="Arial" panose="020B0604020202020204" pitchFamily="34" charset="0"/>
                <a:cs typeface="Arial" panose="020B0604020202020204" pitchFamily="34" charset="0"/>
              </a:defRPr>
            </a:lvl1pPr>
          </a:lstStyle>
          <a:p>
            <a:pPr lvl="0"/>
            <a:r>
              <a:rPr lang="en-US"/>
              <a:t>Pick a chart / table from the </a:t>
            </a:r>
            <a:r>
              <a:rPr lang="en-US" err="1"/>
              <a:t>chart.ppt</a:t>
            </a:r>
            <a:r>
              <a:rPr lang="en-US"/>
              <a:t> document.</a:t>
            </a:r>
          </a:p>
          <a:p>
            <a:pPr lvl="0"/>
            <a:r>
              <a:rPr lang="en-US"/>
              <a:t>These have been pre-defined so they have the correct font &amp; color usage.</a:t>
            </a:r>
          </a:p>
          <a:p>
            <a:pPr lvl="0"/>
            <a:r>
              <a:rPr lang="nl-NL"/>
              <a:t>Copy/paste </a:t>
            </a:r>
            <a:r>
              <a:rPr lang="nl-NL" err="1"/>
              <a:t>it</a:t>
            </a:r>
            <a:r>
              <a:rPr lang="nl-NL"/>
              <a:t> </a:t>
            </a:r>
            <a:r>
              <a:rPr lang="nl-NL" err="1"/>
              <a:t>into</a:t>
            </a:r>
            <a:r>
              <a:rPr lang="nl-NL"/>
              <a:t> </a:t>
            </a:r>
            <a:r>
              <a:rPr lang="nl-NL" err="1"/>
              <a:t>this</a:t>
            </a:r>
            <a:r>
              <a:rPr lang="nl-NL"/>
              <a:t> document.</a:t>
            </a:r>
          </a:p>
          <a:p>
            <a:pPr lvl="0"/>
            <a:r>
              <a:rPr lang="nl-NL"/>
              <a:t>Make </a:t>
            </a:r>
            <a:r>
              <a:rPr lang="nl-NL" err="1"/>
              <a:t>sure</a:t>
            </a:r>
            <a:r>
              <a:rPr lang="nl-NL"/>
              <a:t> </a:t>
            </a:r>
            <a:r>
              <a:rPr lang="nl-NL" err="1"/>
              <a:t>it</a:t>
            </a:r>
            <a:r>
              <a:rPr lang="nl-NL"/>
              <a:t> fits (</a:t>
            </a:r>
            <a:r>
              <a:rPr lang="nl-NL" err="1"/>
              <a:t>exactly</a:t>
            </a:r>
            <a:r>
              <a:rPr lang="nl-NL"/>
              <a:t>) </a:t>
            </a:r>
            <a:r>
              <a:rPr lang="nl-NL" err="1"/>
              <a:t>within</a:t>
            </a:r>
            <a:r>
              <a:rPr lang="nl-NL"/>
              <a:t> </a:t>
            </a:r>
            <a:r>
              <a:rPr lang="nl-NL" err="1"/>
              <a:t>the</a:t>
            </a:r>
            <a:r>
              <a:rPr lang="nl-NL"/>
              <a:t> </a:t>
            </a:r>
            <a:r>
              <a:rPr lang="nl-NL" err="1"/>
              <a:t>grey</a:t>
            </a:r>
            <a:r>
              <a:rPr lang="nl-NL"/>
              <a:t> area, </a:t>
            </a:r>
            <a:r>
              <a:rPr lang="nl-NL" err="1"/>
              <a:t>just</a:t>
            </a:r>
            <a:r>
              <a:rPr lang="nl-NL"/>
              <a:t> </a:t>
            </a:r>
            <a:r>
              <a:rPr lang="nl-NL" err="1"/>
              <a:t>resize</a:t>
            </a:r>
            <a:r>
              <a:rPr lang="nl-NL"/>
              <a:t> </a:t>
            </a:r>
            <a:r>
              <a:rPr lang="nl-NL" err="1"/>
              <a:t>the</a:t>
            </a:r>
            <a:r>
              <a:rPr lang="nl-NL"/>
              <a:t> </a:t>
            </a:r>
            <a:r>
              <a:rPr lang="nl-NL" err="1"/>
              <a:t>outer</a:t>
            </a:r>
            <a:r>
              <a:rPr lang="nl-NL"/>
              <a:t> </a:t>
            </a:r>
            <a:r>
              <a:rPr lang="nl-NL" err="1"/>
              <a:t>edges</a:t>
            </a:r>
            <a:r>
              <a:rPr lang="nl-NL"/>
              <a:t> of </a:t>
            </a:r>
            <a:r>
              <a:rPr lang="nl-NL" err="1"/>
              <a:t>the</a:t>
            </a:r>
            <a:r>
              <a:rPr lang="nl-NL"/>
              <a:t> </a:t>
            </a:r>
            <a:r>
              <a:rPr lang="nl-NL" err="1"/>
              <a:t>chart</a:t>
            </a:r>
            <a:r>
              <a:rPr lang="nl-NL"/>
              <a:t>/</a:t>
            </a:r>
            <a:r>
              <a:rPr lang="nl-NL" err="1"/>
              <a:t>table</a:t>
            </a:r>
            <a:r>
              <a:rPr lang="nl-NL"/>
              <a:t> </a:t>
            </a:r>
            <a:r>
              <a:rPr lang="nl-NL" err="1"/>
              <a:t>to</a:t>
            </a:r>
            <a:r>
              <a:rPr lang="nl-NL"/>
              <a:t> fit.</a:t>
            </a:r>
          </a:p>
          <a:p>
            <a:pPr lvl="0"/>
            <a:r>
              <a:rPr lang="nl-NL" err="1"/>
              <a:t>Once</a:t>
            </a:r>
            <a:r>
              <a:rPr lang="nl-NL"/>
              <a:t> </a:t>
            </a:r>
            <a:r>
              <a:rPr lang="nl-NL" err="1"/>
              <a:t>applied</a:t>
            </a:r>
            <a:r>
              <a:rPr lang="nl-NL"/>
              <a:t>, move </a:t>
            </a:r>
            <a:r>
              <a:rPr lang="nl-NL" err="1"/>
              <a:t>the</a:t>
            </a:r>
            <a:r>
              <a:rPr lang="nl-NL"/>
              <a:t> </a:t>
            </a:r>
            <a:r>
              <a:rPr lang="nl-NL" err="1"/>
              <a:t>chart</a:t>
            </a:r>
            <a:r>
              <a:rPr lang="nl-NL"/>
              <a:t> </a:t>
            </a:r>
            <a:r>
              <a:rPr lang="nl-NL" err="1"/>
              <a:t>to</a:t>
            </a:r>
            <a:r>
              <a:rPr lang="nl-NL"/>
              <a:t> </a:t>
            </a:r>
            <a:r>
              <a:rPr lang="nl-NL" err="1"/>
              <a:t>the</a:t>
            </a:r>
            <a:r>
              <a:rPr lang="nl-NL"/>
              <a:t> side </a:t>
            </a:r>
            <a:r>
              <a:rPr lang="nl-NL" err="1"/>
              <a:t>and</a:t>
            </a:r>
            <a:r>
              <a:rPr lang="nl-NL"/>
              <a:t> make </a:t>
            </a:r>
            <a:r>
              <a:rPr lang="nl-NL" err="1"/>
              <a:t>this</a:t>
            </a:r>
            <a:r>
              <a:rPr lang="nl-NL"/>
              <a:t> box </a:t>
            </a:r>
            <a:r>
              <a:rPr lang="nl-NL" err="1"/>
              <a:t>white</a:t>
            </a:r>
            <a:r>
              <a:rPr lang="nl-NL"/>
              <a:t> </a:t>
            </a:r>
            <a:r>
              <a:rPr lang="nl-NL" err="1"/>
              <a:t>so</a:t>
            </a:r>
            <a:r>
              <a:rPr lang="nl-NL"/>
              <a:t> </a:t>
            </a:r>
            <a:r>
              <a:rPr lang="nl-NL" err="1"/>
              <a:t>you</a:t>
            </a:r>
            <a:r>
              <a:rPr lang="nl-NL"/>
              <a:t> </a:t>
            </a:r>
            <a:r>
              <a:rPr lang="nl-NL" err="1"/>
              <a:t>don’t</a:t>
            </a:r>
            <a:r>
              <a:rPr lang="nl-NL"/>
              <a:t> </a:t>
            </a:r>
            <a:r>
              <a:rPr lang="nl-NL" err="1"/>
              <a:t>see</a:t>
            </a:r>
            <a:r>
              <a:rPr lang="nl-NL"/>
              <a:t> </a:t>
            </a:r>
            <a:r>
              <a:rPr lang="nl-NL" err="1"/>
              <a:t>it</a:t>
            </a:r>
            <a:r>
              <a:rPr lang="nl-NL"/>
              <a:t> </a:t>
            </a:r>
            <a:r>
              <a:rPr lang="nl-NL" err="1"/>
              <a:t>anymore</a:t>
            </a:r>
            <a:r>
              <a:rPr lang="nl-NL"/>
              <a:t>.</a:t>
            </a:r>
            <a:endParaRPr lang="en-US"/>
          </a:p>
        </p:txBody>
      </p:sp>
      <p:sp>
        <p:nvSpPr>
          <p:cNvPr id="14" name="Content Placeholder 2">
            <a:extLst>
              <a:ext uri="{FF2B5EF4-FFF2-40B4-BE49-F238E27FC236}">
                <a16:creationId xmlns:a16="http://schemas.microsoft.com/office/drawing/2014/main" id="{8B02394D-5980-0A2A-9162-64D08BBD5C1C}"/>
              </a:ext>
            </a:extLst>
          </p:cNvPr>
          <p:cNvSpPr>
            <a:spLocks noGrp="1"/>
          </p:cNvSpPr>
          <p:nvPr>
            <p:ph idx="52"/>
          </p:nvPr>
        </p:nvSpPr>
        <p:spPr>
          <a:xfrm>
            <a:off x="6292800" y="5126400"/>
            <a:ext cx="5400000" cy="748743"/>
          </a:xfrm>
        </p:spPr>
        <p:txBody>
          <a:bodyPr vert="horz" lIns="0" tIns="46800" rIns="0" bIns="0" rtlCol="0">
            <a:noAutofit/>
          </a:bodyPr>
          <a:lstStyle>
            <a:lvl1pPr>
              <a:defRPr lang="en-US" dirty="0"/>
            </a:lvl1pPr>
          </a:lstStyle>
          <a:p>
            <a:pPr lvl="0"/>
            <a:r>
              <a:rPr lang="en-US"/>
              <a:t>Click to edit</a:t>
            </a:r>
          </a:p>
        </p:txBody>
      </p:sp>
      <p:sp>
        <p:nvSpPr>
          <p:cNvPr id="8" name="Chart Placeholder 1">
            <a:extLst>
              <a:ext uri="{FF2B5EF4-FFF2-40B4-BE49-F238E27FC236}">
                <a16:creationId xmlns:a16="http://schemas.microsoft.com/office/drawing/2014/main" id="{003A30D7-BC0E-C897-3D0F-8201B7253E73}"/>
              </a:ext>
            </a:extLst>
          </p:cNvPr>
          <p:cNvSpPr>
            <a:spLocks noGrp="1"/>
          </p:cNvSpPr>
          <p:nvPr>
            <p:ph type="chart" sz="quarter" idx="13" hasCustomPrompt="1"/>
          </p:nvPr>
        </p:nvSpPr>
        <p:spPr>
          <a:xfrm>
            <a:off x="524655" y="1498536"/>
            <a:ext cx="5400000" cy="3240000"/>
          </a:xfrm>
          <a:solidFill>
            <a:srgbClr val="F2F2F2"/>
          </a:solidFill>
        </p:spPr>
        <p:txBody>
          <a:bodyPr anchor="ctr" anchorCtr="0">
            <a:noAutofit/>
          </a:bodyPr>
          <a:lstStyle>
            <a:lvl1pPr marL="0" indent="0" algn="ctr">
              <a:buNone/>
              <a:defRPr sz="1200">
                <a:latin typeface="Arial" panose="020B0604020202020204" pitchFamily="34" charset="0"/>
                <a:cs typeface="Arial" panose="020B0604020202020204" pitchFamily="34" charset="0"/>
              </a:defRPr>
            </a:lvl1pPr>
          </a:lstStyle>
          <a:p>
            <a:pPr lvl="0"/>
            <a:r>
              <a:rPr lang="en-US"/>
              <a:t>Pick a chart / table from the </a:t>
            </a:r>
            <a:r>
              <a:rPr lang="en-US" err="1"/>
              <a:t>chart.ppt</a:t>
            </a:r>
            <a:r>
              <a:rPr lang="en-US"/>
              <a:t> document.</a:t>
            </a:r>
          </a:p>
          <a:p>
            <a:pPr lvl="0"/>
            <a:r>
              <a:rPr lang="en-US"/>
              <a:t>These have been pre-defined so they have the correct font &amp; color usage.</a:t>
            </a:r>
          </a:p>
          <a:p>
            <a:pPr lvl="0"/>
            <a:r>
              <a:rPr lang="nl-NL"/>
              <a:t>Copy/paste </a:t>
            </a:r>
            <a:r>
              <a:rPr lang="nl-NL" err="1"/>
              <a:t>it</a:t>
            </a:r>
            <a:r>
              <a:rPr lang="nl-NL"/>
              <a:t> </a:t>
            </a:r>
            <a:r>
              <a:rPr lang="nl-NL" err="1"/>
              <a:t>into</a:t>
            </a:r>
            <a:r>
              <a:rPr lang="nl-NL"/>
              <a:t> </a:t>
            </a:r>
            <a:r>
              <a:rPr lang="nl-NL" err="1"/>
              <a:t>this</a:t>
            </a:r>
            <a:r>
              <a:rPr lang="nl-NL"/>
              <a:t> document.</a:t>
            </a:r>
          </a:p>
          <a:p>
            <a:pPr lvl="0"/>
            <a:r>
              <a:rPr lang="nl-NL"/>
              <a:t>Make </a:t>
            </a:r>
            <a:r>
              <a:rPr lang="nl-NL" err="1"/>
              <a:t>sure</a:t>
            </a:r>
            <a:r>
              <a:rPr lang="nl-NL"/>
              <a:t> </a:t>
            </a:r>
            <a:r>
              <a:rPr lang="nl-NL" err="1"/>
              <a:t>it</a:t>
            </a:r>
            <a:r>
              <a:rPr lang="nl-NL"/>
              <a:t> fits (</a:t>
            </a:r>
            <a:r>
              <a:rPr lang="nl-NL" err="1"/>
              <a:t>exactly</a:t>
            </a:r>
            <a:r>
              <a:rPr lang="nl-NL"/>
              <a:t>) </a:t>
            </a:r>
            <a:r>
              <a:rPr lang="nl-NL" err="1"/>
              <a:t>within</a:t>
            </a:r>
            <a:r>
              <a:rPr lang="nl-NL"/>
              <a:t> </a:t>
            </a:r>
            <a:r>
              <a:rPr lang="nl-NL" err="1"/>
              <a:t>the</a:t>
            </a:r>
            <a:r>
              <a:rPr lang="nl-NL"/>
              <a:t> </a:t>
            </a:r>
            <a:r>
              <a:rPr lang="nl-NL" err="1"/>
              <a:t>grey</a:t>
            </a:r>
            <a:r>
              <a:rPr lang="nl-NL"/>
              <a:t> area, </a:t>
            </a:r>
            <a:r>
              <a:rPr lang="nl-NL" err="1"/>
              <a:t>just</a:t>
            </a:r>
            <a:r>
              <a:rPr lang="nl-NL"/>
              <a:t> </a:t>
            </a:r>
            <a:r>
              <a:rPr lang="nl-NL" err="1"/>
              <a:t>resize</a:t>
            </a:r>
            <a:r>
              <a:rPr lang="nl-NL"/>
              <a:t> </a:t>
            </a:r>
            <a:r>
              <a:rPr lang="nl-NL" err="1"/>
              <a:t>the</a:t>
            </a:r>
            <a:r>
              <a:rPr lang="nl-NL"/>
              <a:t> </a:t>
            </a:r>
            <a:r>
              <a:rPr lang="nl-NL" err="1"/>
              <a:t>outer</a:t>
            </a:r>
            <a:r>
              <a:rPr lang="nl-NL"/>
              <a:t> </a:t>
            </a:r>
            <a:r>
              <a:rPr lang="nl-NL" err="1"/>
              <a:t>edges</a:t>
            </a:r>
            <a:r>
              <a:rPr lang="nl-NL"/>
              <a:t> of </a:t>
            </a:r>
            <a:r>
              <a:rPr lang="nl-NL" err="1"/>
              <a:t>the</a:t>
            </a:r>
            <a:r>
              <a:rPr lang="nl-NL"/>
              <a:t> </a:t>
            </a:r>
            <a:r>
              <a:rPr lang="nl-NL" err="1"/>
              <a:t>chart</a:t>
            </a:r>
            <a:r>
              <a:rPr lang="nl-NL"/>
              <a:t>/</a:t>
            </a:r>
            <a:r>
              <a:rPr lang="nl-NL" err="1"/>
              <a:t>table</a:t>
            </a:r>
            <a:r>
              <a:rPr lang="nl-NL"/>
              <a:t> </a:t>
            </a:r>
            <a:r>
              <a:rPr lang="nl-NL" err="1"/>
              <a:t>to</a:t>
            </a:r>
            <a:r>
              <a:rPr lang="nl-NL"/>
              <a:t> fit.</a:t>
            </a:r>
          </a:p>
          <a:p>
            <a:pPr lvl="0"/>
            <a:r>
              <a:rPr lang="nl-NL" err="1"/>
              <a:t>Once</a:t>
            </a:r>
            <a:r>
              <a:rPr lang="nl-NL"/>
              <a:t> </a:t>
            </a:r>
            <a:r>
              <a:rPr lang="nl-NL" err="1"/>
              <a:t>applied</a:t>
            </a:r>
            <a:r>
              <a:rPr lang="nl-NL"/>
              <a:t>, move </a:t>
            </a:r>
            <a:r>
              <a:rPr lang="nl-NL" err="1"/>
              <a:t>the</a:t>
            </a:r>
            <a:r>
              <a:rPr lang="nl-NL"/>
              <a:t> </a:t>
            </a:r>
            <a:r>
              <a:rPr lang="nl-NL" err="1"/>
              <a:t>chart</a:t>
            </a:r>
            <a:r>
              <a:rPr lang="nl-NL"/>
              <a:t> </a:t>
            </a:r>
            <a:r>
              <a:rPr lang="nl-NL" err="1"/>
              <a:t>to</a:t>
            </a:r>
            <a:r>
              <a:rPr lang="nl-NL"/>
              <a:t> </a:t>
            </a:r>
            <a:r>
              <a:rPr lang="nl-NL" err="1"/>
              <a:t>the</a:t>
            </a:r>
            <a:r>
              <a:rPr lang="nl-NL"/>
              <a:t> side </a:t>
            </a:r>
            <a:r>
              <a:rPr lang="nl-NL" err="1"/>
              <a:t>and</a:t>
            </a:r>
            <a:r>
              <a:rPr lang="nl-NL"/>
              <a:t> make </a:t>
            </a:r>
            <a:r>
              <a:rPr lang="nl-NL" err="1"/>
              <a:t>this</a:t>
            </a:r>
            <a:r>
              <a:rPr lang="nl-NL"/>
              <a:t> box </a:t>
            </a:r>
            <a:r>
              <a:rPr lang="nl-NL" err="1"/>
              <a:t>white</a:t>
            </a:r>
            <a:r>
              <a:rPr lang="nl-NL"/>
              <a:t> </a:t>
            </a:r>
            <a:r>
              <a:rPr lang="nl-NL" err="1"/>
              <a:t>so</a:t>
            </a:r>
            <a:r>
              <a:rPr lang="nl-NL"/>
              <a:t> </a:t>
            </a:r>
            <a:r>
              <a:rPr lang="nl-NL" err="1"/>
              <a:t>you</a:t>
            </a:r>
            <a:r>
              <a:rPr lang="nl-NL"/>
              <a:t> </a:t>
            </a:r>
            <a:r>
              <a:rPr lang="nl-NL" err="1"/>
              <a:t>don’t</a:t>
            </a:r>
            <a:r>
              <a:rPr lang="nl-NL"/>
              <a:t> </a:t>
            </a:r>
            <a:r>
              <a:rPr lang="nl-NL" err="1"/>
              <a:t>see</a:t>
            </a:r>
            <a:r>
              <a:rPr lang="nl-NL"/>
              <a:t> </a:t>
            </a:r>
            <a:r>
              <a:rPr lang="nl-NL" err="1"/>
              <a:t>it</a:t>
            </a:r>
            <a:r>
              <a:rPr lang="nl-NL"/>
              <a:t> </a:t>
            </a:r>
            <a:r>
              <a:rPr lang="nl-NL" err="1"/>
              <a:t>anymore</a:t>
            </a:r>
            <a:r>
              <a:rPr lang="nl-NL"/>
              <a:t>.</a:t>
            </a:r>
            <a:endParaRPr lang="en-US"/>
          </a:p>
        </p:txBody>
      </p:sp>
      <p:sp>
        <p:nvSpPr>
          <p:cNvPr id="12" name="Content Placeholder 1">
            <a:extLst>
              <a:ext uri="{FF2B5EF4-FFF2-40B4-BE49-F238E27FC236}">
                <a16:creationId xmlns:a16="http://schemas.microsoft.com/office/drawing/2014/main" id="{E46227CF-348B-818A-986C-0B8ED7D56403}"/>
              </a:ext>
            </a:extLst>
          </p:cNvPr>
          <p:cNvSpPr>
            <a:spLocks noGrp="1"/>
          </p:cNvSpPr>
          <p:nvPr>
            <p:ph idx="51"/>
          </p:nvPr>
        </p:nvSpPr>
        <p:spPr>
          <a:xfrm>
            <a:off x="524655" y="5128181"/>
            <a:ext cx="5400000" cy="748743"/>
          </a:xfrm>
        </p:spPr>
        <p:txBody>
          <a:bodyPr vert="horz" lIns="0" tIns="46800" rIns="0" bIns="0" rtlCol="0">
            <a:noAutofit/>
          </a:bodyPr>
          <a:lstStyle>
            <a:lvl1pPr marL="171450" indent="-171450">
              <a:buFont typeface="Arial" panose="020B0604020202020204" pitchFamily="34" charset="0"/>
              <a:buChar char="•"/>
              <a:defRPr lang="en-US" dirty="0"/>
            </a:lvl1pPr>
          </a:lstStyle>
          <a:p>
            <a:pPr lvl="0"/>
            <a:r>
              <a:rPr lang="en-US"/>
              <a:t>Click to edit</a:t>
            </a:r>
          </a:p>
        </p:txBody>
      </p:sp>
      <p:sp>
        <p:nvSpPr>
          <p:cNvPr id="5" name="Title">
            <a:extLst>
              <a:ext uri="{FF2B5EF4-FFF2-40B4-BE49-F238E27FC236}">
                <a16:creationId xmlns:a16="http://schemas.microsoft.com/office/drawing/2014/main" id="{BE4AFF37-9413-2A9F-5CF3-A218AF33FAC9}"/>
              </a:ext>
            </a:extLst>
          </p:cNvPr>
          <p:cNvSpPr>
            <a:spLocks noGrp="1"/>
          </p:cNvSpPr>
          <p:nvPr>
            <p:ph type="title"/>
          </p:nvPr>
        </p:nvSpPr>
        <p:spPr/>
        <p:txBody>
          <a:bodyPr/>
          <a:lstStyle/>
          <a:p>
            <a:r>
              <a:rPr lang="en-US"/>
              <a:t>Click to edit Master title style</a:t>
            </a:r>
            <a:endParaRPr lang="en-NL"/>
          </a:p>
        </p:txBody>
      </p:sp>
      <p:sp>
        <p:nvSpPr>
          <p:cNvPr id="4" name="Slide Number Placeholder">
            <a:extLst>
              <a:ext uri="{FF2B5EF4-FFF2-40B4-BE49-F238E27FC236}">
                <a16:creationId xmlns:a16="http://schemas.microsoft.com/office/drawing/2014/main" id="{70A2DDCA-FAFD-ACB4-1FD7-D9141AF71F0D}"/>
              </a:ext>
            </a:extLst>
          </p:cNvPr>
          <p:cNvSpPr>
            <a:spLocks noGrp="1"/>
          </p:cNvSpPr>
          <p:nvPr>
            <p:ph type="sldNum" sz="quarter" idx="12"/>
          </p:nvPr>
        </p:nvSpPr>
        <p:spPr>
          <a:xfrm>
            <a:off x="11319511" y="6120028"/>
            <a:ext cx="350031" cy="360000"/>
          </a:xfrm>
          <a:prstGeom prst="rect">
            <a:avLst/>
          </a:prstGeom>
        </p:spPr>
        <p:txBody>
          <a:bodyPr lIns="0" tIns="0" rIns="0" bIns="0" anchor="ctr"/>
          <a:lstStyle>
            <a:lvl1pPr algn="r">
              <a:defRPr sz="1100">
                <a:solidFill>
                  <a:schemeClr val="bg2"/>
                </a:solidFill>
              </a:defRPr>
            </a:lvl1pPr>
          </a:lstStyle>
          <a:p>
            <a:fld id="{D0281C21-EE02-42A0-BCF6-67BEF936A35A}" type="slidenum">
              <a:rPr lang="en-IN" smtClean="0"/>
              <a:pPr/>
              <a:t>‹#›</a:t>
            </a:fld>
            <a:endParaRPr lang="en-IN"/>
          </a:p>
        </p:txBody>
      </p:sp>
      <p:sp>
        <p:nvSpPr>
          <p:cNvPr id="6" name="Text Placeholder 5">
            <a:extLst>
              <a:ext uri="{FF2B5EF4-FFF2-40B4-BE49-F238E27FC236}">
                <a16:creationId xmlns:a16="http://schemas.microsoft.com/office/drawing/2014/main" id="{A3F9A4C6-D68E-9674-295E-AE3C26D93235}"/>
              </a:ext>
            </a:extLst>
          </p:cNvPr>
          <p:cNvSpPr>
            <a:spLocks noGrp="1"/>
          </p:cNvSpPr>
          <p:nvPr>
            <p:ph type="body" sz="quarter" idx="80" hasCustomPrompt="1"/>
          </p:nvPr>
        </p:nvSpPr>
        <p:spPr>
          <a:xfrm>
            <a:off x="525600" y="6109200"/>
            <a:ext cx="720000" cy="554400"/>
          </a:xfrm>
        </p:spPr>
        <p:txBody>
          <a:bodyPr/>
          <a:lstStyle>
            <a:lvl1pPr marL="0" indent="0">
              <a:buFontTx/>
              <a:buNone/>
              <a:defRPr sz="1100" b="1">
                <a:solidFill>
                  <a:schemeClr val="bg2"/>
                </a:solidFill>
              </a:defRPr>
            </a:lvl1pPr>
          </a:lstStyle>
          <a:p>
            <a:pPr lvl="0"/>
            <a:r>
              <a:rPr lang="en-US"/>
              <a:t>Sources:</a:t>
            </a:r>
            <a:endParaRPr lang="en-NL"/>
          </a:p>
        </p:txBody>
      </p:sp>
      <p:sp>
        <p:nvSpPr>
          <p:cNvPr id="13" name="Text Placeholder 11">
            <a:extLst>
              <a:ext uri="{FF2B5EF4-FFF2-40B4-BE49-F238E27FC236}">
                <a16:creationId xmlns:a16="http://schemas.microsoft.com/office/drawing/2014/main" id="{D831E7DA-31B6-A40A-95A0-BBB6D5048CBA}"/>
              </a:ext>
            </a:extLst>
          </p:cNvPr>
          <p:cNvSpPr>
            <a:spLocks noGrp="1"/>
          </p:cNvSpPr>
          <p:nvPr>
            <p:ph type="body" sz="quarter" idx="81" hasCustomPrompt="1"/>
          </p:nvPr>
        </p:nvSpPr>
        <p:spPr>
          <a:xfrm>
            <a:off x="1152000" y="6109200"/>
            <a:ext cx="8704216" cy="440904"/>
          </a:xfrm>
        </p:spPr>
        <p:txBody>
          <a:bodyPr/>
          <a:lstStyle>
            <a:lvl1pPr marL="0" indent="0">
              <a:buFontTx/>
              <a:buNone/>
              <a:defRPr sz="1100"/>
            </a:lvl1pPr>
          </a:lstStyle>
          <a:p>
            <a:pPr lvl="0"/>
            <a:r>
              <a:rPr lang="en-US"/>
              <a:t>Innova Database (click to edit)</a:t>
            </a:r>
            <a:endParaRPr lang="en-NL"/>
          </a:p>
        </p:txBody>
      </p:sp>
      <p:sp>
        <p:nvSpPr>
          <p:cNvPr id="11" name="Text Placeholder 6">
            <a:extLst>
              <a:ext uri="{FF2B5EF4-FFF2-40B4-BE49-F238E27FC236}">
                <a16:creationId xmlns:a16="http://schemas.microsoft.com/office/drawing/2014/main" id="{31B20036-BA11-D60F-0D62-BCC700ED0F11}"/>
              </a:ext>
            </a:extLst>
          </p:cNvPr>
          <p:cNvSpPr>
            <a:spLocks noGrp="1"/>
          </p:cNvSpPr>
          <p:nvPr>
            <p:ph type="body" sz="quarter" idx="83" hasCustomPrompt="1"/>
          </p:nvPr>
        </p:nvSpPr>
        <p:spPr>
          <a:xfrm>
            <a:off x="1364106" y="1090225"/>
            <a:ext cx="4560550" cy="360362"/>
          </a:xfrm>
          <a:noFill/>
        </p:spPr>
        <p:txBody>
          <a:bodyPr/>
          <a:lstStyle>
            <a:lvl1pPr marL="0" indent="0">
              <a:buFontTx/>
              <a:buNone/>
              <a:defRPr sz="11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marL="0" marR="0" lvl="0" indent="0" algn="l" defTabSz="914400" rtl="0" eaLnBrk="1" fontAlgn="auto" latinLnBrk="0" hangingPunct="1">
              <a:lnSpc>
                <a:spcPct val="100000"/>
              </a:lnSpc>
              <a:spcBef>
                <a:spcPts val="600"/>
              </a:spcBef>
              <a:spcAft>
                <a:spcPts val="0"/>
              </a:spcAft>
              <a:buClr>
                <a:schemeClr val="tx2"/>
              </a:buClr>
              <a:buSzTx/>
              <a:buFont typeface="Arial" panose="020B0604020202020204" pitchFamily="34" charset="0"/>
              <a:buNone/>
              <a:tabLst/>
              <a:defRPr/>
            </a:pPr>
            <a:r>
              <a:rPr lang="en-US"/>
              <a:t> Chart title goes here (do not add an extra title to the chart below)</a:t>
            </a:r>
          </a:p>
        </p:txBody>
      </p:sp>
      <p:sp>
        <p:nvSpPr>
          <p:cNvPr id="15" name="Text Placeholder 6">
            <a:extLst>
              <a:ext uri="{FF2B5EF4-FFF2-40B4-BE49-F238E27FC236}">
                <a16:creationId xmlns:a16="http://schemas.microsoft.com/office/drawing/2014/main" id="{EA4B1C83-273E-43A0-5A63-A0C9E34711A1}"/>
              </a:ext>
            </a:extLst>
          </p:cNvPr>
          <p:cNvSpPr>
            <a:spLocks noGrp="1"/>
          </p:cNvSpPr>
          <p:nvPr>
            <p:ph type="body" sz="quarter" idx="86" hasCustomPrompt="1"/>
          </p:nvPr>
        </p:nvSpPr>
        <p:spPr>
          <a:xfrm>
            <a:off x="524654" y="1090225"/>
            <a:ext cx="779490" cy="360362"/>
          </a:xfrm>
          <a:noFill/>
        </p:spPr>
        <p:txBody>
          <a:bodyPr/>
          <a:lstStyle>
            <a:lvl1pPr marL="0" indent="0">
              <a:buFontTx/>
              <a:buNone/>
              <a:defRPr sz="1100"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Figure:</a:t>
            </a:r>
            <a:endParaRPr lang="en-IN"/>
          </a:p>
        </p:txBody>
      </p:sp>
      <p:sp>
        <p:nvSpPr>
          <p:cNvPr id="16" name="Text Placeholder 6">
            <a:extLst>
              <a:ext uri="{FF2B5EF4-FFF2-40B4-BE49-F238E27FC236}">
                <a16:creationId xmlns:a16="http://schemas.microsoft.com/office/drawing/2014/main" id="{6A9865CD-CE18-E6EB-090F-F88A41D78557}"/>
              </a:ext>
            </a:extLst>
          </p:cNvPr>
          <p:cNvSpPr>
            <a:spLocks noGrp="1"/>
          </p:cNvSpPr>
          <p:nvPr>
            <p:ph type="body" sz="quarter" idx="87" hasCustomPrompt="1"/>
          </p:nvPr>
        </p:nvSpPr>
        <p:spPr>
          <a:xfrm>
            <a:off x="7106796" y="1090225"/>
            <a:ext cx="4560550" cy="360362"/>
          </a:xfrm>
          <a:noFill/>
        </p:spPr>
        <p:txBody>
          <a:bodyPr/>
          <a:lstStyle>
            <a:lvl1pPr marL="0" indent="0">
              <a:buFontTx/>
              <a:buNone/>
              <a:defRPr sz="11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marL="0" marR="0" lvl="0" indent="0" algn="l" defTabSz="914400" rtl="0" eaLnBrk="1" fontAlgn="auto" latinLnBrk="0" hangingPunct="1">
              <a:lnSpc>
                <a:spcPct val="100000"/>
              </a:lnSpc>
              <a:spcBef>
                <a:spcPts val="600"/>
              </a:spcBef>
              <a:spcAft>
                <a:spcPts val="0"/>
              </a:spcAft>
              <a:buClr>
                <a:schemeClr val="tx2"/>
              </a:buClr>
              <a:buSzTx/>
              <a:buFont typeface="Arial" panose="020B0604020202020204" pitchFamily="34" charset="0"/>
              <a:buNone/>
              <a:tabLst/>
              <a:defRPr/>
            </a:pPr>
            <a:r>
              <a:rPr lang="en-US"/>
              <a:t> Chart title goes here (do not add an extra title to the chart below)</a:t>
            </a:r>
          </a:p>
        </p:txBody>
      </p:sp>
      <p:sp>
        <p:nvSpPr>
          <p:cNvPr id="18" name="Text Placeholder 6">
            <a:extLst>
              <a:ext uri="{FF2B5EF4-FFF2-40B4-BE49-F238E27FC236}">
                <a16:creationId xmlns:a16="http://schemas.microsoft.com/office/drawing/2014/main" id="{81ADE465-5E61-A10D-E0AE-F4723AD3D802}"/>
              </a:ext>
            </a:extLst>
          </p:cNvPr>
          <p:cNvSpPr>
            <a:spLocks noGrp="1"/>
          </p:cNvSpPr>
          <p:nvPr>
            <p:ph type="body" sz="quarter" idx="88" hasCustomPrompt="1"/>
          </p:nvPr>
        </p:nvSpPr>
        <p:spPr>
          <a:xfrm>
            <a:off x="6267344" y="1090225"/>
            <a:ext cx="779490" cy="360362"/>
          </a:xfrm>
          <a:noFill/>
        </p:spPr>
        <p:txBody>
          <a:bodyPr/>
          <a:lstStyle>
            <a:lvl1pPr marL="0" indent="0">
              <a:buFontTx/>
              <a:buNone/>
              <a:defRPr sz="1100"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Figure:</a:t>
            </a:r>
            <a:endParaRPr lang="en-IN"/>
          </a:p>
        </p:txBody>
      </p:sp>
    </p:spTree>
    <p:extLst>
      <p:ext uri="{BB962C8B-B14F-4D97-AF65-F5344CB8AC3E}">
        <p14:creationId xmlns:p14="http://schemas.microsoft.com/office/powerpoint/2010/main" val="2055723351"/>
      </p:ext>
    </p:extLst>
  </p:cSld>
  <p:clrMapOvr>
    <a:masterClrMapping/>
  </p:clrMapOvr>
  <p:extLst>
    <p:ext uri="{DCECCB84-F9BA-43D5-87BE-67443E8EF086}">
      <p15:sldGuideLst xmlns:p15="http://schemas.microsoft.com/office/powerpoint/2012/main">
        <p15:guide id="2" pos="3727">
          <p15:clr>
            <a:srgbClr val="FBAE40"/>
          </p15:clr>
        </p15:guide>
        <p15:guide id="3" pos="3953">
          <p15:clr>
            <a:srgbClr val="FBAE40"/>
          </p15:clr>
        </p15:guide>
        <p15:guide id="4" orient="horz" pos="1616">
          <p15:clr>
            <a:srgbClr val="FBAE4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2 Boxes, 2 Charts">
    <p:spTree>
      <p:nvGrpSpPr>
        <p:cNvPr id="1" name=""/>
        <p:cNvGrpSpPr/>
        <p:nvPr/>
      </p:nvGrpSpPr>
      <p:grpSpPr>
        <a:xfrm>
          <a:off x="0" y="0"/>
          <a:ext cx="0" cy="0"/>
          <a:chOff x="0" y="0"/>
          <a:chExt cx="0" cy="0"/>
        </a:xfrm>
      </p:grpSpPr>
      <p:sp>
        <p:nvSpPr>
          <p:cNvPr id="3" name="Chart Placeholder 2">
            <a:extLst>
              <a:ext uri="{FF2B5EF4-FFF2-40B4-BE49-F238E27FC236}">
                <a16:creationId xmlns:a16="http://schemas.microsoft.com/office/drawing/2014/main" id="{C94CF9B6-3827-4D35-5865-E32D3C5C81FB}"/>
              </a:ext>
            </a:extLst>
          </p:cNvPr>
          <p:cNvSpPr>
            <a:spLocks noGrp="1"/>
          </p:cNvSpPr>
          <p:nvPr>
            <p:ph type="chart" sz="quarter" idx="18" hasCustomPrompt="1"/>
          </p:nvPr>
        </p:nvSpPr>
        <p:spPr>
          <a:xfrm>
            <a:off x="6292800" y="1915200"/>
            <a:ext cx="5400000" cy="3960000"/>
          </a:xfrm>
          <a:solidFill>
            <a:srgbClr val="F2F2F2"/>
          </a:solidFill>
        </p:spPr>
        <p:txBody>
          <a:bodyPr anchor="ctr" anchorCtr="0">
            <a:noAutofit/>
          </a:bodyPr>
          <a:lstStyle>
            <a:lvl1pPr marL="0" indent="0" algn="ctr">
              <a:buNone/>
              <a:defRPr sz="1200">
                <a:latin typeface="Arial" panose="020B0604020202020204" pitchFamily="34" charset="0"/>
                <a:cs typeface="Arial" panose="020B0604020202020204" pitchFamily="34" charset="0"/>
              </a:defRPr>
            </a:lvl1pPr>
          </a:lstStyle>
          <a:p>
            <a:pPr lvl="0"/>
            <a:r>
              <a:rPr lang="en-US"/>
              <a:t>Pick a chart / table from the </a:t>
            </a:r>
            <a:r>
              <a:rPr lang="en-US" err="1"/>
              <a:t>chart.ppt</a:t>
            </a:r>
            <a:r>
              <a:rPr lang="en-US"/>
              <a:t> document.</a:t>
            </a:r>
          </a:p>
          <a:p>
            <a:pPr lvl="0"/>
            <a:r>
              <a:rPr lang="en-US"/>
              <a:t>These have been pre-defined so they have the correct font &amp; color usage.</a:t>
            </a:r>
          </a:p>
          <a:p>
            <a:pPr lvl="0"/>
            <a:r>
              <a:rPr lang="nl-NL"/>
              <a:t>Copy/paste </a:t>
            </a:r>
            <a:r>
              <a:rPr lang="nl-NL" err="1"/>
              <a:t>it</a:t>
            </a:r>
            <a:r>
              <a:rPr lang="nl-NL"/>
              <a:t> </a:t>
            </a:r>
            <a:r>
              <a:rPr lang="nl-NL" err="1"/>
              <a:t>into</a:t>
            </a:r>
            <a:r>
              <a:rPr lang="nl-NL"/>
              <a:t> </a:t>
            </a:r>
            <a:r>
              <a:rPr lang="nl-NL" err="1"/>
              <a:t>this</a:t>
            </a:r>
            <a:r>
              <a:rPr lang="nl-NL"/>
              <a:t> document.</a:t>
            </a:r>
          </a:p>
          <a:p>
            <a:pPr lvl="0"/>
            <a:r>
              <a:rPr lang="nl-NL"/>
              <a:t>Make </a:t>
            </a:r>
            <a:r>
              <a:rPr lang="nl-NL" err="1"/>
              <a:t>sure</a:t>
            </a:r>
            <a:r>
              <a:rPr lang="nl-NL"/>
              <a:t> </a:t>
            </a:r>
            <a:r>
              <a:rPr lang="nl-NL" err="1"/>
              <a:t>it</a:t>
            </a:r>
            <a:r>
              <a:rPr lang="nl-NL"/>
              <a:t> fits (</a:t>
            </a:r>
            <a:r>
              <a:rPr lang="nl-NL" err="1"/>
              <a:t>exactly</a:t>
            </a:r>
            <a:r>
              <a:rPr lang="nl-NL"/>
              <a:t>) </a:t>
            </a:r>
            <a:r>
              <a:rPr lang="nl-NL" err="1"/>
              <a:t>within</a:t>
            </a:r>
            <a:r>
              <a:rPr lang="nl-NL"/>
              <a:t> </a:t>
            </a:r>
            <a:r>
              <a:rPr lang="nl-NL" err="1"/>
              <a:t>the</a:t>
            </a:r>
            <a:r>
              <a:rPr lang="nl-NL"/>
              <a:t> </a:t>
            </a:r>
            <a:r>
              <a:rPr lang="nl-NL" err="1"/>
              <a:t>grey</a:t>
            </a:r>
            <a:r>
              <a:rPr lang="nl-NL"/>
              <a:t> area, </a:t>
            </a:r>
            <a:r>
              <a:rPr lang="nl-NL" err="1"/>
              <a:t>just</a:t>
            </a:r>
            <a:r>
              <a:rPr lang="nl-NL"/>
              <a:t> </a:t>
            </a:r>
            <a:r>
              <a:rPr lang="nl-NL" err="1"/>
              <a:t>resize</a:t>
            </a:r>
            <a:r>
              <a:rPr lang="nl-NL"/>
              <a:t> </a:t>
            </a:r>
            <a:r>
              <a:rPr lang="nl-NL" err="1"/>
              <a:t>the</a:t>
            </a:r>
            <a:r>
              <a:rPr lang="nl-NL"/>
              <a:t> </a:t>
            </a:r>
            <a:r>
              <a:rPr lang="nl-NL" err="1"/>
              <a:t>outer</a:t>
            </a:r>
            <a:r>
              <a:rPr lang="nl-NL"/>
              <a:t> </a:t>
            </a:r>
            <a:r>
              <a:rPr lang="nl-NL" err="1"/>
              <a:t>edges</a:t>
            </a:r>
            <a:r>
              <a:rPr lang="nl-NL"/>
              <a:t> of </a:t>
            </a:r>
            <a:r>
              <a:rPr lang="nl-NL" err="1"/>
              <a:t>the</a:t>
            </a:r>
            <a:r>
              <a:rPr lang="nl-NL"/>
              <a:t> </a:t>
            </a:r>
            <a:r>
              <a:rPr lang="nl-NL" err="1"/>
              <a:t>chart</a:t>
            </a:r>
            <a:r>
              <a:rPr lang="nl-NL"/>
              <a:t>/</a:t>
            </a:r>
            <a:r>
              <a:rPr lang="nl-NL" err="1"/>
              <a:t>table</a:t>
            </a:r>
            <a:r>
              <a:rPr lang="nl-NL"/>
              <a:t> </a:t>
            </a:r>
            <a:r>
              <a:rPr lang="nl-NL" err="1"/>
              <a:t>to</a:t>
            </a:r>
            <a:r>
              <a:rPr lang="nl-NL"/>
              <a:t> fit.</a:t>
            </a:r>
          </a:p>
          <a:p>
            <a:pPr lvl="0"/>
            <a:r>
              <a:rPr lang="nl-NL" err="1"/>
              <a:t>Once</a:t>
            </a:r>
            <a:r>
              <a:rPr lang="nl-NL"/>
              <a:t> </a:t>
            </a:r>
            <a:r>
              <a:rPr lang="nl-NL" err="1"/>
              <a:t>applied</a:t>
            </a:r>
            <a:r>
              <a:rPr lang="nl-NL"/>
              <a:t>, move </a:t>
            </a:r>
            <a:r>
              <a:rPr lang="nl-NL" err="1"/>
              <a:t>the</a:t>
            </a:r>
            <a:r>
              <a:rPr lang="nl-NL"/>
              <a:t> </a:t>
            </a:r>
            <a:r>
              <a:rPr lang="nl-NL" err="1"/>
              <a:t>chart</a:t>
            </a:r>
            <a:r>
              <a:rPr lang="nl-NL"/>
              <a:t> </a:t>
            </a:r>
            <a:r>
              <a:rPr lang="nl-NL" err="1"/>
              <a:t>to</a:t>
            </a:r>
            <a:r>
              <a:rPr lang="nl-NL"/>
              <a:t> </a:t>
            </a:r>
            <a:r>
              <a:rPr lang="nl-NL" err="1"/>
              <a:t>the</a:t>
            </a:r>
            <a:r>
              <a:rPr lang="nl-NL"/>
              <a:t> side </a:t>
            </a:r>
            <a:r>
              <a:rPr lang="nl-NL" err="1"/>
              <a:t>and</a:t>
            </a:r>
            <a:r>
              <a:rPr lang="nl-NL"/>
              <a:t> make </a:t>
            </a:r>
            <a:r>
              <a:rPr lang="nl-NL" err="1"/>
              <a:t>this</a:t>
            </a:r>
            <a:r>
              <a:rPr lang="nl-NL"/>
              <a:t> box </a:t>
            </a:r>
            <a:r>
              <a:rPr lang="nl-NL" err="1"/>
              <a:t>white</a:t>
            </a:r>
            <a:r>
              <a:rPr lang="nl-NL"/>
              <a:t> </a:t>
            </a:r>
            <a:r>
              <a:rPr lang="nl-NL" err="1"/>
              <a:t>so</a:t>
            </a:r>
            <a:r>
              <a:rPr lang="nl-NL"/>
              <a:t> </a:t>
            </a:r>
            <a:r>
              <a:rPr lang="nl-NL" err="1"/>
              <a:t>you</a:t>
            </a:r>
            <a:r>
              <a:rPr lang="nl-NL"/>
              <a:t> </a:t>
            </a:r>
            <a:r>
              <a:rPr lang="nl-NL" err="1"/>
              <a:t>don’t</a:t>
            </a:r>
            <a:r>
              <a:rPr lang="nl-NL"/>
              <a:t> </a:t>
            </a:r>
            <a:r>
              <a:rPr lang="nl-NL" err="1"/>
              <a:t>see</a:t>
            </a:r>
            <a:r>
              <a:rPr lang="nl-NL"/>
              <a:t> </a:t>
            </a:r>
            <a:r>
              <a:rPr lang="nl-NL" err="1"/>
              <a:t>it</a:t>
            </a:r>
            <a:r>
              <a:rPr lang="nl-NL"/>
              <a:t> </a:t>
            </a:r>
            <a:r>
              <a:rPr lang="nl-NL" err="1"/>
              <a:t>anymore</a:t>
            </a:r>
            <a:r>
              <a:rPr lang="nl-NL"/>
              <a:t>.</a:t>
            </a:r>
            <a:endParaRPr lang="en-US"/>
          </a:p>
        </p:txBody>
      </p:sp>
      <p:sp>
        <p:nvSpPr>
          <p:cNvPr id="8" name="Chart Placeholder 1">
            <a:extLst>
              <a:ext uri="{FF2B5EF4-FFF2-40B4-BE49-F238E27FC236}">
                <a16:creationId xmlns:a16="http://schemas.microsoft.com/office/drawing/2014/main" id="{003A30D7-BC0E-C897-3D0F-8201B7253E73}"/>
              </a:ext>
            </a:extLst>
          </p:cNvPr>
          <p:cNvSpPr>
            <a:spLocks noGrp="1"/>
          </p:cNvSpPr>
          <p:nvPr>
            <p:ph type="chart" sz="quarter" idx="13" hasCustomPrompt="1"/>
          </p:nvPr>
        </p:nvSpPr>
        <p:spPr>
          <a:xfrm>
            <a:off x="524655" y="1916112"/>
            <a:ext cx="5400000" cy="3960813"/>
          </a:xfrm>
          <a:solidFill>
            <a:srgbClr val="F2F2F2"/>
          </a:solidFill>
        </p:spPr>
        <p:txBody>
          <a:bodyPr anchor="ctr" anchorCtr="0">
            <a:noAutofit/>
          </a:bodyPr>
          <a:lstStyle>
            <a:lvl1pPr marL="0" indent="0" algn="ctr">
              <a:buNone/>
              <a:defRPr sz="1200">
                <a:latin typeface="Arial" panose="020B0604020202020204" pitchFamily="34" charset="0"/>
                <a:cs typeface="Arial" panose="020B0604020202020204" pitchFamily="34" charset="0"/>
              </a:defRPr>
            </a:lvl1pPr>
          </a:lstStyle>
          <a:p>
            <a:pPr lvl="0"/>
            <a:r>
              <a:rPr lang="en-US"/>
              <a:t>Pick a chart / table from the </a:t>
            </a:r>
            <a:r>
              <a:rPr lang="en-US" err="1"/>
              <a:t>chart.ppt</a:t>
            </a:r>
            <a:r>
              <a:rPr lang="en-US"/>
              <a:t> document.</a:t>
            </a:r>
          </a:p>
          <a:p>
            <a:pPr lvl="0"/>
            <a:r>
              <a:rPr lang="en-US"/>
              <a:t>These have been pre-defined so they have the correct font &amp; color usage.</a:t>
            </a:r>
          </a:p>
          <a:p>
            <a:pPr lvl="0"/>
            <a:r>
              <a:rPr lang="nl-NL"/>
              <a:t>Copy/paste </a:t>
            </a:r>
            <a:r>
              <a:rPr lang="nl-NL" err="1"/>
              <a:t>it</a:t>
            </a:r>
            <a:r>
              <a:rPr lang="nl-NL"/>
              <a:t> </a:t>
            </a:r>
            <a:r>
              <a:rPr lang="nl-NL" err="1"/>
              <a:t>into</a:t>
            </a:r>
            <a:r>
              <a:rPr lang="nl-NL"/>
              <a:t> </a:t>
            </a:r>
            <a:r>
              <a:rPr lang="nl-NL" err="1"/>
              <a:t>this</a:t>
            </a:r>
            <a:r>
              <a:rPr lang="nl-NL"/>
              <a:t> document.</a:t>
            </a:r>
          </a:p>
          <a:p>
            <a:pPr lvl="0"/>
            <a:r>
              <a:rPr lang="nl-NL"/>
              <a:t>Make </a:t>
            </a:r>
            <a:r>
              <a:rPr lang="nl-NL" err="1"/>
              <a:t>sure</a:t>
            </a:r>
            <a:r>
              <a:rPr lang="nl-NL"/>
              <a:t> </a:t>
            </a:r>
            <a:r>
              <a:rPr lang="nl-NL" err="1"/>
              <a:t>it</a:t>
            </a:r>
            <a:r>
              <a:rPr lang="nl-NL"/>
              <a:t> fits (</a:t>
            </a:r>
            <a:r>
              <a:rPr lang="nl-NL" err="1"/>
              <a:t>exactly</a:t>
            </a:r>
            <a:r>
              <a:rPr lang="nl-NL"/>
              <a:t>) </a:t>
            </a:r>
            <a:r>
              <a:rPr lang="nl-NL" err="1"/>
              <a:t>within</a:t>
            </a:r>
            <a:r>
              <a:rPr lang="nl-NL"/>
              <a:t> </a:t>
            </a:r>
            <a:r>
              <a:rPr lang="nl-NL" err="1"/>
              <a:t>the</a:t>
            </a:r>
            <a:r>
              <a:rPr lang="nl-NL"/>
              <a:t> </a:t>
            </a:r>
            <a:r>
              <a:rPr lang="nl-NL" err="1"/>
              <a:t>grey</a:t>
            </a:r>
            <a:r>
              <a:rPr lang="nl-NL"/>
              <a:t> area, </a:t>
            </a:r>
            <a:r>
              <a:rPr lang="nl-NL" err="1"/>
              <a:t>just</a:t>
            </a:r>
            <a:r>
              <a:rPr lang="nl-NL"/>
              <a:t> </a:t>
            </a:r>
            <a:r>
              <a:rPr lang="nl-NL" err="1"/>
              <a:t>resize</a:t>
            </a:r>
            <a:r>
              <a:rPr lang="nl-NL"/>
              <a:t> </a:t>
            </a:r>
            <a:r>
              <a:rPr lang="nl-NL" err="1"/>
              <a:t>the</a:t>
            </a:r>
            <a:r>
              <a:rPr lang="nl-NL"/>
              <a:t> </a:t>
            </a:r>
            <a:r>
              <a:rPr lang="nl-NL" err="1"/>
              <a:t>outer</a:t>
            </a:r>
            <a:r>
              <a:rPr lang="nl-NL"/>
              <a:t> </a:t>
            </a:r>
            <a:r>
              <a:rPr lang="nl-NL" err="1"/>
              <a:t>edges</a:t>
            </a:r>
            <a:r>
              <a:rPr lang="nl-NL"/>
              <a:t> of </a:t>
            </a:r>
            <a:r>
              <a:rPr lang="nl-NL" err="1"/>
              <a:t>the</a:t>
            </a:r>
            <a:r>
              <a:rPr lang="nl-NL"/>
              <a:t> </a:t>
            </a:r>
            <a:r>
              <a:rPr lang="nl-NL" err="1"/>
              <a:t>chart</a:t>
            </a:r>
            <a:r>
              <a:rPr lang="nl-NL"/>
              <a:t>/</a:t>
            </a:r>
            <a:r>
              <a:rPr lang="nl-NL" err="1"/>
              <a:t>table</a:t>
            </a:r>
            <a:r>
              <a:rPr lang="nl-NL"/>
              <a:t> </a:t>
            </a:r>
            <a:r>
              <a:rPr lang="nl-NL" err="1"/>
              <a:t>to</a:t>
            </a:r>
            <a:r>
              <a:rPr lang="nl-NL"/>
              <a:t> fit.</a:t>
            </a:r>
          </a:p>
          <a:p>
            <a:pPr lvl="0"/>
            <a:r>
              <a:rPr lang="nl-NL" err="1"/>
              <a:t>Once</a:t>
            </a:r>
            <a:r>
              <a:rPr lang="nl-NL"/>
              <a:t> </a:t>
            </a:r>
            <a:r>
              <a:rPr lang="nl-NL" err="1"/>
              <a:t>applied</a:t>
            </a:r>
            <a:r>
              <a:rPr lang="nl-NL"/>
              <a:t>, move </a:t>
            </a:r>
            <a:r>
              <a:rPr lang="nl-NL" err="1"/>
              <a:t>the</a:t>
            </a:r>
            <a:r>
              <a:rPr lang="nl-NL"/>
              <a:t> </a:t>
            </a:r>
            <a:r>
              <a:rPr lang="nl-NL" err="1"/>
              <a:t>chart</a:t>
            </a:r>
            <a:r>
              <a:rPr lang="nl-NL"/>
              <a:t> </a:t>
            </a:r>
            <a:r>
              <a:rPr lang="nl-NL" err="1"/>
              <a:t>to</a:t>
            </a:r>
            <a:r>
              <a:rPr lang="nl-NL"/>
              <a:t> </a:t>
            </a:r>
            <a:r>
              <a:rPr lang="nl-NL" err="1"/>
              <a:t>the</a:t>
            </a:r>
            <a:r>
              <a:rPr lang="nl-NL"/>
              <a:t> side </a:t>
            </a:r>
            <a:r>
              <a:rPr lang="nl-NL" err="1"/>
              <a:t>and</a:t>
            </a:r>
            <a:r>
              <a:rPr lang="nl-NL"/>
              <a:t> make </a:t>
            </a:r>
            <a:r>
              <a:rPr lang="nl-NL" err="1"/>
              <a:t>this</a:t>
            </a:r>
            <a:r>
              <a:rPr lang="nl-NL"/>
              <a:t> box </a:t>
            </a:r>
            <a:r>
              <a:rPr lang="nl-NL" err="1"/>
              <a:t>white</a:t>
            </a:r>
            <a:r>
              <a:rPr lang="nl-NL"/>
              <a:t> </a:t>
            </a:r>
            <a:r>
              <a:rPr lang="nl-NL" err="1"/>
              <a:t>so</a:t>
            </a:r>
            <a:r>
              <a:rPr lang="nl-NL"/>
              <a:t> </a:t>
            </a:r>
            <a:r>
              <a:rPr lang="nl-NL" err="1"/>
              <a:t>you</a:t>
            </a:r>
            <a:r>
              <a:rPr lang="nl-NL"/>
              <a:t> </a:t>
            </a:r>
            <a:r>
              <a:rPr lang="nl-NL" err="1"/>
              <a:t>don’t</a:t>
            </a:r>
            <a:r>
              <a:rPr lang="nl-NL"/>
              <a:t> </a:t>
            </a:r>
            <a:r>
              <a:rPr lang="nl-NL" err="1"/>
              <a:t>see</a:t>
            </a:r>
            <a:r>
              <a:rPr lang="nl-NL"/>
              <a:t> </a:t>
            </a:r>
            <a:r>
              <a:rPr lang="nl-NL" err="1"/>
              <a:t>it</a:t>
            </a:r>
            <a:r>
              <a:rPr lang="nl-NL"/>
              <a:t> </a:t>
            </a:r>
            <a:r>
              <a:rPr lang="nl-NL" err="1"/>
              <a:t>anymore</a:t>
            </a:r>
            <a:r>
              <a:rPr lang="nl-NL"/>
              <a:t>.</a:t>
            </a:r>
            <a:endParaRPr lang="en-US"/>
          </a:p>
        </p:txBody>
      </p:sp>
      <p:sp>
        <p:nvSpPr>
          <p:cNvPr id="5" name="Title">
            <a:extLst>
              <a:ext uri="{FF2B5EF4-FFF2-40B4-BE49-F238E27FC236}">
                <a16:creationId xmlns:a16="http://schemas.microsoft.com/office/drawing/2014/main" id="{BE4AFF37-9413-2A9F-5CF3-A218AF33FAC9}"/>
              </a:ext>
            </a:extLst>
          </p:cNvPr>
          <p:cNvSpPr>
            <a:spLocks noGrp="1"/>
          </p:cNvSpPr>
          <p:nvPr>
            <p:ph type="title"/>
          </p:nvPr>
        </p:nvSpPr>
        <p:spPr/>
        <p:txBody>
          <a:bodyPr/>
          <a:lstStyle/>
          <a:p>
            <a:r>
              <a:rPr lang="en-US"/>
              <a:t>Click to edit Master title style</a:t>
            </a:r>
            <a:endParaRPr lang="en-NL"/>
          </a:p>
        </p:txBody>
      </p:sp>
      <p:sp>
        <p:nvSpPr>
          <p:cNvPr id="2" name="Text Placeholder 3">
            <a:extLst>
              <a:ext uri="{FF2B5EF4-FFF2-40B4-BE49-F238E27FC236}">
                <a16:creationId xmlns:a16="http://schemas.microsoft.com/office/drawing/2014/main" id="{5F9E17BA-8D78-D543-6E4F-3CEFD00527E1}"/>
              </a:ext>
            </a:extLst>
          </p:cNvPr>
          <p:cNvSpPr>
            <a:spLocks noGrp="1"/>
          </p:cNvSpPr>
          <p:nvPr>
            <p:ph type="body" sz="quarter" idx="78" hasCustomPrompt="1"/>
          </p:nvPr>
        </p:nvSpPr>
        <p:spPr>
          <a:xfrm>
            <a:off x="525600" y="1054800"/>
            <a:ext cx="5400675" cy="360001"/>
          </a:xfrm>
          <a:prstGeom prst="roundRect">
            <a:avLst/>
          </a:prstGeom>
          <a:solidFill>
            <a:schemeClr val="tx2"/>
          </a:solidFill>
        </p:spPr>
        <p:txBody>
          <a:bodyPr lIns="0" tIns="0" rIns="0" bIns="0" anchor="ctr"/>
          <a:lstStyle>
            <a:lvl1pPr marL="0" indent="0" algn="ctr">
              <a:lnSpc>
                <a:spcPct val="100000"/>
              </a:lnSpc>
              <a:spcBef>
                <a:spcPts val="0"/>
              </a:spcBef>
              <a:buNone/>
              <a:defRPr sz="1400" b="1" baseline="0">
                <a:solidFill>
                  <a:schemeClr val="bg1"/>
                </a:solidFill>
                <a:latin typeface="Calibri" panose="020F0502020204030204" pitchFamily="34" charset="0"/>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Box Title</a:t>
            </a:r>
            <a:endParaRPr lang="nl-NL"/>
          </a:p>
        </p:txBody>
      </p:sp>
      <p:sp>
        <p:nvSpPr>
          <p:cNvPr id="15" name="Text Placeholder 3">
            <a:extLst>
              <a:ext uri="{FF2B5EF4-FFF2-40B4-BE49-F238E27FC236}">
                <a16:creationId xmlns:a16="http://schemas.microsoft.com/office/drawing/2014/main" id="{E3CB4D78-D991-93E8-BC1D-A002A819F20A}"/>
              </a:ext>
            </a:extLst>
          </p:cNvPr>
          <p:cNvSpPr>
            <a:spLocks noGrp="1"/>
          </p:cNvSpPr>
          <p:nvPr>
            <p:ph type="body" sz="quarter" idx="79" hasCustomPrompt="1"/>
          </p:nvPr>
        </p:nvSpPr>
        <p:spPr>
          <a:xfrm>
            <a:off x="6292800" y="1054800"/>
            <a:ext cx="5400674" cy="360001"/>
          </a:xfrm>
          <a:prstGeom prst="roundRect">
            <a:avLst/>
          </a:prstGeom>
          <a:solidFill>
            <a:schemeClr val="tx2"/>
          </a:solidFill>
        </p:spPr>
        <p:txBody>
          <a:bodyPr lIns="0" tIns="0" rIns="0" bIns="0" anchor="ctr"/>
          <a:lstStyle>
            <a:lvl1pPr marL="0" indent="0" algn="ctr">
              <a:lnSpc>
                <a:spcPct val="100000"/>
              </a:lnSpc>
              <a:spcBef>
                <a:spcPts val="0"/>
              </a:spcBef>
              <a:buNone/>
              <a:defRPr sz="1400" b="1" baseline="0">
                <a:solidFill>
                  <a:schemeClr val="bg1"/>
                </a:solidFill>
                <a:latin typeface="Calibri" panose="020F0502020204030204" pitchFamily="34" charset="0"/>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Box Title</a:t>
            </a:r>
            <a:endParaRPr lang="nl-NL"/>
          </a:p>
        </p:txBody>
      </p:sp>
      <p:sp>
        <p:nvSpPr>
          <p:cNvPr id="4" name="Slide Number Placeholder">
            <a:extLst>
              <a:ext uri="{FF2B5EF4-FFF2-40B4-BE49-F238E27FC236}">
                <a16:creationId xmlns:a16="http://schemas.microsoft.com/office/drawing/2014/main" id="{64F78454-706E-60A7-B9FF-4560678C3C9C}"/>
              </a:ext>
            </a:extLst>
          </p:cNvPr>
          <p:cNvSpPr>
            <a:spLocks noGrp="1"/>
          </p:cNvSpPr>
          <p:nvPr>
            <p:ph type="sldNum" sz="quarter" idx="12"/>
          </p:nvPr>
        </p:nvSpPr>
        <p:spPr>
          <a:xfrm>
            <a:off x="11319511" y="6120028"/>
            <a:ext cx="350031" cy="360000"/>
          </a:xfrm>
          <a:prstGeom prst="rect">
            <a:avLst/>
          </a:prstGeom>
        </p:spPr>
        <p:txBody>
          <a:bodyPr lIns="0" tIns="0" rIns="0" bIns="0" anchor="ctr"/>
          <a:lstStyle>
            <a:lvl1pPr algn="r">
              <a:defRPr sz="1100">
                <a:solidFill>
                  <a:schemeClr val="bg2"/>
                </a:solidFill>
              </a:defRPr>
            </a:lvl1pPr>
          </a:lstStyle>
          <a:p>
            <a:fld id="{D0281C21-EE02-42A0-BCF6-67BEF936A35A}" type="slidenum">
              <a:rPr lang="en-IN" smtClean="0"/>
              <a:pPr/>
              <a:t>‹#›</a:t>
            </a:fld>
            <a:endParaRPr lang="en-IN"/>
          </a:p>
        </p:txBody>
      </p:sp>
      <p:sp>
        <p:nvSpPr>
          <p:cNvPr id="6" name="Text Placeholder 5">
            <a:extLst>
              <a:ext uri="{FF2B5EF4-FFF2-40B4-BE49-F238E27FC236}">
                <a16:creationId xmlns:a16="http://schemas.microsoft.com/office/drawing/2014/main" id="{198C90DF-03EE-4106-6940-C921B793A473}"/>
              </a:ext>
            </a:extLst>
          </p:cNvPr>
          <p:cNvSpPr>
            <a:spLocks noGrp="1"/>
          </p:cNvSpPr>
          <p:nvPr>
            <p:ph type="body" sz="quarter" idx="80" hasCustomPrompt="1"/>
          </p:nvPr>
        </p:nvSpPr>
        <p:spPr>
          <a:xfrm>
            <a:off x="525600" y="6109200"/>
            <a:ext cx="720000" cy="554400"/>
          </a:xfrm>
        </p:spPr>
        <p:txBody>
          <a:bodyPr/>
          <a:lstStyle>
            <a:lvl1pPr marL="0" indent="0">
              <a:buFontTx/>
              <a:buNone/>
              <a:defRPr sz="1100" b="1">
                <a:solidFill>
                  <a:schemeClr val="bg2"/>
                </a:solidFill>
              </a:defRPr>
            </a:lvl1pPr>
          </a:lstStyle>
          <a:p>
            <a:pPr lvl="0"/>
            <a:r>
              <a:rPr lang="en-US"/>
              <a:t>Sources:</a:t>
            </a:r>
            <a:endParaRPr lang="en-NL"/>
          </a:p>
        </p:txBody>
      </p:sp>
      <p:sp>
        <p:nvSpPr>
          <p:cNvPr id="13" name="Text Placeholder 11">
            <a:extLst>
              <a:ext uri="{FF2B5EF4-FFF2-40B4-BE49-F238E27FC236}">
                <a16:creationId xmlns:a16="http://schemas.microsoft.com/office/drawing/2014/main" id="{BAAD43C7-9E1F-9702-F51D-8CE25F3F4DEB}"/>
              </a:ext>
            </a:extLst>
          </p:cNvPr>
          <p:cNvSpPr>
            <a:spLocks noGrp="1"/>
          </p:cNvSpPr>
          <p:nvPr>
            <p:ph type="body" sz="quarter" idx="81" hasCustomPrompt="1"/>
          </p:nvPr>
        </p:nvSpPr>
        <p:spPr>
          <a:xfrm>
            <a:off x="1152000" y="6109200"/>
            <a:ext cx="8704216" cy="440904"/>
          </a:xfrm>
        </p:spPr>
        <p:txBody>
          <a:bodyPr/>
          <a:lstStyle>
            <a:lvl1pPr marL="0" indent="0">
              <a:buFontTx/>
              <a:buNone/>
              <a:defRPr sz="1100"/>
            </a:lvl1pPr>
          </a:lstStyle>
          <a:p>
            <a:pPr lvl="0"/>
            <a:r>
              <a:rPr lang="en-US"/>
              <a:t>Innova Database (click to edit)</a:t>
            </a:r>
            <a:endParaRPr lang="en-NL"/>
          </a:p>
        </p:txBody>
      </p:sp>
      <p:sp>
        <p:nvSpPr>
          <p:cNvPr id="12" name="Text Placeholder 6">
            <a:extLst>
              <a:ext uri="{FF2B5EF4-FFF2-40B4-BE49-F238E27FC236}">
                <a16:creationId xmlns:a16="http://schemas.microsoft.com/office/drawing/2014/main" id="{A2439BD1-17AD-8231-6434-6DE9377EACBA}"/>
              </a:ext>
            </a:extLst>
          </p:cNvPr>
          <p:cNvSpPr>
            <a:spLocks noGrp="1"/>
          </p:cNvSpPr>
          <p:nvPr>
            <p:ph type="body" sz="quarter" idx="83" hasCustomPrompt="1"/>
          </p:nvPr>
        </p:nvSpPr>
        <p:spPr>
          <a:xfrm>
            <a:off x="1364106" y="1496875"/>
            <a:ext cx="4560550" cy="360362"/>
          </a:xfrm>
          <a:noFill/>
        </p:spPr>
        <p:txBody>
          <a:bodyPr/>
          <a:lstStyle>
            <a:lvl1pPr marL="0" indent="0">
              <a:buFontTx/>
              <a:buNone/>
              <a:defRPr sz="11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marL="0" marR="0" lvl="0" indent="0" algn="l" defTabSz="914400" rtl="0" eaLnBrk="1" fontAlgn="auto" latinLnBrk="0" hangingPunct="1">
              <a:lnSpc>
                <a:spcPct val="100000"/>
              </a:lnSpc>
              <a:spcBef>
                <a:spcPts val="600"/>
              </a:spcBef>
              <a:spcAft>
                <a:spcPts val="0"/>
              </a:spcAft>
              <a:buClr>
                <a:schemeClr val="tx2"/>
              </a:buClr>
              <a:buSzTx/>
              <a:buFont typeface="Arial" panose="020B0604020202020204" pitchFamily="34" charset="0"/>
              <a:buNone/>
              <a:tabLst/>
              <a:defRPr/>
            </a:pPr>
            <a:r>
              <a:rPr lang="en-US"/>
              <a:t> Chart title goes here (do not add an extra title to the chart below)</a:t>
            </a:r>
          </a:p>
        </p:txBody>
      </p:sp>
      <p:sp>
        <p:nvSpPr>
          <p:cNvPr id="14" name="Text Placeholder 6">
            <a:extLst>
              <a:ext uri="{FF2B5EF4-FFF2-40B4-BE49-F238E27FC236}">
                <a16:creationId xmlns:a16="http://schemas.microsoft.com/office/drawing/2014/main" id="{DCB2F38C-6A3D-40BD-E1B1-49723FABF8D6}"/>
              </a:ext>
            </a:extLst>
          </p:cNvPr>
          <p:cNvSpPr>
            <a:spLocks noGrp="1"/>
          </p:cNvSpPr>
          <p:nvPr>
            <p:ph type="body" sz="quarter" idx="86" hasCustomPrompt="1"/>
          </p:nvPr>
        </p:nvSpPr>
        <p:spPr>
          <a:xfrm>
            <a:off x="524654" y="1496875"/>
            <a:ext cx="779490" cy="360362"/>
          </a:xfrm>
          <a:noFill/>
        </p:spPr>
        <p:txBody>
          <a:bodyPr/>
          <a:lstStyle>
            <a:lvl1pPr marL="0" indent="0">
              <a:buFontTx/>
              <a:buNone/>
              <a:defRPr sz="1100"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Figure:</a:t>
            </a:r>
            <a:endParaRPr lang="en-IN"/>
          </a:p>
        </p:txBody>
      </p:sp>
      <p:sp>
        <p:nvSpPr>
          <p:cNvPr id="20" name="Text Placeholder 6">
            <a:extLst>
              <a:ext uri="{FF2B5EF4-FFF2-40B4-BE49-F238E27FC236}">
                <a16:creationId xmlns:a16="http://schemas.microsoft.com/office/drawing/2014/main" id="{BA56192A-A75F-AA8A-2EDE-52AE7AB981AA}"/>
              </a:ext>
            </a:extLst>
          </p:cNvPr>
          <p:cNvSpPr>
            <a:spLocks noGrp="1"/>
          </p:cNvSpPr>
          <p:nvPr>
            <p:ph type="body" sz="quarter" idx="87" hasCustomPrompt="1"/>
          </p:nvPr>
        </p:nvSpPr>
        <p:spPr>
          <a:xfrm>
            <a:off x="7106796" y="1496875"/>
            <a:ext cx="4560550" cy="360362"/>
          </a:xfrm>
          <a:noFill/>
        </p:spPr>
        <p:txBody>
          <a:bodyPr/>
          <a:lstStyle>
            <a:lvl1pPr marL="0" indent="0">
              <a:buFontTx/>
              <a:buNone/>
              <a:defRPr sz="11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marL="0" marR="0" lvl="0" indent="0" algn="l" defTabSz="914400" rtl="0" eaLnBrk="1" fontAlgn="auto" latinLnBrk="0" hangingPunct="1">
              <a:lnSpc>
                <a:spcPct val="100000"/>
              </a:lnSpc>
              <a:spcBef>
                <a:spcPts val="600"/>
              </a:spcBef>
              <a:spcAft>
                <a:spcPts val="0"/>
              </a:spcAft>
              <a:buClr>
                <a:schemeClr val="tx2"/>
              </a:buClr>
              <a:buSzTx/>
              <a:buFont typeface="Arial" panose="020B0604020202020204" pitchFamily="34" charset="0"/>
              <a:buNone/>
              <a:tabLst/>
              <a:defRPr/>
            </a:pPr>
            <a:r>
              <a:rPr lang="en-US"/>
              <a:t> Chart title goes here (do not add an extra title to the chart below)</a:t>
            </a:r>
          </a:p>
        </p:txBody>
      </p:sp>
      <p:sp>
        <p:nvSpPr>
          <p:cNvPr id="21" name="Text Placeholder 6">
            <a:extLst>
              <a:ext uri="{FF2B5EF4-FFF2-40B4-BE49-F238E27FC236}">
                <a16:creationId xmlns:a16="http://schemas.microsoft.com/office/drawing/2014/main" id="{9290253B-4855-36CD-6233-047975A386A3}"/>
              </a:ext>
            </a:extLst>
          </p:cNvPr>
          <p:cNvSpPr>
            <a:spLocks noGrp="1"/>
          </p:cNvSpPr>
          <p:nvPr>
            <p:ph type="body" sz="quarter" idx="88" hasCustomPrompt="1"/>
          </p:nvPr>
        </p:nvSpPr>
        <p:spPr>
          <a:xfrm>
            <a:off x="6267344" y="1496875"/>
            <a:ext cx="779490" cy="360362"/>
          </a:xfrm>
          <a:noFill/>
        </p:spPr>
        <p:txBody>
          <a:bodyPr/>
          <a:lstStyle>
            <a:lvl1pPr marL="0" indent="0">
              <a:buFontTx/>
              <a:buNone/>
              <a:defRPr sz="1100"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Figure:</a:t>
            </a:r>
            <a:endParaRPr lang="en-IN"/>
          </a:p>
        </p:txBody>
      </p:sp>
    </p:spTree>
    <p:extLst>
      <p:ext uri="{BB962C8B-B14F-4D97-AF65-F5344CB8AC3E}">
        <p14:creationId xmlns:p14="http://schemas.microsoft.com/office/powerpoint/2010/main" val="687724180"/>
      </p:ext>
    </p:extLst>
  </p:cSld>
  <p:clrMapOvr>
    <a:masterClrMapping/>
  </p:clrMapOvr>
  <p:extLst>
    <p:ext uri="{DCECCB84-F9BA-43D5-87BE-67443E8EF086}">
      <p15:sldGuideLst xmlns:p15="http://schemas.microsoft.com/office/powerpoint/2012/main">
        <p15:guide id="2" pos="3727">
          <p15:clr>
            <a:srgbClr val="FBAE40"/>
          </p15:clr>
        </p15:guide>
        <p15:guide id="3" pos="3953">
          <p15:clr>
            <a:srgbClr val="FBAE40"/>
          </p15:clr>
        </p15:guide>
        <p15:guide id="4" orient="horz" pos="890">
          <p15:clr>
            <a:srgbClr val="FBAE40"/>
          </p15:clr>
        </p15:guide>
        <p15:guide id="5" orient="horz" pos="935">
          <p15:clr>
            <a:srgbClr val="FBAE4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2_Title, 4 boxes, 4 Content">
    <p:spTree>
      <p:nvGrpSpPr>
        <p:cNvPr id="1" name=""/>
        <p:cNvGrpSpPr/>
        <p:nvPr/>
      </p:nvGrpSpPr>
      <p:grpSpPr>
        <a:xfrm>
          <a:off x="0" y="0"/>
          <a:ext cx="0" cy="0"/>
          <a:chOff x="0" y="0"/>
          <a:chExt cx="0" cy="0"/>
        </a:xfrm>
      </p:grpSpPr>
      <p:sp>
        <p:nvSpPr>
          <p:cNvPr id="8" name="Content Placeholder 4">
            <a:extLst>
              <a:ext uri="{FF2B5EF4-FFF2-40B4-BE49-F238E27FC236}">
                <a16:creationId xmlns:a16="http://schemas.microsoft.com/office/drawing/2014/main" id="{8FCB292C-A122-3DDE-7A87-C9B377EA7D47}"/>
              </a:ext>
            </a:extLst>
          </p:cNvPr>
          <p:cNvSpPr>
            <a:spLocks noGrp="1"/>
          </p:cNvSpPr>
          <p:nvPr>
            <p:ph idx="55"/>
          </p:nvPr>
        </p:nvSpPr>
        <p:spPr>
          <a:xfrm>
            <a:off x="9156700" y="2218544"/>
            <a:ext cx="2520000" cy="3668070"/>
          </a:xfrm>
        </p:spPr>
        <p:txBody>
          <a:bodyPr vert="horz" lIns="0" tIns="46800" rIns="0" bIns="0" rtlCol="0">
            <a:noAutofit/>
          </a:bodyPr>
          <a:lstStyle>
            <a:lvl1pPr marL="171450" indent="-171450">
              <a:buFont typeface="Arial" panose="020B0604020202020204" pitchFamily="34" charset="0"/>
              <a:buChar char="•"/>
              <a:defRPr lang="en-US" dirty="0"/>
            </a:lvl1pPr>
          </a:lstStyle>
          <a:p>
            <a:pPr lvl="0"/>
            <a:r>
              <a:rPr lang="en-US"/>
              <a:t>Click to edit</a:t>
            </a:r>
          </a:p>
        </p:txBody>
      </p:sp>
      <p:sp>
        <p:nvSpPr>
          <p:cNvPr id="7" name="Content Placeholder 3">
            <a:extLst>
              <a:ext uri="{FF2B5EF4-FFF2-40B4-BE49-F238E27FC236}">
                <a16:creationId xmlns:a16="http://schemas.microsoft.com/office/drawing/2014/main" id="{38EE0D99-6238-C7FD-F215-EBEA19524A6A}"/>
              </a:ext>
            </a:extLst>
          </p:cNvPr>
          <p:cNvSpPr>
            <a:spLocks noGrp="1"/>
          </p:cNvSpPr>
          <p:nvPr>
            <p:ph idx="54"/>
          </p:nvPr>
        </p:nvSpPr>
        <p:spPr>
          <a:xfrm>
            <a:off x="6271200" y="2218544"/>
            <a:ext cx="2520000" cy="3668073"/>
          </a:xfrm>
        </p:spPr>
        <p:txBody>
          <a:bodyPr vert="horz" lIns="0" tIns="46800" rIns="0" bIns="0" rtlCol="0">
            <a:noAutofit/>
          </a:bodyPr>
          <a:lstStyle>
            <a:lvl1pPr>
              <a:defRPr lang="en-US" dirty="0"/>
            </a:lvl1pPr>
          </a:lstStyle>
          <a:p>
            <a:pPr lvl="0"/>
            <a:r>
              <a:rPr lang="en-US"/>
              <a:t>Click to edit</a:t>
            </a:r>
          </a:p>
        </p:txBody>
      </p:sp>
      <p:sp>
        <p:nvSpPr>
          <p:cNvPr id="4" name="Content Placeholder 2">
            <a:extLst>
              <a:ext uri="{FF2B5EF4-FFF2-40B4-BE49-F238E27FC236}">
                <a16:creationId xmlns:a16="http://schemas.microsoft.com/office/drawing/2014/main" id="{B370AC96-7E4E-3E9C-9FF3-ACBD2BC8775B}"/>
              </a:ext>
            </a:extLst>
          </p:cNvPr>
          <p:cNvSpPr>
            <a:spLocks noGrp="1"/>
          </p:cNvSpPr>
          <p:nvPr>
            <p:ph idx="53"/>
          </p:nvPr>
        </p:nvSpPr>
        <p:spPr>
          <a:xfrm>
            <a:off x="3399200" y="2218544"/>
            <a:ext cx="2520000" cy="3668070"/>
          </a:xfrm>
        </p:spPr>
        <p:txBody>
          <a:bodyPr vert="horz" lIns="0" tIns="46800" rIns="0" bIns="0" rtlCol="0">
            <a:noAutofit/>
          </a:bodyPr>
          <a:lstStyle>
            <a:lvl1pPr>
              <a:defRPr lang="en-US" dirty="0"/>
            </a:lvl1pPr>
          </a:lstStyle>
          <a:p>
            <a:pPr lvl="0"/>
            <a:r>
              <a:rPr lang="en-US"/>
              <a:t>Click to edit</a:t>
            </a:r>
          </a:p>
        </p:txBody>
      </p:sp>
      <p:sp>
        <p:nvSpPr>
          <p:cNvPr id="3" name="Content Placeholder 1">
            <a:extLst>
              <a:ext uri="{FF2B5EF4-FFF2-40B4-BE49-F238E27FC236}">
                <a16:creationId xmlns:a16="http://schemas.microsoft.com/office/drawing/2014/main" id="{A04AA393-4F20-0D1B-2BED-90390A60004D}"/>
              </a:ext>
            </a:extLst>
          </p:cNvPr>
          <p:cNvSpPr>
            <a:spLocks noGrp="1"/>
          </p:cNvSpPr>
          <p:nvPr>
            <p:ph idx="52"/>
          </p:nvPr>
        </p:nvSpPr>
        <p:spPr>
          <a:xfrm>
            <a:off x="525600" y="2218544"/>
            <a:ext cx="2520000" cy="3668073"/>
          </a:xfrm>
        </p:spPr>
        <p:txBody>
          <a:bodyPr vert="horz" lIns="0" tIns="46800" rIns="0" bIns="0" rtlCol="0">
            <a:noAutofit/>
          </a:bodyPr>
          <a:lstStyle>
            <a:lvl1pPr>
              <a:defRPr lang="en-US" dirty="0"/>
            </a:lvl1pPr>
          </a:lstStyle>
          <a:p>
            <a:pPr lvl="0"/>
            <a:r>
              <a:rPr lang="en-US"/>
              <a:t>Click to edit</a:t>
            </a:r>
          </a:p>
        </p:txBody>
      </p:sp>
      <p:sp>
        <p:nvSpPr>
          <p:cNvPr id="11" name="Title">
            <a:extLst>
              <a:ext uri="{FF2B5EF4-FFF2-40B4-BE49-F238E27FC236}">
                <a16:creationId xmlns:a16="http://schemas.microsoft.com/office/drawing/2014/main" id="{F93D4ED7-389B-E455-26AD-7426F17CB8D4}"/>
              </a:ext>
            </a:extLst>
          </p:cNvPr>
          <p:cNvSpPr>
            <a:spLocks noGrp="1"/>
          </p:cNvSpPr>
          <p:nvPr>
            <p:ph type="title"/>
          </p:nvPr>
        </p:nvSpPr>
        <p:spPr/>
        <p:txBody>
          <a:bodyPr/>
          <a:lstStyle/>
          <a:p>
            <a:r>
              <a:rPr lang="en-US"/>
              <a:t>Click to edit Master title style</a:t>
            </a:r>
            <a:endParaRPr lang="en-NL"/>
          </a:p>
        </p:txBody>
      </p:sp>
      <p:sp>
        <p:nvSpPr>
          <p:cNvPr id="5" name="Text Placeholder 3">
            <a:extLst>
              <a:ext uri="{FF2B5EF4-FFF2-40B4-BE49-F238E27FC236}">
                <a16:creationId xmlns:a16="http://schemas.microsoft.com/office/drawing/2014/main" id="{09700071-718E-4A36-5E85-CE0ACFD4AC05}"/>
              </a:ext>
            </a:extLst>
          </p:cNvPr>
          <p:cNvSpPr>
            <a:spLocks noGrp="1"/>
          </p:cNvSpPr>
          <p:nvPr>
            <p:ph type="body" sz="quarter" idx="78" hasCustomPrompt="1"/>
          </p:nvPr>
        </p:nvSpPr>
        <p:spPr>
          <a:xfrm>
            <a:off x="525600" y="1054800"/>
            <a:ext cx="2520000" cy="360001"/>
          </a:xfrm>
          <a:prstGeom prst="roundRect">
            <a:avLst/>
          </a:prstGeom>
          <a:solidFill>
            <a:schemeClr val="tx2"/>
          </a:solidFill>
        </p:spPr>
        <p:txBody>
          <a:bodyPr lIns="0" tIns="0" rIns="0" bIns="0" anchor="ctr"/>
          <a:lstStyle>
            <a:lvl1pPr marL="0" indent="0" algn="ctr">
              <a:lnSpc>
                <a:spcPct val="100000"/>
              </a:lnSpc>
              <a:spcBef>
                <a:spcPts val="0"/>
              </a:spcBef>
              <a:buNone/>
              <a:defRPr sz="1400" b="1" baseline="0">
                <a:solidFill>
                  <a:schemeClr val="bg1"/>
                </a:solidFill>
                <a:latin typeface="Calibri" panose="020F0502020204030204" pitchFamily="34" charset="0"/>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Box Title</a:t>
            </a:r>
            <a:endParaRPr lang="nl-NL"/>
          </a:p>
        </p:txBody>
      </p:sp>
      <p:sp>
        <p:nvSpPr>
          <p:cNvPr id="9" name="Text Placeholder 3">
            <a:extLst>
              <a:ext uri="{FF2B5EF4-FFF2-40B4-BE49-F238E27FC236}">
                <a16:creationId xmlns:a16="http://schemas.microsoft.com/office/drawing/2014/main" id="{DF1B4424-2A66-863F-CE44-4C673C50A574}"/>
              </a:ext>
            </a:extLst>
          </p:cNvPr>
          <p:cNvSpPr>
            <a:spLocks noGrp="1"/>
          </p:cNvSpPr>
          <p:nvPr>
            <p:ph type="body" sz="quarter" idx="79" hasCustomPrompt="1"/>
          </p:nvPr>
        </p:nvSpPr>
        <p:spPr>
          <a:xfrm>
            <a:off x="3398400" y="1054800"/>
            <a:ext cx="2520000" cy="360001"/>
          </a:xfrm>
          <a:prstGeom prst="roundRect">
            <a:avLst/>
          </a:prstGeom>
          <a:solidFill>
            <a:schemeClr val="tx2"/>
          </a:solidFill>
        </p:spPr>
        <p:txBody>
          <a:bodyPr lIns="0" tIns="0" rIns="0" bIns="0" anchor="ctr"/>
          <a:lstStyle>
            <a:lvl1pPr marL="0" indent="0" algn="ctr">
              <a:lnSpc>
                <a:spcPct val="100000"/>
              </a:lnSpc>
              <a:spcBef>
                <a:spcPts val="0"/>
              </a:spcBef>
              <a:buNone/>
              <a:defRPr sz="1400" b="1" baseline="0">
                <a:solidFill>
                  <a:schemeClr val="bg1"/>
                </a:solidFill>
                <a:latin typeface="Calibri" panose="020F0502020204030204" pitchFamily="34" charset="0"/>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Box Title</a:t>
            </a:r>
            <a:endParaRPr lang="nl-NL"/>
          </a:p>
        </p:txBody>
      </p:sp>
      <p:sp>
        <p:nvSpPr>
          <p:cNvPr id="10" name="Text Placeholder 3">
            <a:extLst>
              <a:ext uri="{FF2B5EF4-FFF2-40B4-BE49-F238E27FC236}">
                <a16:creationId xmlns:a16="http://schemas.microsoft.com/office/drawing/2014/main" id="{FBE90479-DF3B-C01C-080B-7DF454053238}"/>
              </a:ext>
            </a:extLst>
          </p:cNvPr>
          <p:cNvSpPr>
            <a:spLocks noGrp="1"/>
          </p:cNvSpPr>
          <p:nvPr>
            <p:ph type="body" sz="quarter" idx="80" hasCustomPrompt="1"/>
          </p:nvPr>
        </p:nvSpPr>
        <p:spPr>
          <a:xfrm>
            <a:off x="6271200" y="1054800"/>
            <a:ext cx="2520000" cy="360001"/>
          </a:xfrm>
          <a:prstGeom prst="roundRect">
            <a:avLst/>
          </a:prstGeom>
          <a:solidFill>
            <a:schemeClr val="tx2"/>
          </a:solidFill>
        </p:spPr>
        <p:txBody>
          <a:bodyPr lIns="0" tIns="0" rIns="0" bIns="0" anchor="ctr"/>
          <a:lstStyle>
            <a:lvl1pPr marL="0" indent="0" algn="ctr">
              <a:lnSpc>
                <a:spcPct val="100000"/>
              </a:lnSpc>
              <a:spcBef>
                <a:spcPts val="0"/>
              </a:spcBef>
              <a:buNone/>
              <a:defRPr sz="1400" b="1" baseline="0">
                <a:solidFill>
                  <a:schemeClr val="bg1"/>
                </a:solidFill>
                <a:latin typeface="Calibri" panose="020F0502020204030204" pitchFamily="34" charset="0"/>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Box Title</a:t>
            </a:r>
            <a:endParaRPr lang="nl-NL"/>
          </a:p>
        </p:txBody>
      </p:sp>
      <p:sp>
        <p:nvSpPr>
          <p:cNvPr id="12" name="Text Placeholder 3">
            <a:extLst>
              <a:ext uri="{FF2B5EF4-FFF2-40B4-BE49-F238E27FC236}">
                <a16:creationId xmlns:a16="http://schemas.microsoft.com/office/drawing/2014/main" id="{730CB052-E6BE-CC79-8EFE-C6030772428B}"/>
              </a:ext>
            </a:extLst>
          </p:cNvPr>
          <p:cNvSpPr>
            <a:spLocks noGrp="1"/>
          </p:cNvSpPr>
          <p:nvPr>
            <p:ph type="body" sz="quarter" idx="81" hasCustomPrompt="1"/>
          </p:nvPr>
        </p:nvSpPr>
        <p:spPr>
          <a:xfrm>
            <a:off x="9158400" y="1054800"/>
            <a:ext cx="2520000" cy="360001"/>
          </a:xfrm>
          <a:prstGeom prst="roundRect">
            <a:avLst/>
          </a:prstGeom>
          <a:solidFill>
            <a:schemeClr val="tx2"/>
          </a:solidFill>
        </p:spPr>
        <p:txBody>
          <a:bodyPr lIns="0" tIns="0" rIns="0" bIns="0" anchor="ctr"/>
          <a:lstStyle>
            <a:lvl1pPr marL="0" indent="0" algn="ctr">
              <a:lnSpc>
                <a:spcPct val="100000"/>
              </a:lnSpc>
              <a:spcBef>
                <a:spcPts val="0"/>
              </a:spcBef>
              <a:buNone/>
              <a:defRPr sz="1400" b="1" baseline="0">
                <a:solidFill>
                  <a:schemeClr val="bg1"/>
                </a:solidFill>
                <a:latin typeface="Calibri" panose="020F0502020204030204" pitchFamily="34" charset="0"/>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Box Title</a:t>
            </a:r>
            <a:endParaRPr lang="nl-NL"/>
          </a:p>
        </p:txBody>
      </p:sp>
      <p:sp>
        <p:nvSpPr>
          <p:cNvPr id="2" name="Slide Number Placeholder">
            <a:extLst>
              <a:ext uri="{FF2B5EF4-FFF2-40B4-BE49-F238E27FC236}">
                <a16:creationId xmlns:a16="http://schemas.microsoft.com/office/drawing/2014/main" id="{B27528EA-BA8B-2414-51A5-FF8A9013105A}"/>
              </a:ext>
            </a:extLst>
          </p:cNvPr>
          <p:cNvSpPr>
            <a:spLocks noGrp="1"/>
          </p:cNvSpPr>
          <p:nvPr>
            <p:ph type="sldNum" sz="quarter" idx="12"/>
          </p:nvPr>
        </p:nvSpPr>
        <p:spPr>
          <a:xfrm>
            <a:off x="11319511" y="6120028"/>
            <a:ext cx="350031" cy="360000"/>
          </a:xfrm>
          <a:prstGeom prst="rect">
            <a:avLst/>
          </a:prstGeom>
        </p:spPr>
        <p:txBody>
          <a:bodyPr lIns="0" tIns="0" rIns="0" bIns="0" anchor="ctr"/>
          <a:lstStyle>
            <a:lvl1pPr algn="r">
              <a:defRPr sz="1100">
                <a:solidFill>
                  <a:schemeClr val="bg2"/>
                </a:solidFill>
              </a:defRPr>
            </a:lvl1pPr>
          </a:lstStyle>
          <a:p>
            <a:fld id="{D0281C21-EE02-42A0-BCF6-67BEF936A35A}" type="slidenum">
              <a:rPr lang="en-IN" smtClean="0"/>
              <a:pPr/>
              <a:t>‹#›</a:t>
            </a:fld>
            <a:endParaRPr lang="en-IN"/>
          </a:p>
        </p:txBody>
      </p:sp>
      <p:sp>
        <p:nvSpPr>
          <p:cNvPr id="6" name="Text Placeholder 5">
            <a:extLst>
              <a:ext uri="{FF2B5EF4-FFF2-40B4-BE49-F238E27FC236}">
                <a16:creationId xmlns:a16="http://schemas.microsoft.com/office/drawing/2014/main" id="{4B583210-AC36-B8EF-8B6A-4062FBF9A65B}"/>
              </a:ext>
            </a:extLst>
          </p:cNvPr>
          <p:cNvSpPr>
            <a:spLocks noGrp="1"/>
          </p:cNvSpPr>
          <p:nvPr>
            <p:ph type="body" sz="quarter" idx="82" hasCustomPrompt="1"/>
          </p:nvPr>
        </p:nvSpPr>
        <p:spPr>
          <a:xfrm>
            <a:off x="525896" y="6109200"/>
            <a:ext cx="720000" cy="554400"/>
          </a:xfrm>
        </p:spPr>
        <p:txBody>
          <a:bodyPr/>
          <a:lstStyle>
            <a:lvl1pPr marL="0" indent="0">
              <a:buFontTx/>
              <a:buNone/>
              <a:defRPr sz="1100" b="1">
                <a:solidFill>
                  <a:schemeClr val="bg2"/>
                </a:solidFill>
              </a:defRPr>
            </a:lvl1pPr>
          </a:lstStyle>
          <a:p>
            <a:pPr lvl="0"/>
            <a:r>
              <a:rPr lang="en-US"/>
              <a:t>Sources:</a:t>
            </a:r>
            <a:endParaRPr lang="en-NL"/>
          </a:p>
        </p:txBody>
      </p:sp>
      <p:sp>
        <p:nvSpPr>
          <p:cNvPr id="13" name="Text Placeholder 11">
            <a:extLst>
              <a:ext uri="{FF2B5EF4-FFF2-40B4-BE49-F238E27FC236}">
                <a16:creationId xmlns:a16="http://schemas.microsoft.com/office/drawing/2014/main" id="{CDB821D4-CA86-5AD6-194D-6C5CB1D28983}"/>
              </a:ext>
            </a:extLst>
          </p:cNvPr>
          <p:cNvSpPr>
            <a:spLocks noGrp="1"/>
          </p:cNvSpPr>
          <p:nvPr>
            <p:ph type="body" sz="quarter" idx="83" hasCustomPrompt="1"/>
          </p:nvPr>
        </p:nvSpPr>
        <p:spPr>
          <a:xfrm>
            <a:off x="1152000" y="6109200"/>
            <a:ext cx="8704216" cy="440904"/>
          </a:xfrm>
        </p:spPr>
        <p:txBody>
          <a:bodyPr/>
          <a:lstStyle>
            <a:lvl1pPr marL="0" indent="0">
              <a:buFontTx/>
              <a:buNone/>
              <a:defRPr sz="1100"/>
            </a:lvl1pPr>
          </a:lstStyle>
          <a:p>
            <a:pPr lvl="0"/>
            <a:r>
              <a:rPr lang="en-US"/>
              <a:t>Innova Database (click to edit)</a:t>
            </a:r>
            <a:endParaRPr lang="en-NL"/>
          </a:p>
        </p:txBody>
      </p:sp>
      <p:sp>
        <p:nvSpPr>
          <p:cNvPr id="30" name="Text Placeholder 6">
            <a:extLst>
              <a:ext uri="{FF2B5EF4-FFF2-40B4-BE49-F238E27FC236}">
                <a16:creationId xmlns:a16="http://schemas.microsoft.com/office/drawing/2014/main" id="{0878C431-5E8F-2C55-CCD7-A0C38E154C00}"/>
              </a:ext>
            </a:extLst>
          </p:cNvPr>
          <p:cNvSpPr>
            <a:spLocks noGrp="1"/>
          </p:cNvSpPr>
          <p:nvPr>
            <p:ph type="body" sz="quarter" idx="92" hasCustomPrompt="1"/>
          </p:nvPr>
        </p:nvSpPr>
        <p:spPr>
          <a:xfrm>
            <a:off x="1364107" y="1496874"/>
            <a:ext cx="1681494" cy="646065"/>
          </a:xfrm>
          <a:noFill/>
        </p:spPr>
        <p:txBody>
          <a:bodyPr/>
          <a:lstStyle>
            <a:lvl1pPr marL="0" indent="0">
              <a:buFontTx/>
              <a:buNone/>
              <a:defRPr sz="11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marL="0" marR="0" lvl="0" indent="0" algn="l" defTabSz="914400" rtl="0" eaLnBrk="1" fontAlgn="auto" latinLnBrk="0" hangingPunct="1">
              <a:lnSpc>
                <a:spcPct val="100000"/>
              </a:lnSpc>
              <a:spcBef>
                <a:spcPts val="600"/>
              </a:spcBef>
              <a:spcAft>
                <a:spcPts val="0"/>
              </a:spcAft>
              <a:buClr>
                <a:schemeClr val="tx2"/>
              </a:buClr>
              <a:buSzTx/>
              <a:buFont typeface="Arial" panose="020B0604020202020204" pitchFamily="34" charset="0"/>
              <a:buNone/>
              <a:tabLst/>
              <a:defRPr/>
            </a:pPr>
            <a:r>
              <a:rPr lang="en-US"/>
              <a:t> Chart title goes here (do not add an extra title to the chart below)</a:t>
            </a:r>
          </a:p>
        </p:txBody>
      </p:sp>
      <p:sp>
        <p:nvSpPr>
          <p:cNvPr id="31" name="Text Placeholder 6">
            <a:extLst>
              <a:ext uri="{FF2B5EF4-FFF2-40B4-BE49-F238E27FC236}">
                <a16:creationId xmlns:a16="http://schemas.microsoft.com/office/drawing/2014/main" id="{A804A1EC-8A2F-5249-5E0F-E6597EDC257C}"/>
              </a:ext>
            </a:extLst>
          </p:cNvPr>
          <p:cNvSpPr>
            <a:spLocks noGrp="1"/>
          </p:cNvSpPr>
          <p:nvPr>
            <p:ph type="body" sz="quarter" idx="93" hasCustomPrompt="1"/>
          </p:nvPr>
        </p:nvSpPr>
        <p:spPr>
          <a:xfrm>
            <a:off x="524654" y="1496874"/>
            <a:ext cx="779490" cy="646065"/>
          </a:xfrm>
          <a:noFill/>
        </p:spPr>
        <p:txBody>
          <a:bodyPr/>
          <a:lstStyle>
            <a:lvl1pPr marL="0" indent="0">
              <a:buFontTx/>
              <a:buNone/>
              <a:defRPr sz="1100"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Figure:</a:t>
            </a:r>
            <a:endParaRPr lang="en-IN"/>
          </a:p>
        </p:txBody>
      </p:sp>
      <p:sp>
        <p:nvSpPr>
          <p:cNvPr id="32" name="Text Placeholder 6">
            <a:extLst>
              <a:ext uri="{FF2B5EF4-FFF2-40B4-BE49-F238E27FC236}">
                <a16:creationId xmlns:a16="http://schemas.microsoft.com/office/drawing/2014/main" id="{D40C3B20-673D-9DFB-812C-D7D96CCFCA56}"/>
              </a:ext>
            </a:extLst>
          </p:cNvPr>
          <p:cNvSpPr>
            <a:spLocks noGrp="1"/>
          </p:cNvSpPr>
          <p:nvPr>
            <p:ph type="body" sz="quarter" idx="94" hasCustomPrompt="1"/>
          </p:nvPr>
        </p:nvSpPr>
        <p:spPr>
          <a:xfrm>
            <a:off x="4237853" y="1496874"/>
            <a:ext cx="1681494" cy="646065"/>
          </a:xfrm>
          <a:noFill/>
        </p:spPr>
        <p:txBody>
          <a:bodyPr/>
          <a:lstStyle>
            <a:lvl1pPr marL="0" indent="0">
              <a:buFontTx/>
              <a:buNone/>
              <a:defRPr sz="11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marL="0" marR="0" lvl="0" indent="0" algn="l" defTabSz="914400" rtl="0" eaLnBrk="1" fontAlgn="auto" latinLnBrk="0" hangingPunct="1">
              <a:lnSpc>
                <a:spcPct val="100000"/>
              </a:lnSpc>
              <a:spcBef>
                <a:spcPts val="600"/>
              </a:spcBef>
              <a:spcAft>
                <a:spcPts val="0"/>
              </a:spcAft>
              <a:buClr>
                <a:schemeClr val="tx2"/>
              </a:buClr>
              <a:buSzTx/>
              <a:buFont typeface="Arial" panose="020B0604020202020204" pitchFamily="34" charset="0"/>
              <a:buNone/>
              <a:tabLst/>
              <a:defRPr/>
            </a:pPr>
            <a:r>
              <a:rPr lang="en-US"/>
              <a:t> Chart title goes here (do not add an extra title to the chart below)</a:t>
            </a:r>
          </a:p>
        </p:txBody>
      </p:sp>
      <p:sp>
        <p:nvSpPr>
          <p:cNvPr id="33" name="Text Placeholder 6">
            <a:extLst>
              <a:ext uri="{FF2B5EF4-FFF2-40B4-BE49-F238E27FC236}">
                <a16:creationId xmlns:a16="http://schemas.microsoft.com/office/drawing/2014/main" id="{5E25D440-3941-2B4E-B968-00ECAAEF7176}"/>
              </a:ext>
            </a:extLst>
          </p:cNvPr>
          <p:cNvSpPr>
            <a:spLocks noGrp="1"/>
          </p:cNvSpPr>
          <p:nvPr>
            <p:ph type="body" sz="quarter" idx="95" hasCustomPrompt="1"/>
          </p:nvPr>
        </p:nvSpPr>
        <p:spPr>
          <a:xfrm>
            <a:off x="3398400" y="1496874"/>
            <a:ext cx="779490" cy="646065"/>
          </a:xfrm>
          <a:noFill/>
        </p:spPr>
        <p:txBody>
          <a:bodyPr/>
          <a:lstStyle>
            <a:lvl1pPr marL="0" indent="0">
              <a:buFontTx/>
              <a:buNone/>
              <a:defRPr sz="1100"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Figure:</a:t>
            </a:r>
            <a:endParaRPr lang="en-IN"/>
          </a:p>
        </p:txBody>
      </p:sp>
      <p:sp>
        <p:nvSpPr>
          <p:cNvPr id="34" name="Text Placeholder 6">
            <a:extLst>
              <a:ext uri="{FF2B5EF4-FFF2-40B4-BE49-F238E27FC236}">
                <a16:creationId xmlns:a16="http://schemas.microsoft.com/office/drawing/2014/main" id="{7C2E281A-6606-BE86-5449-0EF1C21199A4}"/>
              </a:ext>
            </a:extLst>
          </p:cNvPr>
          <p:cNvSpPr>
            <a:spLocks noGrp="1"/>
          </p:cNvSpPr>
          <p:nvPr>
            <p:ph type="body" sz="quarter" idx="96" hasCustomPrompt="1"/>
          </p:nvPr>
        </p:nvSpPr>
        <p:spPr>
          <a:xfrm>
            <a:off x="7109706" y="1496874"/>
            <a:ext cx="1681494" cy="646065"/>
          </a:xfrm>
          <a:noFill/>
        </p:spPr>
        <p:txBody>
          <a:bodyPr/>
          <a:lstStyle>
            <a:lvl1pPr marL="0" indent="0">
              <a:buFontTx/>
              <a:buNone/>
              <a:defRPr sz="11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marL="0" marR="0" lvl="0" indent="0" algn="l" defTabSz="914400" rtl="0" eaLnBrk="1" fontAlgn="auto" latinLnBrk="0" hangingPunct="1">
              <a:lnSpc>
                <a:spcPct val="100000"/>
              </a:lnSpc>
              <a:spcBef>
                <a:spcPts val="600"/>
              </a:spcBef>
              <a:spcAft>
                <a:spcPts val="0"/>
              </a:spcAft>
              <a:buClr>
                <a:schemeClr val="tx2"/>
              </a:buClr>
              <a:buSzTx/>
              <a:buFont typeface="Arial" panose="020B0604020202020204" pitchFamily="34" charset="0"/>
              <a:buNone/>
              <a:tabLst/>
              <a:defRPr/>
            </a:pPr>
            <a:r>
              <a:rPr lang="en-US"/>
              <a:t> Chart title goes here (do not add an extra title to the chart below)</a:t>
            </a:r>
          </a:p>
        </p:txBody>
      </p:sp>
      <p:sp>
        <p:nvSpPr>
          <p:cNvPr id="35" name="Text Placeholder 6">
            <a:extLst>
              <a:ext uri="{FF2B5EF4-FFF2-40B4-BE49-F238E27FC236}">
                <a16:creationId xmlns:a16="http://schemas.microsoft.com/office/drawing/2014/main" id="{1F178DDC-A144-D530-039B-FC410DD00EAC}"/>
              </a:ext>
            </a:extLst>
          </p:cNvPr>
          <p:cNvSpPr>
            <a:spLocks noGrp="1"/>
          </p:cNvSpPr>
          <p:nvPr>
            <p:ph type="body" sz="quarter" idx="97" hasCustomPrompt="1"/>
          </p:nvPr>
        </p:nvSpPr>
        <p:spPr>
          <a:xfrm>
            <a:off x="6270253" y="1496874"/>
            <a:ext cx="779490" cy="646065"/>
          </a:xfrm>
          <a:noFill/>
        </p:spPr>
        <p:txBody>
          <a:bodyPr/>
          <a:lstStyle>
            <a:lvl1pPr marL="0" indent="0">
              <a:buFontTx/>
              <a:buNone/>
              <a:defRPr sz="1100"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Figure:</a:t>
            </a:r>
            <a:endParaRPr lang="en-IN"/>
          </a:p>
        </p:txBody>
      </p:sp>
      <p:sp>
        <p:nvSpPr>
          <p:cNvPr id="36" name="Text Placeholder 6">
            <a:extLst>
              <a:ext uri="{FF2B5EF4-FFF2-40B4-BE49-F238E27FC236}">
                <a16:creationId xmlns:a16="http://schemas.microsoft.com/office/drawing/2014/main" id="{36D21343-390D-1B11-CFDE-1D2E3CD2A19D}"/>
              </a:ext>
            </a:extLst>
          </p:cNvPr>
          <p:cNvSpPr>
            <a:spLocks noGrp="1"/>
          </p:cNvSpPr>
          <p:nvPr>
            <p:ph type="body" sz="quarter" idx="98" hasCustomPrompt="1"/>
          </p:nvPr>
        </p:nvSpPr>
        <p:spPr>
          <a:xfrm>
            <a:off x="10003162" y="1496874"/>
            <a:ext cx="1681494" cy="646065"/>
          </a:xfrm>
          <a:noFill/>
        </p:spPr>
        <p:txBody>
          <a:bodyPr/>
          <a:lstStyle>
            <a:lvl1pPr marL="0" indent="0">
              <a:buFontTx/>
              <a:buNone/>
              <a:defRPr sz="11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marL="0" marR="0" lvl="0" indent="0" algn="l" defTabSz="914400" rtl="0" eaLnBrk="1" fontAlgn="auto" latinLnBrk="0" hangingPunct="1">
              <a:lnSpc>
                <a:spcPct val="100000"/>
              </a:lnSpc>
              <a:spcBef>
                <a:spcPts val="600"/>
              </a:spcBef>
              <a:spcAft>
                <a:spcPts val="0"/>
              </a:spcAft>
              <a:buClr>
                <a:schemeClr val="tx2"/>
              </a:buClr>
              <a:buSzTx/>
              <a:buFont typeface="Arial" panose="020B0604020202020204" pitchFamily="34" charset="0"/>
              <a:buNone/>
              <a:tabLst/>
              <a:defRPr/>
            </a:pPr>
            <a:r>
              <a:rPr lang="en-US"/>
              <a:t> Chart title goes here (do not add an extra title to the chart below)</a:t>
            </a:r>
          </a:p>
        </p:txBody>
      </p:sp>
      <p:sp>
        <p:nvSpPr>
          <p:cNvPr id="37" name="Text Placeholder 6">
            <a:extLst>
              <a:ext uri="{FF2B5EF4-FFF2-40B4-BE49-F238E27FC236}">
                <a16:creationId xmlns:a16="http://schemas.microsoft.com/office/drawing/2014/main" id="{BBDC9A26-8392-1D4B-6446-75E0EDB8E5A0}"/>
              </a:ext>
            </a:extLst>
          </p:cNvPr>
          <p:cNvSpPr>
            <a:spLocks noGrp="1"/>
          </p:cNvSpPr>
          <p:nvPr>
            <p:ph type="body" sz="quarter" idx="99" hasCustomPrompt="1"/>
          </p:nvPr>
        </p:nvSpPr>
        <p:spPr>
          <a:xfrm>
            <a:off x="9163709" y="1496874"/>
            <a:ext cx="779490" cy="646065"/>
          </a:xfrm>
          <a:noFill/>
        </p:spPr>
        <p:txBody>
          <a:bodyPr/>
          <a:lstStyle>
            <a:lvl1pPr marL="0" indent="0">
              <a:buFontTx/>
              <a:buNone/>
              <a:defRPr sz="1100"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Figure:</a:t>
            </a:r>
            <a:endParaRPr lang="en-IN"/>
          </a:p>
        </p:txBody>
      </p:sp>
    </p:spTree>
    <p:extLst>
      <p:ext uri="{BB962C8B-B14F-4D97-AF65-F5344CB8AC3E}">
        <p14:creationId xmlns:p14="http://schemas.microsoft.com/office/powerpoint/2010/main" val="2049862518"/>
      </p:ext>
    </p:extLst>
  </p:cSld>
  <p:clrMapOvr>
    <a:masterClrMapping/>
  </p:clrMapOvr>
  <p:extLst>
    <p:ext uri="{DCECCB84-F9BA-43D5-87BE-67443E8EF086}">
      <p15:sldGuideLst xmlns:p15="http://schemas.microsoft.com/office/powerpoint/2012/main">
        <p15:guide id="1" pos="1912">
          <p15:clr>
            <a:srgbClr val="FBAE40"/>
          </p15:clr>
        </p15:guide>
        <p15:guide id="2" pos="5541">
          <p15:clr>
            <a:srgbClr val="FBAE40"/>
          </p15:clr>
        </p15:guide>
        <p15:guide id="3" pos="5768">
          <p15:clr>
            <a:srgbClr val="FBAE40"/>
          </p15:clr>
        </p15:guide>
        <p15:guide id="4" pos="2139">
          <p15:clr>
            <a:srgbClr val="FBAE40"/>
          </p15:clr>
        </p15:guide>
        <p15:guide id="5" pos="3727">
          <p15:clr>
            <a:srgbClr val="FBAE40"/>
          </p15:clr>
        </p15:guide>
        <p15:guide id="6" pos="3953">
          <p15:clr>
            <a:srgbClr val="FBAE40"/>
          </p15:clr>
        </p15:guide>
        <p15:guide id="7" orient="horz" pos="890">
          <p15:clr>
            <a:srgbClr val="FBAE40"/>
          </p15:clr>
        </p15:guide>
        <p15:guide id="8" orient="horz" pos="935">
          <p15:clr>
            <a:srgbClr val="FBAE4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Wide Contant and Narrow Content">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630C01F3-C245-F63D-1E2F-2C692181E356}"/>
              </a:ext>
            </a:extLst>
          </p:cNvPr>
          <p:cNvSpPr>
            <a:spLocks noGrp="1"/>
          </p:cNvSpPr>
          <p:nvPr>
            <p:ph idx="51"/>
          </p:nvPr>
        </p:nvSpPr>
        <p:spPr>
          <a:xfrm>
            <a:off x="8085600" y="1062000"/>
            <a:ext cx="3600450" cy="4824412"/>
          </a:xfrm>
        </p:spPr>
        <p:txBody>
          <a:bodyPr vert="horz" lIns="0" tIns="46800" rIns="0" bIns="0" rtlCol="0">
            <a:noAutofit/>
          </a:bodyPr>
          <a:lstStyle>
            <a:lvl1pPr marL="171450" indent="-171450">
              <a:buFont typeface="Arial" panose="020B0604020202020204" pitchFamily="34" charset="0"/>
              <a:buChar char="•"/>
              <a:defRPr lang="en-US" dirty="0"/>
            </a:lvl1pPr>
          </a:lstStyle>
          <a:p>
            <a:pPr lvl="0"/>
            <a:r>
              <a:rPr lang="en-US"/>
              <a:t>Click to edit</a:t>
            </a:r>
          </a:p>
        </p:txBody>
      </p:sp>
      <p:sp>
        <p:nvSpPr>
          <p:cNvPr id="4" name="Content Placeholder ">
            <a:extLst>
              <a:ext uri="{FF2B5EF4-FFF2-40B4-BE49-F238E27FC236}">
                <a16:creationId xmlns:a16="http://schemas.microsoft.com/office/drawing/2014/main" id="{44E63929-E3AD-02A8-10E6-C267C84FC104}"/>
              </a:ext>
            </a:extLst>
          </p:cNvPr>
          <p:cNvSpPr>
            <a:spLocks noGrp="1"/>
          </p:cNvSpPr>
          <p:nvPr>
            <p:ph idx="52"/>
          </p:nvPr>
        </p:nvSpPr>
        <p:spPr>
          <a:xfrm>
            <a:off x="525600" y="1062000"/>
            <a:ext cx="7200000" cy="4824411"/>
          </a:xfrm>
        </p:spPr>
        <p:txBody>
          <a:bodyPr vert="horz" lIns="0" tIns="46800" rIns="0" bIns="0" rtlCol="0">
            <a:noAutofit/>
          </a:bodyPr>
          <a:lstStyle>
            <a:lvl1pPr>
              <a:defRPr lang="en-US" dirty="0"/>
            </a:lvl1pPr>
          </a:lstStyle>
          <a:p>
            <a:pPr lvl="0"/>
            <a:r>
              <a:rPr lang="en-US"/>
              <a:t>Click to edit</a:t>
            </a:r>
          </a:p>
        </p:txBody>
      </p:sp>
      <p:sp>
        <p:nvSpPr>
          <p:cNvPr id="11" name="Title">
            <a:extLst>
              <a:ext uri="{FF2B5EF4-FFF2-40B4-BE49-F238E27FC236}">
                <a16:creationId xmlns:a16="http://schemas.microsoft.com/office/drawing/2014/main" id="{F93D4ED7-389B-E455-26AD-7426F17CB8D4}"/>
              </a:ext>
            </a:extLst>
          </p:cNvPr>
          <p:cNvSpPr>
            <a:spLocks noGrp="1"/>
          </p:cNvSpPr>
          <p:nvPr>
            <p:ph type="title"/>
          </p:nvPr>
        </p:nvSpPr>
        <p:spPr/>
        <p:txBody>
          <a:bodyPr/>
          <a:lstStyle/>
          <a:p>
            <a:r>
              <a:rPr lang="en-US"/>
              <a:t>Click to edit Master title style</a:t>
            </a:r>
            <a:endParaRPr lang="en-NL"/>
          </a:p>
        </p:txBody>
      </p:sp>
      <p:sp>
        <p:nvSpPr>
          <p:cNvPr id="3" name="Slide Number Placeholder">
            <a:extLst>
              <a:ext uri="{FF2B5EF4-FFF2-40B4-BE49-F238E27FC236}">
                <a16:creationId xmlns:a16="http://schemas.microsoft.com/office/drawing/2014/main" id="{7F43AF0E-18F1-3790-891B-32C83FEE86AB}"/>
              </a:ext>
            </a:extLst>
          </p:cNvPr>
          <p:cNvSpPr>
            <a:spLocks noGrp="1"/>
          </p:cNvSpPr>
          <p:nvPr>
            <p:ph type="sldNum" sz="quarter" idx="12"/>
          </p:nvPr>
        </p:nvSpPr>
        <p:spPr>
          <a:xfrm>
            <a:off x="11319511" y="6120028"/>
            <a:ext cx="350031" cy="360000"/>
          </a:xfrm>
          <a:prstGeom prst="rect">
            <a:avLst/>
          </a:prstGeom>
        </p:spPr>
        <p:txBody>
          <a:bodyPr lIns="0" tIns="0" rIns="0" bIns="0" anchor="ctr"/>
          <a:lstStyle>
            <a:lvl1pPr algn="r">
              <a:defRPr sz="1100">
                <a:solidFill>
                  <a:schemeClr val="bg2"/>
                </a:solidFill>
              </a:defRPr>
            </a:lvl1pPr>
          </a:lstStyle>
          <a:p>
            <a:fld id="{D0281C21-EE02-42A0-BCF6-67BEF936A35A}" type="slidenum">
              <a:rPr lang="en-IN" smtClean="0"/>
              <a:pPr/>
              <a:t>‹#›</a:t>
            </a:fld>
            <a:endParaRPr lang="en-IN"/>
          </a:p>
        </p:txBody>
      </p:sp>
      <p:sp>
        <p:nvSpPr>
          <p:cNvPr id="6" name="Text Placeholder 5">
            <a:extLst>
              <a:ext uri="{FF2B5EF4-FFF2-40B4-BE49-F238E27FC236}">
                <a16:creationId xmlns:a16="http://schemas.microsoft.com/office/drawing/2014/main" id="{22B4BB88-C6F2-5570-7DD8-E0C6DB23A65A}"/>
              </a:ext>
            </a:extLst>
          </p:cNvPr>
          <p:cNvSpPr>
            <a:spLocks noGrp="1"/>
          </p:cNvSpPr>
          <p:nvPr>
            <p:ph type="body" sz="quarter" idx="80" hasCustomPrompt="1"/>
          </p:nvPr>
        </p:nvSpPr>
        <p:spPr>
          <a:xfrm>
            <a:off x="525600" y="6109200"/>
            <a:ext cx="720000" cy="554400"/>
          </a:xfrm>
        </p:spPr>
        <p:txBody>
          <a:bodyPr/>
          <a:lstStyle>
            <a:lvl1pPr marL="0" indent="0">
              <a:buFontTx/>
              <a:buNone/>
              <a:defRPr sz="1100" b="1">
                <a:solidFill>
                  <a:schemeClr val="bg2"/>
                </a:solidFill>
              </a:defRPr>
            </a:lvl1pPr>
          </a:lstStyle>
          <a:p>
            <a:pPr lvl="0"/>
            <a:r>
              <a:rPr lang="en-US"/>
              <a:t>Sources:</a:t>
            </a:r>
            <a:endParaRPr lang="en-NL"/>
          </a:p>
        </p:txBody>
      </p:sp>
      <p:sp>
        <p:nvSpPr>
          <p:cNvPr id="8" name="Text Placeholder 11">
            <a:extLst>
              <a:ext uri="{FF2B5EF4-FFF2-40B4-BE49-F238E27FC236}">
                <a16:creationId xmlns:a16="http://schemas.microsoft.com/office/drawing/2014/main" id="{A7E5FB68-90F6-690A-2352-430CD823769B}"/>
              </a:ext>
            </a:extLst>
          </p:cNvPr>
          <p:cNvSpPr>
            <a:spLocks noGrp="1"/>
          </p:cNvSpPr>
          <p:nvPr>
            <p:ph type="body" sz="quarter" idx="81" hasCustomPrompt="1"/>
          </p:nvPr>
        </p:nvSpPr>
        <p:spPr>
          <a:xfrm>
            <a:off x="1152000" y="6109200"/>
            <a:ext cx="8704216" cy="440904"/>
          </a:xfrm>
        </p:spPr>
        <p:txBody>
          <a:bodyPr/>
          <a:lstStyle>
            <a:lvl1pPr marL="0" indent="0">
              <a:buFontTx/>
              <a:buNone/>
              <a:defRPr sz="1100"/>
            </a:lvl1pPr>
          </a:lstStyle>
          <a:p>
            <a:pPr lvl="0"/>
            <a:r>
              <a:rPr lang="en-US"/>
              <a:t>Innova Database (click to edit)</a:t>
            </a:r>
            <a:endParaRPr lang="en-NL"/>
          </a:p>
        </p:txBody>
      </p:sp>
    </p:spTree>
    <p:extLst>
      <p:ext uri="{BB962C8B-B14F-4D97-AF65-F5344CB8AC3E}">
        <p14:creationId xmlns:p14="http://schemas.microsoft.com/office/powerpoint/2010/main" val="4128910593"/>
      </p:ext>
    </p:extLst>
  </p:cSld>
  <p:clrMapOvr>
    <a:masterClrMapping/>
  </p:clrMapOvr>
  <p:extLst>
    <p:ext uri="{DCECCB84-F9BA-43D5-87BE-67443E8EF086}">
      <p15:sldGuideLst xmlns:p15="http://schemas.microsoft.com/office/powerpoint/2012/main"/>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Boxes, Wide Contant and Narrow Content">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630C01F3-C245-F63D-1E2F-2C692181E356}"/>
              </a:ext>
            </a:extLst>
          </p:cNvPr>
          <p:cNvSpPr>
            <a:spLocks noGrp="1"/>
          </p:cNvSpPr>
          <p:nvPr>
            <p:ph idx="51"/>
          </p:nvPr>
        </p:nvSpPr>
        <p:spPr>
          <a:xfrm>
            <a:off x="8085600" y="1494000"/>
            <a:ext cx="3600450" cy="4392613"/>
          </a:xfrm>
        </p:spPr>
        <p:txBody>
          <a:bodyPr vert="horz" lIns="0" tIns="46800" rIns="0" bIns="0" rtlCol="0">
            <a:noAutofit/>
          </a:bodyPr>
          <a:lstStyle>
            <a:lvl1pPr marL="171450" indent="-171450">
              <a:buFont typeface="Arial" panose="020B0604020202020204" pitchFamily="34" charset="0"/>
              <a:buChar char="•"/>
              <a:defRPr lang="en-US" dirty="0"/>
            </a:lvl1pPr>
          </a:lstStyle>
          <a:p>
            <a:pPr lvl="0"/>
            <a:r>
              <a:rPr lang="en-US"/>
              <a:t>Click to edit</a:t>
            </a:r>
          </a:p>
        </p:txBody>
      </p:sp>
      <p:sp>
        <p:nvSpPr>
          <p:cNvPr id="4" name="Content Placeholder ">
            <a:extLst>
              <a:ext uri="{FF2B5EF4-FFF2-40B4-BE49-F238E27FC236}">
                <a16:creationId xmlns:a16="http://schemas.microsoft.com/office/drawing/2014/main" id="{44E63929-E3AD-02A8-10E6-C267C84FC104}"/>
              </a:ext>
            </a:extLst>
          </p:cNvPr>
          <p:cNvSpPr>
            <a:spLocks noGrp="1"/>
          </p:cNvSpPr>
          <p:nvPr>
            <p:ph idx="52"/>
          </p:nvPr>
        </p:nvSpPr>
        <p:spPr>
          <a:xfrm>
            <a:off x="525600" y="1494000"/>
            <a:ext cx="7200000" cy="4391298"/>
          </a:xfrm>
        </p:spPr>
        <p:txBody>
          <a:bodyPr vert="horz" lIns="0" tIns="46800" rIns="0" bIns="0" rtlCol="0">
            <a:noAutofit/>
          </a:bodyPr>
          <a:lstStyle>
            <a:lvl1pPr>
              <a:defRPr lang="en-US" dirty="0"/>
            </a:lvl1pPr>
          </a:lstStyle>
          <a:p>
            <a:pPr lvl="0"/>
            <a:r>
              <a:rPr lang="en-US"/>
              <a:t>Click to edit</a:t>
            </a:r>
          </a:p>
        </p:txBody>
      </p:sp>
      <p:sp>
        <p:nvSpPr>
          <p:cNvPr id="11" name="Title">
            <a:extLst>
              <a:ext uri="{FF2B5EF4-FFF2-40B4-BE49-F238E27FC236}">
                <a16:creationId xmlns:a16="http://schemas.microsoft.com/office/drawing/2014/main" id="{F93D4ED7-389B-E455-26AD-7426F17CB8D4}"/>
              </a:ext>
            </a:extLst>
          </p:cNvPr>
          <p:cNvSpPr>
            <a:spLocks noGrp="1"/>
          </p:cNvSpPr>
          <p:nvPr>
            <p:ph type="title"/>
          </p:nvPr>
        </p:nvSpPr>
        <p:spPr/>
        <p:txBody>
          <a:bodyPr/>
          <a:lstStyle/>
          <a:p>
            <a:r>
              <a:rPr lang="en-US"/>
              <a:t>Click to edit Master title style</a:t>
            </a:r>
            <a:endParaRPr lang="en-NL"/>
          </a:p>
        </p:txBody>
      </p:sp>
      <p:sp>
        <p:nvSpPr>
          <p:cNvPr id="5" name="Text Placeholder 3">
            <a:extLst>
              <a:ext uri="{FF2B5EF4-FFF2-40B4-BE49-F238E27FC236}">
                <a16:creationId xmlns:a16="http://schemas.microsoft.com/office/drawing/2014/main" id="{8C3704B2-75A8-FC73-841F-A8762053106F}"/>
              </a:ext>
            </a:extLst>
          </p:cNvPr>
          <p:cNvSpPr>
            <a:spLocks noGrp="1"/>
          </p:cNvSpPr>
          <p:nvPr>
            <p:ph type="body" sz="quarter" idx="78" hasCustomPrompt="1"/>
          </p:nvPr>
        </p:nvSpPr>
        <p:spPr>
          <a:xfrm>
            <a:off x="515938" y="1062000"/>
            <a:ext cx="7200000" cy="360001"/>
          </a:xfrm>
          <a:prstGeom prst="roundRect">
            <a:avLst/>
          </a:prstGeom>
          <a:solidFill>
            <a:schemeClr val="tx2"/>
          </a:solidFill>
        </p:spPr>
        <p:txBody>
          <a:bodyPr lIns="0" tIns="0" rIns="0" bIns="0" anchor="ctr"/>
          <a:lstStyle>
            <a:lvl1pPr marL="0" indent="0" algn="ctr">
              <a:lnSpc>
                <a:spcPct val="100000"/>
              </a:lnSpc>
              <a:spcBef>
                <a:spcPts val="0"/>
              </a:spcBef>
              <a:buNone/>
              <a:defRPr sz="1400" b="1" baseline="0">
                <a:solidFill>
                  <a:schemeClr val="bg1"/>
                </a:solidFill>
                <a:latin typeface="Calibri" panose="020F0502020204030204" pitchFamily="34" charset="0"/>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Box Title</a:t>
            </a:r>
            <a:endParaRPr lang="nl-NL"/>
          </a:p>
        </p:txBody>
      </p:sp>
      <p:sp>
        <p:nvSpPr>
          <p:cNvPr id="7" name="Text Placeholder 3">
            <a:extLst>
              <a:ext uri="{FF2B5EF4-FFF2-40B4-BE49-F238E27FC236}">
                <a16:creationId xmlns:a16="http://schemas.microsoft.com/office/drawing/2014/main" id="{0FCC1FDB-94BE-BDCD-1539-7B06D4137CAB}"/>
              </a:ext>
            </a:extLst>
          </p:cNvPr>
          <p:cNvSpPr>
            <a:spLocks noGrp="1"/>
          </p:cNvSpPr>
          <p:nvPr>
            <p:ph type="body" sz="quarter" idx="79" hasCustomPrompt="1"/>
          </p:nvPr>
        </p:nvSpPr>
        <p:spPr>
          <a:xfrm>
            <a:off x="8084204" y="1062000"/>
            <a:ext cx="3600451" cy="360001"/>
          </a:xfrm>
          <a:prstGeom prst="roundRect">
            <a:avLst/>
          </a:prstGeom>
          <a:solidFill>
            <a:schemeClr val="tx2"/>
          </a:solidFill>
        </p:spPr>
        <p:txBody>
          <a:bodyPr lIns="0" tIns="0" rIns="0" bIns="0" anchor="ctr"/>
          <a:lstStyle>
            <a:lvl1pPr marL="0" indent="0" algn="ctr">
              <a:lnSpc>
                <a:spcPct val="100000"/>
              </a:lnSpc>
              <a:spcBef>
                <a:spcPts val="0"/>
              </a:spcBef>
              <a:buNone/>
              <a:defRPr sz="1400" b="1" baseline="0">
                <a:solidFill>
                  <a:schemeClr val="bg1"/>
                </a:solidFill>
                <a:latin typeface="Calibri" panose="020F0502020204030204" pitchFamily="34" charset="0"/>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Box Title</a:t>
            </a:r>
            <a:endParaRPr lang="nl-NL"/>
          </a:p>
        </p:txBody>
      </p:sp>
      <p:sp>
        <p:nvSpPr>
          <p:cNvPr id="3" name="Slide Number Placeholder">
            <a:extLst>
              <a:ext uri="{FF2B5EF4-FFF2-40B4-BE49-F238E27FC236}">
                <a16:creationId xmlns:a16="http://schemas.microsoft.com/office/drawing/2014/main" id="{8553E0BB-FF7F-6F80-277D-111031A8BC9D}"/>
              </a:ext>
            </a:extLst>
          </p:cNvPr>
          <p:cNvSpPr>
            <a:spLocks noGrp="1"/>
          </p:cNvSpPr>
          <p:nvPr>
            <p:ph type="sldNum" sz="quarter" idx="12"/>
          </p:nvPr>
        </p:nvSpPr>
        <p:spPr>
          <a:xfrm>
            <a:off x="11319511" y="6120028"/>
            <a:ext cx="350031" cy="360000"/>
          </a:xfrm>
          <a:prstGeom prst="rect">
            <a:avLst/>
          </a:prstGeom>
        </p:spPr>
        <p:txBody>
          <a:bodyPr lIns="0" tIns="0" rIns="0" bIns="0" anchor="ctr"/>
          <a:lstStyle>
            <a:lvl1pPr algn="r">
              <a:defRPr sz="1100">
                <a:solidFill>
                  <a:schemeClr val="bg2"/>
                </a:solidFill>
              </a:defRPr>
            </a:lvl1pPr>
          </a:lstStyle>
          <a:p>
            <a:fld id="{D0281C21-EE02-42A0-BCF6-67BEF936A35A}" type="slidenum">
              <a:rPr lang="en-IN" smtClean="0"/>
              <a:pPr/>
              <a:t>‹#›</a:t>
            </a:fld>
            <a:endParaRPr lang="en-IN"/>
          </a:p>
        </p:txBody>
      </p:sp>
      <p:sp>
        <p:nvSpPr>
          <p:cNvPr id="6" name="Text Placeholder 5">
            <a:extLst>
              <a:ext uri="{FF2B5EF4-FFF2-40B4-BE49-F238E27FC236}">
                <a16:creationId xmlns:a16="http://schemas.microsoft.com/office/drawing/2014/main" id="{170063AD-28EF-42A5-3B13-5673F7D753CF}"/>
              </a:ext>
            </a:extLst>
          </p:cNvPr>
          <p:cNvSpPr>
            <a:spLocks noGrp="1"/>
          </p:cNvSpPr>
          <p:nvPr>
            <p:ph type="body" sz="quarter" idx="80" hasCustomPrompt="1"/>
          </p:nvPr>
        </p:nvSpPr>
        <p:spPr>
          <a:xfrm>
            <a:off x="525600" y="6109200"/>
            <a:ext cx="720000" cy="554400"/>
          </a:xfrm>
        </p:spPr>
        <p:txBody>
          <a:bodyPr/>
          <a:lstStyle>
            <a:lvl1pPr marL="0" indent="0">
              <a:buFontTx/>
              <a:buNone/>
              <a:defRPr sz="1100" b="1">
                <a:solidFill>
                  <a:schemeClr val="bg2"/>
                </a:solidFill>
              </a:defRPr>
            </a:lvl1pPr>
          </a:lstStyle>
          <a:p>
            <a:pPr lvl="0"/>
            <a:r>
              <a:rPr lang="en-US"/>
              <a:t>Sources:</a:t>
            </a:r>
            <a:endParaRPr lang="en-NL"/>
          </a:p>
        </p:txBody>
      </p:sp>
      <p:sp>
        <p:nvSpPr>
          <p:cNvPr id="8" name="Text Placeholder 11">
            <a:extLst>
              <a:ext uri="{FF2B5EF4-FFF2-40B4-BE49-F238E27FC236}">
                <a16:creationId xmlns:a16="http://schemas.microsoft.com/office/drawing/2014/main" id="{6E9850EE-2865-678E-0838-7602F9E1DED2}"/>
              </a:ext>
            </a:extLst>
          </p:cNvPr>
          <p:cNvSpPr>
            <a:spLocks noGrp="1"/>
          </p:cNvSpPr>
          <p:nvPr>
            <p:ph type="body" sz="quarter" idx="81" hasCustomPrompt="1"/>
          </p:nvPr>
        </p:nvSpPr>
        <p:spPr>
          <a:xfrm>
            <a:off x="1152000" y="6109200"/>
            <a:ext cx="8704216" cy="440904"/>
          </a:xfrm>
        </p:spPr>
        <p:txBody>
          <a:bodyPr/>
          <a:lstStyle>
            <a:lvl1pPr marL="0" indent="0">
              <a:buFontTx/>
              <a:buNone/>
              <a:defRPr sz="1100"/>
            </a:lvl1pPr>
          </a:lstStyle>
          <a:p>
            <a:pPr lvl="0"/>
            <a:r>
              <a:rPr lang="en-US"/>
              <a:t>Innova Database (click to edit)</a:t>
            </a:r>
            <a:endParaRPr lang="en-NL"/>
          </a:p>
        </p:txBody>
      </p:sp>
    </p:spTree>
    <p:extLst>
      <p:ext uri="{BB962C8B-B14F-4D97-AF65-F5344CB8AC3E}">
        <p14:creationId xmlns:p14="http://schemas.microsoft.com/office/powerpoint/2010/main" val="3151253045"/>
      </p:ext>
    </p:extLst>
  </p:cSld>
  <p:clrMapOvr>
    <a:masterClrMapping/>
  </p:clrMapOvr>
  <p:extLst>
    <p:ext uri="{DCECCB84-F9BA-43D5-87BE-67443E8EF086}">
      <p15:sldGuideLst xmlns:p15="http://schemas.microsoft.com/office/powerpoint/2012/main">
        <p15:guide id="2" pos="4997">
          <p15:clr>
            <a:srgbClr val="FBAE40"/>
          </p15:clr>
        </p15:guide>
        <p15:guide id="3" pos="5087">
          <p15:clr>
            <a:srgbClr val="FBAE40"/>
          </p15:clr>
        </p15:guide>
        <p15:guide id="4" orient="horz" pos="890">
          <p15:clr>
            <a:srgbClr val="FBAE40"/>
          </p15:clr>
        </p15:guide>
        <p15:guide id="5" orient="horz" pos="935">
          <p15:clr>
            <a:srgbClr val="FBAE4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Two Content">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630C01F3-C245-F63D-1E2F-2C692181E356}"/>
              </a:ext>
            </a:extLst>
          </p:cNvPr>
          <p:cNvSpPr>
            <a:spLocks noGrp="1"/>
          </p:cNvSpPr>
          <p:nvPr>
            <p:ph idx="51"/>
          </p:nvPr>
        </p:nvSpPr>
        <p:spPr>
          <a:xfrm>
            <a:off x="6275387" y="1062000"/>
            <a:ext cx="5400675" cy="4680000"/>
          </a:xfrm>
        </p:spPr>
        <p:txBody>
          <a:bodyPr vert="horz" lIns="0" tIns="46800" rIns="0" bIns="0" rtlCol="0">
            <a:noAutofit/>
          </a:bodyPr>
          <a:lstStyle>
            <a:lvl1pPr marL="171450" indent="-171450">
              <a:buFont typeface="Arial" panose="020B0604020202020204" pitchFamily="34" charset="0"/>
              <a:buChar char="•"/>
              <a:defRPr lang="en-US" dirty="0"/>
            </a:lvl1pPr>
          </a:lstStyle>
          <a:p>
            <a:pPr lvl="0"/>
            <a:r>
              <a:rPr lang="en-US"/>
              <a:t>Click to edit</a:t>
            </a:r>
          </a:p>
        </p:txBody>
      </p:sp>
      <p:sp>
        <p:nvSpPr>
          <p:cNvPr id="4" name="Content Placeholder 1">
            <a:extLst>
              <a:ext uri="{FF2B5EF4-FFF2-40B4-BE49-F238E27FC236}">
                <a16:creationId xmlns:a16="http://schemas.microsoft.com/office/drawing/2014/main" id="{44E63929-E3AD-02A8-10E6-C267C84FC104}"/>
              </a:ext>
            </a:extLst>
          </p:cNvPr>
          <p:cNvSpPr>
            <a:spLocks noGrp="1"/>
          </p:cNvSpPr>
          <p:nvPr>
            <p:ph idx="52"/>
          </p:nvPr>
        </p:nvSpPr>
        <p:spPr>
          <a:xfrm>
            <a:off x="525599" y="1062000"/>
            <a:ext cx="5400000" cy="4680000"/>
          </a:xfrm>
        </p:spPr>
        <p:txBody>
          <a:bodyPr vert="horz" lIns="0" tIns="46800" rIns="0" bIns="0" rtlCol="0">
            <a:noAutofit/>
          </a:bodyPr>
          <a:lstStyle>
            <a:lvl1pPr>
              <a:defRPr lang="en-US" dirty="0"/>
            </a:lvl1pPr>
          </a:lstStyle>
          <a:p>
            <a:pPr lvl="0"/>
            <a:r>
              <a:rPr lang="en-US"/>
              <a:t>Click to edit</a:t>
            </a:r>
          </a:p>
        </p:txBody>
      </p:sp>
      <p:sp>
        <p:nvSpPr>
          <p:cNvPr id="11" name="Title">
            <a:extLst>
              <a:ext uri="{FF2B5EF4-FFF2-40B4-BE49-F238E27FC236}">
                <a16:creationId xmlns:a16="http://schemas.microsoft.com/office/drawing/2014/main" id="{F93D4ED7-389B-E455-26AD-7426F17CB8D4}"/>
              </a:ext>
            </a:extLst>
          </p:cNvPr>
          <p:cNvSpPr>
            <a:spLocks noGrp="1"/>
          </p:cNvSpPr>
          <p:nvPr>
            <p:ph type="title"/>
          </p:nvPr>
        </p:nvSpPr>
        <p:spPr/>
        <p:txBody>
          <a:bodyPr/>
          <a:lstStyle/>
          <a:p>
            <a:r>
              <a:rPr lang="en-US"/>
              <a:t>Click to edit Master title style</a:t>
            </a:r>
            <a:endParaRPr lang="en-NL"/>
          </a:p>
        </p:txBody>
      </p:sp>
      <p:sp>
        <p:nvSpPr>
          <p:cNvPr id="3" name="Slide Number Placeholder">
            <a:extLst>
              <a:ext uri="{FF2B5EF4-FFF2-40B4-BE49-F238E27FC236}">
                <a16:creationId xmlns:a16="http://schemas.microsoft.com/office/drawing/2014/main" id="{3CE2ED79-F94C-ABC0-DC7B-4255B02BAD58}"/>
              </a:ext>
            </a:extLst>
          </p:cNvPr>
          <p:cNvSpPr>
            <a:spLocks noGrp="1"/>
          </p:cNvSpPr>
          <p:nvPr>
            <p:ph type="sldNum" sz="quarter" idx="12"/>
          </p:nvPr>
        </p:nvSpPr>
        <p:spPr>
          <a:xfrm>
            <a:off x="11319511" y="6120028"/>
            <a:ext cx="350031" cy="360000"/>
          </a:xfrm>
          <a:prstGeom prst="rect">
            <a:avLst/>
          </a:prstGeom>
        </p:spPr>
        <p:txBody>
          <a:bodyPr lIns="0" tIns="0" rIns="0" bIns="0" anchor="ctr"/>
          <a:lstStyle>
            <a:lvl1pPr algn="r">
              <a:defRPr sz="1100">
                <a:solidFill>
                  <a:schemeClr val="bg2"/>
                </a:solidFill>
              </a:defRPr>
            </a:lvl1pPr>
          </a:lstStyle>
          <a:p>
            <a:fld id="{D0281C21-EE02-42A0-BCF6-67BEF936A35A}" type="slidenum">
              <a:rPr lang="en-IN" smtClean="0"/>
              <a:pPr/>
              <a:t>‹#›</a:t>
            </a:fld>
            <a:endParaRPr lang="en-IN"/>
          </a:p>
        </p:txBody>
      </p:sp>
      <p:sp>
        <p:nvSpPr>
          <p:cNvPr id="6" name="Text Placeholder 5">
            <a:extLst>
              <a:ext uri="{FF2B5EF4-FFF2-40B4-BE49-F238E27FC236}">
                <a16:creationId xmlns:a16="http://schemas.microsoft.com/office/drawing/2014/main" id="{53261090-029C-6973-58B2-C3AC2A21F7C8}"/>
              </a:ext>
            </a:extLst>
          </p:cNvPr>
          <p:cNvSpPr>
            <a:spLocks noGrp="1"/>
          </p:cNvSpPr>
          <p:nvPr>
            <p:ph type="body" sz="quarter" idx="80" hasCustomPrompt="1"/>
          </p:nvPr>
        </p:nvSpPr>
        <p:spPr>
          <a:xfrm>
            <a:off x="522458" y="6109200"/>
            <a:ext cx="720000" cy="554400"/>
          </a:xfrm>
        </p:spPr>
        <p:txBody>
          <a:bodyPr/>
          <a:lstStyle>
            <a:lvl1pPr marL="0" indent="0">
              <a:buFontTx/>
              <a:buNone/>
              <a:defRPr sz="1100" b="1">
                <a:solidFill>
                  <a:schemeClr val="bg2"/>
                </a:solidFill>
              </a:defRPr>
            </a:lvl1pPr>
          </a:lstStyle>
          <a:p>
            <a:pPr lvl="0"/>
            <a:r>
              <a:rPr lang="en-US"/>
              <a:t>Sources:</a:t>
            </a:r>
            <a:endParaRPr lang="en-NL"/>
          </a:p>
        </p:txBody>
      </p:sp>
      <p:sp>
        <p:nvSpPr>
          <p:cNvPr id="8" name="Text Placeholder 11">
            <a:extLst>
              <a:ext uri="{FF2B5EF4-FFF2-40B4-BE49-F238E27FC236}">
                <a16:creationId xmlns:a16="http://schemas.microsoft.com/office/drawing/2014/main" id="{B410DD40-7800-4997-F4F6-55C658B2E485}"/>
              </a:ext>
            </a:extLst>
          </p:cNvPr>
          <p:cNvSpPr>
            <a:spLocks noGrp="1"/>
          </p:cNvSpPr>
          <p:nvPr>
            <p:ph type="body" sz="quarter" idx="81" hasCustomPrompt="1"/>
          </p:nvPr>
        </p:nvSpPr>
        <p:spPr>
          <a:xfrm>
            <a:off x="1148858" y="6109200"/>
            <a:ext cx="8704216" cy="440904"/>
          </a:xfrm>
        </p:spPr>
        <p:txBody>
          <a:bodyPr/>
          <a:lstStyle>
            <a:lvl1pPr marL="0" indent="0">
              <a:buFontTx/>
              <a:buNone/>
              <a:defRPr sz="1100"/>
            </a:lvl1pPr>
          </a:lstStyle>
          <a:p>
            <a:pPr lvl="0"/>
            <a:r>
              <a:rPr lang="en-US"/>
              <a:t>Innova Database (click to edit)</a:t>
            </a:r>
            <a:endParaRPr lang="en-NL"/>
          </a:p>
        </p:txBody>
      </p:sp>
    </p:spTree>
    <p:extLst>
      <p:ext uri="{BB962C8B-B14F-4D97-AF65-F5344CB8AC3E}">
        <p14:creationId xmlns:p14="http://schemas.microsoft.com/office/powerpoint/2010/main" val="3036643286"/>
      </p:ext>
    </p:extLst>
  </p:cSld>
  <p:clrMapOvr>
    <a:masterClrMapping/>
  </p:clrMapOvr>
  <p:extLst>
    <p:ext uri="{DCECCB84-F9BA-43D5-87BE-67443E8EF086}">
      <p15:sldGuideLst xmlns:p15="http://schemas.microsoft.com/office/powerpoint/2012/main">
        <p15:guide id="2" pos="3727">
          <p15:clr>
            <a:srgbClr val="FBAE40"/>
          </p15:clr>
        </p15:guide>
        <p15:guide id="3" pos="3953">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 Brand - 1">
    <p:spTree>
      <p:nvGrpSpPr>
        <p:cNvPr id="1" name=""/>
        <p:cNvGrpSpPr/>
        <p:nvPr/>
      </p:nvGrpSpPr>
      <p:grpSpPr>
        <a:xfrm>
          <a:off x="0" y="0"/>
          <a:ext cx="0" cy="0"/>
          <a:chOff x="0" y="0"/>
          <a:chExt cx="0" cy="0"/>
        </a:xfrm>
      </p:grpSpPr>
      <p:pic>
        <p:nvPicPr>
          <p:cNvPr id="10" name="Tijdelijke aanduiding voor afbeelding 6" descr="Afbeelding met muur, vloer, kamer&#10;&#10;Automatisch gegenereerde beschrijving">
            <a:extLst>
              <a:ext uri="{FF2B5EF4-FFF2-40B4-BE49-F238E27FC236}">
                <a16:creationId xmlns:a16="http://schemas.microsoft.com/office/drawing/2014/main" id="{6A3F958D-5DB0-4E7E-B918-F1C3F15729F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1" name="Tijdelijke aanduiding voor tekst 17">
            <a:extLst>
              <a:ext uri="{FF2B5EF4-FFF2-40B4-BE49-F238E27FC236}">
                <a16:creationId xmlns:a16="http://schemas.microsoft.com/office/drawing/2014/main" id="{7F567F10-7A93-46F7-90D8-D9902B50EADD}"/>
              </a:ext>
            </a:extLst>
          </p:cNvPr>
          <p:cNvSpPr>
            <a:spLocks noGrp="1"/>
          </p:cNvSpPr>
          <p:nvPr>
            <p:ph type="body" sz="quarter" idx="18" hasCustomPrompt="1"/>
          </p:nvPr>
        </p:nvSpPr>
        <p:spPr>
          <a:xfrm>
            <a:off x="336554" y="1"/>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2"/>
            <a:ext cx="3168651"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Subtitle</a:t>
            </a:r>
          </a:p>
        </p:txBody>
      </p:sp>
      <p:sp>
        <p:nvSpPr>
          <p:cNvPr id="22" name="Tijdelijke aanduiding voor tekst 21">
            <a:extLst>
              <a:ext uri="{FF2B5EF4-FFF2-40B4-BE49-F238E27FC236}">
                <a16:creationId xmlns:a16="http://schemas.microsoft.com/office/drawing/2014/main" id="{FB8EC1E8-CA61-4781-B9FD-8B2A398367C1}"/>
              </a:ext>
            </a:extLst>
          </p:cNvPr>
          <p:cNvSpPr>
            <a:spLocks noGrp="1"/>
          </p:cNvSpPr>
          <p:nvPr>
            <p:ph type="body" sz="quarter" idx="19" hasCustomPrompt="1"/>
          </p:nvPr>
        </p:nvSpPr>
        <p:spPr>
          <a:xfrm>
            <a:off x="662400" y="374400"/>
            <a:ext cx="1737600" cy="1046400"/>
          </a:xfrm>
          <a:blipFill>
            <a:blip r:embed="rId3" cstate="print">
              <a:extLst>
                <a:ext uri="{28A0092B-C50C-407E-A947-70E740481C1C}">
                  <a14:useLocalDpi xmlns:a14="http://schemas.microsoft.com/office/drawing/2010/main" val="0"/>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en-GB"/>
              <a:t>.</a:t>
            </a:r>
          </a:p>
        </p:txBody>
      </p:sp>
      <p:grpSp>
        <p:nvGrpSpPr>
          <p:cNvPr id="12" name="Groep 11">
            <a:extLst>
              <a:ext uri="{FF2B5EF4-FFF2-40B4-BE49-F238E27FC236}">
                <a16:creationId xmlns:a16="http://schemas.microsoft.com/office/drawing/2014/main" id="{2E99C67E-E082-4382-83CF-8A9DC5D68CE8}"/>
              </a:ext>
            </a:extLst>
          </p:cNvPr>
          <p:cNvGrpSpPr/>
          <p:nvPr userDrawn="1"/>
        </p:nvGrpSpPr>
        <p:grpSpPr>
          <a:xfrm>
            <a:off x="12262862" y="575999"/>
            <a:ext cx="1130143" cy="757167"/>
            <a:chOff x="9197145" y="1199569"/>
            <a:chExt cx="847607" cy="567875"/>
          </a:xfrm>
        </p:grpSpPr>
        <p:sp>
          <p:nvSpPr>
            <p:cNvPr id="14" name="Freeform 20">
              <a:extLst>
                <a:ext uri="{FF2B5EF4-FFF2-40B4-BE49-F238E27FC236}">
                  <a16:creationId xmlns:a16="http://schemas.microsoft.com/office/drawing/2014/main" id="{E78238A7-D9EF-4A46-8AB6-C32646D7F048}"/>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5" name="Tekstvak 14">
              <a:extLst>
                <a:ext uri="{FF2B5EF4-FFF2-40B4-BE49-F238E27FC236}">
                  <a16:creationId xmlns:a16="http://schemas.microsoft.com/office/drawing/2014/main" id="{968821E9-D123-4775-A120-259ED7D1EC50}"/>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3073779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2 Boxes and 2 Content">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630C01F3-C245-F63D-1E2F-2C692181E356}"/>
              </a:ext>
            </a:extLst>
          </p:cNvPr>
          <p:cNvSpPr>
            <a:spLocks noGrp="1"/>
          </p:cNvSpPr>
          <p:nvPr>
            <p:ph idx="51"/>
          </p:nvPr>
        </p:nvSpPr>
        <p:spPr>
          <a:xfrm>
            <a:off x="6275387" y="1494000"/>
            <a:ext cx="5400675" cy="4392612"/>
          </a:xfrm>
        </p:spPr>
        <p:txBody>
          <a:bodyPr vert="horz" lIns="0" tIns="46800" rIns="0" bIns="0" rtlCol="0">
            <a:noAutofit/>
          </a:bodyPr>
          <a:lstStyle>
            <a:lvl1pPr>
              <a:defRPr lang="en-US" dirty="0"/>
            </a:lvl1pPr>
          </a:lstStyle>
          <a:p>
            <a:pPr lvl="0"/>
            <a:r>
              <a:rPr lang="en-US"/>
              <a:t>Click to edit</a:t>
            </a:r>
          </a:p>
        </p:txBody>
      </p:sp>
      <p:sp>
        <p:nvSpPr>
          <p:cNvPr id="4" name="Content Placeholder 1">
            <a:extLst>
              <a:ext uri="{FF2B5EF4-FFF2-40B4-BE49-F238E27FC236}">
                <a16:creationId xmlns:a16="http://schemas.microsoft.com/office/drawing/2014/main" id="{44E63929-E3AD-02A8-10E6-C267C84FC104}"/>
              </a:ext>
            </a:extLst>
          </p:cNvPr>
          <p:cNvSpPr>
            <a:spLocks noGrp="1"/>
          </p:cNvSpPr>
          <p:nvPr>
            <p:ph idx="52"/>
          </p:nvPr>
        </p:nvSpPr>
        <p:spPr>
          <a:xfrm>
            <a:off x="525599" y="1494000"/>
            <a:ext cx="5400000" cy="4391298"/>
          </a:xfrm>
        </p:spPr>
        <p:txBody>
          <a:bodyPr vert="horz" lIns="0" tIns="46800" rIns="0" bIns="0" rtlCol="0">
            <a:noAutofit/>
          </a:bodyPr>
          <a:lstStyle>
            <a:lvl1pPr marL="171450" indent="-171450">
              <a:buFont typeface="Arial" panose="020B0604020202020204" pitchFamily="34" charset="0"/>
              <a:buChar char="•"/>
              <a:defRPr lang="en-US" dirty="0"/>
            </a:lvl1pPr>
          </a:lstStyle>
          <a:p>
            <a:pPr lvl="0"/>
            <a:r>
              <a:rPr lang="en-US"/>
              <a:t>Click to edit</a:t>
            </a:r>
          </a:p>
        </p:txBody>
      </p:sp>
      <p:sp>
        <p:nvSpPr>
          <p:cNvPr id="11" name="Title">
            <a:extLst>
              <a:ext uri="{FF2B5EF4-FFF2-40B4-BE49-F238E27FC236}">
                <a16:creationId xmlns:a16="http://schemas.microsoft.com/office/drawing/2014/main" id="{F93D4ED7-389B-E455-26AD-7426F17CB8D4}"/>
              </a:ext>
            </a:extLst>
          </p:cNvPr>
          <p:cNvSpPr>
            <a:spLocks noGrp="1"/>
          </p:cNvSpPr>
          <p:nvPr>
            <p:ph type="title"/>
          </p:nvPr>
        </p:nvSpPr>
        <p:spPr/>
        <p:txBody>
          <a:bodyPr/>
          <a:lstStyle/>
          <a:p>
            <a:r>
              <a:rPr lang="en-US"/>
              <a:t>Click to edit Master title style</a:t>
            </a:r>
            <a:endParaRPr lang="en-NL"/>
          </a:p>
        </p:txBody>
      </p:sp>
      <p:sp>
        <p:nvSpPr>
          <p:cNvPr id="5" name="Text Placeholder 3">
            <a:extLst>
              <a:ext uri="{FF2B5EF4-FFF2-40B4-BE49-F238E27FC236}">
                <a16:creationId xmlns:a16="http://schemas.microsoft.com/office/drawing/2014/main" id="{BA1F96D5-AB43-ABE8-5D4C-8B61FC0981A0}"/>
              </a:ext>
            </a:extLst>
          </p:cNvPr>
          <p:cNvSpPr>
            <a:spLocks noGrp="1"/>
          </p:cNvSpPr>
          <p:nvPr>
            <p:ph type="body" sz="quarter" idx="78" hasCustomPrompt="1"/>
          </p:nvPr>
        </p:nvSpPr>
        <p:spPr>
          <a:xfrm>
            <a:off x="515938" y="1062000"/>
            <a:ext cx="5400675" cy="360001"/>
          </a:xfrm>
          <a:prstGeom prst="roundRect">
            <a:avLst/>
          </a:prstGeom>
          <a:solidFill>
            <a:schemeClr val="tx2"/>
          </a:solidFill>
        </p:spPr>
        <p:txBody>
          <a:bodyPr lIns="0" tIns="0" rIns="0" bIns="0" anchor="ctr"/>
          <a:lstStyle>
            <a:lvl1pPr marL="0" indent="0" algn="ctr">
              <a:lnSpc>
                <a:spcPct val="100000"/>
              </a:lnSpc>
              <a:spcBef>
                <a:spcPts val="0"/>
              </a:spcBef>
              <a:buNone/>
              <a:defRPr sz="1400" b="1" baseline="0">
                <a:solidFill>
                  <a:schemeClr val="bg1"/>
                </a:solidFill>
                <a:latin typeface="Calibri" panose="020F0502020204030204" pitchFamily="34" charset="0"/>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Box Title</a:t>
            </a:r>
            <a:endParaRPr lang="nl-NL"/>
          </a:p>
        </p:txBody>
      </p:sp>
      <p:sp>
        <p:nvSpPr>
          <p:cNvPr id="7" name="Text Placeholder 3">
            <a:extLst>
              <a:ext uri="{FF2B5EF4-FFF2-40B4-BE49-F238E27FC236}">
                <a16:creationId xmlns:a16="http://schemas.microsoft.com/office/drawing/2014/main" id="{125E1DD9-EA06-D8FB-81DC-417E82EE3E71}"/>
              </a:ext>
            </a:extLst>
          </p:cNvPr>
          <p:cNvSpPr>
            <a:spLocks noGrp="1"/>
          </p:cNvSpPr>
          <p:nvPr>
            <p:ph type="body" sz="quarter" idx="79" hasCustomPrompt="1"/>
          </p:nvPr>
        </p:nvSpPr>
        <p:spPr>
          <a:xfrm>
            <a:off x="6283982" y="1062000"/>
            <a:ext cx="5400674" cy="360001"/>
          </a:xfrm>
          <a:prstGeom prst="roundRect">
            <a:avLst/>
          </a:prstGeom>
          <a:solidFill>
            <a:schemeClr val="tx2"/>
          </a:solidFill>
        </p:spPr>
        <p:txBody>
          <a:bodyPr lIns="0" tIns="0" rIns="0" bIns="0" anchor="ctr"/>
          <a:lstStyle>
            <a:lvl1pPr marL="0" indent="0" algn="ctr">
              <a:lnSpc>
                <a:spcPct val="100000"/>
              </a:lnSpc>
              <a:spcBef>
                <a:spcPts val="0"/>
              </a:spcBef>
              <a:buNone/>
              <a:defRPr sz="1400" b="1" baseline="0">
                <a:solidFill>
                  <a:schemeClr val="bg1"/>
                </a:solidFill>
                <a:latin typeface="Calibri" panose="020F0502020204030204" pitchFamily="34" charset="0"/>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Box Title</a:t>
            </a:r>
            <a:endParaRPr lang="nl-NL"/>
          </a:p>
        </p:txBody>
      </p:sp>
      <p:sp>
        <p:nvSpPr>
          <p:cNvPr id="13" name="Slide Number Placeholder">
            <a:extLst>
              <a:ext uri="{FF2B5EF4-FFF2-40B4-BE49-F238E27FC236}">
                <a16:creationId xmlns:a16="http://schemas.microsoft.com/office/drawing/2014/main" id="{8A03C2AE-BE1D-6714-2C2A-87EF59E3BDC9}"/>
              </a:ext>
            </a:extLst>
          </p:cNvPr>
          <p:cNvSpPr>
            <a:spLocks noGrp="1"/>
          </p:cNvSpPr>
          <p:nvPr>
            <p:ph type="sldNum" sz="quarter" idx="12"/>
          </p:nvPr>
        </p:nvSpPr>
        <p:spPr>
          <a:xfrm>
            <a:off x="11319511" y="6120028"/>
            <a:ext cx="350031" cy="360000"/>
          </a:xfrm>
          <a:prstGeom prst="rect">
            <a:avLst/>
          </a:prstGeom>
        </p:spPr>
        <p:txBody>
          <a:bodyPr lIns="0" tIns="0" rIns="0" bIns="0" anchor="ctr"/>
          <a:lstStyle>
            <a:lvl1pPr algn="r">
              <a:defRPr sz="1100">
                <a:solidFill>
                  <a:schemeClr val="bg2"/>
                </a:solidFill>
              </a:defRPr>
            </a:lvl1pPr>
          </a:lstStyle>
          <a:p>
            <a:fld id="{D0281C21-EE02-42A0-BCF6-67BEF936A35A}" type="slidenum">
              <a:rPr lang="en-IN" smtClean="0"/>
              <a:pPr/>
              <a:t>‹#›</a:t>
            </a:fld>
            <a:endParaRPr lang="en-IN"/>
          </a:p>
        </p:txBody>
      </p:sp>
      <p:sp>
        <p:nvSpPr>
          <p:cNvPr id="14" name="Text Placeholder 5">
            <a:extLst>
              <a:ext uri="{FF2B5EF4-FFF2-40B4-BE49-F238E27FC236}">
                <a16:creationId xmlns:a16="http://schemas.microsoft.com/office/drawing/2014/main" id="{7B1EA6D9-4DAE-87BE-AE78-77E03508E315}"/>
              </a:ext>
            </a:extLst>
          </p:cNvPr>
          <p:cNvSpPr>
            <a:spLocks noGrp="1"/>
          </p:cNvSpPr>
          <p:nvPr>
            <p:ph type="body" sz="quarter" idx="80" hasCustomPrompt="1"/>
          </p:nvPr>
        </p:nvSpPr>
        <p:spPr>
          <a:xfrm>
            <a:off x="525600" y="6109200"/>
            <a:ext cx="720000" cy="554400"/>
          </a:xfrm>
        </p:spPr>
        <p:txBody>
          <a:bodyPr/>
          <a:lstStyle>
            <a:lvl1pPr marL="0" indent="0">
              <a:buFontTx/>
              <a:buNone/>
              <a:defRPr sz="1100" b="1">
                <a:solidFill>
                  <a:schemeClr val="bg2"/>
                </a:solidFill>
              </a:defRPr>
            </a:lvl1pPr>
          </a:lstStyle>
          <a:p>
            <a:pPr lvl="0"/>
            <a:r>
              <a:rPr lang="en-US"/>
              <a:t>Sources:</a:t>
            </a:r>
            <a:endParaRPr lang="en-NL"/>
          </a:p>
        </p:txBody>
      </p:sp>
      <p:sp>
        <p:nvSpPr>
          <p:cNvPr id="15" name="Text Placeholder 11">
            <a:extLst>
              <a:ext uri="{FF2B5EF4-FFF2-40B4-BE49-F238E27FC236}">
                <a16:creationId xmlns:a16="http://schemas.microsoft.com/office/drawing/2014/main" id="{81A8324B-33C6-779F-759B-ECA2DF9F9F4D}"/>
              </a:ext>
            </a:extLst>
          </p:cNvPr>
          <p:cNvSpPr>
            <a:spLocks noGrp="1"/>
          </p:cNvSpPr>
          <p:nvPr>
            <p:ph type="body" sz="quarter" idx="81" hasCustomPrompt="1"/>
          </p:nvPr>
        </p:nvSpPr>
        <p:spPr>
          <a:xfrm>
            <a:off x="1152000" y="6109200"/>
            <a:ext cx="8704216" cy="440904"/>
          </a:xfrm>
        </p:spPr>
        <p:txBody>
          <a:bodyPr/>
          <a:lstStyle>
            <a:lvl1pPr marL="0" indent="0">
              <a:buFontTx/>
              <a:buNone/>
              <a:defRPr sz="1100"/>
            </a:lvl1pPr>
          </a:lstStyle>
          <a:p>
            <a:pPr lvl="0"/>
            <a:r>
              <a:rPr lang="en-US"/>
              <a:t>Innova Database (click to edit)</a:t>
            </a:r>
            <a:endParaRPr lang="en-NL"/>
          </a:p>
        </p:txBody>
      </p:sp>
    </p:spTree>
    <p:extLst>
      <p:ext uri="{BB962C8B-B14F-4D97-AF65-F5344CB8AC3E}">
        <p14:creationId xmlns:p14="http://schemas.microsoft.com/office/powerpoint/2010/main" val="181397906"/>
      </p:ext>
    </p:extLst>
  </p:cSld>
  <p:clrMapOvr>
    <a:masterClrMapping/>
  </p:clrMapOvr>
  <p:extLst>
    <p:ext uri="{DCECCB84-F9BA-43D5-87BE-67443E8EF086}">
      <p15:sldGuideLst xmlns:p15="http://schemas.microsoft.com/office/powerpoint/2012/main">
        <p15:guide id="2" pos="3727">
          <p15:clr>
            <a:srgbClr val="FBAE40"/>
          </p15:clr>
        </p15:guide>
        <p15:guide id="3" pos="3953">
          <p15:clr>
            <a:srgbClr val="FBAE40"/>
          </p15:clr>
        </p15:guide>
        <p15:guide id="4" orient="horz" pos="890">
          <p15:clr>
            <a:srgbClr val="FBAE40"/>
          </p15:clr>
        </p15:guide>
        <p15:guide id="5" orient="horz" pos="935">
          <p15:clr>
            <a:srgbClr val="FBAE4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3 Content">
    <p:spTree>
      <p:nvGrpSpPr>
        <p:cNvPr id="1" name=""/>
        <p:cNvGrpSpPr/>
        <p:nvPr/>
      </p:nvGrpSpPr>
      <p:grpSpPr>
        <a:xfrm>
          <a:off x="0" y="0"/>
          <a:ext cx="0" cy="0"/>
          <a:chOff x="0" y="0"/>
          <a:chExt cx="0" cy="0"/>
        </a:xfrm>
      </p:grpSpPr>
      <p:sp>
        <p:nvSpPr>
          <p:cNvPr id="2" name="Content Placeholder 3">
            <a:extLst>
              <a:ext uri="{FF2B5EF4-FFF2-40B4-BE49-F238E27FC236}">
                <a16:creationId xmlns:a16="http://schemas.microsoft.com/office/drawing/2014/main" id="{630C01F3-C245-F63D-1E2F-2C692181E356}"/>
              </a:ext>
            </a:extLst>
          </p:cNvPr>
          <p:cNvSpPr>
            <a:spLocks noGrp="1"/>
          </p:cNvSpPr>
          <p:nvPr>
            <p:ph idx="51"/>
          </p:nvPr>
        </p:nvSpPr>
        <p:spPr>
          <a:xfrm>
            <a:off x="8183563" y="1062000"/>
            <a:ext cx="3491999" cy="4824412"/>
          </a:xfrm>
        </p:spPr>
        <p:txBody>
          <a:bodyPr vert="horz" lIns="0" tIns="46800" rIns="0" bIns="0" rtlCol="0">
            <a:noAutofit/>
          </a:bodyPr>
          <a:lstStyle>
            <a:lvl1pPr marL="171450" indent="-171450">
              <a:buFont typeface="Arial" panose="020B0604020202020204" pitchFamily="34" charset="0"/>
              <a:buChar char="•"/>
              <a:defRPr lang="en-US" dirty="0"/>
            </a:lvl1pPr>
          </a:lstStyle>
          <a:p>
            <a:pPr lvl="0"/>
            <a:r>
              <a:rPr lang="en-US"/>
              <a:t>Click to edit</a:t>
            </a:r>
          </a:p>
        </p:txBody>
      </p:sp>
      <p:sp>
        <p:nvSpPr>
          <p:cNvPr id="5" name="Content Placeholder 2">
            <a:extLst>
              <a:ext uri="{FF2B5EF4-FFF2-40B4-BE49-F238E27FC236}">
                <a16:creationId xmlns:a16="http://schemas.microsoft.com/office/drawing/2014/main" id="{07905B11-8455-A4FD-A06D-EB5A3171BDF5}"/>
              </a:ext>
            </a:extLst>
          </p:cNvPr>
          <p:cNvSpPr>
            <a:spLocks noGrp="1"/>
          </p:cNvSpPr>
          <p:nvPr>
            <p:ph idx="53"/>
          </p:nvPr>
        </p:nvSpPr>
        <p:spPr>
          <a:xfrm>
            <a:off x="4367213" y="1062000"/>
            <a:ext cx="3457575" cy="4824412"/>
          </a:xfrm>
        </p:spPr>
        <p:txBody>
          <a:bodyPr vert="horz" lIns="0" tIns="46800" rIns="0" bIns="0" rtlCol="0">
            <a:noAutofit/>
          </a:bodyPr>
          <a:lstStyle>
            <a:lvl1pPr>
              <a:defRPr lang="en-US" dirty="0"/>
            </a:lvl1pPr>
          </a:lstStyle>
          <a:p>
            <a:pPr lvl="0"/>
            <a:r>
              <a:rPr lang="en-US"/>
              <a:t>Click to edit</a:t>
            </a:r>
          </a:p>
        </p:txBody>
      </p:sp>
      <p:sp>
        <p:nvSpPr>
          <p:cNvPr id="3" name="Content Placeholder 1">
            <a:extLst>
              <a:ext uri="{FF2B5EF4-FFF2-40B4-BE49-F238E27FC236}">
                <a16:creationId xmlns:a16="http://schemas.microsoft.com/office/drawing/2014/main" id="{A04AA393-4F20-0D1B-2BED-90390A60004D}"/>
              </a:ext>
            </a:extLst>
          </p:cNvPr>
          <p:cNvSpPr>
            <a:spLocks noGrp="1"/>
          </p:cNvSpPr>
          <p:nvPr>
            <p:ph idx="52"/>
          </p:nvPr>
        </p:nvSpPr>
        <p:spPr>
          <a:xfrm>
            <a:off x="525600" y="1062000"/>
            <a:ext cx="3492500" cy="4824412"/>
          </a:xfrm>
        </p:spPr>
        <p:txBody>
          <a:bodyPr vert="horz" lIns="0" tIns="46800" rIns="0" bIns="0" rtlCol="0">
            <a:noAutofit/>
          </a:bodyPr>
          <a:lstStyle>
            <a:lvl1pPr>
              <a:defRPr lang="en-US" dirty="0"/>
            </a:lvl1pPr>
          </a:lstStyle>
          <a:p>
            <a:pPr lvl="0"/>
            <a:r>
              <a:rPr lang="en-US"/>
              <a:t>Click to edit</a:t>
            </a:r>
          </a:p>
        </p:txBody>
      </p:sp>
      <p:sp>
        <p:nvSpPr>
          <p:cNvPr id="11" name="Title">
            <a:extLst>
              <a:ext uri="{FF2B5EF4-FFF2-40B4-BE49-F238E27FC236}">
                <a16:creationId xmlns:a16="http://schemas.microsoft.com/office/drawing/2014/main" id="{F93D4ED7-389B-E455-26AD-7426F17CB8D4}"/>
              </a:ext>
            </a:extLst>
          </p:cNvPr>
          <p:cNvSpPr>
            <a:spLocks noGrp="1"/>
          </p:cNvSpPr>
          <p:nvPr>
            <p:ph type="title"/>
          </p:nvPr>
        </p:nvSpPr>
        <p:spPr>
          <a:xfrm>
            <a:off x="525600" y="194400"/>
            <a:ext cx="11160000" cy="774000"/>
          </a:xfrm>
        </p:spPr>
        <p:txBody>
          <a:bodyPr/>
          <a:lstStyle/>
          <a:p>
            <a:r>
              <a:rPr lang="en-US"/>
              <a:t>Click to edit Master title style</a:t>
            </a:r>
            <a:endParaRPr lang="en-NL"/>
          </a:p>
        </p:txBody>
      </p:sp>
      <p:sp>
        <p:nvSpPr>
          <p:cNvPr id="4" name="Slide Number Placeholder">
            <a:extLst>
              <a:ext uri="{FF2B5EF4-FFF2-40B4-BE49-F238E27FC236}">
                <a16:creationId xmlns:a16="http://schemas.microsoft.com/office/drawing/2014/main" id="{30A6F9E8-83A3-8B53-06AE-AD09734F2936}"/>
              </a:ext>
            </a:extLst>
          </p:cNvPr>
          <p:cNvSpPr>
            <a:spLocks noGrp="1"/>
          </p:cNvSpPr>
          <p:nvPr>
            <p:ph type="sldNum" sz="quarter" idx="12"/>
          </p:nvPr>
        </p:nvSpPr>
        <p:spPr>
          <a:xfrm>
            <a:off x="11319511" y="6120028"/>
            <a:ext cx="350031" cy="360000"/>
          </a:xfrm>
          <a:prstGeom prst="rect">
            <a:avLst/>
          </a:prstGeom>
        </p:spPr>
        <p:txBody>
          <a:bodyPr lIns="0" tIns="0" rIns="0" bIns="0" anchor="ctr"/>
          <a:lstStyle>
            <a:lvl1pPr algn="r">
              <a:defRPr sz="1100">
                <a:solidFill>
                  <a:schemeClr val="bg2"/>
                </a:solidFill>
              </a:defRPr>
            </a:lvl1pPr>
          </a:lstStyle>
          <a:p>
            <a:fld id="{D0281C21-EE02-42A0-BCF6-67BEF936A35A}" type="slidenum">
              <a:rPr lang="en-IN" smtClean="0"/>
              <a:pPr/>
              <a:t>‹#›</a:t>
            </a:fld>
            <a:endParaRPr lang="en-IN"/>
          </a:p>
        </p:txBody>
      </p:sp>
      <p:sp>
        <p:nvSpPr>
          <p:cNvPr id="6" name="Text Placeholder 5">
            <a:extLst>
              <a:ext uri="{FF2B5EF4-FFF2-40B4-BE49-F238E27FC236}">
                <a16:creationId xmlns:a16="http://schemas.microsoft.com/office/drawing/2014/main" id="{06A89AA8-C07A-46E1-FA4C-D2E42DAA0AD1}"/>
              </a:ext>
            </a:extLst>
          </p:cNvPr>
          <p:cNvSpPr>
            <a:spLocks noGrp="1"/>
          </p:cNvSpPr>
          <p:nvPr>
            <p:ph type="body" sz="quarter" idx="80" hasCustomPrompt="1"/>
          </p:nvPr>
        </p:nvSpPr>
        <p:spPr>
          <a:xfrm>
            <a:off x="525600" y="6109200"/>
            <a:ext cx="720000" cy="554400"/>
          </a:xfrm>
        </p:spPr>
        <p:txBody>
          <a:bodyPr/>
          <a:lstStyle>
            <a:lvl1pPr marL="0" indent="0">
              <a:buFontTx/>
              <a:buNone/>
              <a:defRPr sz="1100" b="1">
                <a:solidFill>
                  <a:schemeClr val="bg2"/>
                </a:solidFill>
              </a:defRPr>
            </a:lvl1pPr>
          </a:lstStyle>
          <a:p>
            <a:pPr lvl="0"/>
            <a:r>
              <a:rPr lang="en-US"/>
              <a:t>Sources:</a:t>
            </a:r>
            <a:endParaRPr lang="en-NL"/>
          </a:p>
        </p:txBody>
      </p:sp>
      <p:sp>
        <p:nvSpPr>
          <p:cNvPr id="9" name="Text Placeholder 11">
            <a:extLst>
              <a:ext uri="{FF2B5EF4-FFF2-40B4-BE49-F238E27FC236}">
                <a16:creationId xmlns:a16="http://schemas.microsoft.com/office/drawing/2014/main" id="{2E992C07-1D9F-090E-D1F6-EF854D2AB965}"/>
              </a:ext>
            </a:extLst>
          </p:cNvPr>
          <p:cNvSpPr>
            <a:spLocks noGrp="1"/>
          </p:cNvSpPr>
          <p:nvPr>
            <p:ph type="body" sz="quarter" idx="81" hasCustomPrompt="1"/>
          </p:nvPr>
        </p:nvSpPr>
        <p:spPr>
          <a:xfrm>
            <a:off x="1152000" y="6109200"/>
            <a:ext cx="8704216" cy="440904"/>
          </a:xfrm>
        </p:spPr>
        <p:txBody>
          <a:bodyPr/>
          <a:lstStyle>
            <a:lvl1pPr marL="0" indent="0">
              <a:buFontTx/>
              <a:buNone/>
              <a:defRPr sz="1100"/>
            </a:lvl1pPr>
          </a:lstStyle>
          <a:p>
            <a:pPr lvl="0"/>
            <a:r>
              <a:rPr lang="en-US"/>
              <a:t>Innova Database (click to edit)</a:t>
            </a:r>
            <a:endParaRPr lang="en-NL"/>
          </a:p>
        </p:txBody>
      </p:sp>
    </p:spTree>
    <p:extLst>
      <p:ext uri="{BB962C8B-B14F-4D97-AF65-F5344CB8AC3E}">
        <p14:creationId xmlns:p14="http://schemas.microsoft.com/office/powerpoint/2010/main" val="3918427527"/>
      </p:ext>
    </p:extLst>
  </p:cSld>
  <p:clrMapOvr>
    <a:masterClrMapping/>
  </p:clrMapOvr>
  <p:extLst>
    <p:ext uri="{DCECCB84-F9BA-43D5-87BE-67443E8EF086}">
      <p15:sldGuideLst xmlns:p15="http://schemas.microsoft.com/office/powerpoint/2012/main">
        <p15:guide id="1" pos="2525">
          <p15:clr>
            <a:srgbClr val="FBAE40"/>
          </p15:clr>
        </p15:guide>
        <p15:guide id="2" pos="4929">
          <p15:clr>
            <a:srgbClr val="FBAE40"/>
          </p15:clr>
        </p15:guide>
        <p15:guide id="3" pos="5155">
          <p15:clr>
            <a:srgbClr val="FBAE40"/>
          </p15:clr>
        </p15:guide>
        <p15:guide id="4" pos="2751">
          <p15:clr>
            <a:srgbClr val="FBAE4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1_Title, 3 Content with icon boxes">
    <p:spTree>
      <p:nvGrpSpPr>
        <p:cNvPr id="1" name=""/>
        <p:cNvGrpSpPr/>
        <p:nvPr/>
      </p:nvGrpSpPr>
      <p:grpSpPr>
        <a:xfrm>
          <a:off x="0" y="0"/>
          <a:ext cx="0" cy="0"/>
          <a:chOff x="0" y="0"/>
          <a:chExt cx="0" cy="0"/>
        </a:xfrm>
      </p:grpSpPr>
      <p:sp>
        <p:nvSpPr>
          <p:cNvPr id="11" name="Title">
            <a:extLst>
              <a:ext uri="{FF2B5EF4-FFF2-40B4-BE49-F238E27FC236}">
                <a16:creationId xmlns:a16="http://schemas.microsoft.com/office/drawing/2014/main" id="{F93D4ED7-389B-E455-26AD-7426F17CB8D4}"/>
              </a:ext>
            </a:extLst>
          </p:cNvPr>
          <p:cNvSpPr>
            <a:spLocks noGrp="1"/>
          </p:cNvSpPr>
          <p:nvPr>
            <p:ph type="title"/>
          </p:nvPr>
        </p:nvSpPr>
        <p:spPr>
          <a:xfrm>
            <a:off x="525600" y="194400"/>
            <a:ext cx="11160000" cy="774000"/>
          </a:xfrm>
        </p:spPr>
        <p:txBody>
          <a:bodyPr/>
          <a:lstStyle/>
          <a:p>
            <a:r>
              <a:rPr lang="en-US"/>
              <a:t>Click to edit Master title style</a:t>
            </a:r>
            <a:endParaRPr lang="en-NL"/>
          </a:p>
        </p:txBody>
      </p:sp>
      <p:sp>
        <p:nvSpPr>
          <p:cNvPr id="4" name="Slide Number Placeholder">
            <a:extLst>
              <a:ext uri="{FF2B5EF4-FFF2-40B4-BE49-F238E27FC236}">
                <a16:creationId xmlns:a16="http://schemas.microsoft.com/office/drawing/2014/main" id="{30A6F9E8-83A3-8B53-06AE-AD09734F2936}"/>
              </a:ext>
            </a:extLst>
          </p:cNvPr>
          <p:cNvSpPr>
            <a:spLocks noGrp="1"/>
          </p:cNvSpPr>
          <p:nvPr>
            <p:ph type="sldNum" sz="quarter" idx="12"/>
          </p:nvPr>
        </p:nvSpPr>
        <p:spPr>
          <a:xfrm>
            <a:off x="11319511" y="6120028"/>
            <a:ext cx="350031" cy="360000"/>
          </a:xfrm>
          <a:prstGeom prst="rect">
            <a:avLst/>
          </a:prstGeom>
        </p:spPr>
        <p:txBody>
          <a:bodyPr lIns="0" tIns="0" rIns="0" bIns="0" anchor="ctr"/>
          <a:lstStyle>
            <a:lvl1pPr algn="r">
              <a:defRPr sz="1100">
                <a:solidFill>
                  <a:schemeClr val="bg2"/>
                </a:solidFill>
              </a:defRPr>
            </a:lvl1pPr>
          </a:lstStyle>
          <a:p>
            <a:fld id="{D0281C21-EE02-42A0-BCF6-67BEF936A35A}" type="slidenum">
              <a:rPr lang="en-IN" smtClean="0"/>
              <a:pPr/>
              <a:t>‹#›</a:t>
            </a:fld>
            <a:endParaRPr lang="en-IN"/>
          </a:p>
        </p:txBody>
      </p:sp>
      <p:sp>
        <p:nvSpPr>
          <p:cNvPr id="6" name="Text Placeholder 5">
            <a:extLst>
              <a:ext uri="{FF2B5EF4-FFF2-40B4-BE49-F238E27FC236}">
                <a16:creationId xmlns:a16="http://schemas.microsoft.com/office/drawing/2014/main" id="{06A89AA8-C07A-46E1-FA4C-D2E42DAA0AD1}"/>
              </a:ext>
            </a:extLst>
          </p:cNvPr>
          <p:cNvSpPr>
            <a:spLocks noGrp="1"/>
          </p:cNvSpPr>
          <p:nvPr>
            <p:ph type="body" sz="quarter" idx="80" hasCustomPrompt="1"/>
          </p:nvPr>
        </p:nvSpPr>
        <p:spPr>
          <a:xfrm>
            <a:off x="525600" y="6109200"/>
            <a:ext cx="720000" cy="554400"/>
          </a:xfrm>
        </p:spPr>
        <p:txBody>
          <a:bodyPr/>
          <a:lstStyle>
            <a:lvl1pPr marL="0" indent="0">
              <a:buFontTx/>
              <a:buNone/>
              <a:defRPr sz="1100" b="1">
                <a:solidFill>
                  <a:schemeClr val="bg2"/>
                </a:solidFill>
              </a:defRPr>
            </a:lvl1pPr>
          </a:lstStyle>
          <a:p>
            <a:pPr lvl="0"/>
            <a:r>
              <a:rPr lang="en-US"/>
              <a:t>Sources:</a:t>
            </a:r>
            <a:endParaRPr lang="en-NL"/>
          </a:p>
        </p:txBody>
      </p:sp>
      <p:sp>
        <p:nvSpPr>
          <p:cNvPr id="9" name="Text Placeholder 11">
            <a:extLst>
              <a:ext uri="{FF2B5EF4-FFF2-40B4-BE49-F238E27FC236}">
                <a16:creationId xmlns:a16="http://schemas.microsoft.com/office/drawing/2014/main" id="{2E992C07-1D9F-090E-D1F6-EF854D2AB965}"/>
              </a:ext>
            </a:extLst>
          </p:cNvPr>
          <p:cNvSpPr>
            <a:spLocks noGrp="1"/>
          </p:cNvSpPr>
          <p:nvPr>
            <p:ph type="body" sz="quarter" idx="81" hasCustomPrompt="1"/>
          </p:nvPr>
        </p:nvSpPr>
        <p:spPr>
          <a:xfrm>
            <a:off x="1152000" y="6109200"/>
            <a:ext cx="8704216" cy="440904"/>
          </a:xfrm>
        </p:spPr>
        <p:txBody>
          <a:bodyPr/>
          <a:lstStyle>
            <a:lvl1pPr marL="0" indent="0">
              <a:buFontTx/>
              <a:buNone/>
              <a:defRPr sz="1100"/>
            </a:lvl1pPr>
          </a:lstStyle>
          <a:p>
            <a:pPr lvl="0"/>
            <a:r>
              <a:rPr lang="en-US"/>
              <a:t>Innova Database (click to edit)</a:t>
            </a:r>
            <a:endParaRPr lang="en-NL"/>
          </a:p>
        </p:txBody>
      </p:sp>
      <p:sp>
        <p:nvSpPr>
          <p:cNvPr id="15" name="Rounded Rectangle 14">
            <a:extLst>
              <a:ext uri="{FF2B5EF4-FFF2-40B4-BE49-F238E27FC236}">
                <a16:creationId xmlns:a16="http://schemas.microsoft.com/office/drawing/2014/main" id="{5044E96D-D3B3-CC2C-4D6F-18C788783D0B}"/>
              </a:ext>
            </a:extLst>
          </p:cNvPr>
          <p:cNvSpPr/>
          <p:nvPr/>
        </p:nvSpPr>
        <p:spPr>
          <a:xfrm>
            <a:off x="525599" y="1062001"/>
            <a:ext cx="3492000" cy="2232000"/>
          </a:xfrm>
          <a:prstGeom prst="roundRect">
            <a:avLst>
              <a:gd name="adj" fmla="val 4257"/>
            </a:avLst>
          </a:prstGeom>
          <a:solidFill>
            <a:schemeClr val="bg1"/>
          </a:solidFill>
          <a:ln>
            <a:noFill/>
          </a:ln>
          <a:effectLst>
            <a:outerShdw blurRad="355600" algn="ctr" rotWithShape="0">
              <a:schemeClr val="tx1">
                <a:alpha val="22627"/>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16" name="Rectangle: Rounded Corners 4">
            <a:extLst>
              <a:ext uri="{FF2B5EF4-FFF2-40B4-BE49-F238E27FC236}">
                <a16:creationId xmlns:a16="http://schemas.microsoft.com/office/drawing/2014/main" id="{E824F2ED-2AC3-3192-25A4-9E544A8C97DF}"/>
              </a:ext>
            </a:extLst>
          </p:cNvPr>
          <p:cNvSpPr>
            <a:spLocks/>
          </p:cNvSpPr>
          <p:nvPr/>
        </p:nvSpPr>
        <p:spPr>
          <a:xfrm>
            <a:off x="525600" y="1760958"/>
            <a:ext cx="3484563" cy="1696726"/>
          </a:xfrm>
          <a:prstGeom prst="roundRect">
            <a:avLst>
              <a:gd name="adj" fmla="val 0"/>
            </a:avLst>
          </a:prstGeom>
          <a:noFill/>
          <a:ln w="12700" cap="flat" cmpd="sng" algn="ctr">
            <a:noFill/>
            <a:prstDash val="solid"/>
            <a:miter lim="800000"/>
          </a:ln>
          <a:effectLst/>
        </p:spPr>
        <p:txBody>
          <a:bodyPr lIns="396000" tIns="45720" rIns="180000" bIns="45720" rtlCol="0" anchor="t"/>
          <a:lstStyle/>
          <a:p>
            <a:pPr marL="285750" marR="0" lvl="0" indent="-285750" algn="l" defTabSz="914400" rtl="0" eaLnBrk="1" fontAlgn="auto" latinLnBrk="0" hangingPunct="1">
              <a:lnSpc>
                <a:spcPct val="114000"/>
              </a:lnSpc>
              <a:spcBef>
                <a:spcPts val="0"/>
              </a:spcBef>
              <a:spcAft>
                <a:spcPts val="0"/>
              </a:spcAft>
              <a:buClr>
                <a:srgbClr val="E25303"/>
              </a:buClr>
              <a:buSzTx/>
              <a:buFont typeface="Arial" panose="020B0604020202020204" pitchFamily="34" charset="0"/>
              <a:buChar char="•"/>
              <a:tabLst/>
              <a:defRPr/>
            </a:pPr>
            <a:endParaRPr kumimoji="0" lang="en-US" sz="1200" b="0" i="0" u="none" strike="noStrike" kern="1200" cap="none" spc="0" normalizeH="0" baseline="0" noProof="0">
              <a:ln>
                <a:noFill/>
              </a:ln>
              <a:effectLst/>
              <a:uLnTx/>
              <a:uFillTx/>
              <a:ea typeface="+mn-ea"/>
              <a:cs typeface="+mn-cs"/>
            </a:endParaRPr>
          </a:p>
        </p:txBody>
      </p:sp>
      <p:sp>
        <p:nvSpPr>
          <p:cNvPr id="20" name="Text Placeholder 19">
            <a:extLst>
              <a:ext uri="{FF2B5EF4-FFF2-40B4-BE49-F238E27FC236}">
                <a16:creationId xmlns:a16="http://schemas.microsoft.com/office/drawing/2014/main" id="{6B38D7E4-5334-B2DF-F23F-5416D58D19B9}"/>
              </a:ext>
            </a:extLst>
          </p:cNvPr>
          <p:cNvSpPr>
            <a:spLocks noGrp="1"/>
          </p:cNvSpPr>
          <p:nvPr>
            <p:ph type="body" sz="quarter" idx="82" hasCustomPrompt="1"/>
          </p:nvPr>
        </p:nvSpPr>
        <p:spPr>
          <a:xfrm>
            <a:off x="1200150" y="1119600"/>
            <a:ext cx="2733675" cy="542925"/>
          </a:xfrm>
        </p:spPr>
        <p:txBody>
          <a:bodyPr anchor="ctr"/>
          <a:lstStyle>
            <a:lvl1pPr marL="0" indent="0">
              <a:lnSpc>
                <a:spcPts val="1560"/>
              </a:lnSpc>
              <a:buFontTx/>
              <a:buNone/>
              <a:defRPr sz="1800" b="1">
                <a:latin typeface="+mj-lt"/>
              </a:defRPr>
            </a:lvl1pPr>
          </a:lstStyle>
          <a:p>
            <a:pPr lvl="0"/>
            <a:r>
              <a:rPr lang="en-US"/>
              <a:t>Click to edit header</a:t>
            </a:r>
          </a:p>
        </p:txBody>
      </p:sp>
      <p:sp>
        <p:nvSpPr>
          <p:cNvPr id="22" name="Picture Placeholder 21">
            <a:extLst>
              <a:ext uri="{FF2B5EF4-FFF2-40B4-BE49-F238E27FC236}">
                <a16:creationId xmlns:a16="http://schemas.microsoft.com/office/drawing/2014/main" id="{04E8B057-838D-6911-73DC-3962B9EDE99A}"/>
              </a:ext>
            </a:extLst>
          </p:cNvPr>
          <p:cNvSpPr>
            <a:spLocks noGrp="1" noChangeAspect="1"/>
          </p:cNvSpPr>
          <p:nvPr>
            <p:ph type="pic" sz="quarter" idx="83"/>
          </p:nvPr>
        </p:nvSpPr>
        <p:spPr>
          <a:xfrm>
            <a:off x="648000" y="1112400"/>
            <a:ext cx="540000" cy="540000"/>
          </a:xfrm>
        </p:spPr>
        <p:txBody>
          <a:bodyPr/>
          <a:lstStyle>
            <a:lvl1pPr marL="0" indent="0">
              <a:buFontTx/>
              <a:buNone/>
              <a:defRPr/>
            </a:lvl1pPr>
          </a:lstStyle>
          <a:p>
            <a:endParaRPr lang="en-NL"/>
          </a:p>
        </p:txBody>
      </p:sp>
      <p:sp>
        <p:nvSpPr>
          <p:cNvPr id="25" name="Text Placeholder 24">
            <a:extLst>
              <a:ext uri="{FF2B5EF4-FFF2-40B4-BE49-F238E27FC236}">
                <a16:creationId xmlns:a16="http://schemas.microsoft.com/office/drawing/2014/main" id="{1372C746-4BF0-5C1E-D085-6965356C72C3}"/>
              </a:ext>
            </a:extLst>
          </p:cNvPr>
          <p:cNvSpPr>
            <a:spLocks noGrp="1"/>
          </p:cNvSpPr>
          <p:nvPr>
            <p:ph type="body" sz="quarter" idx="84"/>
          </p:nvPr>
        </p:nvSpPr>
        <p:spPr>
          <a:xfrm>
            <a:off x="533400" y="1756803"/>
            <a:ext cx="3492000" cy="1446212"/>
          </a:xfrm>
        </p:spPr>
        <p:txBody>
          <a:bodyPr lIns="216000" rIns="72000"/>
          <a:lstStyle>
            <a:lvl1pPr marL="172800" indent="-172800">
              <a:buClr>
                <a:schemeClr val="bg2"/>
              </a:buClr>
              <a:buFont typeface="Arial" panose="020B0604020202020204" pitchFamily="34" charset="0"/>
              <a:buChar char="•"/>
              <a:tabLst/>
              <a:defRPr/>
            </a:lvl1pPr>
            <a:lvl2pPr marL="457200" indent="0">
              <a:buNone/>
              <a:defRPr/>
            </a:lvl2pPr>
          </a:lstStyle>
          <a:p>
            <a:pPr lvl="0"/>
            <a:r>
              <a:rPr lang="en-US"/>
              <a:t>Click to edit Master text styles</a:t>
            </a:r>
          </a:p>
        </p:txBody>
      </p:sp>
      <p:sp>
        <p:nvSpPr>
          <p:cNvPr id="27" name="Rounded Rectangle 26">
            <a:extLst>
              <a:ext uri="{FF2B5EF4-FFF2-40B4-BE49-F238E27FC236}">
                <a16:creationId xmlns:a16="http://schemas.microsoft.com/office/drawing/2014/main" id="{771F6F65-B147-2984-4DF6-D5E49BF256DB}"/>
              </a:ext>
            </a:extLst>
          </p:cNvPr>
          <p:cNvSpPr/>
          <p:nvPr userDrawn="1"/>
        </p:nvSpPr>
        <p:spPr>
          <a:xfrm>
            <a:off x="533400" y="3651251"/>
            <a:ext cx="3492000" cy="2232000"/>
          </a:xfrm>
          <a:prstGeom prst="roundRect">
            <a:avLst>
              <a:gd name="adj" fmla="val 4257"/>
            </a:avLst>
          </a:prstGeom>
          <a:solidFill>
            <a:schemeClr val="bg1"/>
          </a:solidFill>
          <a:ln>
            <a:noFill/>
          </a:ln>
          <a:effectLst>
            <a:outerShdw blurRad="355600" algn="ctr" rotWithShape="0">
              <a:schemeClr val="tx1">
                <a:alpha val="22627"/>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28" name="Text Placeholder 19">
            <a:extLst>
              <a:ext uri="{FF2B5EF4-FFF2-40B4-BE49-F238E27FC236}">
                <a16:creationId xmlns:a16="http://schemas.microsoft.com/office/drawing/2014/main" id="{EADEC985-5C46-F0D1-65D2-F38F9C3BDB82}"/>
              </a:ext>
            </a:extLst>
          </p:cNvPr>
          <p:cNvSpPr>
            <a:spLocks noGrp="1"/>
          </p:cNvSpPr>
          <p:nvPr>
            <p:ph type="body" sz="quarter" idx="85" hasCustomPrompt="1"/>
          </p:nvPr>
        </p:nvSpPr>
        <p:spPr>
          <a:xfrm>
            <a:off x="1207951" y="3711613"/>
            <a:ext cx="2733675" cy="542925"/>
          </a:xfrm>
        </p:spPr>
        <p:txBody>
          <a:bodyPr anchor="ctr"/>
          <a:lstStyle>
            <a:lvl1pPr marL="0" indent="0">
              <a:lnSpc>
                <a:spcPts val="1560"/>
              </a:lnSpc>
              <a:buFontTx/>
              <a:buNone/>
              <a:defRPr sz="1800" b="1">
                <a:latin typeface="+mj-lt"/>
              </a:defRPr>
            </a:lvl1pPr>
          </a:lstStyle>
          <a:p>
            <a:pPr lvl="0"/>
            <a:r>
              <a:rPr lang="en-US"/>
              <a:t>Click to edit header</a:t>
            </a:r>
          </a:p>
        </p:txBody>
      </p:sp>
      <p:sp>
        <p:nvSpPr>
          <p:cNvPr id="29" name="Picture Placeholder 21">
            <a:extLst>
              <a:ext uri="{FF2B5EF4-FFF2-40B4-BE49-F238E27FC236}">
                <a16:creationId xmlns:a16="http://schemas.microsoft.com/office/drawing/2014/main" id="{F395B88E-1863-A1F6-8913-E82D7A4A1530}"/>
              </a:ext>
            </a:extLst>
          </p:cNvPr>
          <p:cNvSpPr>
            <a:spLocks noGrp="1" noChangeAspect="1"/>
          </p:cNvSpPr>
          <p:nvPr>
            <p:ph type="pic" sz="quarter" idx="86"/>
          </p:nvPr>
        </p:nvSpPr>
        <p:spPr>
          <a:xfrm>
            <a:off x="655801" y="3705250"/>
            <a:ext cx="540000" cy="540000"/>
          </a:xfrm>
        </p:spPr>
        <p:txBody>
          <a:bodyPr/>
          <a:lstStyle>
            <a:lvl1pPr marL="0" indent="0">
              <a:buFontTx/>
              <a:buNone/>
              <a:defRPr/>
            </a:lvl1pPr>
          </a:lstStyle>
          <a:p>
            <a:endParaRPr lang="en-NL"/>
          </a:p>
        </p:txBody>
      </p:sp>
      <p:sp>
        <p:nvSpPr>
          <p:cNvPr id="30" name="Text Placeholder 24">
            <a:extLst>
              <a:ext uri="{FF2B5EF4-FFF2-40B4-BE49-F238E27FC236}">
                <a16:creationId xmlns:a16="http://schemas.microsoft.com/office/drawing/2014/main" id="{10BE308F-0627-8C40-2DF9-FFB6C82CB2FB}"/>
              </a:ext>
            </a:extLst>
          </p:cNvPr>
          <p:cNvSpPr>
            <a:spLocks noGrp="1"/>
          </p:cNvSpPr>
          <p:nvPr>
            <p:ph type="body" sz="quarter" idx="87"/>
          </p:nvPr>
        </p:nvSpPr>
        <p:spPr>
          <a:xfrm>
            <a:off x="541201" y="4349788"/>
            <a:ext cx="3492000" cy="1446212"/>
          </a:xfrm>
        </p:spPr>
        <p:txBody>
          <a:bodyPr lIns="216000" rIns="72000"/>
          <a:lstStyle>
            <a:lvl1pPr marL="172800" indent="-172800">
              <a:buClr>
                <a:schemeClr val="bg2"/>
              </a:buClr>
              <a:buFont typeface="Arial" panose="020B0604020202020204" pitchFamily="34" charset="0"/>
              <a:buChar char="•"/>
              <a:tabLst/>
              <a:defRPr/>
            </a:lvl1pPr>
            <a:lvl2pPr marL="457200" indent="0">
              <a:buNone/>
              <a:defRPr/>
            </a:lvl2pPr>
          </a:lstStyle>
          <a:p>
            <a:pPr lvl="0"/>
            <a:r>
              <a:rPr lang="en-US"/>
              <a:t>Click to edit Master text styles</a:t>
            </a:r>
          </a:p>
        </p:txBody>
      </p:sp>
      <p:sp>
        <p:nvSpPr>
          <p:cNvPr id="31" name="Rounded Rectangle 30">
            <a:extLst>
              <a:ext uri="{FF2B5EF4-FFF2-40B4-BE49-F238E27FC236}">
                <a16:creationId xmlns:a16="http://schemas.microsoft.com/office/drawing/2014/main" id="{C88F7EDD-6A93-BC7D-0893-2A72F00BB22A}"/>
              </a:ext>
            </a:extLst>
          </p:cNvPr>
          <p:cNvSpPr/>
          <p:nvPr userDrawn="1"/>
        </p:nvSpPr>
        <p:spPr>
          <a:xfrm>
            <a:off x="8193600" y="1058403"/>
            <a:ext cx="3492000" cy="2232000"/>
          </a:xfrm>
          <a:prstGeom prst="roundRect">
            <a:avLst>
              <a:gd name="adj" fmla="val 4257"/>
            </a:avLst>
          </a:prstGeom>
          <a:solidFill>
            <a:schemeClr val="bg1"/>
          </a:solidFill>
          <a:ln>
            <a:noFill/>
          </a:ln>
          <a:effectLst>
            <a:outerShdw blurRad="355600" algn="ctr" rotWithShape="0">
              <a:schemeClr val="tx1">
                <a:alpha val="22627"/>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32" name="Text Placeholder 19">
            <a:extLst>
              <a:ext uri="{FF2B5EF4-FFF2-40B4-BE49-F238E27FC236}">
                <a16:creationId xmlns:a16="http://schemas.microsoft.com/office/drawing/2014/main" id="{BD60F392-4A03-F352-F8AC-58B617B09066}"/>
              </a:ext>
            </a:extLst>
          </p:cNvPr>
          <p:cNvSpPr>
            <a:spLocks noGrp="1"/>
          </p:cNvSpPr>
          <p:nvPr>
            <p:ph type="body" sz="quarter" idx="88" hasCustomPrompt="1"/>
          </p:nvPr>
        </p:nvSpPr>
        <p:spPr>
          <a:xfrm>
            <a:off x="8868151" y="1119626"/>
            <a:ext cx="2733675" cy="542925"/>
          </a:xfrm>
        </p:spPr>
        <p:txBody>
          <a:bodyPr anchor="ctr"/>
          <a:lstStyle>
            <a:lvl1pPr marL="0" indent="0">
              <a:lnSpc>
                <a:spcPts val="1560"/>
              </a:lnSpc>
              <a:buFontTx/>
              <a:buNone/>
              <a:defRPr sz="1800" b="1">
                <a:latin typeface="+mj-lt"/>
              </a:defRPr>
            </a:lvl1pPr>
          </a:lstStyle>
          <a:p>
            <a:pPr lvl="0"/>
            <a:r>
              <a:rPr lang="en-US"/>
              <a:t>Click to edit header</a:t>
            </a:r>
          </a:p>
        </p:txBody>
      </p:sp>
      <p:sp>
        <p:nvSpPr>
          <p:cNvPr id="33" name="Picture Placeholder 21">
            <a:extLst>
              <a:ext uri="{FF2B5EF4-FFF2-40B4-BE49-F238E27FC236}">
                <a16:creationId xmlns:a16="http://schemas.microsoft.com/office/drawing/2014/main" id="{91A3600E-2959-E4B2-8B3A-173E01CE5D50}"/>
              </a:ext>
            </a:extLst>
          </p:cNvPr>
          <p:cNvSpPr>
            <a:spLocks noGrp="1" noChangeAspect="1"/>
          </p:cNvSpPr>
          <p:nvPr>
            <p:ph type="pic" sz="quarter" idx="89"/>
          </p:nvPr>
        </p:nvSpPr>
        <p:spPr>
          <a:xfrm>
            <a:off x="8316001" y="1113263"/>
            <a:ext cx="540000" cy="540000"/>
          </a:xfrm>
        </p:spPr>
        <p:txBody>
          <a:bodyPr/>
          <a:lstStyle>
            <a:lvl1pPr marL="0" indent="0">
              <a:buFontTx/>
              <a:buNone/>
              <a:defRPr/>
            </a:lvl1pPr>
          </a:lstStyle>
          <a:p>
            <a:endParaRPr lang="en-NL"/>
          </a:p>
        </p:txBody>
      </p:sp>
      <p:sp>
        <p:nvSpPr>
          <p:cNvPr id="34" name="Text Placeholder 24">
            <a:extLst>
              <a:ext uri="{FF2B5EF4-FFF2-40B4-BE49-F238E27FC236}">
                <a16:creationId xmlns:a16="http://schemas.microsoft.com/office/drawing/2014/main" id="{5DFEC480-9BBA-7D4D-0C06-16E391C9D437}"/>
              </a:ext>
            </a:extLst>
          </p:cNvPr>
          <p:cNvSpPr>
            <a:spLocks noGrp="1"/>
          </p:cNvSpPr>
          <p:nvPr>
            <p:ph type="body" sz="quarter" idx="90"/>
          </p:nvPr>
        </p:nvSpPr>
        <p:spPr>
          <a:xfrm>
            <a:off x="8201401" y="1756797"/>
            <a:ext cx="3492000" cy="1446212"/>
          </a:xfrm>
        </p:spPr>
        <p:txBody>
          <a:bodyPr lIns="216000" rIns="72000"/>
          <a:lstStyle>
            <a:lvl1pPr marL="172800" indent="-172800">
              <a:buClr>
                <a:schemeClr val="bg2"/>
              </a:buClr>
              <a:buFont typeface="Arial" panose="020B0604020202020204" pitchFamily="34" charset="0"/>
              <a:buChar char="•"/>
              <a:tabLst/>
              <a:defRPr/>
            </a:lvl1pPr>
            <a:lvl2pPr marL="457200" indent="0">
              <a:buNone/>
              <a:defRPr/>
            </a:lvl2pPr>
          </a:lstStyle>
          <a:p>
            <a:pPr lvl="0"/>
            <a:r>
              <a:rPr lang="en-US"/>
              <a:t>Click to edit Master text styles</a:t>
            </a:r>
          </a:p>
        </p:txBody>
      </p:sp>
      <p:sp>
        <p:nvSpPr>
          <p:cNvPr id="35" name="Rounded Rectangle 34">
            <a:extLst>
              <a:ext uri="{FF2B5EF4-FFF2-40B4-BE49-F238E27FC236}">
                <a16:creationId xmlns:a16="http://schemas.microsoft.com/office/drawing/2014/main" id="{AD610777-1C41-AAAB-64B4-332DAE553C82}"/>
              </a:ext>
            </a:extLst>
          </p:cNvPr>
          <p:cNvSpPr/>
          <p:nvPr userDrawn="1"/>
        </p:nvSpPr>
        <p:spPr>
          <a:xfrm>
            <a:off x="8185799" y="3651251"/>
            <a:ext cx="3492000" cy="2232000"/>
          </a:xfrm>
          <a:prstGeom prst="roundRect">
            <a:avLst>
              <a:gd name="adj" fmla="val 4257"/>
            </a:avLst>
          </a:prstGeom>
          <a:solidFill>
            <a:schemeClr val="bg1"/>
          </a:solidFill>
          <a:ln>
            <a:noFill/>
          </a:ln>
          <a:effectLst>
            <a:outerShdw blurRad="355600" algn="ctr" rotWithShape="0">
              <a:schemeClr val="tx1">
                <a:alpha val="22627"/>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36" name="Text Placeholder 19">
            <a:extLst>
              <a:ext uri="{FF2B5EF4-FFF2-40B4-BE49-F238E27FC236}">
                <a16:creationId xmlns:a16="http://schemas.microsoft.com/office/drawing/2014/main" id="{8FBBE147-6B02-DE21-E70B-9232C3DCD674}"/>
              </a:ext>
            </a:extLst>
          </p:cNvPr>
          <p:cNvSpPr>
            <a:spLocks noGrp="1"/>
          </p:cNvSpPr>
          <p:nvPr>
            <p:ph type="body" sz="quarter" idx="91" hasCustomPrompt="1"/>
          </p:nvPr>
        </p:nvSpPr>
        <p:spPr>
          <a:xfrm>
            <a:off x="8860350" y="3711613"/>
            <a:ext cx="2733675" cy="542925"/>
          </a:xfrm>
        </p:spPr>
        <p:txBody>
          <a:bodyPr anchor="ctr"/>
          <a:lstStyle>
            <a:lvl1pPr marL="0" indent="0">
              <a:lnSpc>
                <a:spcPts val="1560"/>
              </a:lnSpc>
              <a:buFontTx/>
              <a:buNone/>
              <a:defRPr sz="1800" b="1">
                <a:latin typeface="+mj-lt"/>
              </a:defRPr>
            </a:lvl1pPr>
          </a:lstStyle>
          <a:p>
            <a:pPr lvl="0"/>
            <a:r>
              <a:rPr lang="en-US"/>
              <a:t>Click to edit header</a:t>
            </a:r>
          </a:p>
        </p:txBody>
      </p:sp>
      <p:sp>
        <p:nvSpPr>
          <p:cNvPr id="37" name="Picture Placeholder 21">
            <a:extLst>
              <a:ext uri="{FF2B5EF4-FFF2-40B4-BE49-F238E27FC236}">
                <a16:creationId xmlns:a16="http://schemas.microsoft.com/office/drawing/2014/main" id="{5B8B88B0-1DED-5F14-F1B6-23BB2DC1510A}"/>
              </a:ext>
            </a:extLst>
          </p:cNvPr>
          <p:cNvSpPr>
            <a:spLocks noGrp="1" noChangeAspect="1"/>
          </p:cNvSpPr>
          <p:nvPr>
            <p:ph type="pic" sz="quarter" idx="92"/>
          </p:nvPr>
        </p:nvSpPr>
        <p:spPr>
          <a:xfrm>
            <a:off x="8308200" y="3705250"/>
            <a:ext cx="540000" cy="540000"/>
          </a:xfrm>
        </p:spPr>
        <p:txBody>
          <a:bodyPr/>
          <a:lstStyle>
            <a:lvl1pPr marL="0" indent="0">
              <a:buFontTx/>
              <a:buNone/>
              <a:defRPr/>
            </a:lvl1pPr>
          </a:lstStyle>
          <a:p>
            <a:endParaRPr lang="en-NL"/>
          </a:p>
        </p:txBody>
      </p:sp>
      <p:sp>
        <p:nvSpPr>
          <p:cNvPr id="38" name="Text Placeholder 24">
            <a:extLst>
              <a:ext uri="{FF2B5EF4-FFF2-40B4-BE49-F238E27FC236}">
                <a16:creationId xmlns:a16="http://schemas.microsoft.com/office/drawing/2014/main" id="{817A1F71-B116-637A-C03B-FE3CA6960D08}"/>
              </a:ext>
            </a:extLst>
          </p:cNvPr>
          <p:cNvSpPr>
            <a:spLocks noGrp="1"/>
          </p:cNvSpPr>
          <p:nvPr>
            <p:ph type="body" sz="quarter" idx="93"/>
          </p:nvPr>
        </p:nvSpPr>
        <p:spPr>
          <a:xfrm>
            <a:off x="8193600" y="4349788"/>
            <a:ext cx="3492000" cy="1446212"/>
          </a:xfrm>
        </p:spPr>
        <p:txBody>
          <a:bodyPr lIns="216000" rIns="72000"/>
          <a:lstStyle>
            <a:lvl1pPr marL="172800" indent="-172800">
              <a:buClr>
                <a:schemeClr val="bg2"/>
              </a:buClr>
              <a:buFont typeface="Arial" panose="020B0604020202020204" pitchFamily="34" charset="0"/>
              <a:buChar char="•"/>
              <a:tabLst/>
              <a:defRPr/>
            </a:lvl1pPr>
            <a:lvl2pPr marL="457200" indent="0">
              <a:buNone/>
              <a:defRPr/>
            </a:lvl2pPr>
          </a:lstStyle>
          <a:p>
            <a:pPr lvl="0"/>
            <a:r>
              <a:rPr lang="en-US"/>
              <a:t>Click to edit Master text styles</a:t>
            </a:r>
          </a:p>
        </p:txBody>
      </p:sp>
      <p:sp>
        <p:nvSpPr>
          <p:cNvPr id="39" name="Rounded Rectangle 38">
            <a:extLst>
              <a:ext uri="{FF2B5EF4-FFF2-40B4-BE49-F238E27FC236}">
                <a16:creationId xmlns:a16="http://schemas.microsoft.com/office/drawing/2014/main" id="{D5A4C6A0-167B-7686-69B1-8C17A8F6EC68}"/>
              </a:ext>
            </a:extLst>
          </p:cNvPr>
          <p:cNvSpPr/>
          <p:nvPr userDrawn="1"/>
        </p:nvSpPr>
        <p:spPr>
          <a:xfrm>
            <a:off x="4367913" y="1058403"/>
            <a:ext cx="3456875" cy="2232000"/>
          </a:xfrm>
          <a:prstGeom prst="roundRect">
            <a:avLst>
              <a:gd name="adj" fmla="val 4257"/>
            </a:avLst>
          </a:prstGeom>
          <a:solidFill>
            <a:schemeClr val="bg1"/>
          </a:solidFill>
          <a:ln>
            <a:noFill/>
          </a:ln>
          <a:effectLst>
            <a:outerShdw blurRad="355600" algn="ctr" rotWithShape="0">
              <a:schemeClr val="tx1">
                <a:alpha val="22627"/>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40" name="Text Placeholder 19">
            <a:extLst>
              <a:ext uri="{FF2B5EF4-FFF2-40B4-BE49-F238E27FC236}">
                <a16:creationId xmlns:a16="http://schemas.microsoft.com/office/drawing/2014/main" id="{FA04371C-F05B-66B3-5399-1FAB14675679}"/>
              </a:ext>
            </a:extLst>
          </p:cNvPr>
          <p:cNvSpPr>
            <a:spLocks noGrp="1"/>
          </p:cNvSpPr>
          <p:nvPr>
            <p:ph type="body" sz="quarter" idx="94" hasCustomPrompt="1"/>
          </p:nvPr>
        </p:nvSpPr>
        <p:spPr>
          <a:xfrm>
            <a:off x="5042464" y="1119629"/>
            <a:ext cx="2733675" cy="542925"/>
          </a:xfrm>
        </p:spPr>
        <p:txBody>
          <a:bodyPr anchor="ctr"/>
          <a:lstStyle>
            <a:lvl1pPr marL="0" indent="0">
              <a:lnSpc>
                <a:spcPts val="1560"/>
              </a:lnSpc>
              <a:buFontTx/>
              <a:buNone/>
              <a:defRPr sz="1800" b="1">
                <a:latin typeface="+mj-lt"/>
              </a:defRPr>
            </a:lvl1pPr>
          </a:lstStyle>
          <a:p>
            <a:pPr lvl="0"/>
            <a:r>
              <a:rPr lang="en-US"/>
              <a:t>Click to edit header</a:t>
            </a:r>
          </a:p>
        </p:txBody>
      </p:sp>
      <p:sp>
        <p:nvSpPr>
          <p:cNvPr id="41" name="Picture Placeholder 21">
            <a:extLst>
              <a:ext uri="{FF2B5EF4-FFF2-40B4-BE49-F238E27FC236}">
                <a16:creationId xmlns:a16="http://schemas.microsoft.com/office/drawing/2014/main" id="{985C09A6-CA0B-1256-6179-52E890AF2D69}"/>
              </a:ext>
            </a:extLst>
          </p:cNvPr>
          <p:cNvSpPr>
            <a:spLocks noGrp="1" noChangeAspect="1"/>
          </p:cNvSpPr>
          <p:nvPr>
            <p:ph type="pic" sz="quarter" idx="95"/>
          </p:nvPr>
        </p:nvSpPr>
        <p:spPr>
          <a:xfrm>
            <a:off x="4490314" y="1113266"/>
            <a:ext cx="540000" cy="540000"/>
          </a:xfrm>
        </p:spPr>
        <p:txBody>
          <a:bodyPr/>
          <a:lstStyle>
            <a:lvl1pPr marL="0" indent="0">
              <a:buFontTx/>
              <a:buNone/>
              <a:defRPr/>
            </a:lvl1pPr>
          </a:lstStyle>
          <a:p>
            <a:endParaRPr lang="en-NL"/>
          </a:p>
        </p:txBody>
      </p:sp>
      <p:sp>
        <p:nvSpPr>
          <p:cNvPr id="42" name="Text Placeholder 24">
            <a:extLst>
              <a:ext uri="{FF2B5EF4-FFF2-40B4-BE49-F238E27FC236}">
                <a16:creationId xmlns:a16="http://schemas.microsoft.com/office/drawing/2014/main" id="{C1DF276F-6DDA-FFBE-7365-2D48F5814346}"/>
              </a:ext>
            </a:extLst>
          </p:cNvPr>
          <p:cNvSpPr>
            <a:spLocks noGrp="1"/>
          </p:cNvSpPr>
          <p:nvPr>
            <p:ph type="body" sz="quarter" idx="96"/>
          </p:nvPr>
        </p:nvSpPr>
        <p:spPr>
          <a:xfrm>
            <a:off x="4375714" y="1756803"/>
            <a:ext cx="3456875" cy="1446212"/>
          </a:xfrm>
        </p:spPr>
        <p:txBody>
          <a:bodyPr lIns="216000" rIns="72000"/>
          <a:lstStyle>
            <a:lvl1pPr marL="172800" indent="-172800">
              <a:buClr>
                <a:schemeClr val="bg2"/>
              </a:buClr>
              <a:buFont typeface="Arial" panose="020B0604020202020204" pitchFamily="34" charset="0"/>
              <a:buChar char="•"/>
              <a:tabLst/>
              <a:defRPr/>
            </a:lvl1pPr>
            <a:lvl2pPr marL="457200" indent="0">
              <a:buNone/>
              <a:defRPr/>
            </a:lvl2pPr>
          </a:lstStyle>
          <a:p>
            <a:pPr lvl="0"/>
            <a:r>
              <a:rPr lang="en-US"/>
              <a:t>Click to edit Master text styles</a:t>
            </a:r>
          </a:p>
        </p:txBody>
      </p:sp>
      <p:sp>
        <p:nvSpPr>
          <p:cNvPr id="43" name="Rounded Rectangle 42">
            <a:extLst>
              <a:ext uri="{FF2B5EF4-FFF2-40B4-BE49-F238E27FC236}">
                <a16:creationId xmlns:a16="http://schemas.microsoft.com/office/drawing/2014/main" id="{395A6836-93F3-6097-F51D-8A4D54852F44}"/>
              </a:ext>
            </a:extLst>
          </p:cNvPr>
          <p:cNvSpPr/>
          <p:nvPr userDrawn="1"/>
        </p:nvSpPr>
        <p:spPr>
          <a:xfrm>
            <a:off x="4383612" y="3650400"/>
            <a:ext cx="3456875" cy="2232000"/>
          </a:xfrm>
          <a:prstGeom prst="roundRect">
            <a:avLst>
              <a:gd name="adj" fmla="val 4257"/>
            </a:avLst>
          </a:prstGeom>
          <a:solidFill>
            <a:schemeClr val="bg1"/>
          </a:solidFill>
          <a:ln>
            <a:noFill/>
          </a:ln>
          <a:effectLst>
            <a:outerShdw blurRad="355600" algn="ctr" rotWithShape="0">
              <a:schemeClr val="tx1">
                <a:alpha val="22627"/>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44" name="Text Placeholder 19">
            <a:extLst>
              <a:ext uri="{FF2B5EF4-FFF2-40B4-BE49-F238E27FC236}">
                <a16:creationId xmlns:a16="http://schemas.microsoft.com/office/drawing/2014/main" id="{04D06195-CE4D-25D9-9C87-9DA05D22A5B4}"/>
              </a:ext>
            </a:extLst>
          </p:cNvPr>
          <p:cNvSpPr>
            <a:spLocks noGrp="1"/>
          </p:cNvSpPr>
          <p:nvPr>
            <p:ph type="body" sz="quarter" idx="97" hasCustomPrompt="1"/>
          </p:nvPr>
        </p:nvSpPr>
        <p:spPr>
          <a:xfrm>
            <a:off x="5058163" y="3711600"/>
            <a:ext cx="2733675" cy="542925"/>
          </a:xfrm>
        </p:spPr>
        <p:txBody>
          <a:bodyPr anchor="ctr"/>
          <a:lstStyle>
            <a:lvl1pPr marL="0" indent="0">
              <a:lnSpc>
                <a:spcPts val="1560"/>
              </a:lnSpc>
              <a:buFontTx/>
              <a:buNone/>
              <a:defRPr sz="1800" b="1">
                <a:latin typeface="+mj-lt"/>
              </a:defRPr>
            </a:lvl1pPr>
          </a:lstStyle>
          <a:p>
            <a:pPr lvl="0"/>
            <a:r>
              <a:rPr lang="en-US"/>
              <a:t>Click to edit header</a:t>
            </a:r>
          </a:p>
        </p:txBody>
      </p:sp>
      <p:sp>
        <p:nvSpPr>
          <p:cNvPr id="45" name="Picture Placeholder 21">
            <a:extLst>
              <a:ext uri="{FF2B5EF4-FFF2-40B4-BE49-F238E27FC236}">
                <a16:creationId xmlns:a16="http://schemas.microsoft.com/office/drawing/2014/main" id="{83EC390B-8D59-637B-8B4B-F1A9F450A933}"/>
              </a:ext>
            </a:extLst>
          </p:cNvPr>
          <p:cNvSpPr>
            <a:spLocks noGrp="1" noChangeAspect="1"/>
          </p:cNvSpPr>
          <p:nvPr>
            <p:ph type="pic" sz="quarter" idx="98"/>
          </p:nvPr>
        </p:nvSpPr>
        <p:spPr>
          <a:xfrm>
            <a:off x="4506013" y="3704400"/>
            <a:ext cx="540000" cy="540000"/>
          </a:xfrm>
        </p:spPr>
        <p:txBody>
          <a:bodyPr/>
          <a:lstStyle>
            <a:lvl1pPr marL="0" indent="0">
              <a:buFontTx/>
              <a:buNone/>
              <a:defRPr/>
            </a:lvl1pPr>
          </a:lstStyle>
          <a:p>
            <a:endParaRPr lang="en-NL"/>
          </a:p>
        </p:txBody>
      </p:sp>
      <p:sp>
        <p:nvSpPr>
          <p:cNvPr id="46" name="Text Placeholder 24">
            <a:extLst>
              <a:ext uri="{FF2B5EF4-FFF2-40B4-BE49-F238E27FC236}">
                <a16:creationId xmlns:a16="http://schemas.microsoft.com/office/drawing/2014/main" id="{EF6F9B56-94BA-B029-B0F9-3C78B720C190}"/>
              </a:ext>
            </a:extLst>
          </p:cNvPr>
          <p:cNvSpPr>
            <a:spLocks noGrp="1"/>
          </p:cNvSpPr>
          <p:nvPr>
            <p:ph type="body" sz="quarter" idx="99"/>
          </p:nvPr>
        </p:nvSpPr>
        <p:spPr>
          <a:xfrm>
            <a:off x="4391413" y="4348800"/>
            <a:ext cx="3456875" cy="1446212"/>
          </a:xfrm>
        </p:spPr>
        <p:txBody>
          <a:bodyPr lIns="216000" rIns="72000"/>
          <a:lstStyle>
            <a:lvl1pPr marL="172800" indent="-172800">
              <a:buClr>
                <a:schemeClr val="bg2"/>
              </a:buClr>
              <a:buFont typeface="Arial" panose="020B0604020202020204" pitchFamily="34" charset="0"/>
              <a:buChar char="•"/>
              <a:tabLst/>
              <a:defRPr/>
            </a:lvl1pPr>
            <a:lvl2pPr marL="457200" indent="0">
              <a:buNone/>
              <a:defRPr/>
            </a:lvl2pPr>
          </a:lstStyle>
          <a:p>
            <a:pPr lvl="0"/>
            <a:r>
              <a:rPr lang="en-US"/>
              <a:t>Click to edit Master text styles</a:t>
            </a:r>
          </a:p>
        </p:txBody>
      </p:sp>
    </p:spTree>
    <p:extLst>
      <p:ext uri="{BB962C8B-B14F-4D97-AF65-F5344CB8AC3E}">
        <p14:creationId xmlns:p14="http://schemas.microsoft.com/office/powerpoint/2010/main" val="2655538655"/>
      </p:ext>
    </p:extLst>
  </p:cSld>
  <p:clrMapOvr>
    <a:masterClrMapping/>
  </p:clrMapOvr>
  <p:extLst>
    <p:ext uri="{DCECCB84-F9BA-43D5-87BE-67443E8EF086}">
      <p15:sldGuideLst xmlns:p15="http://schemas.microsoft.com/office/powerpoint/2012/main">
        <p15:guide id="1" pos="2525">
          <p15:clr>
            <a:srgbClr val="FBAE40"/>
          </p15:clr>
        </p15:guide>
        <p15:guide id="2" pos="4929">
          <p15:clr>
            <a:srgbClr val="FBAE40"/>
          </p15:clr>
        </p15:guide>
        <p15:guide id="3" pos="5155">
          <p15:clr>
            <a:srgbClr val="FBAE40"/>
          </p15:clr>
        </p15:guide>
        <p15:guide id="4" pos="2751">
          <p15:clr>
            <a:srgbClr val="FBAE40"/>
          </p15:clr>
        </p15:guide>
        <p15:guide id="5" orient="horz" pos="1049">
          <p15:clr>
            <a:srgbClr val="FBAE40"/>
          </p15:clr>
        </p15:guide>
        <p15:guide id="6" pos="756">
          <p15:clr>
            <a:srgbClr val="FBAE4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1_Title, 3 boxes, 3 Content">
    <p:spTree>
      <p:nvGrpSpPr>
        <p:cNvPr id="1" name=""/>
        <p:cNvGrpSpPr/>
        <p:nvPr/>
      </p:nvGrpSpPr>
      <p:grpSpPr>
        <a:xfrm>
          <a:off x="0" y="0"/>
          <a:ext cx="0" cy="0"/>
          <a:chOff x="0" y="0"/>
          <a:chExt cx="0" cy="0"/>
        </a:xfrm>
      </p:grpSpPr>
      <p:sp>
        <p:nvSpPr>
          <p:cNvPr id="2" name="Content Placeholder 3">
            <a:extLst>
              <a:ext uri="{FF2B5EF4-FFF2-40B4-BE49-F238E27FC236}">
                <a16:creationId xmlns:a16="http://schemas.microsoft.com/office/drawing/2014/main" id="{630C01F3-C245-F63D-1E2F-2C692181E356}"/>
              </a:ext>
            </a:extLst>
          </p:cNvPr>
          <p:cNvSpPr>
            <a:spLocks noGrp="1"/>
          </p:cNvSpPr>
          <p:nvPr>
            <p:ph idx="51"/>
          </p:nvPr>
        </p:nvSpPr>
        <p:spPr>
          <a:xfrm>
            <a:off x="8183563" y="1494000"/>
            <a:ext cx="3492000" cy="4392612"/>
          </a:xfrm>
        </p:spPr>
        <p:txBody>
          <a:bodyPr vert="horz" lIns="0" tIns="46800" rIns="0" bIns="0" rtlCol="0">
            <a:noAutofit/>
          </a:bodyPr>
          <a:lstStyle>
            <a:lvl1pPr marL="171450" indent="-171450">
              <a:buFont typeface="Arial" panose="020B0604020202020204" pitchFamily="34" charset="0"/>
              <a:buChar char="•"/>
              <a:defRPr lang="en-US" dirty="0"/>
            </a:lvl1pPr>
          </a:lstStyle>
          <a:p>
            <a:pPr lvl="0"/>
            <a:r>
              <a:rPr lang="en-US"/>
              <a:t>Click to edit</a:t>
            </a:r>
          </a:p>
        </p:txBody>
      </p:sp>
      <p:sp>
        <p:nvSpPr>
          <p:cNvPr id="5" name="Content Placeholder 2">
            <a:extLst>
              <a:ext uri="{FF2B5EF4-FFF2-40B4-BE49-F238E27FC236}">
                <a16:creationId xmlns:a16="http://schemas.microsoft.com/office/drawing/2014/main" id="{07905B11-8455-A4FD-A06D-EB5A3171BDF5}"/>
              </a:ext>
            </a:extLst>
          </p:cNvPr>
          <p:cNvSpPr>
            <a:spLocks noGrp="1"/>
          </p:cNvSpPr>
          <p:nvPr>
            <p:ph idx="53"/>
          </p:nvPr>
        </p:nvSpPr>
        <p:spPr>
          <a:xfrm>
            <a:off x="4367213" y="1494000"/>
            <a:ext cx="3457575" cy="4392614"/>
          </a:xfrm>
        </p:spPr>
        <p:txBody>
          <a:bodyPr vert="horz" lIns="0" tIns="46800" rIns="0" bIns="0" rtlCol="0">
            <a:noAutofit/>
          </a:bodyPr>
          <a:lstStyle>
            <a:lvl1pPr>
              <a:defRPr lang="en-US" dirty="0"/>
            </a:lvl1pPr>
          </a:lstStyle>
          <a:p>
            <a:pPr lvl="0"/>
            <a:r>
              <a:rPr lang="en-US"/>
              <a:t>Click to edit</a:t>
            </a:r>
          </a:p>
        </p:txBody>
      </p:sp>
      <p:sp>
        <p:nvSpPr>
          <p:cNvPr id="3" name="Content Placeholder 1">
            <a:extLst>
              <a:ext uri="{FF2B5EF4-FFF2-40B4-BE49-F238E27FC236}">
                <a16:creationId xmlns:a16="http://schemas.microsoft.com/office/drawing/2014/main" id="{A04AA393-4F20-0D1B-2BED-90390A60004D}"/>
              </a:ext>
            </a:extLst>
          </p:cNvPr>
          <p:cNvSpPr>
            <a:spLocks noGrp="1"/>
          </p:cNvSpPr>
          <p:nvPr>
            <p:ph idx="52"/>
          </p:nvPr>
        </p:nvSpPr>
        <p:spPr>
          <a:xfrm>
            <a:off x="525600" y="1494000"/>
            <a:ext cx="3492000" cy="4392613"/>
          </a:xfrm>
        </p:spPr>
        <p:txBody>
          <a:bodyPr vert="horz" lIns="0" tIns="46800" rIns="0" bIns="0" rtlCol="0">
            <a:noAutofit/>
          </a:bodyPr>
          <a:lstStyle>
            <a:lvl1pPr>
              <a:defRPr lang="en-US" dirty="0"/>
            </a:lvl1pPr>
          </a:lstStyle>
          <a:p>
            <a:pPr lvl="0"/>
            <a:r>
              <a:rPr lang="en-US"/>
              <a:t>Click to edit</a:t>
            </a:r>
          </a:p>
        </p:txBody>
      </p:sp>
      <p:sp>
        <p:nvSpPr>
          <p:cNvPr id="11" name="Title">
            <a:extLst>
              <a:ext uri="{FF2B5EF4-FFF2-40B4-BE49-F238E27FC236}">
                <a16:creationId xmlns:a16="http://schemas.microsoft.com/office/drawing/2014/main" id="{F93D4ED7-389B-E455-26AD-7426F17CB8D4}"/>
              </a:ext>
            </a:extLst>
          </p:cNvPr>
          <p:cNvSpPr>
            <a:spLocks noGrp="1"/>
          </p:cNvSpPr>
          <p:nvPr>
            <p:ph type="title"/>
          </p:nvPr>
        </p:nvSpPr>
        <p:spPr/>
        <p:txBody>
          <a:bodyPr/>
          <a:lstStyle/>
          <a:p>
            <a:r>
              <a:rPr lang="en-US"/>
              <a:t>Click to edit Master title style</a:t>
            </a:r>
            <a:endParaRPr lang="en-NL"/>
          </a:p>
        </p:txBody>
      </p:sp>
      <p:sp>
        <p:nvSpPr>
          <p:cNvPr id="7" name="Text Placeholder 3">
            <a:extLst>
              <a:ext uri="{FF2B5EF4-FFF2-40B4-BE49-F238E27FC236}">
                <a16:creationId xmlns:a16="http://schemas.microsoft.com/office/drawing/2014/main" id="{AA8C2F0F-D8EC-A6E6-D3D0-8A00C7CB2E83}"/>
              </a:ext>
            </a:extLst>
          </p:cNvPr>
          <p:cNvSpPr>
            <a:spLocks noGrp="1"/>
          </p:cNvSpPr>
          <p:nvPr>
            <p:ph type="body" sz="quarter" idx="78" hasCustomPrompt="1"/>
          </p:nvPr>
        </p:nvSpPr>
        <p:spPr>
          <a:xfrm>
            <a:off x="515939" y="1054800"/>
            <a:ext cx="3492500" cy="360001"/>
          </a:xfrm>
          <a:prstGeom prst="roundRect">
            <a:avLst/>
          </a:prstGeom>
          <a:solidFill>
            <a:schemeClr val="tx2"/>
          </a:solidFill>
        </p:spPr>
        <p:txBody>
          <a:bodyPr lIns="0" tIns="0" rIns="0" bIns="0" anchor="ctr"/>
          <a:lstStyle>
            <a:lvl1pPr marL="0" indent="0" algn="ctr">
              <a:lnSpc>
                <a:spcPct val="100000"/>
              </a:lnSpc>
              <a:spcBef>
                <a:spcPts val="0"/>
              </a:spcBef>
              <a:buNone/>
              <a:defRPr sz="1400" b="1" baseline="0">
                <a:solidFill>
                  <a:schemeClr val="bg1"/>
                </a:solidFill>
                <a:latin typeface="Calibri" panose="020F0502020204030204" pitchFamily="34" charset="0"/>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Box Title</a:t>
            </a:r>
            <a:endParaRPr lang="nl-NL"/>
          </a:p>
        </p:txBody>
      </p:sp>
      <p:sp>
        <p:nvSpPr>
          <p:cNvPr id="8" name="Text Placeholder 3">
            <a:extLst>
              <a:ext uri="{FF2B5EF4-FFF2-40B4-BE49-F238E27FC236}">
                <a16:creationId xmlns:a16="http://schemas.microsoft.com/office/drawing/2014/main" id="{8D7D0D14-83D6-9AF2-D8ED-1DB83851A46A}"/>
              </a:ext>
            </a:extLst>
          </p:cNvPr>
          <p:cNvSpPr>
            <a:spLocks noGrp="1"/>
          </p:cNvSpPr>
          <p:nvPr>
            <p:ph type="body" sz="quarter" idx="79" hasCustomPrompt="1"/>
          </p:nvPr>
        </p:nvSpPr>
        <p:spPr>
          <a:xfrm>
            <a:off x="4367213" y="1054800"/>
            <a:ext cx="3457575" cy="360001"/>
          </a:xfrm>
          <a:prstGeom prst="roundRect">
            <a:avLst/>
          </a:prstGeom>
          <a:solidFill>
            <a:schemeClr val="tx2"/>
          </a:solidFill>
        </p:spPr>
        <p:txBody>
          <a:bodyPr lIns="0" tIns="0" rIns="0" bIns="0" anchor="ctr"/>
          <a:lstStyle>
            <a:lvl1pPr marL="0" indent="0" algn="ctr">
              <a:lnSpc>
                <a:spcPct val="100000"/>
              </a:lnSpc>
              <a:spcBef>
                <a:spcPts val="0"/>
              </a:spcBef>
              <a:buNone/>
              <a:defRPr sz="1400" b="1" baseline="0">
                <a:solidFill>
                  <a:schemeClr val="bg1"/>
                </a:solidFill>
                <a:latin typeface="Calibri" panose="020F0502020204030204" pitchFamily="34" charset="0"/>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Box Title</a:t>
            </a:r>
            <a:endParaRPr lang="nl-NL"/>
          </a:p>
        </p:txBody>
      </p:sp>
      <p:sp>
        <p:nvSpPr>
          <p:cNvPr id="9" name="Text Placeholder 3">
            <a:extLst>
              <a:ext uri="{FF2B5EF4-FFF2-40B4-BE49-F238E27FC236}">
                <a16:creationId xmlns:a16="http://schemas.microsoft.com/office/drawing/2014/main" id="{B9E5809B-FAA0-EB62-0D0D-5F14EC26602A}"/>
              </a:ext>
            </a:extLst>
          </p:cNvPr>
          <p:cNvSpPr>
            <a:spLocks noGrp="1"/>
          </p:cNvSpPr>
          <p:nvPr>
            <p:ph type="body" sz="quarter" idx="80" hasCustomPrompt="1"/>
          </p:nvPr>
        </p:nvSpPr>
        <p:spPr>
          <a:xfrm>
            <a:off x="8183561" y="1054800"/>
            <a:ext cx="3492500" cy="360001"/>
          </a:xfrm>
          <a:prstGeom prst="roundRect">
            <a:avLst/>
          </a:prstGeom>
          <a:solidFill>
            <a:schemeClr val="tx2"/>
          </a:solidFill>
        </p:spPr>
        <p:txBody>
          <a:bodyPr lIns="0" tIns="0" rIns="0" bIns="0" anchor="ctr"/>
          <a:lstStyle>
            <a:lvl1pPr marL="0" indent="0" algn="ctr">
              <a:lnSpc>
                <a:spcPct val="100000"/>
              </a:lnSpc>
              <a:spcBef>
                <a:spcPts val="0"/>
              </a:spcBef>
              <a:buNone/>
              <a:defRPr sz="1400" b="1" baseline="0">
                <a:solidFill>
                  <a:schemeClr val="bg1"/>
                </a:solidFill>
                <a:latin typeface="Calibri" panose="020F0502020204030204" pitchFamily="34" charset="0"/>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Box Title</a:t>
            </a:r>
            <a:endParaRPr lang="nl-NL"/>
          </a:p>
        </p:txBody>
      </p:sp>
      <p:sp>
        <p:nvSpPr>
          <p:cNvPr id="4" name="Slide Number Placeholder">
            <a:extLst>
              <a:ext uri="{FF2B5EF4-FFF2-40B4-BE49-F238E27FC236}">
                <a16:creationId xmlns:a16="http://schemas.microsoft.com/office/drawing/2014/main" id="{90B029D1-FBA2-4E51-CD24-946A9C41C172}"/>
              </a:ext>
            </a:extLst>
          </p:cNvPr>
          <p:cNvSpPr>
            <a:spLocks noGrp="1"/>
          </p:cNvSpPr>
          <p:nvPr>
            <p:ph type="sldNum" sz="quarter" idx="12"/>
          </p:nvPr>
        </p:nvSpPr>
        <p:spPr>
          <a:xfrm>
            <a:off x="11319511" y="6120028"/>
            <a:ext cx="350031" cy="360000"/>
          </a:xfrm>
          <a:prstGeom prst="rect">
            <a:avLst/>
          </a:prstGeom>
        </p:spPr>
        <p:txBody>
          <a:bodyPr lIns="0" tIns="0" rIns="0" bIns="0" anchor="ctr"/>
          <a:lstStyle>
            <a:lvl1pPr algn="r">
              <a:defRPr sz="1100">
                <a:solidFill>
                  <a:schemeClr val="bg2"/>
                </a:solidFill>
              </a:defRPr>
            </a:lvl1pPr>
          </a:lstStyle>
          <a:p>
            <a:fld id="{D0281C21-EE02-42A0-BCF6-67BEF936A35A}" type="slidenum">
              <a:rPr lang="en-IN" smtClean="0"/>
              <a:pPr/>
              <a:t>‹#›</a:t>
            </a:fld>
            <a:endParaRPr lang="en-IN"/>
          </a:p>
        </p:txBody>
      </p:sp>
      <p:sp>
        <p:nvSpPr>
          <p:cNvPr id="6" name="Text Placeholder 5">
            <a:extLst>
              <a:ext uri="{FF2B5EF4-FFF2-40B4-BE49-F238E27FC236}">
                <a16:creationId xmlns:a16="http://schemas.microsoft.com/office/drawing/2014/main" id="{28176147-8814-3853-26B7-E041287F8797}"/>
              </a:ext>
            </a:extLst>
          </p:cNvPr>
          <p:cNvSpPr>
            <a:spLocks noGrp="1"/>
          </p:cNvSpPr>
          <p:nvPr>
            <p:ph type="body" sz="quarter" idx="81" hasCustomPrompt="1"/>
          </p:nvPr>
        </p:nvSpPr>
        <p:spPr>
          <a:xfrm>
            <a:off x="525600" y="6109200"/>
            <a:ext cx="720000" cy="554400"/>
          </a:xfrm>
        </p:spPr>
        <p:txBody>
          <a:bodyPr/>
          <a:lstStyle>
            <a:lvl1pPr marL="0" indent="0">
              <a:buFontTx/>
              <a:buNone/>
              <a:defRPr sz="1100" b="1">
                <a:solidFill>
                  <a:schemeClr val="bg2"/>
                </a:solidFill>
              </a:defRPr>
            </a:lvl1pPr>
          </a:lstStyle>
          <a:p>
            <a:pPr lvl="0"/>
            <a:r>
              <a:rPr lang="en-US"/>
              <a:t>Sources:</a:t>
            </a:r>
            <a:endParaRPr lang="en-NL"/>
          </a:p>
        </p:txBody>
      </p:sp>
      <p:sp>
        <p:nvSpPr>
          <p:cNvPr id="13" name="Text Placeholder 11">
            <a:extLst>
              <a:ext uri="{FF2B5EF4-FFF2-40B4-BE49-F238E27FC236}">
                <a16:creationId xmlns:a16="http://schemas.microsoft.com/office/drawing/2014/main" id="{F4DB64CA-7B49-702E-AB35-F98D1CF63E1B}"/>
              </a:ext>
            </a:extLst>
          </p:cNvPr>
          <p:cNvSpPr>
            <a:spLocks noGrp="1"/>
          </p:cNvSpPr>
          <p:nvPr>
            <p:ph type="body" sz="quarter" idx="82" hasCustomPrompt="1"/>
          </p:nvPr>
        </p:nvSpPr>
        <p:spPr>
          <a:xfrm>
            <a:off x="1152000" y="6109200"/>
            <a:ext cx="8704216" cy="440904"/>
          </a:xfrm>
        </p:spPr>
        <p:txBody>
          <a:bodyPr/>
          <a:lstStyle>
            <a:lvl1pPr marL="0" indent="0">
              <a:buFontTx/>
              <a:buNone/>
              <a:defRPr sz="1100"/>
            </a:lvl1pPr>
          </a:lstStyle>
          <a:p>
            <a:pPr lvl="0"/>
            <a:r>
              <a:rPr lang="en-US"/>
              <a:t>Innova Database (click to edit)</a:t>
            </a:r>
            <a:endParaRPr lang="en-NL"/>
          </a:p>
        </p:txBody>
      </p:sp>
    </p:spTree>
    <p:extLst>
      <p:ext uri="{BB962C8B-B14F-4D97-AF65-F5344CB8AC3E}">
        <p14:creationId xmlns:p14="http://schemas.microsoft.com/office/powerpoint/2010/main" val="179993102"/>
      </p:ext>
    </p:extLst>
  </p:cSld>
  <p:clrMapOvr>
    <a:masterClrMapping/>
  </p:clrMapOvr>
  <p:extLst>
    <p:ext uri="{DCECCB84-F9BA-43D5-87BE-67443E8EF086}">
      <p15:sldGuideLst xmlns:p15="http://schemas.microsoft.com/office/powerpoint/2012/main">
        <p15:guide id="1" pos="2525">
          <p15:clr>
            <a:srgbClr val="FBAE40"/>
          </p15:clr>
        </p15:guide>
        <p15:guide id="2" pos="4929">
          <p15:clr>
            <a:srgbClr val="FBAE40"/>
          </p15:clr>
        </p15:guide>
        <p15:guide id="3" pos="5155">
          <p15:clr>
            <a:srgbClr val="FBAE40"/>
          </p15:clr>
        </p15:guide>
        <p15:guide id="4" pos="2751">
          <p15:clr>
            <a:srgbClr val="FBAE40"/>
          </p15:clr>
        </p15:guide>
        <p15:guide id="5" orient="horz" pos="890">
          <p15:clr>
            <a:srgbClr val="FBAE40"/>
          </p15:clr>
        </p15:guide>
        <p15:guide id="6" orient="horz" pos="935">
          <p15:clr>
            <a:srgbClr val="FBAE4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le, 4 Content">
    <p:spTree>
      <p:nvGrpSpPr>
        <p:cNvPr id="1" name=""/>
        <p:cNvGrpSpPr/>
        <p:nvPr/>
      </p:nvGrpSpPr>
      <p:grpSpPr>
        <a:xfrm>
          <a:off x="0" y="0"/>
          <a:ext cx="0" cy="0"/>
          <a:chOff x="0" y="0"/>
          <a:chExt cx="0" cy="0"/>
        </a:xfrm>
      </p:grpSpPr>
      <p:sp>
        <p:nvSpPr>
          <p:cNvPr id="8" name="Content Placeholder 4">
            <a:extLst>
              <a:ext uri="{FF2B5EF4-FFF2-40B4-BE49-F238E27FC236}">
                <a16:creationId xmlns:a16="http://schemas.microsoft.com/office/drawing/2014/main" id="{8FCB292C-A122-3DDE-7A87-C9B377EA7D47}"/>
              </a:ext>
            </a:extLst>
          </p:cNvPr>
          <p:cNvSpPr>
            <a:spLocks noGrp="1"/>
          </p:cNvSpPr>
          <p:nvPr>
            <p:ph idx="55"/>
          </p:nvPr>
        </p:nvSpPr>
        <p:spPr>
          <a:xfrm>
            <a:off x="9156700" y="1062476"/>
            <a:ext cx="2520000" cy="4824412"/>
          </a:xfrm>
        </p:spPr>
        <p:txBody>
          <a:bodyPr vert="horz" lIns="0" tIns="46800" rIns="0" bIns="0" rtlCol="0">
            <a:noAutofit/>
          </a:bodyPr>
          <a:lstStyle>
            <a:lvl1pPr marL="171450" indent="-171450">
              <a:buFont typeface="Arial" panose="020B0604020202020204" pitchFamily="34" charset="0"/>
              <a:buChar char="•"/>
              <a:defRPr lang="en-US" dirty="0"/>
            </a:lvl1pPr>
          </a:lstStyle>
          <a:p>
            <a:pPr lvl="0"/>
            <a:r>
              <a:rPr lang="en-US"/>
              <a:t>Click to edit</a:t>
            </a:r>
          </a:p>
        </p:txBody>
      </p:sp>
      <p:sp>
        <p:nvSpPr>
          <p:cNvPr id="7" name="Content Placeholder 3">
            <a:extLst>
              <a:ext uri="{FF2B5EF4-FFF2-40B4-BE49-F238E27FC236}">
                <a16:creationId xmlns:a16="http://schemas.microsoft.com/office/drawing/2014/main" id="{38EE0D99-6238-C7FD-F215-EBEA19524A6A}"/>
              </a:ext>
            </a:extLst>
          </p:cNvPr>
          <p:cNvSpPr>
            <a:spLocks noGrp="1"/>
          </p:cNvSpPr>
          <p:nvPr>
            <p:ph idx="54"/>
          </p:nvPr>
        </p:nvSpPr>
        <p:spPr>
          <a:xfrm>
            <a:off x="6272800" y="1062476"/>
            <a:ext cx="2520000" cy="4824412"/>
          </a:xfrm>
        </p:spPr>
        <p:txBody>
          <a:bodyPr vert="horz" lIns="0" tIns="46800" rIns="0" bIns="0" rtlCol="0">
            <a:noAutofit/>
          </a:bodyPr>
          <a:lstStyle>
            <a:lvl1pPr>
              <a:defRPr lang="en-US"/>
            </a:lvl1pPr>
          </a:lstStyle>
          <a:p>
            <a:pPr lvl="0"/>
            <a:r>
              <a:rPr lang="en-US"/>
              <a:t>Click to edit</a:t>
            </a:r>
          </a:p>
        </p:txBody>
      </p:sp>
      <p:sp>
        <p:nvSpPr>
          <p:cNvPr id="4" name="Content Placeholder 2">
            <a:extLst>
              <a:ext uri="{FF2B5EF4-FFF2-40B4-BE49-F238E27FC236}">
                <a16:creationId xmlns:a16="http://schemas.microsoft.com/office/drawing/2014/main" id="{B370AC96-7E4E-3E9C-9FF3-ACBD2BC8775B}"/>
              </a:ext>
            </a:extLst>
          </p:cNvPr>
          <p:cNvSpPr>
            <a:spLocks noGrp="1"/>
          </p:cNvSpPr>
          <p:nvPr>
            <p:ph idx="53"/>
          </p:nvPr>
        </p:nvSpPr>
        <p:spPr>
          <a:xfrm>
            <a:off x="3399200" y="1062000"/>
            <a:ext cx="2520000" cy="4824412"/>
          </a:xfrm>
        </p:spPr>
        <p:txBody>
          <a:bodyPr vert="horz" lIns="0" tIns="46800" rIns="0" bIns="0" rtlCol="0">
            <a:noAutofit/>
          </a:bodyPr>
          <a:lstStyle>
            <a:lvl1pPr>
              <a:defRPr lang="en-US" dirty="0"/>
            </a:lvl1pPr>
          </a:lstStyle>
          <a:p>
            <a:pPr lvl="0"/>
            <a:r>
              <a:rPr lang="en-US"/>
              <a:t>Click to edit</a:t>
            </a:r>
          </a:p>
        </p:txBody>
      </p:sp>
      <p:sp>
        <p:nvSpPr>
          <p:cNvPr id="3" name="Content Placeholder 1">
            <a:extLst>
              <a:ext uri="{FF2B5EF4-FFF2-40B4-BE49-F238E27FC236}">
                <a16:creationId xmlns:a16="http://schemas.microsoft.com/office/drawing/2014/main" id="{A04AA393-4F20-0D1B-2BED-90390A60004D}"/>
              </a:ext>
            </a:extLst>
          </p:cNvPr>
          <p:cNvSpPr>
            <a:spLocks noGrp="1"/>
          </p:cNvSpPr>
          <p:nvPr>
            <p:ph idx="52"/>
          </p:nvPr>
        </p:nvSpPr>
        <p:spPr>
          <a:xfrm>
            <a:off x="525600" y="1062000"/>
            <a:ext cx="2520000" cy="4824412"/>
          </a:xfrm>
        </p:spPr>
        <p:txBody>
          <a:bodyPr vert="horz" lIns="0" tIns="46800" rIns="0" bIns="0" rtlCol="0">
            <a:noAutofit/>
          </a:bodyPr>
          <a:lstStyle>
            <a:lvl1pPr>
              <a:defRPr lang="en-US" dirty="0"/>
            </a:lvl1pPr>
          </a:lstStyle>
          <a:p>
            <a:pPr lvl="0"/>
            <a:r>
              <a:rPr lang="en-US"/>
              <a:t>Click to edit</a:t>
            </a:r>
          </a:p>
        </p:txBody>
      </p:sp>
      <p:sp>
        <p:nvSpPr>
          <p:cNvPr id="11" name="Title">
            <a:extLst>
              <a:ext uri="{FF2B5EF4-FFF2-40B4-BE49-F238E27FC236}">
                <a16:creationId xmlns:a16="http://schemas.microsoft.com/office/drawing/2014/main" id="{F93D4ED7-389B-E455-26AD-7426F17CB8D4}"/>
              </a:ext>
            </a:extLst>
          </p:cNvPr>
          <p:cNvSpPr>
            <a:spLocks noGrp="1"/>
          </p:cNvSpPr>
          <p:nvPr>
            <p:ph type="title"/>
          </p:nvPr>
        </p:nvSpPr>
        <p:spPr/>
        <p:txBody>
          <a:bodyPr/>
          <a:lstStyle/>
          <a:p>
            <a:r>
              <a:rPr lang="en-US"/>
              <a:t>Click to edit Master title style</a:t>
            </a:r>
            <a:endParaRPr lang="en-NL"/>
          </a:p>
        </p:txBody>
      </p:sp>
      <p:sp>
        <p:nvSpPr>
          <p:cNvPr id="2" name="Slide Number Placeholder">
            <a:extLst>
              <a:ext uri="{FF2B5EF4-FFF2-40B4-BE49-F238E27FC236}">
                <a16:creationId xmlns:a16="http://schemas.microsoft.com/office/drawing/2014/main" id="{4C01F5CD-53D6-889C-923C-BDAB55F4BD08}"/>
              </a:ext>
            </a:extLst>
          </p:cNvPr>
          <p:cNvSpPr>
            <a:spLocks noGrp="1"/>
          </p:cNvSpPr>
          <p:nvPr>
            <p:ph type="sldNum" sz="quarter" idx="12"/>
          </p:nvPr>
        </p:nvSpPr>
        <p:spPr>
          <a:xfrm>
            <a:off x="11319511" y="6120028"/>
            <a:ext cx="350031" cy="360000"/>
          </a:xfrm>
          <a:prstGeom prst="rect">
            <a:avLst/>
          </a:prstGeom>
        </p:spPr>
        <p:txBody>
          <a:bodyPr lIns="0" tIns="0" rIns="0" bIns="0" anchor="ctr"/>
          <a:lstStyle>
            <a:lvl1pPr algn="r">
              <a:defRPr sz="1100">
                <a:solidFill>
                  <a:schemeClr val="bg2"/>
                </a:solidFill>
              </a:defRPr>
            </a:lvl1pPr>
          </a:lstStyle>
          <a:p>
            <a:fld id="{D0281C21-EE02-42A0-BCF6-67BEF936A35A}" type="slidenum">
              <a:rPr lang="en-IN" smtClean="0"/>
              <a:pPr/>
              <a:t>‹#›</a:t>
            </a:fld>
            <a:endParaRPr lang="en-IN"/>
          </a:p>
        </p:txBody>
      </p:sp>
      <p:sp>
        <p:nvSpPr>
          <p:cNvPr id="6" name="Text Placeholder 5">
            <a:extLst>
              <a:ext uri="{FF2B5EF4-FFF2-40B4-BE49-F238E27FC236}">
                <a16:creationId xmlns:a16="http://schemas.microsoft.com/office/drawing/2014/main" id="{F97E4CD5-3C86-5325-8B4B-3536CF068E86}"/>
              </a:ext>
            </a:extLst>
          </p:cNvPr>
          <p:cNvSpPr>
            <a:spLocks noGrp="1"/>
          </p:cNvSpPr>
          <p:nvPr>
            <p:ph type="body" sz="quarter" idx="80" hasCustomPrompt="1"/>
          </p:nvPr>
        </p:nvSpPr>
        <p:spPr>
          <a:xfrm>
            <a:off x="525600" y="6109200"/>
            <a:ext cx="720000" cy="554400"/>
          </a:xfrm>
        </p:spPr>
        <p:txBody>
          <a:bodyPr/>
          <a:lstStyle>
            <a:lvl1pPr marL="0" indent="0">
              <a:buFontTx/>
              <a:buNone/>
              <a:defRPr sz="1100" b="1">
                <a:solidFill>
                  <a:schemeClr val="bg2"/>
                </a:solidFill>
              </a:defRPr>
            </a:lvl1pPr>
          </a:lstStyle>
          <a:p>
            <a:pPr lvl="0"/>
            <a:r>
              <a:rPr lang="en-US"/>
              <a:t>Sources:</a:t>
            </a:r>
            <a:endParaRPr lang="en-NL"/>
          </a:p>
        </p:txBody>
      </p:sp>
      <p:sp>
        <p:nvSpPr>
          <p:cNvPr id="10" name="Text Placeholder 11">
            <a:extLst>
              <a:ext uri="{FF2B5EF4-FFF2-40B4-BE49-F238E27FC236}">
                <a16:creationId xmlns:a16="http://schemas.microsoft.com/office/drawing/2014/main" id="{DD3E5AB8-CAFA-1912-6D26-AE343ED8DD12}"/>
              </a:ext>
            </a:extLst>
          </p:cNvPr>
          <p:cNvSpPr>
            <a:spLocks noGrp="1"/>
          </p:cNvSpPr>
          <p:nvPr>
            <p:ph type="body" sz="quarter" idx="81" hasCustomPrompt="1"/>
          </p:nvPr>
        </p:nvSpPr>
        <p:spPr>
          <a:xfrm>
            <a:off x="1152000" y="6109200"/>
            <a:ext cx="8704216" cy="440904"/>
          </a:xfrm>
        </p:spPr>
        <p:txBody>
          <a:bodyPr/>
          <a:lstStyle>
            <a:lvl1pPr marL="0" indent="0">
              <a:buFontTx/>
              <a:buNone/>
              <a:defRPr sz="1100"/>
            </a:lvl1pPr>
          </a:lstStyle>
          <a:p>
            <a:pPr lvl="0"/>
            <a:r>
              <a:rPr lang="en-US"/>
              <a:t>Innova Database (click to edit)</a:t>
            </a:r>
            <a:endParaRPr lang="en-NL"/>
          </a:p>
        </p:txBody>
      </p:sp>
    </p:spTree>
    <p:extLst>
      <p:ext uri="{BB962C8B-B14F-4D97-AF65-F5344CB8AC3E}">
        <p14:creationId xmlns:p14="http://schemas.microsoft.com/office/powerpoint/2010/main" val="2782916618"/>
      </p:ext>
    </p:extLst>
  </p:cSld>
  <p:clrMapOvr>
    <a:masterClrMapping/>
  </p:clrMapOvr>
  <p:extLst>
    <p:ext uri="{DCECCB84-F9BA-43D5-87BE-67443E8EF086}">
      <p15:sldGuideLst xmlns:p15="http://schemas.microsoft.com/office/powerpoint/2012/main">
        <p15:guide id="1" pos="1912">
          <p15:clr>
            <a:srgbClr val="FBAE40"/>
          </p15:clr>
        </p15:guide>
        <p15:guide id="2" pos="5541">
          <p15:clr>
            <a:srgbClr val="FBAE40"/>
          </p15:clr>
        </p15:guide>
        <p15:guide id="3" pos="5768">
          <p15:clr>
            <a:srgbClr val="FBAE40"/>
          </p15:clr>
        </p15:guide>
        <p15:guide id="4" pos="2139">
          <p15:clr>
            <a:srgbClr val="FBAE40"/>
          </p15:clr>
        </p15:guide>
        <p15:guide id="5" pos="3727">
          <p15:clr>
            <a:srgbClr val="FBAE40"/>
          </p15:clr>
        </p15:guide>
        <p15:guide id="6" pos="3953">
          <p15:clr>
            <a:srgbClr val="FBAE4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_Title, 4 boxes, 4 Content">
    <p:spTree>
      <p:nvGrpSpPr>
        <p:cNvPr id="1" name=""/>
        <p:cNvGrpSpPr/>
        <p:nvPr/>
      </p:nvGrpSpPr>
      <p:grpSpPr>
        <a:xfrm>
          <a:off x="0" y="0"/>
          <a:ext cx="0" cy="0"/>
          <a:chOff x="0" y="0"/>
          <a:chExt cx="0" cy="0"/>
        </a:xfrm>
      </p:grpSpPr>
      <p:sp>
        <p:nvSpPr>
          <p:cNvPr id="8" name="Content Placeholder 4">
            <a:extLst>
              <a:ext uri="{FF2B5EF4-FFF2-40B4-BE49-F238E27FC236}">
                <a16:creationId xmlns:a16="http://schemas.microsoft.com/office/drawing/2014/main" id="{8FCB292C-A122-3DDE-7A87-C9B377EA7D47}"/>
              </a:ext>
            </a:extLst>
          </p:cNvPr>
          <p:cNvSpPr>
            <a:spLocks noGrp="1"/>
          </p:cNvSpPr>
          <p:nvPr>
            <p:ph idx="55"/>
          </p:nvPr>
        </p:nvSpPr>
        <p:spPr>
          <a:xfrm>
            <a:off x="9156700" y="1494000"/>
            <a:ext cx="2520000" cy="4392614"/>
          </a:xfrm>
        </p:spPr>
        <p:txBody>
          <a:bodyPr vert="horz" lIns="0" tIns="46800" rIns="0" bIns="0" rtlCol="0">
            <a:noAutofit/>
          </a:bodyPr>
          <a:lstStyle>
            <a:lvl1pPr marL="171450" indent="-171450">
              <a:buFont typeface="Arial" panose="020B0604020202020204" pitchFamily="34" charset="0"/>
              <a:buChar char="•"/>
              <a:defRPr lang="en-US" dirty="0"/>
            </a:lvl1pPr>
          </a:lstStyle>
          <a:p>
            <a:pPr lvl="0"/>
            <a:r>
              <a:rPr lang="en-US"/>
              <a:t>Click to edit</a:t>
            </a:r>
          </a:p>
        </p:txBody>
      </p:sp>
      <p:sp>
        <p:nvSpPr>
          <p:cNvPr id="7" name="Content Placeholder 3">
            <a:extLst>
              <a:ext uri="{FF2B5EF4-FFF2-40B4-BE49-F238E27FC236}">
                <a16:creationId xmlns:a16="http://schemas.microsoft.com/office/drawing/2014/main" id="{38EE0D99-6238-C7FD-F215-EBEA19524A6A}"/>
              </a:ext>
            </a:extLst>
          </p:cNvPr>
          <p:cNvSpPr>
            <a:spLocks noGrp="1"/>
          </p:cNvSpPr>
          <p:nvPr>
            <p:ph idx="54"/>
          </p:nvPr>
        </p:nvSpPr>
        <p:spPr>
          <a:xfrm>
            <a:off x="6271200" y="1494000"/>
            <a:ext cx="2520000" cy="4392617"/>
          </a:xfrm>
        </p:spPr>
        <p:txBody>
          <a:bodyPr vert="horz" lIns="0" tIns="46800" rIns="0" bIns="0" rtlCol="0">
            <a:noAutofit/>
          </a:bodyPr>
          <a:lstStyle>
            <a:lvl1pPr>
              <a:defRPr lang="en-US" dirty="0"/>
            </a:lvl1pPr>
          </a:lstStyle>
          <a:p>
            <a:pPr lvl="0"/>
            <a:r>
              <a:rPr lang="en-US"/>
              <a:t>Click to edit</a:t>
            </a:r>
          </a:p>
        </p:txBody>
      </p:sp>
      <p:sp>
        <p:nvSpPr>
          <p:cNvPr id="4" name="Content Placeholder 2">
            <a:extLst>
              <a:ext uri="{FF2B5EF4-FFF2-40B4-BE49-F238E27FC236}">
                <a16:creationId xmlns:a16="http://schemas.microsoft.com/office/drawing/2014/main" id="{B370AC96-7E4E-3E9C-9FF3-ACBD2BC8775B}"/>
              </a:ext>
            </a:extLst>
          </p:cNvPr>
          <p:cNvSpPr>
            <a:spLocks noGrp="1"/>
          </p:cNvSpPr>
          <p:nvPr>
            <p:ph idx="53"/>
          </p:nvPr>
        </p:nvSpPr>
        <p:spPr>
          <a:xfrm>
            <a:off x="3399200" y="1494000"/>
            <a:ext cx="2520000" cy="4392614"/>
          </a:xfrm>
        </p:spPr>
        <p:txBody>
          <a:bodyPr vert="horz" lIns="0" tIns="46800" rIns="0" bIns="0" rtlCol="0">
            <a:noAutofit/>
          </a:bodyPr>
          <a:lstStyle>
            <a:lvl1pPr>
              <a:defRPr lang="en-US" dirty="0"/>
            </a:lvl1pPr>
          </a:lstStyle>
          <a:p>
            <a:pPr lvl="0"/>
            <a:r>
              <a:rPr lang="en-US"/>
              <a:t>Click to edit</a:t>
            </a:r>
          </a:p>
        </p:txBody>
      </p:sp>
      <p:sp>
        <p:nvSpPr>
          <p:cNvPr id="3" name="Content Placeholder 1">
            <a:extLst>
              <a:ext uri="{FF2B5EF4-FFF2-40B4-BE49-F238E27FC236}">
                <a16:creationId xmlns:a16="http://schemas.microsoft.com/office/drawing/2014/main" id="{A04AA393-4F20-0D1B-2BED-90390A60004D}"/>
              </a:ext>
            </a:extLst>
          </p:cNvPr>
          <p:cNvSpPr>
            <a:spLocks noGrp="1"/>
          </p:cNvSpPr>
          <p:nvPr>
            <p:ph idx="52"/>
          </p:nvPr>
        </p:nvSpPr>
        <p:spPr>
          <a:xfrm>
            <a:off x="525600" y="1494000"/>
            <a:ext cx="2520000" cy="4392617"/>
          </a:xfrm>
        </p:spPr>
        <p:txBody>
          <a:bodyPr vert="horz" lIns="0" tIns="46800" rIns="0" bIns="0" rtlCol="0">
            <a:noAutofit/>
          </a:bodyPr>
          <a:lstStyle>
            <a:lvl1pPr>
              <a:defRPr lang="en-US" dirty="0"/>
            </a:lvl1pPr>
          </a:lstStyle>
          <a:p>
            <a:pPr lvl="0"/>
            <a:r>
              <a:rPr lang="en-US"/>
              <a:t>Click to edit</a:t>
            </a:r>
          </a:p>
        </p:txBody>
      </p:sp>
      <p:sp>
        <p:nvSpPr>
          <p:cNvPr id="11" name="Title">
            <a:extLst>
              <a:ext uri="{FF2B5EF4-FFF2-40B4-BE49-F238E27FC236}">
                <a16:creationId xmlns:a16="http://schemas.microsoft.com/office/drawing/2014/main" id="{F93D4ED7-389B-E455-26AD-7426F17CB8D4}"/>
              </a:ext>
            </a:extLst>
          </p:cNvPr>
          <p:cNvSpPr>
            <a:spLocks noGrp="1"/>
          </p:cNvSpPr>
          <p:nvPr>
            <p:ph type="title"/>
          </p:nvPr>
        </p:nvSpPr>
        <p:spPr/>
        <p:txBody>
          <a:bodyPr/>
          <a:lstStyle/>
          <a:p>
            <a:r>
              <a:rPr lang="en-US"/>
              <a:t>Click to edit Master title style</a:t>
            </a:r>
            <a:endParaRPr lang="en-NL"/>
          </a:p>
        </p:txBody>
      </p:sp>
      <p:sp>
        <p:nvSpPr>
          <p:cNvPr id="5" name="Text Placeholder 3">
            <a:extLst>
              <a:ext uri="{FF2B5EF4-FFF2-40B4-BE49-F238E27FC236}">
                <a16:creationId xmlns:a16="http://schemas.microsoft.com/office/drawing/2014/main" id="{09700071-718E-4A36-5E85-CE0ACFD4AC05}"/>
              </a:ext>
            </a:extLst>
          </p:cNvPr>
          <p:cNvSpPr>
            <a:spLocks noGrp="1"/>
          </p:cNvSpPr>
          <p:nvPr>
            <p:ph type="body" sz="quarter" idx="78" hasCustomPrompt="1"/>
          </p:nvPr>
        </p:nvSpPr>
        <p:spPr>
          <a:xfrm>
            <a:off x="525600" y="1062000"/>
            <a:ext cx="2520000" cy="360001"/>
          </a:xfrm>
          <a:prstGeom prst="roundRect">
            <a:avLst/>
          </a:prstGeom>
          <a:solidFill>
            <a:schemeClr val="tx2"/>
          </a:solidFill>
        </p:spPr>
        <p:txBody>
          <a:bodyPr lIns="0" tIns="0" rIns="0" bIns="0" anchor="ctr"/>
          <a:lstStyle>
            <a:lvl1pPr marL="0" indent="0" algn="ctr">
              <a:lnSpc>
                <a:spcPct val="100000"/>
              </a:lnSpc>
              <a:spcBef>
                <a:spcPts val="0"/>
              </a:spcBef>
              <a:buNone/>
              <a:defRPr sz="1400" b="1" baseline="0">
                <a:solidFill>
                  <a:schemeClr val="bg1"/>
                </a:solidFill>
                <a:latin typeface="Calibri" panose="020F0502020204030204" pitchFamily="34" charset="0"/>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Box Title</a:t>
            </a:r>
            <a:endParaRPr lang="nl-NL"/>
          </a:p>
        </p:txBody>
      </p:sp>
      <p:sp>
        <p:nvSpPr>
          <p:cNvPr id="9" name="Text Placeholder 3">
            <a:extLst>
              <a:ext uri="{FF2B5EF4-FFF2-40B4-BE49-F238E27FC236}">
                <a16:creationId xmlns:a16="http://schemas.microsoft.com/office/drawing/2014/main" id="{DF1B4424-2A66-863F-CE44-4C673C50A574}"/>
              </a:ext>
            </a:extLst>
          </p:cNvPr>
          <p:cNvSpPr>
            <a:spLocks noGrp="1"/>
          </p:cNvSpPr>
          <p:nvPr>
            <p:ph type="body" sz="quarter" idx="79" hasCustomPrompt="1"/>
          </p:nvPr>
        </p:nvSpPr>
        <p:spPr>
          <a:xfrm>
            <a:off x="3398400" y="1062000"/>
            <a:ext cx="2520000" cy="360001"/>
          </a:xfrm>
          <a:prstGeom prst="roundRect">
            <a:avLst/>
          </a:prstGeom>
          <a:solidFill>
            <a:schemeClr val="tx2"/>
          </a:solidFill>
        </p:spPr>
        <p:txBody>
          <a:bodyPr lIns="0" tIns="0" rIns="0" bIns="0" anchor="ctr"/>
          <a:lstStyle>
            <a:lvl1pPr marL="0" indent="0" algn="ctr">
              <a:lnSpc>
                <a:spcPct val="100000"/>
              </a:lnSpc>
              <a:spcBef>
                <a:spcPts val="0"/>
              </a:spcBef>
              <a:buNone/>
              <a:defRPr sz="1400" b="1" baseline="0">
                <a:solidFill>
                  <a:schemeClr val="bg1"/>
                </a:solidFill>
                <a:latin typeface="Calibri" panose="020F0502020204030204" pitchFamily="34" charset="0"/>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Box Title</a:t>
            </a:r>
            <a:endParaRPr lang="nl-NL"/>
          </a:p>
        </p:txBody>
      </p:sp>
      <p:sp>
        <p:nvSpPr>
          <p:cNvPr id="10" name="Text Placeholder 3">
            <a:extLst>
              <a:ext uri="{FF2B5EF4-FFF2-40B4-BE49-F238E27FC236}">
                <a16:creationId xmlns:a16="http://schemas.microsoft.com/office/drawing/2014/main" id="{FBE90479-DF3B-C01C-080B-7DF454053238}"/>
              </a:ext>
            </a:extLst>
          </p:cNvPr>
          <p:cNvSpPr>
            <a:spLocks noGrp="1"/>
          </p:cNvSpPr>
          <p:nvPr>
            <p:ph type="body" sz="quarter" idx="80" hasCustomPrompt="1"/>
          </p:nvPr>
        </p:nvSpPr>
        <p:spPr>
          <a:xfrm>
            <a:off x="6271200" y="1062000"/>
            <a:ext cx="2520000" cy="360001"/>
          </a:xfrm>
          <a:prstGeom prst="roundRect">
            <a:avLst/>
          </a:prstGeom>
          <a:solidFill>
            <a:schemeClr val="tx2"/>
          </a:solidFill>
        </p:spPr>
        <p:txBody>
          <a:bodyPr lIns="0" tIns="0" rIns="0" bIns="0" anchor="ctr"/>
          <a:lstStyle>
            <a:lvl1pPr marL="0" indent="0" algn="ctr">
              <a:lnSpc>
                <a:spcPct val="100000"/>
              </a:lnSpc>
              <a:spcBef>
                <a:spcPts val="0"/>
              </a:spcBef>
              <a:buNone/>
              <a:defRPr sz="1400" b="1" baseline="0">
                <a:solidFill>
                  <a:schemeClr val="bg1"/>
                </a:solidFill>
                <a:latin typeface="Calibri" panose="020F0502020204030204" pitchFamily="34" charset="0"/>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Box Title</a:t>
            </a:r>
            <a:endParaRPr lang="nl-NL"/>
          </a:p>
        </p:txBody>
      </p:sp>
      <p:sp>
        <p:nvSpPr>
          <p:cNvPr id="12" name="Text Placeholder 3">
            <a:extLst>
              <a:ext uri="{FF2B5EF4-FFF2-40B4-BE49-F238E27FC236}">
                <a16:creationId xmlns:a16="http://schemas.microsoft.com/office/drawing/2014/main" id="{730CB052-E6BE-CC79-8EFE-C6030772428B}"/>
              </a:ext>
            </a:extLst>
          </p:cNvPr>
          <p:cNvSpPr>
            <a:spLocks noGrp="1"/>
          </p:cNvSpPr>
          <p:nvPr>
            <p:ph type="body" sz="quarter" idx="81" hasCustomPrompt="1"/>
          </p:nvPr>
        </p:nvSpPr>
        <p:spPr>
          <a:xfrm>
            <a:off x="9158400" y="1062000"/>
            <a:ext cx="2520000" cy="360001"/>
          </a:xfrm>
          <a:prstGeom prst="roundRect">
            <a:avLst/>
          </a:prstGeom>
          <a:solidFill>
            <a:schemeClr val="tx2"/>
          </a:solidFill>
        </p:spPr>
        <p:txBody>
          <a:bodyPr lIns="0" tIns="0" rIns="0" bIns="0" anchor="ctr"/>
          <a:lstStyle>
            <a:lvl1pPr marL="0" indent="0" algn="ctr">
              <a:lnSpc>
                <a:spcPct val="100000"/>
              </a:lnSpc>
              <a:spcBef>
                <a:spcPts val="0"/>
              </a:spcBef>
              <a:buNone/>
              <a:defRPr sz="1400" b="1" baseline="0">
                <a:solidFill>
                  <a:schemeClr val="bg1"/>
                </a:solidFill>
                <a:latin typeface="Calibri" panose="020F0502020204030204" pitchFamily="34" charset="0"/>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Box Title</a:t>
            </a:r>
            <a:endParaRPr lang="nl-NL"/>
          </a:p>
        </p:txBody>
      </p:sp>
      <p:sp>
        <p:nvSpPr>
          <p:cNvPr id="2" name="Slide Number Placeholder">
            <a:extLst>
              <a:ext uri="{FF2B5EF4-FFF2-40B4-BE49-F238E27FC236}">
                <a16:creationId xmlns:a16="http://schemas.microsoft.com/office/drawing/2014/main" id="{B27528EA-BA8B-2414-51A5-FF8A9013105A}"/>
              </a:ext>
            </a:extLst>
          </p:cNvPr>
          <p:cNvSpPr>
            <a:spLocks noGrp="1"/>
          </p:cNvSpPr>
          <p:nvPr>
            <p:ph type="sldNum" sz="quarter" idx="12"/>
          </p:nvPr>
        </p:nvSpPr>
        <p:spPr>
          <a:xfrm>
            <a:off x="11319511" y="6120028"/>
            <a:ext cx="350031" cy="360000"/>
          </a:xfrm>
          <a:prstGeom prst="rect">
            <a:avLst/>
          </a:prstGeom>
        </p:spPr>
        <p:txBody>
          <a:bodyPr lIns="0" tIns="0" rIns="0" bIns="0" anchor="ctr"/>
          <a:lstStyle>
            <a:lvl1pPr algn="r">
              <a:defRPr sz="1100">
                <a:solidFill>
                  <a:schemeClr val="bg2"/>
                </a:solidFill>
              </a:defRPr>
            </a:lvl1pPr>
          </a:lstStyle>
          <a:p>
            <a:fld id="{D0281C21-EE02-42A0-BCF6-67BEF936A35A}" type="slidenum">
              <a:rPr lang="en-IN" smtClean="0"/>
              <a:pPr/>
              <a:t>‹#›</a:t>
            </a:fld>
            <a:endParaRPr lang="en-IN"/>
          </a:p>
        </p:txBody>
      </p:sp>
      <p:sp>
        <p:nvSpPr>
          <p:cNvPr id="6" name="Text Placeholder 5">
            <a:extLst>
              <a:ext uri="{FF2B5EF4-FFF2-40B4-BE49-F238E27FC236}">
                <a16:creationId xmlns:a16="http://schemas.microsoft.com/office/drawing/2014/main" id="{4B583210-AC36-B8EF-8B6A-4062FBF9A65B}"/>
              </a:ext>
            </a:extLst>
          </p:cNvPr>
          <p:cNvSpPr>
            <a:spLocks noGrp="1"/>
          </p:cNvSpPr>
          <p:nvPr>
            <p:ph type="body" sz="quarter" idx="82" hasCustomPrompt="1"/>
          </p:nvPr>
        </p:nvSpPr>
        <p:spPr>
          <a:xfrm>
            <a:off x="525600" y="6109200"/>
            <a:ext cx="720000" cy="554400"/>
          </a:xfrm>
        </p:spPr>
        <p:txBody>
          <a:bodyPr/>
          <a:lstStyle>
            <a:lvl1pPr marL="0" indent="0">
              <a:buFontTx/>
              <a:buNone/>
              <a:defRPr sz="1100" b="1">
                <a:solidFill>
                  <a:schemeClr val="bg2"/>
                </a:solidFill>
              </a:defRPr>
            </a:lvl1pPr>
          </a:lstStyle>
          <a:p>
            <a:pPr lvl="0"/>
            <a:r>
              <a:rPr lang="en-US"/>
              <a:t>Sources:</a:t>
            </a:r>
            <a:endParaRPr lang="en-NL"/>
          </a:p>
        </p:txBody>
      </p:sp>
      <p:sp>
        <p:nvSpPr>
          <p:cNvPr id="13" name="Text Placeholder 11">
            <a:extLst>
              <a:ext uri="{FF2B5EF4-FFF2-40B4-BE49-F238E27FC236}">
                <a16:creationId xmlns:a16="http://schemas.microsoft.com/office/drawing/2014/main" id="{CDB821D4-CA86-5AD6-194D-6C5CB1D28983}"/>
              </a:ext>
            </a:extLst>
          </p:cNvPr>
          <p:cNvSpPr>
            <a:spLocks noGrp="1"/>
          </p:cNvSpPr>
          <p:nvPr>
            <p:ph type="body" sz="quarter" idx="83" hasCustomPrompt="1"/>
          </p:nvPr>
        </p:nvSpPr>
        <p:spPr>
          <a:xfrm>
            <a:off x="1152000" y="6109200"/>
            <a:ext cx="8704216" cy="440904"/>
          </a:xfrm>
        </p:spPr>
        <p:txBody>
          <a:bodyPr/>
          <a:lstStyle>
            <a:lvl1pPr marL="0" indent="0">
              <a:buFontTx/>
              <a:buNone/>
              <a:defRPr sz="1100"/>
            </a:lvl1pPr>
          </a:lstStyle>
          <a:p>
            <a:pPr lvl="0"/>
            <a:r>
              <a:rPr lang="en-US"/>
              <a:t>Innova Database (click to edit)</a:t>
            </a:r>
            <a:endParaRPr lang="en-NL"/>
          </a:p>
        </p:txBody>
      </p:sp>
    </p:spTree>
    <p:extLst>
      <p:ext uri="{BB962C8B-B14F-4D97-AF65-F5344CB8AC3E}">
        <p14:creationId xmlns:p14="http://schemas.microsoft.com/office/powerpoint/2010/main" val="3549459719"/>
      </p:ext>
    </p:extLst>
  </p:cSld>
  <p:clrMapOvr>
    <a:masterClrMapping/>
  </p:clrMapOvr>
  <p:extLst>
    <p:ext uri="{DCECCB84-F9BA-43D5-87BE-67443E8EF086}">
      <p15:sldGuideLst xmlns:p15="http://schemas.microsoft.com/office/powerpoint/2012/main">
        <p15:guide id="1" pos="1912">
          <p15:clr>
            <a:srgbClr val="FBAE40"/>
          </p15:clr>
        </p15:guide>
        <p15:guide id="2" pos="5541">
          <p15:clr>
            <a:srgbClr val="FBAE40"/>
          </p15:clr>
        </p15:guide>
        <p15:guide id="3" pos="5768">
          <p15:clr>
            <a:srgbClr val="FBAE40"/>
          </p15:clr>
        </p15:guide>
        <p15:guide id="4" pos="2139">
          <p15:clr>
            <a:srgbClr val="FBAE40"/>
          </p15:clr>
        </p15:guide>
        <p15:guide id="5" pos="3727">
          <p15:clr>
            <a:srgbClr val="FBAE40"/>
          </p15:clr>
        </p15:guide>
        <p15:guide id="6" pos="3953">
          <p15:clr>
            <a:srgbClr val="FBAE40"/>
          </p15:clr>
        </p15:guide>
        <p15:guide id="7" orient="horz" pos="890">
          <p15:clr>
            <a:srgbClr val="FBAE40"/>
          </p15:clr>
        </p15:guide>
        <p15:guide id="8" orient="horz" pos="935">
          <p15:clr>
            <a:srgbClr val="FBAE4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itle and World map">
    <p:bg>
      <p:bgPr>
        <a:blipFill dpi="0" rotWithShape="1">
          <a:blip r:embed="rId2" cstate="screen">
            <a:lum/>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l="14000" t="18000" r="15000" b="10000"/>
          </a:stretch>
        </a:blipFill>
        <a:effectLst/>
      </p:bgPr>
    </p:bg>
    <p:spTree>
      <p:nvGrpSpPr>
        <p:cNvPr id="1" name=""/>
        <p:cNvGrpSpPr/>
        <p:nvPr/>
      </p:nvGrpSpPr>
      <p:grpSpPr>
        <a:xfrm>
          <a:off x="0" y="0"/>
          <a:ext cx="0" cy="0"/>
          <a:chOff x="0" y="0"/>
          <a:chExt cx="0" cy="0"/>
        </a:xfrm>
      </p:grpSpPr>
      <p:sp>
        <p:nvSpPr>
          <p:cNvPr id="22" name="overlay">
            <a:extLst>
              <a:ext uri="{FF2B5EF4-FFF2-40B4-BE49-F238E27FC236}">
                <a16:creationId xmlns:a16="http://schemas.microsoft.com/office/drawing/2014/main" id="{67AA9687-E578-D4E0-46AB-DAF9B842D396}"/>
              </a:ext>
            </a:extLst>
          </p:cNvPr>
          <p:cNvSpPr/>
          <p:nvPr userDrawn="1"/>
        </p:nvSpPr>
        <p:spPr>
          <a:xfrm>
            <a:off x="508001" y="1071563"/>
            <a:ext cx="9550400" cy="5273675"/>
          </a:xfrm>
          <a:prstGeom prst="rect">
            <a:avLst/>
          </a:prstGeom>
          <a:gradFill>
            <a:gsLst>
              <a:gs pos="90000">
                <a:schemeClr val="bg1">
                  <a:alpha val="0"/>
                </a:schemeClr>
              </a:gs>
              <a:gs pos="20000">
                <a:srgbClr val="FFFFFF">
                  <a:alpha val="0"/>
                </a:srgbClr>
              </a:gs>
              <a:gs pos="8000">
                <a:schemeClr val="bg1"/>
              </a:gs>
              <a:gs pos="100000">
                <a:schemeClr val="bg1"/>
              </a:gs>
            </a:gsLst>
            <a:lin ang="162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11" name="Title">
            <a:extLst>
              <a:ext uri="{FF2B5EF4-FFF2-40B4-BE49-F238E27FC236}">
                <a16:creationId xmlns:a16="http://schemas.microsoft.com/office/drawing/2014/main" id="{F93D4ED7-389B-E455-26AD-7426F17CB8D4}"/>
              </a:ext>
            </a:extLst>
          </p:cNvPr>
          <p:cNvSpPr>
            <a:spLocks noGrp="1"/>
          </p:cNvSpPr>
          <p:nvPr>
            <p:ph type="title"/>
          </p:nvPr>
        </p:nvSpPr>
        <p:spPr>
          <a:xfrm>
            <a:off x="524654" y="193764"/>
            <a:ext cx="11160000" cy="774000"/>
          </a:xfrm>
        </p:spPr>
        <p:txBody>
          <a:bodyPr/>
          <a:lstStyle/>
          <a:p>
            <a:r>
              <a:rPr lang="en-US"/>
              <a:t>Click to edit Master title style</a:t>
            </a:r>
            <a:endParaRPr lang="en-NL"/>
          </a:p>
        </p:txBody>
      </p:sp>
      <p:sp>
        <p:nvSpPr>
          <p:cNvPr id="12" name="Slide Number Placeholder">
            <a:extLst>
              <a:ext uri="{FF2B5EF4-FFF2-40B4-BE49-F238E27FC236}">
                <a16:creationId xmlns:a16="http://schemas.microsoft.com/office/drawing/2014/main" id="{60CD5504-D486-4BFB-CBDD-28C807B20EB9}"/>
              </a:ext>
            </a:extLst>
          </p:cNvPr>
          <p:cNvSpPr>
            <a:spLocks noGrp="1"/>
          </p:cNvSpPr>
          <p:nvPr>
            <p:ph type="sldNum" sz="quarter" idx="12"/>
          </p:nvPr>
        </p:nvSpPr>
        <p:spPr>
          <a:xfrm>
            <a:off x="11319511" y="6120028"/>
            <a:ext cx="350031" cy="360000"/>
          </a:xfrm>
          <a:prstGeom prst="rect">
            <a:avLst/>
          </a:prstGeom>
        </p:spPr>
        <p:txBody>
          <a:bodyPr lIns="0" tIns="0" rIns="0" bIns="0" anchor="ctr"/>
          <a:lstStyle>
            <a:lvl1pPr algn="r">
              <a:defRPr sz="1100">
                <a:solidFill>
                  <a:schemeClr val="bg2"/>
                </a:solidFill>
              </a:defRPr>
            </a:lvl1pPr>
          </a:lstStyle>
          <a:p>
            <a:fld id="{D0281C21-EE02-42A0-BCF6-67BEF936A35A}" type="slidenum">
              <a:rPr lang="en-IN" smtClean="0"/>
              <a:pPr/>
              <a:t>‹#›</a:t>
            </a:fld>
            <a:endParaRPr lang="en-IN"/>
          </a:p>
        </p:txBody>
      </p:sp>
      <p:sp>
        <p:nvSpPr>
          <p:cNvPr id="3" name="Text Placeholder 5">
            <a:extLst>
              <a:ext uri="{FF2B5EF4-FFF2-40B4-BE49-F238E27FC236}">
                <a16:creationId xmlns:a16="http://schemas.microsoft.com/office/drawing/2014/main" id="{6C6D89E5-1341-CD78-8289-F9BD0D70B7A8}"/>
              </a:ext>
            </a:extLst>
          </p:cNvPr>
          <p:cNvSpPr>
            <a:spLocks noGrp="1"/>
          </p:cNvSpPr>
          <p:nvPr>
            <p:ph type="body" sz="quarter" idx="80" hasCustomPrompt="1"/>
          </p:nvPr>
        </p:nvSpPr>
        <p:spPr>
          <a:xfrm>
            <a:off x="525600" y="6109200"/>
            <a:ext cx="720000" cy="554400"/>
          </a:xfrm>
        </p:spPr>
        <p:txBody>
          <a:bodyPr/>
          <a:lstStyle>
            <a:lvl1pPr marL="0" indent="0">
              <a:buFontTx/>
              <a:buNone/>
              <a:defRPr sz="1100" b="1">
                <a:solidFill>
                  <a:schemeClr val="bg2"/>
                </a:solidFill>
              </a:defRPr>
            </a:lvl1pPr>
          </a:lstStyle>
          <a:p>
            <a:pPr lvl="0"/>
            <a:r>
              <a:rPr lang="en-US"/>
              <a:t>Sources:</a:t>
            </a:r>
            <a:endParaRPr lang="en-NL"/>
          </a:p>
        </p:txBody>
      </p:sp>
      <p:sp>
        <p:nvSpPr>
          <p:cNvPr id="5" name="Text Placeholder 11">
            <a:extLst>
              <a:ext uri="{FF2B5EF4-FFF2-40B4-BE49-F238E27FC236}">
                <a16:creationId xmlns:a16="http://schemas.microsoft.com/office/drawing/2014/main" id="{0EF246F8-7959-944C-2E26-11FACA2A69AD}"/>
              </a:ext>
            </a:extLst>
          </p:cNvPr>
          <p:cNvSpPr>
            <a:spLocks noGrp="1"/>
          </p:cNvSpPr>
          <p:nvPr>
            <p:ph type="body" sz="quarter" idx="81" hasCustomPrompt="1"/>
          </p:nvPr>
        </p:nvSpPr>
        <p:spPr>
          <a:xfrm>
            <a:off x="1152000" y="6109200"/>
            <a:ext cx="8704216" cy="440904"/>
          </a:xfrm>
        </p:spPr>
        <p:txBody>
          <a:bodyPr/>
          <a:lstStyle>
            <a:lvl1pPr marL="0" indent="0">
              <a:buFontTx/>
              <a:buNone/>
              <a:defRPr sz="1100"/>
            </a:lvl1pPr>
          </a:lstStyle>
          <a:p>
            <a:pPr lvl="0"/>
            <a:r>
              <a:rPr lang="en-US"/>
              <a:t>Innova Database (click to edit)</a:t>
            </a:r>
            <a:endParaRPr lang="en-NL"/>
          </a:p>
        </p:txBody>
      </p:sp>
      <p:sp>
        <p:nvSpPr>
          <p:cNvPr id="6" name="Text Placeholder 6">
            <a:extLst>
              <a:ext uri="{FF2B5EF4-FFF2-40B4-BE49-F238E27FC236}">
                <a16:creationId xmlns:a16="http://schemas.microsoft.com/office/drawing/2014/main" id="{FDDFB9A3-1692-6206-DBBE-5B50AADF1F45}"/>
              </a:ext>
            </a:extLst>
          </p:cNvPr>
          <p:cNvSpPr>
            <a:spLocks noGrp="1"/>
          </p:cNvSpPr>
          <p:nvPr>
            <p:ph type="body" sz="quarter" idx="83" hasCustomPrompt="1"/>
          </p:nvPr>
        </p:nvSpPr>
        <p:spPr>
          <a:xfrm>
            <a:off x="1364105" y="1090613"/>
            <a:ext cx="10320549" cy="360362"/>
          </a:xfrm>
          <a:noFill/>
        </p:spPr>
        <p:txBody>
          <a:bodyPr/>
          <a:lstStyle>
            <a:lvl1pPr marL="0" indent="0">
              <a:buFontTx/>
              <a:buNone/>
              <a:defRPr sz="11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marL="0" marR="0" lvl="0" indent="0" algn="l" defTabSz="914400" rtl="0" eaLnBrk="1" fontAlgn="auto" latinLnBrk="0" hangingPunct="1">
              <a:lnSpc>
                <a:spcPct val="100000"/>
              </a:lnSpc>
              <a:spcBef>
                <a:spcPts val="600"/>
              </a:spcBef>
              <a:spcAft>
                <a:spcPts val="0"/>
              </a:spcAft>
              <a:buClr>
                <a:schemeClr val="tx2"/>
              </a:buClr>
              <a:buSzTx/>
              <a:buFont typeface="Arial" panose="020B0604020202020204" pitchFamily="34" charset="0"/>
              <a:buNone/>
              <a:tabLst/>
              <a:defRPr/>
            </a:pPr>
            <a:r>
              <a:rPr lang="en-US"/>
              <a:t> Chart title goes here (do not add an extra title to the chart below)</a:t>
            </a:r>
          </a:p>
        </p:txBody>
      </p:sp>
      <p:sp>
        <p:nvSpPr>
          <p:cNvPr id="7" name="Text Placeholder 6">
            <a:extLst>
              <a:ext uri="{FF2B5EF4-FFF2-40B4-BE49-F238E27FC236}">
                <a16:creationId xmlns:a16="http://schemas.microsoft.com/office/drawing/2014/main" id="{C32CF345-9A3C-9317-0AEC-9C224EF0EE6D}"/>
              </a:ext>
            </a:extLst>
          </p:cNvPr>
          <p:cNvSpPr>
            <a:spLocks noGrp="1"/>
          </p:cNvSpPr>
          <p:nvPr>
            <p:ph type="body" sz="quarter" idx="84" hasCustomPrompt="1"/>
          </p:nvPr>
        </p:nvSpPr>
        <p:spPr>
          <a:xfrm>
            <a:off x="524654" y="1090613"/>
            <a:ext cx="779490" cy="360362"/>
          </a:xfrm>
          <a:noFill/>
        </p:spPr>
        <p:txBody>
          <a:bodyPr/>
          <a:lstStyle>
            <a:lvl1pPr marL="0" indent="0">
              <a:buFontTx/>
              <a:buNone/>
              <a:defRPr sz="1100"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Figure:</a:t>
            </a:r>
            <a:endParaRPr lang="en-IN"/>
          </a:p>
        </p:txBody>
      </p:sp>
    </p:spTree>
    <p:extLst>
      <p:ext uri="{BB962C8B-B14F-4D97-AF65-F5344CB8AC3E}">
        <p14:creationId xmlns:p14="http://schemas.microsoft.com/office/powerpoint/2010/main" val="3182069655"/>
      </p:ext>
    </p:extLst>
  </p:cSld>
  <p:clrMapOvr>
    <a:masterClrMapping/>
  </p:clrMapOvr>
  <p:extLst>
    <p:ext uri="{DCECCB84-F9BA-43D5-87BE-67443E8EF086}">
      <p15:sldGuideLst xmlns:p15="http://schemas.microsoft.com/office/powerpoint/2012/main">
        <p15:guide id="1" orient="horz" pos="935">
          <p15:clr>
            <a:srgbClr val="FBAE4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7C227851-E018-138C-0EBF-69AA329D4051}"/>
              </a:ext>
            </a:extLst>
          </p:cNvPr>
          <p:cNvSpPr>
            <a:spLocks noGrp="1"/>
          </p:cNvSpPr>
          <p:nvPr>
            <p:ph idx="1" hasCustomPrompt="1"/>
          </p:nvPr>
        </p:nvSpPr>
        <p:spPr>
          <a:xfrm>
            <a:off x="997118" y="1390518"/>
            <a:ext cx="1909095" cy="4182943"/>
          </a:xfrm>
          <a:prstGeom prst="rect">
            <a:avLst/>
          </a:prstGeom>
          <a:pattFill prst="pct5">
            <a:fgClr>
              <a:schemeClr val="accent1"/>
            </a:fgClr>
            <a:bgClr>
              <a:schemeClr val="bg1"/>
            </a:bgClr>
          </a:pattFill>
        </p:spPr>
        <p:txBody>
          <a:bodyPr anchor="ctr"/>
          <a:lstStyle/>
          <a:p>
            <a:pPr lvl="0"/>
            <a:r>
              <a:rPr lang="en-US"/>
              <a:t>Place a product image here.</a:t>
            </a:r>
            <a:endParaRPr lang="en-IN"/>
          </a:p>
        </p:txBody>
      </p:sp>
      <p:sp>
        <p:nvSpPr>
          <p:cNvPr id="5" name="Title">
            <a:extLst>
              <a:ext uri="{FF2B5EF4-FFF2-40B4-BE49-F238E27FC236}">
                <a16:creationId xmlns:a16="http://schemas.microsoft.com/office/drawing/2014/main" id="{B50C97F9-F14F-4AC4-68BB-0274929C3920}"/>
              </a:ext>
            </a:extLst>
          </p:cNvPr>
          <p:cNvSpPr>
            <a:spLocks noGrp="1"/>
          </p:cNvSpPr>
          <p:nvPr>
            <p:ph type="title"/>
          </p:nvPr>
        </p:nvSpPr>
        <p:spPr>
          <a:xfrm>
            <a:off x="524655" y="215564"/>
            <a:ext cx="11160000" cy="769693"/>
          </a:xfrm>
        </p:spPr>
        <p:txBody>
          <a:bodyPr/>
          <a:lstStyle>
            <a:lvl1pPr>
              <a:defRPr>
                <a:solidFill>
                  <a:srgbClr val="0D0740"/>
                </a:solidFill>
              </a:defRPr>
            </a:lvl1pPr>
          </a:lstStyle>
          <a:p>
            <a:r>
              <a:rPr lang="en-US"/>
              <a:t>Click to edit Master title style</a:t>
            </a:r>
            <a:endParaRPr lang="en-NL"/>
          </a:p>
        </p:txBody>
      </p:sp>
      <p:sp>
        <p:nvSpPr>
          <p:cNvPr id="6" name="Title 1">
            <a:extLst>
              <a:ext uri="{FF2B5EF4-FFF2-40B4-BE49-F238E27FC236}">
                <a16:creationId xmlns:a16="http://schemas.microsoft.com/office/drawing/2014/main" id="{464F0D86-8D9B-08F7-824B-C4EA13739430}"/>
              </a:ext>
            </a:extLst>
          </p:cNvPr>
          <p:cNvSpPr txBox="1">
            <a:spLocks/>
          </p:cNvSpPr>
          <p:nvPr userDrawn="1"/>
        </p:nvSpPr>
        <p:spPr>
          <a:xfrm>
            <a:off x="1152572" y="-1476047"/>
            <a:ext cx="10744200" cy="896112"/>
          </a:xfrm>
          <a:prstGeom prst="rect">
            <a:avLst/>
          </a:prstGeom>
        </p:spPr>
        <p:txBody>
          <a:bodyPr vert="horz" lIns="0" tIns="45720" rIns="91440" bIns="45720" rtlCol="0" anchor="b">
            <a:noAutofit/>
          </a:bodyPr>
          <a:lstStyle>
            <a:lvl1pPr algn="l" defTabSz="914400" rtl="0" eaLnBrk="1" latinLnBrk="0" hangingPunct="1">
              <a:lnSpc>
                <a:spcPct val="100000"/>
              </a:lnSpc>
              <a:spcBef>
                <a:spcPct val="0"/>
              </a:spcBef>
              <a:buNone/>
              <a:defRPr sz="2600" b="1" kern="1200">
                <a:solidFill>
                  <a:schemeClr val="tx2"/>
                </a:solidFill>
                <a:latin typeface="+mj-lt"/>
                <a:ea typeface="+mj-ea"/>
                <a:cs typeface="+mj-cs"/>
              </a:defRPr>
            </a:lvl1pPr>
          </a:lstStyle>
          <a:p>
            <a:r>
              <a:rPr lang="en-US"/>
              <a:t>Main strategies for </a:t>
            </a:r>
            <a:r>
              <a:rPr lang="en-US" err="1"/>
              <a:t>Schöfferhofer</a:t>
            </a:r>
            <a:r>
              <a:rPr lang="en-US"/>
              <a:t> to explore</a:t>
            </a:r>
          </a:p>
        </p:txBody>
      </p:sp>
      <p:cxnSp>
        <p:nvCxnSpPr>
          <p:cNvPr id="11" name="Straight Arrow Connector 10">
            <a:extLst>
              <a:ext uri="{FF2B5EF4-FFF2-40B4-BE49-F238E27FC236}">
                <a16:creationId xmlns:a16="http://schemas.microsoft.com/office/drawing/2014/main" id="{33D09FA8-90A0-789A-6F61-9CB08CF2B320}"/>
              </a:ext>
            </a:extLst>
          </p:cNvPr>
          <p:cNvCxnSpPr>
            <a:cxnSpLocks/>
          </p:cNvCxnSpPr>
          <p:nvPr userDrawn="1"/>
        </p:nvCxnSpPr>
        <p:spPr>
          <a:xfrm>
            <a:off x="4298589" y="2471590"/>
            <a:ext cx="4936918"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AC5AA7AA-3A4F-03B9-4DAA-AEC2E57BC7B7}"/>
              </a:ext>
            </a:extLst>
          </p:cNvPr>
          <p:cNvCxnSpPr>
            <a:cxnSpLocks/>
          </p:cNvCxnSpPr>
          <p:nvPr userDrawn="1"/>
        </p:nvCxnSpPr>
        <p:spPr>
          <a:xfrm>
            <a:off x="4298589" y="4610006"/>
            <a:ext cx="4926296" cy="0"/>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22E24321-7089-E8D2-EC06-FEB83887A2EE}"/>
              </a:ext>
            </a:extLst>
          </p:cNvPr>
          <p:cNvSpPr>
            <a:spLocks/>
          </p:cNvSpPr>
          <p:nvPr userDrawn="1"/>
        </p:nvSpPr>
        <p:spPr>
          <a:xfrm>
            <a:off x="6913488" y="1161528"/>
            <a:ext cx="2034531"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Expand current range</a:t>
            </a:r>
          </a:p>
        </p:txBody>
      </p:sp>
      <p:sp>
        <p:nvSpPr>
          <p:cNvPr id="16" name="Rectangle 15">
            <a:extLst>
              <a:ext uri="{FF2B5EF4-FFF2-40B4-BE49-F238E27FC236}">
                <a16:creationId xmlns:a16="http://schemas.microsoft.com/office/drawing/2014/main" id="{AED4274D-6C83-A654-783F-91258DE3DAA2}"/>
              </a:ext>
            </a:extLst>
          </p:cNvPr>
          <p:cNvSpPr>
            <a:spLocks/>
          </p:cNvSpPr>
          <p:nvPr userDrawn="1"/>
        </p:nvSpPr>
        <p:spPr>
          <a:xfrm>
            <a:off x="7121878" y="5568993"/>
            <a:ext cx="1826141"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1"/>
                </a:solidFill>
                <a:effectLst/>
                <a:uLnTx/>
                <a:uFillTx/>
                <a:latin typeface="Arial" panose="020B0604020202020204" pitchFamily="34" charset="0"/>
                <a:ea typeface="+mn-ea"/>
                <a:cs typeface="Arial" panose="020B0604020202020204" pitchFamily="34" charset="0"/>
              </a:rPr>
              <a:t>Create a new range</a:t>
            </a:r>
          </a:p>
        </p:txBody>
      </p:sp>
      <p:sp>
        <p:nvSpPr>
          <p:cNvPr id="7" name="Content Placeholder 2">
            <a:extLst>
              <a:ext uri="{FF2B5EF4-FFF2-40B4-BE49-F238E27FC236}">
                <a16:creationId xmlns:a16="http://schemas.microsoft.com/office/drawing/2014/main" id="{DD16E1FF-C8F7-1E99-B2B6-AD2EB4A0A0F4}"/>
              </a:ext>
            </a:extLst>
          </p:cNvPr>
          <p:cNvSpPr>
            <a:spLocks noGrp="1"/>
          </p:cNvSpPr>
          <p:nvPr>
            <p:ph idx="53" hasCustomPrompt="1"/>
          </p:nvPr>
        </p:nvSpPr>
        <p:spPr>
          <a:xfrm>
            <a:off x="4656856" y="1469306"/>
            <a:ext cx="7012685" cy="1828800"/>
          </a:xfrm>
          <a:prstGeom prst="roundRect">
            <a:avLst>
              <a:gd name="adj" fmla="val 6884"/>
            </a:avLst>
          </a:prstGeom>
          <a:solidFill>
            <a:schemeClr val="accent3"/>
          </a:solidFill>
        </p:spPr>
        <p:txBody>
          <a:bodyPr lIns="180000" tIns="180000" rIns="180000" bIns="45720">
            <a:noAutofit/>
          </a:bodyPr>
          <a:lstStyle>
            <a:lvl1pPr marL="0" indent="0">
              <a:lnSpc>
                <a:spcPct val="100000"/>
              </a:lnSpc>
              <a:buClr>
                <a:srgbClr val="E25303"/>
              </a:buClr>
              <a:buFont typeface="Arial" panose="020B0604020202020204" pitchFamily="34" charset="0"/>
              <a:buNone/>
              <a:defRPr sz="1200">
                <a:solidFill>
                  <a:schemeClr val="tx1"/>
                </a:solidFill>
                <a:latin typeface="Calibri" panose="020F0502020204030204" pitchFamily="34" charset="0"/>
                <a:cs typeface="Arial" panose="020B0604020202020204" pitchFamily="34" charset="0"/>
              </a:defRPr>
            </a:lvl1pPr>
            <a:lvl2pPr marL="247650" indent="0">
              <a:lnSpc>
                <a:spcPct val="100000"/>
              </a:lnSpc>
              <a:buClr>
                <a:srgbClr val="E25303"/>
              </a:buClr>
              <a:buFont typeface="Arial" panose="020B0604020202020204" pitchFamily="34" charset="0"/>
              <a:buNone/>
              <a:defRPr sz="1200">
                <a:solidFill>
                  <a:schemeClr val="tx1"/>
                </a:solidFill>
                <a:latin typeface="Arial" panose="020B0604020202020204" pitchFamily="34" charset="0"/>
                <a:cs typeface="Arial" panose="020B0604020202020204" pitchFamily="34" charset="0"/>
              </a:defRPr>
            </a:lvl2pPr>
            <a:lvl3pPr marL="685800" indent="-257175">
              <a:lnSpc>
                <a:spcPct val="100000"/>
              </a:lnSpc>
              <a:buClr>
                <a:srgbClr val="E25303"/>
              </a:buClr>
              <a:buSzPct val="75000"/>
              <a:buFont typeface="Courier New" panose="02070309020205020404" pitchFamily="49" charset="0"/>
              <a:buChar char="o"/>
              <a:defRPr sz="1200">
                <a:solidFill>
                  <a:schemeClr val="tx1"/>
                </a:solidFill>
                <a:latin typeface="Arial" panose="020B0604020202020204" pitchFamily="34" charset="0"/>
                <a:cs typeface="Arial" panose="020B0604020202020204" pitchFamily="34" charset="0"/>
              </a:defRPr>
            </a:lvl3p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200" b="0" i="0">
                <a:solidFill>
                  <a:schemeClr val="tx1"/>
                </a:solidFill>
                <a:effectLst/>
                <a:latin typeface="Open Sans" panose="020B0606030504020204" pitchFamily="34" charset="0"/>
              </a:rPr>
              <a:t>Lorem ipsum </a:t>
            </a:r>
            <a:r>
              <a:rPr lang="en-GB" sz="1200" b="0" i="0" err="1">
                <a:solidFill>
                  <a:schemeClr val="tx1"/>
                </a:solidFill>
                <a:effectLst/>
                <a:latin typeface="Open Sans" panose="020B0606030504020204" pitchFamily="34" charset="0"/>
              </a:rPr>
              <a:t>dolor</a:t>
            </a:r>
            <a:r>
              <a:rPr lang="en-GB" sz="1200" b="0" i="0">
                <a:solidFill>
                  <a:schemeClr val="tx1"/>
                </a:solidFill>
                <a:effectLst/>
                <a:latin typeface="Open Sans" panose="020B0606030504020204" pitchFamily="34" charset="0"/>
              </a:rPr>
              <a:t> sit </a:t>
            </a:r>
            <a:r>
              <a:rPr lang="en-GB" sz="1200" b="0" i="0" err="1">
                <a:solidFill>
                  <a:schemeClr val="tx1"/>
                </a:solidFill>
                <a:effectLst/>
                <a:latin typeface="Open Sans" panose="020B0606030504020204" pitchFamily="34" charset="0"/>
              </a:rPr>
              <a:t>amet</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consectetur</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adipiscing</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elit</a:t>
            </a:r>
            <a:r>
              <a:rPr lang="en-GB" sz="1200" b="0" i="0">
                <a:solidFill>
                  <a:schemeClr val="tx1"/>
                </a:solidFill>
                <a:effectLst/>
                <a:latin typeface="Open Sans" panose="020B0606030504020204" pitchFamily="34" charset="0"/>
              </a:rPr>
              <a:t>. Nunc vitae vestibulum ipsum, a vestibulum </a:t>
            </a:r>
            <a:r>
              <a:rPr lang="en-GB" sz="1200" b="0" i="0" err="1">
                <a:solidFill>
                  <a:schemeClr val="tx1"/>
                </a:solidFill>
                <a:effectLst/>
                <a:latin typeface="Open Sans" panose="020B0606030504020204" pitchFamily="34" charset="0"/>
              </a:rPr>
              <a:t>odio</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Mauris</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suscipit</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finibus</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felis</a:t>
            </a:r>
            <a:r>
              <a:rPr lang="en-GB" sz="1200" b="0" i="0">
                <a:solidFill>
                  <a:schemeClr val="tx1"/>
                </a:solidFill>
                <a:effectLst/>
                <a:latin typeface="Open Sans" panose="020B0606030504020204" pitchFamily="34" charset="0"/>
              </a:rPr>
              <a:t>, sit </a:t>
            </a:r>
            <a:r>
              <a:rPr lang="en-GB" sz="1200" b="0" i="0" err="1">
                <a:solidFill>
                  <a:schemeClr val="tx1"/>
                </a:solidFill>
                <a:effectLst/>
                <a:latin typeface="Open Sans" panose="020B0606030504020204" pitchFamily="34" charset="0"/>
              </a:rPr>
              <a:t>amet</a:t>
            </a:r>
            <a:r>
              <a:rPr lang="en-GB" sz="1200" b="0" i="0">
                <a:solidFill>
                  <a:schemeClr val="tx1"/>
                </a:solidFill>
                <a:effectLst/>
                <a:latin typeface="Open Sans" panose="020B0606030504020204" pitchFamily="34" charset="0"/>
              </a:rPr>
              <a:t> convallis </a:t>
            </a:r>
            <a:r>
              <a:rPr lang="en-GB" sz="1200" b="0" i="0" err="1">
                <a:solidFill>
                  <a:schemeClr val="tx1"/>
                </a:solidFill>
                <a:effectLst/>
                <a:latin typeface="Open Sans" panose="020B0606030504020204" pitchFamily="34" charset="0"/>
              </a:rPr>
              <a:t>elit</a:t>
            </a:r>
            <a:r>
              <a:rPr lang="en-GB" sz="1200" b="0" i="0">
                <a:solidFill>
                  <a:schemeClr val="tx1"/>
                </a:solidFill>
                <a:effectLst/>
                <a:latin typeface="Open Sans" panose="020B0606030504020204" pitchFamily="34" charset="0"/>
              </a:rPr>
              <a:t> semper id. </a:t>
            </a:r>
            <a:r>
              <a:rPr lang="en-GB" sz="1200" b="0" i="0" err="1">
                <a:solidFill>
                  <a:schemeClr val="tx1"/>
                </a:solidFill>
                <a:effectLst/>
                <a:latin typeface="Open Sans" panose="020B0606030504020204" pitchFamily="34" charset="0"/>
              </a:rPr>
              <a:t>Phasellus</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luctus</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tellus</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quis</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sodales</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lobortis</a:t>
            </a:r>
            <a:r>
              <a:rPr lang="en-GB" sz="1200" b="0" i="0">
                <a:solidFill>
                  <a:schemeClr val="tx1"/>
                </a:solidFill>
                <a:effectLst/>
                <a:latin typeface="Open Sans" panose="020B0606030504020204" pitchFamily="34" charset="0"/>
              </a:rPr>
              <a:t>. Vestibulum </a:t>
            </a:r>
            <a:r>
              <a:rPr lang="en-GB" sz="1200" b="0" i="0" err="1">
                <a:solidFill>
                  <a:schemeClr val="tx1"/>
                </a:solidFill>
                <a:effectLst/>
                <a:latin typeface="Open Sans" panose="020B0606030504020204" pitchFamily="34" charset="0"/>
              </a:rPr>
              <a:t>ornare</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eget</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erat</a:t>
            </a:r>
            <a:r>
              <a:rPr lang="en-GB" sz="1200" b="0" i="0">
                <a:solidFill>
                  <a:schemeClr val="tx1"/>
                </a:solidFill>
                <a:effectLst/>
                <a:latin typeface="Open Sans" panose="020B0606030504020204" pitchFamily="34" charset="0"/>
              </a:rPr>
              <a:t> non </a:t>
            </a:r>
            <a:r>
              <a:rPr lang="en-GB" sz="1200" b="0" i="0" err="1">
                <a:solidFill>
                  <a:schemeClr val="tx1"/>
                </a:solidFill>
                <a:effectLst/>
                <a:latin typeface="Open Sans" panose="020B0606030504020204" pitchFamily="34" charset="0"/>
              </a:rPr>
              <a:t>interdum</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Etiam</a:t>
            </a:r>
            <a:r>
              <a:rPr lang="en-GB" sz="1200" b="0" i="0">
                <a:solidFill>
                  <a:schemeClr val="tx1"/>
                </a:solidFill>
                <a:effectLst/>
                <a:latin typeface="Open Sans" panose="020B0606030504020204" pitchFamily="34" charset="0"/>
              </a:rPr>
              <a:t> in </a:t>
            </a:r>
            <a:r>
              <a:rPr lang="en-GB" sz="1200" b="0" i="0" err="1">
                <a:solidFill>
                  <a:schemeClr val="tx1"/>
                </a:solidFill>
                <a:effectLst/>
                <a:latin typeface="Open Sans" panose="020B0606030504020204" pitchFamily="34" charset="0"/>
              </a:rPr>
              <a:t>leo</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risus</a:t>
            </a:r>
            <a:r>
              <a:rPr lang="en-GB" sz="1200" b="0" i="0">
                <a:solidFill>
                  <a:schemeClr val="tx1"/>
                </a:solidFill>
                <a:effectLst/>
                <a:latin typeface="Open Sans" panose="020B0606030504020204" pitchFamily="34" charset="0"/>
              </a:rPr>
              <a:t>. Donec </a:t>
            </a:r>
            <a:r>
              <a:rPr lang="en-GB" sz="1200" b="0" i="0" err="1">
                <a:solidFill>
                  <a:schemeClr val="tx1"/>
                </a:solidFill>
                <a:effectLst/>
                <a:latin typeface="Open Sans" panose="020B0606030504020204" pitchFamily="34" charset="0"/>
              </a:rPr>
              <a:t>eu</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dapibus</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neque</a:t>
            </a:r>
            <a:r>
              <a:rPr lang="en-GB" sz="1200" b="0" i="0">
                <a:solidFill>
                  <a:schemeClr val="tx1"/>
                </a:solidFill>
                <a:effectLst/>
                <a:latin typeface="Open Sans" panose="020B0606030504020204" pitchFamily="34" charset="0"/>
              </a:rPr>
              <a:t>. Nunc </a:t>
            </a:r>
            <a:r>
              <a:rPr lang="en-GB" sz="1200" b="0" i="0" err="1">
                <a:solidFill>
                  <a:schemeClr val="tx1"/>
                </a:solidFill>
                <a:effectLst/>
                <a:latin typeface="Open Sans" panose="020B0606030504020204" pitchFamily="34" charset="0"/>
              </a:rPr>
              <a:t>purus</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mauris</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iaculis</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ut</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vulputate</a:t>
            </a:r>
            <a:r>
              <a:rPr lang="en-GB" sz="1200" b="0" i="0">
                <a:solidFill>
                  <a:schemeClr val="tx1"/>
                </a:solidFill>
                <a:effectLst/>
                <a:latin typeface="Open Sans" panose="020B0606030504020204" pitchFamily="34" charset="0"/>
              </a:rPr>
              <a:t> a, </a:t>
            </a:r>
            <a:r>
              <a:rPr lang="en-GB" sz="1200" b="0" i="0" err="1">
                <a:solidFill>
                  <a:schemeClr val="tx1"/>
                </a:solidFill>
                <a:effectLst/>
                <a:latin typeface="Open Sans" panose="020B0606030504020204" pitchFamily="34" charset="0"/>
              </a:rPr>
              <a:t>finibus</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eu</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lectus</a:t>
            </a:r>
            <a:r>
              <a:rPr lang="en-GB" sz="1200" b="0" i="0">
                <a:solidFill>
                  <a:schemeClr val="tx1"/>
                </a:solidFill>
                <a:effectLst/>
                <a:latin typeface="Open Sans" panose="020B0606030504020204" pitchFamily="34" charset="0"/>
              </a:rPr>
              <a:t>. Integer magna </a:t>
            </a:r>
            <a:r>
              <a:rPr lang="en-GB" sz="1200" b="0" i="0" err="1">
                <a:solidFill>
                  <a:schemeClr val="tx1"/>
                </a:solidFill>
                <a:effectLst/>
                <a:latin typeface="Open Sans" panose="020B0606030504020204" pitchFamily="34" charset="0"/>
              </a:rPr>
              <a:t>sem</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tincidunt</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ut</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mauris</a:t>
            </a:r>
            <a:r>
              <a:rPr lang="en-GB" sz="1200" b="0" i="0">
                <a:solidFill>
                  <a:schemeClr val="tx1"/>
                </a:solidFill>
                <a:effectLst/>
                <a:latin typeface="Open Sans" panose="020B0606030504020204" pitchFamily="34" charset="0"/>
              </a:rPr>
              <a:t> sit </a:t>
            </a:r>
            <a:r>
              <a:rPr lang="en-GB" sz="1200" b="0" i="0" err="1">
                <a:solidFill>
                  <a:schemeClr val="tx1"/>
                </a:solidFill>
                <a:effectLst/>
                <a:latin typeface="Open Sans" panose="020B0606030504020204" pitchFamily="34" charset="0"/>
              </a:rPr>
              <a:t>amet</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suscipit</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bibendum</a:t>
            </a:r>
            <a:r>
              <a:rPr lang="en-GB" sz="1200" b="0" i="0">
                <a:solidFill>
                  <a:schemeClr val="tx1"/>
                </a:solidFill>
                <a:effectLst/>
                <a:latin typeface="Open Sans" panose="020B0606030504020204" pitchFamily="34" charset="0"/>
              </a:rPr>
              <a:t> nisi. </a:t>
            </a:r>
            <a:r>
              <a:rPr lang="en-GB" sz="1200" b="0" i="0" err="1">
                <a:solidFill>
                  <a:schemeClr val="tx1"/>
                </a:solidFill>
                <a:effectLst/>
                <a:latin typeface="Open Sans" panose="020B0606030504020204" pitchFamily="34" charset="0"/>
              </a:rPr>
              <a:t>Etiam</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ut</a:t>
            </a:r>
            <a:r>
              <a:rPr lang="en-GB" sz="1200" b="0" i="0">
                <a:solidFill>
                  <a:schemeClr val="tx1"/>
                </a:solidFill>
                <a:effectLst/>
                <a:latin typeface="Open Sans" panose="020B0606030504020204" pitchFamily="34" charset="0"/>
              </a:rPr>
              <a:t> libero </a:t>
            </a:r>
            <a:r>
              <a:rPr lang="en-GB" sz="1200" b="0" i="0" err="1">
                <a:solidFill>
                  <a:schemeClr val="tx1"/>
                </a:solidFill>
                <a:effectLst/>
                <a:latin typeface="Open Sans" panose="020B0606030504020204" pitchFamily="34" charset="0"/>
              </a:rPr>
              <a:t>pretium</a:t>
            </a:r>
            <a:r>
              <a:rPr lang="en-GB" sz="1200" b="0" i="0">
                <a:solidFill>
                  <a:schemeClr val="tx1"/>
                </a:solidFill>
                <a:effectLst/>
                <a:latin typeface="Open Sans" panose="020B0606030504020204" pitchFamily="34" charset="0"/>
              </a:rPr>
              <a:t>, cursus mi </a:t>
            </a:r>
            <a:r>
              <a:rPr lang="en-GB" sz="1200" b="0" i="0" err="1">
                <a:solidFill>
                  <a:schemeClr val="tx1"/>
                </a:solidFill>
                <a:effectLst/>
                <a:latin typeface="Open Sans" panose="020B0606030504020204" pitchFamily="34" charset="0"/>
              </a:rPr>
              <a:t>nec</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tincidunt</a:t>
            </a:r>
            <a:r>
              <a:rPr lang="en-GB" sz="1200" b="0" i="0">
                <a:solidFill>
                  <a:schemeClr val="tx1"/>
                </a:solidFill>
                <a:effectLst/>
                <a:latin typeface="Open Sans" panose="020B0606030504020204" pitchFamily="34" charset="0"/>
              </a:rPr>
              <a:t> mi. </a:t>
            </a:r>
            <a:r>
              <a:rPr lang="en-GB" sz="1200" b="0" i="0" err="1">
                <a:solidFill>
                  <a:schemeClr val="tx1"/>
                </a:solidFill>
                <a:effectLst/>
                <a:latin typeface="Open Sans" panose="020B0606030504020204" pitchFamily="34" charset="0"/>
              </a:rPr>
              <a:t>Fusce</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vel</a:t>
            </a:r>
            <a:r>
              <a:rPr lang="en-GB" sz="1200" b="0" i="0">
                <a:solidFill>
                  <a:schemeClr val="tx1"/>
                </a:solidFill>
                <a:effectLst/>
                <a:latin typeface="Open Sans" panose="020B0606030504020204" pitchFamily="34" charset="0"/>
              </a:rPr>
              <a:t> mi </a:t>
            </a:r>
            <a:r>
              <a:rPr lang="en-GB" sz="1200" b="0" i="0" err="1">
                <a:solidFill>
                  <a:schemeClr val="tx1"/>
                </a:solidFill>
                <a:effectLst/>
                <a:latin typeface="Open Sans" panose="020B0606030504020204" pitchFamily="34" charset="0"/>
              </a:rPr>
              <a:t>ut</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elit</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sagittis</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feugiat</a:t>
            </a:r>
            <a:r>
              <a:rPr lang="en-GB" sz="1200" b="0" i="0">
                <a:solidFill>
                  <a:schemeClr val="tx1"/>
                </a:solidFill>
                <a:effectLst/>
                <a:latin typeface="Open Sans" panose="020B0606030504020204" pitchFamily="34" charset="0"/>
              </a:rPr>
              <a:t>.</a:t>
            </a:r>
            <a:endPar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17" name="Content Placeholder 2">
            <a:extLst>
              <a:ext uri="{FF2B5EF4-FFF2-40B4-BE49-F238E27FC236}">
                <a16:creationId xmlns:a16="http://schemas.microsoft.com/office/drawing/2014/main" id="{AC888E97-50F2-D1F9-66B8-3113EFFFF46D}"/>
              </a:ext>
            </a:extLst>
          </p:cNvPr>
          <p:cNvSpPr>
            <a:spLocks noGrp="1"/>
          </p:cNvSpPr>
          <p:nvPr>
            <p:ph idx="54" hasCustomPrompt="1"/>
          </p:nvPr>
        </p:nvSpPr>
        <p:spPr>
          <a:xfrm>
            <a:off x="4656856" y="3755306"/>
            <a:ext cx="7012685" cy="1828800"/>
          </a:xfrm>
          <a:prstGeom prst="roundRect">
            <a:avLst>
              <a:gd name="adj" fmla="val 6884"/>
            </a:avLst>
          </a:prstGeom>
          <a:solidFill>
            <a:srgbClr val="FF9966"/>
          </a:solidFill>
        </p:spPr>
        <p:txBody>
          <a:bodyPr lIns="180000" tIns="180000" rIns="180000" bIns="45720">
            <a:noAutofit/>
          </a:bodyPr>
          <a:lstStyle>
            <a:lvl1pPr marL="0" indent="0">
              <a:lnSpc>
                <a:spcPct val="100000"/>
              </a:lnSpc>
              <a:buClr>
                <a:srgbClr val="E25303"/>
              </a:buClr>
              <a:buFont typeface="Arial" panose="020B0604020202020204" pitchFamily="34" charset="0"/>
              <a:buNone/>
              <a:defRPr sz="1200">
                <a:solidFill>
                  <a:schemeClr val="tx1"/>
                </a:solidFill>
                <a:latin typeface="Calibri" panose="020F0502020204030204" pitchFamily="34" charset="0"/>
                <a:cs typeface="Arial" panose="020B0604020202020204" pitchFamily="34" charset="0"/>
              </a:defRPr>
            </a:lvl1pPr>
            <a:lvl2pPr marL="247650" indent="0">
              <a:lnSpc>
                <a:spcPct val="100000"/>
              </a:lnSpc>
              <a:buClr>
                <a:srgbClr val="E25303"/>
              </a:buClr>
              <a:buFont typeface="Arial" panose="020B0604020202020204" pitchFamily="34" charset="0"/>
              <a:buNone/>
              <a:defRPr sz="1200">
                <a:solidFill>
                  <a:schemeClr val="tx1"/>
                </a:solidFill>
                <a:latin typeface="Arial" panose="020B0604020202020204" pitchFamily="34" charset="0"/>
                <a:cs typeface="Arial" panose="020B0604020202020204" pitchFamily="34" charset="0"/>
              </a:defRPr>
            </a:lvl2pPr>
            <a:lvl3pPr marL="685800" indent="-257175">
              <a:lnSpc>
                <a:spcPct val="100000"/>
              </a:lnSpc>
              <a:buClr>
                <a:srgbClr val="E25303"/>
              </a:buClr>
              <a:buSzPct val="75000"/>
              <a:buFont typeface="Courier New" panose="02070309020205020404" pitchFamily="49" charset="0"/>
              <a:buChar char="o"/>
              <a:defRPr sz="1200">
                <a:solidFill>
                  <a:schemeClr val="tx1"/>
                </a:solidFill>
                <a:latin typeface="Arial" panose="020B0604020202020204" pitchFamily="34" charset="0"/>
                <a:cs typeface="Arial" panose="020B0604020202020204" pitchFamily="34" charset="0"/>
              </a:defRPr>
            </a:lvl3p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200" b="0" i="0">
                <a:solidFill>
                  <a:schemeClr val="tx1"/>
                </a:solidFill>
                <a:effectLst/>
                <a:latin typeface="Open Sans" panose="020B0606030504020204" pitchFamily="34" charset="0"/>
              </a:rPr>
              <a:t>Lorem ipsum </a:t>
            </a:r>
            <a:r>
              <a:rPr lang="en-GB" sz="1200" b="0" i="0" err="1">
                <a:solidFill>
                  <a:schemeClr val="tx1"/>
                </a:solidFill>
                <a:effectLst/>
                <a:latin typeface="Open Sans" panose="020B0606030504020204" pitchFamily="34" charset="0"/>
              </a:rPr>
              <a:t>dolor</a:t>
            </a:r>
            <a:r>
              <a:rPr lang="en-GB" sz="1200" b="0" i="0">
                <a:solidFill>
                  <a:schemeClr val="tx1"/>
                </a:solidFill>
                <a:effectLst/>
                <a:latin typeface="Open Sans" panose="020B0606030504020204" pitchFamily="34" charset="0"/>
              </a:rPr>
              <a:t> sit </a:t>
            </a:r>
            <a:r>
              <a:rPr lang="en-GB" sz="1200" b="0" i="0" err="1">
                <a:solidFill>
                  <a:schemeClr val="tx1"/>
                </a:solidFill>
                <a:effectLst/>
                <a:latin typeface="Open Sans" panose="020B0606030504020204" pitchFamily="34" charset="0"/>
              </a:rPr>
              <a:t>amet</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consectetur</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adipiscing</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elit</a:t>
            </a:r>
            <a:r>
              <a:rPr lang="en-GB" sz="1200" b="0" i="0">
                <a:solidFill>
                  <a:schemeClr val="tx1"/>
                </a:solidFill>
                <a:effectLst/>
                <a:latin typeface="Open Sans" panose="020B0606030504020204" pitchFamily="34" charset="0"/>
              </a:rPr>
              <a:t>. Nunc vitae vestibulum ipsum, a vestibulum </a:t>
            </a:r>
            <a:r>
              <a:rPr lang="en-GB" sz="1200" b="0" i="0" err="1">
                <a:solidFill>
                  <a:schemeClr val="tx1"/>
                </a:solidFill>
                <a:effectLst/>
                <a:latin typeface="Open Sans" panose="020B0606030504020204" pitchFamily="34" charset="0"/>
              </a:rPr>
              <a:t>odio</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Mauris</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suscipit</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finibus</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felis</a:t>
            </a:r>
            <a:r>
              <a:rPr lang="en-GB" sz="1200" b="0" i="0">
                <a:solidFill>
                  <a:schemeClr val="tx1"/>
                </a:solidFill>
                <a:effectLst/>
                <a:latin typeface="Open Sans" panose="020B0606030504020204" pitchFamily="34" charset="0"/>
              </a:rPr>
              <a:t>, sit </a:t>
            </a:r>
            <a:r>
              <a:rPr lang="en-GB" sz="1200" b="0" i="0" err="1">
                <a:solidFill>
                  <a:schemeClr val="tx1"/>
                </a:solidFill>
                <a:effectLst/>
                <a:latin typeface="Open Sans" panose="020B0606030504020204" pitchFamily="34" charset="0"/>
              </a:rPr>
              <a:t>amet</a:t>
            </a:r>
            <a:r>
              <a:rPr lang="en-GB" sz="1200" b="0" i="0">
                <a:solidFill>
                  <a:schemeClr val="tx1"/>
                </a:solidFill>
                <a:effectLst/>
                <a:latin typeface="Open Sans" panose="020B0606030504020204" pitchFamily="34" charset="0"/>
              </a:rPr>
              <a:t> convallis </a:t>
            </a:r>
            <a:r>
              <a:rPr lang="en-GB" sz="1200" b="0" i="0" err="1">
                <a:solidFill>
                  <a:schemeClr val="tx1"/>
                </a:solidFill>
                <a:effectLst/>
                <a:latin typeface="Open Sans" panose="020B0606030504020204" pitchFamily="34" charset="0"/>
              </a:rPr>
              <a:t>elit</a:t>
            </a:r>
            <a:r>
              <a:rPr lang="en-GB" sz="1200" b="0" i="0">
                <a:solidFill>
                  <a:schemeClr val="tx1"/>
                </a:solidFill>
                <a:effectLst/>
                <a:latin typeface="Open Sans" panose="020B0606030504020204" pitchFamily="34" charset="0"/>
              </a:rPr>
              <a:t> semper id. </a:t>
            </a:r>
            <a:r>
              <a:rPr lang="en-GB" sz="1200" b="0" i="0" err="1">
                <a:solidFill>
                  <a:schemeClr val="tx1"/>
                </a:solidFill>
                <a:effectLst/>
                <a:latin typeface="Open Sans" panose="020B0606030504020204" pitchFamily="34" charset="0"/>
              </a:rPr>
              <a:t>Phasellus</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luctus</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tellus</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quis</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sodales</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lobortis</a:t>
            </a:r>
            <a:r>
              <a:rPr lang="en-GB" sz="1200" b="0" i="0">
                <a:solidFill>
                  <a:schemeClr val="tx1"/>
                </a:solidFill>
                <a:effectLst/>
                <a:latin typeface="Open Sans" panose="020B0606030504020204" pitchFamily="34" charset="0"/>
              </a:rPr>
              <a:t>. Vestibulum </a:t>
            </a:r>
            <a:r>
              <a:rPr lang="en-GB" sz="1200" b="0" i="0" err="1">
                <a:solidFill>
                  <a:schemeClr val="tx1"/>
                </a:solidFill>
                <a:effectLst/>
                <a:latin typeface="Open Sans" panose="020B0606030504020204" pitchFamily="34" charset="0"/>
              </a:rPr>
              <a:t>ornare</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eget</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erat</a:t>
            </a:r>
            <a:r>
              <a:rPr lang="en-GB" sz="1200" b="0" i="0">
                <a:solidFill>
                  <a:schemeClr val="tx1"/>
                </a:solidFill>
                <a:effectLst/>
                <a:latin typeface="Open Sans" panose="020B0606030504020204" pitchFamily="34" charset="0"/>
              </a:rPr>
              <a:t> non </a:t>
            </a:r>
            <a:r>
              <a:rPr lang="en-GB" sz="1200" b="0" i="0" err="1">
                <a:solidFill>
                  <a:schemeClr val="tx1"/>
                </a:solidFill>
                <a:effectLst/>
                <a:latin typeface="Open Sans" panose="020B0606030504020204" pitchFamily="34" charset="0"/>
              </a:rPr>
              <a:t>interdum</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Etiam</a:t>
            </a:r>
            <a:r>
              <a:rPr lang="en-GB" sz="1200" b="0" i="0">
                <a:solidFill>
                  <a:schemeClr val="tx1"/>
                </a:solidFill>
                <a:effectLst/>
                <a:latin typeface="Open Sans" panose="020B0606030504020204" pitchFamily="34" charset="0"/>
              </a:rPr>
              <a:t> in </a:t>
            </a:r>
            <a:r>
              <a:rPr lang="en-GB" sz="1200" b="0" i="0" err="1">
                <a:solidFill>
                  <a:schemeClr val="tx1"/>
                </a:solidFill>
                <a:effectLst/>
                <a:latin typeface="Open Sans" panose="020B0606030504020204" pitchFamily="34" charset="0"/>
              </a:rPr>
              <a:t>leo</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risus</a:t>
            </a:r>
            <a:r>
              <a:rPr lang="en-GB" sz="1200" b="0" i="0">
                <a:solidFill>
                  <a:schemeClr val="tx1"/>
                </a:solidFill>
                <a:effectLst/>
                <a:latin typeface="Open Sans" panose="020B0606030504020204" pitchFamily="34" charset="0"/>
              </a:rPr>
              <a:t>. Donec </a:t>
            </a:r>
            <a:r>
              <a:rPr lang="en-GB" sz="1200" b="0" i="0" err="1">
                <a:solidFill>
                  <a:schemeClr val="tx1"/>
                </a:solidFill>
                <a:effectLst/>
                <a:latin typeface="Open Sans" panose="020B0606030504020204" pitchFamily="34" charset="0"/>
              </a:rPr>
              <a:t>eu</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dapibus</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neque</a:t>
            </a:r>
            <a:r>
              <a:rPr lang="en-GB" sz="1200" b="0" i="0">
                <a:solidFill>
                  <a:schemeClr val="tx1"/>
                </a:solidFill>
                <a:effectLst/>
                <a:latin typeface="Open Sans" panose="020B0606030504020204" pitchFamily="34" charset="0"/>
              </a:rPr>
              <a:t>. Nunc </a:t>
            </a:r>
            <a:r>
              <a:rPr lang="en-GB" sz="1200" b="0" i="0" err="1">
                <a:solidFill>
                  <a:schemeClr val="tx1"/>
                </a:solidFill>
                <a:effectLst/>
                <a:latin typeface="Open Sans" panose="020B0606030504020204" pitchFamily="34" charset="0"/>
              </a:rPr>
              <a:t>purus</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mauris</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iaculis</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ut</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vulputate</a:t>
            </a:r>
            <a:r>
              <a:rPr lang="en-GB" sz="1200" b="0" i="0">
                <a:solidFill>
                  <a:schemeClr val="tx1"/>
                </a:solidFill>
                <a:effectLst/>
                <a:latin typeface="Open Sans" panose="020B0606030504020204" pitchFamily="34" charset="0"/>
              </a:rPr>
              <a:t> a, </a:t>
            </a:r>
            <a:r>
              <a:rPr lang="en-GB" sz="1200" b="0" i="0" err="1">
                <a:solidFill>
                  <a:schemeClr val="tx1"/>
                </a:solidFill>
                <a:effectLst/>
                <a:latin typeface="Open Sans" panose="020B0606030504020204" pitchFamily="34" charset="0"/>
              </a:rPr>
              <a:t>finibus</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eu</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lectus</a:t>
            </a:r>
            <a:r>
              <a:rPr lang="en-GB" sz="1200" b="0" i="0">
                <a:solidFill>
                  <a:schemeClr val="tx1"/>
                </a:solidFill>
                <a:effectLst/>
                <a:latin typeface="Open Sans" panose="020B0606030504020204" pitchFamily="34" charset="0"/>
              </a:rPr>
              <a:t>. Integer magna </a:t>
            </a:r>
            <a:r>
              <a:rPr lang="en-GB" sz="1200" b="0" i="0" err="1">
                <a:solidFill>
                  <a:schemeClr val="tx1"/>
                </a:solidFill>
                <a:effectLst/>
                <a:latin typeface="Open Sans" panose="020B0606030504020204" pitchFamily="34" charset="0"/>
              </a:rPr>
              <a:t>sem</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tincidunt</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ut</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mauris</a:t>
            </a:r>
            <a:r>
              <a:rPr lang="en-GB" sz="1200" b="0" i="0">
                <a:solidFill>
                  <a:schemeClr val="tx1"/>
                </a:solidFill>
                <a:effectLst/>
                <a:latin typeface="Open Sans" panose="020B0606030504020204" pitchFamily="34" charset="0"/>
              </a:rPr>
              <a:t> sit </a:t>
            </a:r>
            <a:r>
              <a:rPr lang="en-GB" sz="1200" b="0" i="0" err="1">
                <a:solidFill>
                  <a:schemeClr val="tx1"/>
                </a:solidFill>
                <a:effectLst/>
                <a:latin typeface="Open Sans" panose="020B0606030504020204" pitchFamily="34" charset="0"/>
              </a:rPr>
              <a:t>amet</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suscipit</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bibendum</a:t>
            </a:r>
            <a:r>
              <a:rPr lang="en-GB" sz="1200" b="0" i="0">
                <a:solidFill>
                  <a:schemeClr val="tx1"/>
                </a:solidFill>
                <a:effectLst/>
                <a:latin typeface="Open Sans" panose="020B0606030504020204" pitchFamily="34" charset="0"/>
              </a:rPr>
              <a:t> nisi. </a:t>
            </a:r>
            <a:r>
              <a:rPr lang="en-GB" sz="1200" b="0" i="0" err="1">
                <a:solidFill>
                  <a:schemeClr val="tx1"/>
                </a:solidFill>
                <a:effectLst/>
                <a:latin typeface="Open Sans" panose="020B0606030504020204" pitchFamily="34" charset="0"/>
              </a:rPr>
              <a:t>Etiam</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ut</a:t>
            </a:r>
            <a:r>
              <a:rPr lang="en-GB" sz="1200" b="0" i="0">
                <a:solidFill>
                  <a:schemeClr val="tx1"/>
                </a:solidFill>
                <a:effectLst/>
                <a:latin typeface="Open Sans" panose="020B0606030504020204" pitchFamily="34" charset="0"/>
              </a:rPr>
              <a:t> libero </a:t>
            </a:r>
            <a:r>
              <a:rPr lang="en-GB" sz="1200" b="0" i="0" err="1">
                <a:solidFill>
                  <a:schemeClr val="tx1"/>
                </a:solidFill>
                <a:effectLst/>
                <a:latin typeface="Open Sans" panose="020B0606030504020204" pitchFamily="34" charset="0"/>
              </a:rPr>
              <a:t>pretium</a:t>
            </a:r>
            <a:r>
              <a:rPr lang="en-GB" sz="1200" b="0" i="0">
                <a:solidFill>
                  <a:schemeClr val="tx1"/>
                </a:solidFill>
                <a:effectLst/>
                <a:latin typeface="Open Sans" panose="020B0606030504020204" pitchFamily="34" charset="0"/>
              </a:rPr>
              <a:t>, cursus mi </a:t>
            </a:r>
            <a:r>
              <a:rPr lang="en-GB" sz="1200" b="0" i="0" err="1">
                <a:solidFill>
                  <a:schemeClr val="tx1"/>
                </a:solidFill>
                <a:effectLst/>
                <a:latin typeface="Open Sans" panose="020B0606030504020204" pitchFamily="34" charset="0"/>
              </a:rPr>
              <a:t>nec</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tincidunt</a:t>
            </a:r>
            <a:r>
              <a:rPr lang="en-GB" sz="1200" b="0" i="0">
                <a:solidFill>
                  <a:schemeClr val="tx1"/>
                </a:solidFill>
                <a:effectLst/>
                <a:latin typeface="Open Sans" panose="020B0606030504020204" pitchFamily="34" charset="0"/>
              </a:rPr>
              <a:t> mi. </a:t>
            </a:r>
            <a:r>
              <a:rPr lang="en-GB" sz="1200" b="0" i="0" err="1">
                <a:solidFill>
                  <a:schemeClr val="tx1"/>
                </a:solidFill>
                <a:effectLst/>
                <a:latin typeface="Open Sans" panose="020B0606030504020204" pitchFamily="34" charset="0"/>
              </a:rPr>
              <a:t>Fusce</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vel</a:t>
            </a:r>
            <a:r>
              <a:rPr lang="en-GB" sz="1200" b="0" i="0">
                <a:solidFill>
                  <a:schemeClr val="tx1"/>
                </a:solidFill>
                <a:effectLst/>
                <a:latin typeface="Open Sans" panose="020B0606030504020204" pitchFamily="34" charset="0"/>
              </a:rPr>
              <a:t> mi </a:t>
            </a:r>
            <a:r>
              <a:rPr lang="en-GB" sz="1200" b="0" i="0" err="1">
                <a:solidFill>
                  <a:schemeClr val="tx1"/>
                </a:solidFill>
                <a:effectLst/>
                <a:latin typeface="Open Sans" panose="020B0606030504020204" pitchFamily="34" charset="0"/>
              </a:rPr>
              <a:t>ut</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elit</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sagittis</a:t>
            </a:r>
            <a:r>
              <a:rPr lang="en-GB" sz="1200" b="0" i="0">
                <a:solidFill>
                  <a:schemeClr val="tx1"/>
                </a:solidFill>
                <a:effectLst/>
                <a:latin typeface="Open Sans" panose="020B0606030504020204" pitchFamily="34" charset="0"/>
              </a:rPr>
              <a:t> </a:t>
            </a:r>
            <a:r>
              <a:rPr lang="en-GB" sz="1200" b="0" i="0" err="1">
                <a:solidFill>
                  <a:schemeClr val="tx1"/>
                </a:solidFill>
                <a:effectLst/>
                <a:latin typeface="Open Sans" panose="020B0606030504020204" pitchFamily="34" charset="0"/>
              </a:rPr>
              <a:t>feugiat</a:t>
            </a:r>
            <a:r>
              <a:rPr lang="en-GB" sz="1200" b="0" i="0">
                <a:solidFill>
                  <a:schemeClr val="tx1"/>
                </a:solidFill>
                <a:effectLst/>
                <a:latin typeface="Open Sans" panose="020B0606030504020204" pitchFamily="34" charset="0"/>
              </a:rPr>
              <a:t>.</a:t>
            </a:r>
            <a:endParaRPr kumimoji="0" lang="en-US"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20" name="Text Placeholder 19">
            <a:extLst>
              <a:ext uri="{FF2B5EF4-FFF2-40B4-BE49-F238E27FC236}">
                <a16:creationId xmlns:a16="http://schemas.microsoft.com/office/drawing/2014/main" id="{532BE582-50E2-D4A5-CAD6-A33974C39E70}"/>
              </a:ext>
            </a:extLst>
          </p:cNvPr>
          <p:cNvSpPr>
            <a:spLocks noGrp="1"/>
          </p:cNvSpPr>
          <p:nvPr>
            <p:ph type="body" sz="quarter" idx="56" hasCustomPrompt="1"/>
          </p:nvPr>
        </p:nvSpPr>
        <p:spPr>
          <a:xfrm>
            <a:off x="2472455" y="1521636"/>
            <a:ext cx="1826131" cy="1822342"/>
          </a:xfrm>
          <a:prstGeom prst="ellipse">
            <a:avLst/>
          </a:prstGeom>
          <a:solidFill>
            <a:schemeClr val="accent3"/>
          </a:solidFill>
        </p:spPr>
        <p:txBody>
          <a:bodyPr anchor="ctr"/>
          <a:lstStyle>
            <a:lvl1pPr marL="0" indent="0" algn="ctr">
              <a:buFontTx/>
              <a:buNone/>
              <a:defRPr sz="1800"/>
            </a:lvl1pPr>
          </a:lstStyle>
          <a:p>
            <a:pPr lvl="0"/>
            <a:r>
              <a:rPr lang="en-GB"/>
              <a:t>Title</a:t>
            </a:r>
            <a:endParaRPr lang="en-NL"/>
          </a:p>
        </p:txBody>
      </p:sp>
      <p:sp>
        <p:nvSpPr>
          <p:cNvPr id="22" name="Text Placeholder 19">
            <a:extLst>
              <a:ext uri="{FF2B5EF4-FFF2-40B4-BE49-F238E27FC236}">
                <a16:creationId xmlns:a16="http://schemas.microsoft.com/office/drawing/2014/main" id="{43E18FEF-9E91-1767-9FD5-0000912F0D2E}"/>
              </a:ext>
            </a:extLst>
          </p:cNvPr>
          <p:cNvSpPr>
            <a:spLocks noGrp="1"/>
          </p:cNvSpPr>
          <p:nvPr>
            <p:ph type="body" sz="quarter" idx="57" hasCustomPrompt="1"/>
          </p:nvPr>
        </p:nvSpPr>
        <p:spPr>
          <a:xfrm>
            <a:off x="2472456" y="3709107"/>
            <a:ext cx="1826131" cy="1822342"/>
          </a:xfrm>
          <a:prstGeom prst="ellipse">
            <a:avLst/>
          </a:prstGeom>
          <a:solidFill>
            <a:srgbClr val="FF9966"/>
          </a:solidFill>
        </p:spPr>
        <p:txBody>
          <a:bodyPr anchor="ctr"/>
          <a:lstStyle>
            <a:lvl1pPr marL="0" indent="0" algn="ctr">
              <a:buFontTx/>
              <a:buNone/>
              <a:defRPr sz="1800"/>
            </a:lvl1pPr>
          </a:lstStyle>
          <a:p>
            <a:pPr lvl="0"/>
            <a:r>
              <a:rPr lang="en-GB"/>
              <a:t>Title</a:t>
            </a:r>
            <a:endParaRPr lang="en-NL"/>
          </a:p>
        </p:txBody>
      </p:sp>
      <p:sp>
        <p:nvSpPr>
          <p:cNvPr id="4" name="Slide Number Placeholder">
            <a:extLst>
              <a:ext uri="{FF2B5EF4-FFF2-40B4-BE49-F238E27FC236}">
                <a16:creationId xmlns:a16="http://schemas.microsoft.com/office/drawing/2014/main" id="{1C129500-5344-937A-3DBB-B2A49A00031B}"/>
              </a:ext>
            </a:extLst>
          </p:cNvPr>
          <p:cNvSpPr>
            <a:spLocks noGrp="1"/>
          </p:cNvSpPr>
          <p:nvPr>
            <p:ph type="sldNum" sz="quarter" idx="12"/>
          </p:nvPr>
        </p:nvSpPr>
        <p:spPr>
          <a:xfrm>
            <a:off x="11319511" y="6120028"/>
            <a:ext cx="350031" cy="360000"/>
          </a:xfrm>
          <a:prstGeom prst="rect">
            <a:avLst/>
          </a:prstGeom>
        </p:spPr>
        <p:txBody>
          <a:bodyPr lIns="0" tIns="0" rIns="0" bIns="0" anchor="ctr"/>
          <a:lstStyle>
            <a:lvl1pPr algn="r">
              <a:defRPr sz="1100">
                <a:solidFill>
                  <a:schemeClr val="bg2"/>
                </a:solidFill>
              </a:defRPr>
            </a:lvl1pPr>
          </a:lstStyle>
          <a:p>
            <a:fld id="{D0281C21-EE02-42A0-BCF6-67BEF936A35A}" type="slidenum">
              <a:rPr lang="en-IN" smtClean="0"/>
              <a:pPr/>
              <a:t>‹#›</a:t>
            </a:fld>
            <a:endParaRPr lang="en-IN"/>
          </a:p>
        </p:txBody>
      </p:sp>
      <p:sp>
        <p:nvSpPr>
          <p:cNvPr id="2" name="Text Placeholder 5">
            <a:extLst>
              <a:ext uri="{FF2B5EF4-FFF2-40B4-BE49-F238E27FC236}">
                <a16:creationId xmlns:a16="http://schemas.microsoft.com/office/drawing/2014/main" id="{3796A4E4-30CA-3040-9F79-30B1D81DE224}"/>
              </a:ext>
            </a:extLst>
          </p:cNvPr>
          <p:cNvSpPr>
            <a:spLocks noGrp="1"/>
          </p:cNvSpPr>
          <p:nvPr>
            <p:ph type="body" sz="quarter" idx="80" hasCustomPrompt="1"/>
          </p:nvPr>
        </p:nvSpPr>
        <p:spPr>
          <a:xfrm>
            <a:off x="525600" y="6109200"/>
            <a:ext cx="720000" cy="554400"/>
          </a:xfrm>
        </p:spPr>
        <p:txBody>
          <a:bodyPr/>
          <a:lstStyle>
            <a:lvl1pPr marL="0" indent="0">
              <a:buFontTx/>
              <a:buNone/>
              <a:defRPr sz="1100" b="1">
                <a:solidFill>
                  <a:schemeClr val="bg2"/>
                </a:solidFill>
              </a:defRPr>
            </a:lvl1pPr>
          </a:lstStyle>
          <a:p>
            <a:pPr lvl="0"/>
            <a:r>
              <a:rPr lang="en-US"/>
              <a:t>Sources:</a:t>
            </a:r>
            <a:endParaRPr lang="en-NL"/>
          </a:p>
        </p:txBody>
      </p:sp>
      <p:sp>
        <p:nvSpPr>
          <p:cNvPr id="13" name="Text Placeholder 11">
            <a:extLst>
              <a:ext uri="{FF2B5EF4-FFF2-40B4-BE49-F238E27FC236}">
                <a16:creationId xmlns:a16="http://schemas.microsoft.com/office/drawing/2014/main" id="{BE62A5C3-011B-B015-9671-67EFD377B36C}"/>
              </a:ext>
            </a:extLst>
          </p:cNvPr>
          <p:cNvSpPr>
            <a:spLocks noGrp="1"/>
          </p:cNvSpPr>
          <p:nvPr>
            <p:ph type="body" sz="quarter" idx="81" hasCustomPrompt="1"/>
          </p:nvPr>
        </p:nvSpPr>
        <p:spPr>
          <a:xfrm>
            <a:off x="1152000" y="6109200"/>
            <a:ext cx="8704216" cy="440904"/>
          </a:xfrm>
        </p:spPr>
        <p:txBody>
          <a:bodyPr/>
          <a:lstStyle>
            <a:lvl1pPr marL="0" indent="0">
              <a:buFontTx/>
              <a:buNone/>
              <a:defRPr sz="1100"/>
            </a:lvl1pPr>
          </a:lstStyle>
          <a:p>
            <a:pPr lvl="0"/>
            <a:r>
              <a:rPr lang="en-US"/>
              <a:t>Innova Database (click to edit)</a:t>
            </a:r>
            <a:endParaRPr lang="en-NL"/>
          </a:p>
        </p:txBody>
      </p:sp>
    </p:spTree>
    <p:extLst>
      <p:ext uri="{BB962C8B-B14F-4D97-AF65-F5344CB8AC3E}">
        <p14:creationId xmlns:p14="http://schemas.microsoft.com/office/powerpoint/2010/main" val="1025916530"/>
      </p:ext>
    </p:extLst>
  </p:cSld>
  <p:clrMapOvr>
    <a:masterClrMapping/>
  </p:clrMapOvr>
  <p:extLst>
    <p:ext uri="{DCECCB84-F9BA-43D5-87BE-67443E8EF086}">
      <p15:sldGuideLst xmlns:p15="http://schemas.microsoft.com/office/powerpoint/2012/main"/>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preserve="1" userDrawn="1">
  <p:cSld name="Title slide - Picture">
    <p:spTree>
      <p:nvGrpSpPr>
        <p:cNvPr id="1" name=""/>
        <p:cNvGrpSpPr/>
        <p:nvPr/>
      </p:nvGrpSpPr>
      <p:grpSpPr>
        <a:xfrm>
          <a:off x="0" y="0"/>
          <a:ext cx="0" cy="0"/>
          <a:chOff x="0" y="0"/>
          <a:chExt cx="0" cy="0"/>
        </a:xfrm>
      </p:grpSpPr>
      <p:sp>
        <p:nvSpPr>
          <p:cNvPr id="10" name="Tijdelijke aanduiding voor afbeelding 7">
            <a:extLst>
              <a:ext uri="{FF2B5EF4-FFF2-40B4-BE49-F238E27FC236}">
                <a16:creationId xmlns:a16="http://schemas.microsoft.com/office/drawing/2014/main" id="{4DAEAD04-C1FD-4924-B727-1FF08B2835E8}"/>
              </a:ext>
            </a:extLst>
          </p:cNvPr>
          <p:cNvSpPr>
            <a:spLocks noGrp="1"/>
          </p:cNvSpPr>
          <p:nvPr>
            <p:ph type="pic" sz="quarter" idx="13" hasCustomPrompt="1"/>
          </p:nvPr>
        </p:nvSpPr>
        <p:spPr>
          <a:xfrm>
            <a:off x="0" y="0"/>
            <a:ext cx="12192000" cy="6858000"/>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US" sz="800" kern="1200">
                <a:solidFill>
                  <a:schemeClr val="tx1">
                    <a:tint val="75000"/>
                  </a:schemeClr>
                </a:solidFill>
                <a:latin typeface="+mn-lt"/>
                <a:ea typeface="+mn-ea"/>
                <a:cs typeface="+mn-cs"/>
              </a:rPr>
              <a:t>© 2019 FrieslandCampina Ingredients</a:t>
            </a:r>
          </a:p>
        </p:txBody>
      </p:sp>
      <p:sp>
        <p:nvSpPr>
          <p:cNvPr id="18" name="Tijdelijke aanduiding voor tekst 17">
            <a:extLst>
              <a:ext uri="{FF2B5EF4-FFF2-40B4-BE49-F238E27FC236}">
                <a16:creationId xmlns:a16="http://schemas.microsoft.com/office/drawing/2014/main" id="{134848E4-6B17-49A0-B7F6-34867199C050}"/>
              </a:ext>
            </a:extLst>
          </p:cNvPr>
          <p:cNvSpPr>
            <a:spLocks noGrp="1"/>
          </p:cNvSpPr>
          <p:nvPr>
            <p:ph type="body" sz="quarter" idx="18" hasCustomPrompt="1"/>
          </p:nvPr>
        </p:nvSpPr>
        <p:spPr>
          <a:xfrm>
            <a:off x="336552" y="0"/>
            <a:ext cx="5327648" cy="5596669"/>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1080000" anchor="b" anchorCtr="0">
            <a:noAutofit/>
          </a:bodyPr>
          <a:lstStyle>
            <a:lvl1pPr marL="0" indent="0">
              <a:buNone/>
              <a:defRPr sz="3200">
                <a:solidFill>
                  <a:schemeClr val="accent1"/>
                </a:solidFill>
              </a:defRPr>
            </a:lvl1pPr>
          </a:lstStyle>
          <a:p>
            <a:pPr lvl="0"/>
            <a:r>
              <a:rPr lang="nl-NL"/>
              <a:t>Title (max 2 lines)</a:t>
            </a:r>
          </a:p>
        </p:txBody>
      </p:sp>
      <p:sp>
        <p:nvSpPr>
          <p:cNvPr id="3" name="Subtitle 2"/>
          <p:cNvSpPr>
            <a:spLocks noGrp="1"/>
          </p:cNvSpPr>
          <p:nvPr>
            <p:ph type="subTitle" idx="1" hasCustomPrompt="1"/>
          </p:nvPr>
        </p:nvSpPr>
        <p:spPr>
          <a:xfrm>
            <a:off x="1007533" y="4991102"/>
            <a:ext cx="4077992"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Subtitle</a:t>
            </a:r>
          </a:p>
        </p:txBody>
      </p:sp>
      <p:sp>
        <p:nvSpPr>
          <p:cNvPr id="22" name="Tijdelijke aanduiding voor tekst 21">
            <a:extLst>
              <a:ext uri="{FF2B5EF4-FFF2-40B4-BE49-F238E27FC236}">
                <a16:creationId xmlns:a16="http://schemas.microsoft.com/office/drawing/2014/main" id="{FB8EC1E8-CA61-4781-B9FD-8B2A398367C1}"/>
              </a:ext>
            </a:extLst>
          </p:cNvPr>
          <p:cNvSpPr>
            <a:spLocks noGrp="1"/>
          </p:cNvSpPr>
          <p:nvPr>
            <p:ph type="body" sz="quarter" idx="19" hasCustomPrompt="1"/>
          </p:nvPr>
        </p:nvSpPr>
        <p:spPr>
          <a:xfrm>
            <a:off x="662400" y="374400"/>
            <a:ext cx="1737600" cy="1046400"/>
          </a:xfrm>
          <a:blipFill>
            <a:blip r:embed="rId2"/>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nl-NL"/>
              <a:t>.</a:t>
            </a:r>
          </a:p>
        </p:txBody>
      </p:sp>
      <p:grpSp>
        <p:nvGrpSpPr>
          <p:cNvPr id="11" name="Groep 10">
            <a:extLst>
              <a:ext uri="{FF2B5EF4-FFF2-40B4-BE49-F238E27FC236}">
                <a16:creationId xmlns:a16="http://schemas.microsoft.com/office/drawing/2014/main" id="{00535BFA-E28A-45B6-9D3C-16EA9D769715}"/>
              </a:ext>
            </a:extLst>
          </p:cNvPr>
          <p:cNvGrpSpPr/>
          <p:nvPr userDrawn="1"/>
        </p:nvGrpSpPr>
        <p:grpSpPr>
          <a:xfrm>
            <a:off x="12262862" y="696656"/>
            <a:ext cx="1130143" cy="757167"/>
            <a:chOff x="9197145" y="1199569"/>
            <a:chExt cx="847607" cy="567875"/>
          </a:xfrm>
        </p:grpSpPr>
        <p:sp>
          <p:nvSpPr>
            <p:cNvPr id="12" name="Freeform 20">
              <a:extLst>
                <a:ext uri="{FF2B5EF4-FFF2-40B4-BE49-F238E27FC236}">
                  <a16:creationId xmlns:a16="http://schemas.microsoft.com/office/drawing/2014/main" id="{873BFFE2-A199-4561-84F5-D9D0C64EAFC0}"/>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4" name="Tekstvak 13">
              <a:extLst>
                <a:ext uri="{FF2B5EF4-FFF2-40B4-BE49-F238E27FC236}">
                  <a16:creationId xmlns:a16="http://schemas.microsoft.com/office/drawing/2014/main" id="{B4D24D63-913D-4B46-A3FA-1CF82CD08E8D}"/>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US" sz="933" b="0"/>
                <a:t>Delete the stamps</a:t>
              </a:r>
              <a:br>
                <a:rPr lang="en-US" sz="933" b="0"/>
              </a:br>
              <a:r>
                <a:rPr lang="en-US" sz="933" b="0"/>
                <a:t>you don’t use and align the correct one on top</a:t>
              </a:r>
            </a:p>
          </p:txBody>
        </p:sp>
      </p:grpSp>
    </p:spTree>
    <p:extLst>
      <p:ext uri="{BB962C8B-B14F-4D97-AF65-F5344CB8AC3E}">
        <p14:creationId xmlns:p14="http://schemas.microsoft.com/office/powerpoint/2010/main" val="940037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preserve="1" userDrawn="1">
  <p:cSld name="Title slide - Brand 1">
    <p:spTree>
      <p:nvGrpSpPr>
        <p:cNvPr id="1" name=""/>
        <p:cNvGrpSpPr/>
        <p:nvPr/>
      </p:nvGrpSpPr>
      <p:grpSpPr>
        <a:xfrm>
          <a:off x="0" y="0"/>
          <a:ext cx="0" cy="0"/>
          <a:chOff x="0" y="0"/>
          <a:chExt cx="0" cy="0"/>
        </a:xfrm>
      </p:grpSpPr>
      <p:pic>
        <p:nvPicPr>
          <p:cNvPr id="9" name="Picture Placeholder 6">
            <a:extLst>
              <a:ext uri="{FF2B5EF4-FFF2-40B4-BE49-F238E27FC236}">
                <a16:creationId xmlns:a16="http://schemas.microsoft.com/office/drawing/2014/main" id="{0DDEBA28-655F-4348-A6F5-06090337F5CB}"/>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US" sz="800" kern="1200">
                <a:solidFill>
                  <a:schemeClr val="tx1">
                    <a:tint val="75000"/>
                  </a:schemeClr>
                </a:solidFill>
                <a:latin typeface="+mn-lt"/>
                <a:ea typeface="+mn-ea"/>
                <a:cs typeface="+mn-cs"/>
              </a:rPr>
              <a:t>© 2019 FrieslandCampina Ingredients</a:t>
            </a:r>
          </a:p>
        </p:txBody>
      </p:sp>
      <p:sp>
        <p:nvSpPr>
          <p:cNvPr id="18" name="Tijdelijke aanduiding voor tekst 17">
            <a:extLst>
              <a:ext uri="{FF2B5EF4-FFF2-40B4-BE49-F238E27FC236}">
                <a16:creationId xmlns:a16="http://schemas.microsoft.com/office/drawing/2014/main" id="{134848E4-6B17-49A0-B7F6-34867199C050}"/>
              </a:ext>
            </a:extLst>
          </p:cNvPr>
          <p:cNvSpPr>
            <a:spLocks noGrp="1"/>
          </p:cNvSpPr>
          <p:nvPr>
            <p:ph type="body" sz="quarter" idx="18" hasCustomPrompt="1"/>
          </p:nvPr>
        </p:nvSpPr>
        <p:spPr>
          <a:xfrm>
            <a:off x="336552" y="0"/>
            <a:ext cx="5327648" cy="5596669"/>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1080000" anchor="b" anchorCtr="0">
            <a:noAutofit/>
          </a:bodyPr>
          <a:lstStyle>
            <a:lvl1pPr marL="0" indent="0">
              <a:buNone/>
              <a:defRPr sz="3200">
                <a:solidFill>
                  <a:schemeClr val="accent1"/>
                </a:solidFill>
              </a:defRPr>
            </a:lvl1pPr>
          </a:lstStyle>
          <a:p>
            <a:pPr lvl="0"/>
            <a:r>
              <a:rPr lang="nl-NL"/>
              <a:t>Title (max 2 lines)</a:t>
            </a:r>
          </a:p>
        </p:txBody>
      </p:sp>
      <p:sp>
        <p:nvSpPr>
          <p:cNvPr id="3" name="Subtitle 2"/>
          <p:cNvSpPr>
            <a:spLocks noGrp="1"/>
          </p:cNvSpPr>
          <p:nvPr>
            <p:ph type="subTitle" idx="1" hasCustomPrompt="1"/>
          </p:nvPr>
        </p:nvSpPr>
        <p:spPr>
          <a:xfrm>
            <a:off x="1007533" y="4991102"/>
            <a:ext cx="4077992"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Subtitle</a:t>
            </a:r>
          </a:p>
        </p:txBody>
      </p:sp>
      <p:sp>
        <p:nvSpPr>
          <p:cNvPr id="8" name="Tijdelijke aanduiding voor tekst 21">
            <a:extLst>
              <a:ext uri="{FF2B5EF4-FFF2-40B4-BE49-F238E27FC236}">
                <a16:creationId xmlns:a16="http://schemas.microsoft.com/office/drawing/2014/main" id="{0516508F-A80F-44D7-B844-0E8F59789FF2}"/>
              </a:ext>
            </a:extLst>
          </p:cNvPr>
          <p:cNvSpPr>
            <a:spLocks noGrp="1"/>
          </p:cNvSpPr>
          <p:nvPr>
            <p:ph type="body" sz="quarter" idx="19" hasCustomPrompt="1"/>
          </p:nvPr>
        </p:nvSpPr>
        <p:spPr>
          <a:xfrm>
            <a:off x="662400" y="374400"/>
            <a:ext cx="1737600" cy="1046400"/>
          </a:xfrm>
          <a:blipFill>
            <a:blip r:embed="rId3"/>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nl-NL"/>
              <a:t>.</a:t>
            </a:r>
          </a:p>
        </p:txBody>
      </p:sp>
      <p:grpSp>
        <p:nvGrpSpPr>
          <p:cNvPr id="10" name="Groep 9">
            <a:extLst>
              <a:ext uri="{FF2B5EF4-FFF2-40B4-BE49-F238E27FC236}">
                <a16:creationId xmlns:a16="http://schemas.microsoft.com/office/drawing/2014/main" id="{614D66B5-B83D-4F74-9B3E-5605135EF6DE}"/>
              </a:ext>
            </a:extLst>
          </p:cNvPr>
          <p:cNvGrpSpPr/>
          <p:nvPr userDrawn="1"/>
        </p:nvGrpSpPr>
        <p:grpSpPr>
          <a:xfrm>
            <a:off x="12262862" y="696656"/>
            <a:ext cx="1130143" cy="757167"/>
            <a:chOff x="9197145" y="1199569"/>
            <a:chExt cx="847607" cy="567875"/>
          </a:xfrm>
        </p:grpSpPr>
        <p:sp>
          <p:nvSpPr>
            <p:cNvPr id="11" name="Freeform 20">
              <a:extLst>
                <a:ext uri="{FF2B5EF4-FFF2-40B4-BE49-F238E27FC236}">
                  <a16:creationId xmlns:a16="http://schemas.microsoft.com/office/drawing/2014/main" id="{A6A1DDA7-7242-48DF-8B8A-D685C3086E08}"/>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6" name="Tekstvak 15">
              <a:extLst>
                <a:ext uri="{FF2B5EF4-FFF2-40B4-BE49-F238E27FC236}">
                  <a16:creationId xmlns:a16="http://schemas.microsoft.com/office/drawing/2014/main" id="{D268ACCB-9161-4B23-8F9C-BD9E58E1CB92}"/>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US" sz="933" b="0"/>
                <a:t>Delete the stamps</a:t>
              </a:r>
              <a:br>
                <a:rPr lang="en-US" sz="933" b="0"/>
              </a:br>
              <a:r>
                <a:rPr lang="en-US" sz="933" b="0"/>
                <a:t>you don’t use and align the correct one on top</a:t>
              </a:r>
            </a:p>
          </p:txBody>
        </p:sp>
      </p:grpSp>
    </p:spTree>
    <p:extLst>
      <p:ext uri="{BB962C8B-B14F-4D97-AF65-F5344CB8AC3E}">
        <p14:creationId xmlns:p14="http://schemas.microsoft.com/office/powerpoint/2010/main" val="2754742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 Brand - 2">
    <p:spTree>
      <p:nvGrpSpPr>
        <p:cNvPr id="1" name=""/>
        <p:cNvGrpSpPr/>
        <p:nvPr/>
      </p:nvGrpSpPr>
      <p:grpSpPr>
        <a:xfrm>
          <a:off x="0" y="0"/>
          <a:ext cx="0" cy="0"/>
          <a:chOff x="0" y="0"/>
          <a:chExt cx="0" cy="0"/>
        </a:xfrm>
      </p:grpSpPr>
      <p:pic>
        <p:nvPicPr>
          <p:cNvPr id="11" name="Tijdelijke aanduiding voor afbeelding 6" descr="Afbeelding met man, muur, buiten, lucht&#10;&#10;Automatisch gegenereerde beschrijving">
            <a:extLst>
              <a:ext uri="{FF2B5EF4-FFF2-40B4-BE49-F238E27FC236}">
                <a16:creationId xmlns:a16="http://schemas.microsoft.com/office/drawing/2014/main" id="{EC68116D-9A6B-4DCE-8FF8-C73772025D5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0" y="0"/>
            <a:ext cx="12192000" cy="6858000"/>
          </a:xfrm>
          <a:prstGeom prst="rect">
            <a:avLst/>
          </a:prstGeom>
        </p:spPr>
      </p:pic>
      <p:sp>
        <p:nvSpPr>
          <p:cNvPr id="10" name="Tijdelijke aanduiding voor tekst 17">
            <a:extLst>
              <a:ext uri="{FF2B5EF4-FFF2-40B4-BE49-F238E27FC236}">
                <a16:creationId xmlns:a16="http://schemas.microsoft.com/office/drawing/2014/main" id="{7E7E7EE5-C2DE-4A64-8808-F02FC5AA5DD5}"/>
              </a:ext>
            </a:extLst>
          </p:cNvPr>
          <p:cNvSpPr>
            <a:spLocks noGrp="1"/>
          </p:cNvSpPr>
          <p:nvPr>
            <p:ph type="body" sz="quarter" idx="18" hasCustomPrompt="1"/>
          </p:nvPr>
        </p:nvSpPr>
        <p:spPr>
          <a:xfrm>
            <a:off x="336554" y="1"/>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2"/>
            <a:ext cx="3168651"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Subtitle</a:t>
            </a:r>
          </a:p>
        </p:txBody>
      </p:sp>
      <p:sp>
        <p:nvSpPr>
          <p:cNvPr id="22" name="Tijdelijke aanduiding voor tekst 21">
            <a:extLst>
              <a:ext uri="{FF2B5EF4-FFF2-40B4-BE49-F238E27FC236}">
                <a16:creationId xmlns:a16="http://schemas.microsoft.com/office/drawing/2014/main" id="{FB8EC1E8-CA61-4781-B9FD-8B2A398367C1}"/>
              </a:ext>
            </a:extLst>
          </p:cNvPr>
          <p:cNvSpPr>
            <a:spLocks noGrp="1"/>
          </p:cNvSpPr>
          <p:nvPr>
            <p:ph type="body" sz="quarter" idx="19" hasCustomPrompt="1"/>
          </p:nvPr>
        </p:nvSpPr>
        <p:spPr>
          <a:xfrm>
            <a:off x="662400" y="374400"/>
            <a:ext cx="1737600" cy="1046400"/>
          </a:xfrm>
          <a:blipFill>
            <a:blip r:embed="rId3" cstate="print">
              <a:extLst>
                <a:ext uri="{28A0092B-C50C-407E-A947-70E740481C1C}">
                  <a14:useLocalDpi xmlns:a14="http://schemas.microsoft.com/office/drawing/2010/main" val="0"/>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en-GB"/>
              <a:t>.</a:t>
            </a:r>
          </a:p>
        </p:txBody>
      </p:sp>
      <p:grpSp>
        <p:nvGrpSpPr>
          <p:cNvPr id="12" name="Groep 11">
            <a:extLst>
              <a:ext uri="{FF2B5EF4-FFF2-40B4-BE49-F238E27FC236}">
                <a16:creationId xmlns:a16="http://schemas.microsoft.com/office/drawing/2014/main" id="{F34E7E5D-83FD-4F48-B0DA-AC19BC7FD52A}"/>
              </a:ext>
            </a:extLst>
          </p:cNvPr>
          <p:cNvGrpSpPr/>
          <p:nvPr userDrawn="1"/>
        </p:nvGrpSpPr>
        <p:grpSpPr>
          <a:xfrm>
            <a:off x="12262862" y="575999"/>
            <a:ext cx="1130143" cy="757167"/>
            <a:chOff x="9197145" y="1199569"/>
            <a:chExt cx="847607" cy="567875"/>
          </a:xfrm>
        </p:grpSpPr>
        <p:sp>
          <p:nvSpPr>
            <p:cNvPr id="14" name="Freeform 20">
              <a:extLst>
                <a:ext uri="{FF2B5EF4-FFF2-40B4-BE49-F238E27FC236}">
                  <a16:creationId xmlns:a16="http://schemas.microsoft.com/office/drawing/2014/main" id="{2E059584-51EF-4EC6-ADE2-F521AF1DC19A}"/>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5" name="Tekstvak 14">
              <a:extLst>
                <a:ext uri="{FF2B5EF4-FFF2-40B4-BE49-F238E27FC236}">
                  <a16:creationId xmlns:a16="http://schemas.microsoft.com/office/drawing/2014/main" id="{87C655A2-E2F5-40DF-B17C-94A26B4C3721}"/>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 </a:t>
              </a:r>
            </a:p>
          </p:txBody>
        </p:sp>
      </p:grpSp>
    </p:spTree>
    <p:extLst>
      <p:ext uri="{BB962C8B-B14F-4D97-AF65-F5344CB8AC3E}">
        <p14:creationId xmlns:p14="http://schemas.microsoft.com/office/powerpoint/2010/main" val="1052955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preserve="1" userDrawn="1">
  <p:cSld name="Title slide - Brand 2">
    <p:spTree>
      <p:nvGrpSpPr>
        <p:cNvPr id="1" name=""/>
        <p:cNvGrpSpPr/>
        <p:nvPr/>
      </p:nvGrpSpPr>
      <p:grpSpPr>
        <a:xfrm>
          <a:off x="0" y="0"/>
          <a:ext cx="0" cy="0"/>
          <a:chOff x="0" y="0"/>
          <a:chExt cx="0" cy="0"/>
        </a:xfrm>
      </p:grpSpPr>
      <p:pic>
        <p:nvPicPr>
          <p:cNvPr id="10" name="Tijdelijke aanduiding voor afbeelding 6" descr="Afbeelding met muur, vloer, kamer&#10;&#10;Automatisch gegenereerde beschrijving">
            <a:extLst>
              <a:ext uri="{FF2B5EF4-FFF2-40B4-BE49-F238E27FC236}">
                <a16:creationId xmlns:a16="http://schemas.microsoft.com/office/drawing/2014/main" id="{6A3F958D-5DB0-4E7E-B918-F1C3F15729F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US" sz="800" kern="1200">
                <a:solidFill>
                  <a:schemeClr val="tx1">
                    <a:tint val="75000"/>
                  </a:schemeClr>
                </a:solidFill>
                <a:latin typeface="+mn-lt"/>
                <a:ea typeface="+mn-ea"/>
                <a:cs typeface="+mn-cs"/>
              </a:rPr>
              <a:t>© 2019 FrieslandCampina Ingredients</a:t>
            </a:r>
          </a:p>
        </p:txBody>
      </p:sp>
      <p:sp>
        <p:nvSpPr>
          <p:cNvPr id="18" name="Tijdelijke aanduiding voor tekst 17">
            <a:extLst>
              <a:ext uri="{FF2B5EF4-FFF2-40B4-BE49-F238E27FC236}">
                <a16:creationId xmlns:a16="http://schemas.microsoft.com/office/drawing/2014/main" id="{134848E4-6B17-49A0-B7F6-34867199C050}"/>
              </a:ext>
            </a:extLst>
          </p:cNvPr>
          <p:cNvSpPr>
            <a:spLocks noGrp="1"/>
          </p:cNvSpPr>
          <p:nvPr>
            <p:ph type="body" sz="quarter" idx="18" hasCustomPrompt="1"/>
          </p:nvPr>
        </p:nvSpPr>
        <p:spPr>
          <a:xfrm>
            <a:off x="336552" y="0"/>
            <a:ext cx="5327648" cy="5596669"/>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1080000" anchor="b" anchorCtr="0">
            <a:noAutofit/>
          </a:bodyPr>
          <a:lstStyle>
            <a:lvl1pPr marL="0" indent="0">
              <a:buNone/>
              <a:defRPr sz="3200">
                <a:solidFill>
                  <a:schemeClr val="accent1"/>
                </a:solidFill>
              </a:defRPr>
            </a:lvl1pPr>
          </a:lstStyle>
          <a:p>
            <a:pPr lvl="0"/>
            <a:r>
              <a:rPr lang="nl-NL"/>
              <a:t>Title (max 2 lines)</a:t>
            </a:r>
          </a:p>
        </p:txBody>
      </p:sp>
      <p:sp>
        <p:nvSpPr>
          <p:cNvPr id="3" name="Subtitle 2"/>
          <p:cNvSpPr>
            <a:spLocks noGrp="1"/>
          </p:cNvSpPr>
          <p:nvPr>
            <p:ph type="subTitle" idx="1" hasCustomPrompt="1"/>
          </p:nvPr>
        </p:nvSpPr>
        <p:spPr>
          <a:xfrm>
            <a:off x="1007533" y="4991102"/>
            <a:ext cx="4077992"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Subtitle</a:t>
            </a:r>
          </a:p>
        </p:txBody>
      </p:sp>
      <p:sp>
        <p:nvSpPr>
          <p:cNvPr id="22" name="Tijdelijke aanduiding voor tekst 21">
            <a:extLst>
              <a:ext uri="{FF2B5EF4-FFF2-40B4-BE49-F238E27FC236}">
                <a16:creationId xmlns:a16="http://schemas.microsoft.com/office/drawing/2014/main" id="{FB8EC1E8-CA61-4781-B9FD-8B2A398367C1}"/>
              </a:ext>
            </a:extLst>
          </p:cNvPr>
          <p:cNvSpPr>
            <a:spLocks noGrp="1"/>
          </p:cNvSpPr>
          <p:nvPr>
            <p:ph type="body" sz="quarter" idx="19" hasCustomPrompt="1"/>
          </p:nvPr>
        </p:nvSpPr>
        <p:spPr>
          <a:xfrm>
            <a:off x="662400" y="374400"/>
            <a:ext cx="1737600" cy="1046400"/>
          </a:xfrm>
          <a:blipFill>
            <a:blip r:embed="rId3"/>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nl-NL"/>
              <a:t>.</a:t>
            </a:r>
          </a:p>
        </p:txBody>
      </p:sp>
      <p:grpSp>
        <p:nvGrpSpPr>
          <p:cNvPr id="12" name="Groep 11">
            <a:extLst>
              <a:ext uri="{FF2B5EF4-FFF2-40B4-BE49-F238E27FC236}">
                <a16:creationId xmlns:a16="http://schemas.microsoft.com/office/drawing/2014/main" id="{2E99C67E-E082-4382-83CF-8A9DC5D68CE8}"/>
              </a:ext>
            </a:extLst>
          </p:cNvPr>
          <p:cNvGrpSpPr/>
          <p:nvPr userDrawn="1"/>
        </p:nvGrpSpPr>
        <p:grpSpPr>
          <a:xfrm>
            <a:off x="12262862" y="696656"/>
            <a:ext cx="1130143" cy="757167"/>
            <a:chOff x="9197145" y="1199569"/>
            <a:chExt cx="847607" cy="567875"/>
          </a:xfrm>
        </p:grpSpPr>
        <p:sp>
          <p:nvSpPr>
            <p:cNvPr id="14" name="Freeform 20">
              <a:extLst>
                <a:ext uri="{FF2B5EF4-FFF2-40B4-BE49-F238E27FC236}">
                  <a16:creationId xmlns:a16="http://schemas.microsoft.com/office/drawing/2014/main" id="{E78238A7-D9EF-4A46-8AB6-C32646D7F048}"/>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5" name="Tekstvak 14">
              <a:extLst>
                <a:ext uri="{FF2B5EF4-FFF2-40B4-BE49-F238E27FC236}">
                  <a16:creationId xmlns:a16="http://schemas.microsoft.com/office/drawing/2014/main" id="{968821E9-D123-4775-A120-259ED7D1EC50}"/>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US" sz="933" b="0"/>
                <a:t>Delete the stamps</a:t>
              </a:r>
              <a:br>
                <a:rPr lang="en-US" sz="933" b="0"/>
              </a:br>
              <a:r>
                <a:rPr lang="en-US" sz="933" b="0"/>
                <a:t>you don’t use and align the correct one on top</a:t>
              </a:r>
            </a:p>
          </p:txBody>
        </p:sp>
      </p:grpSp>
    </p:spTree>
    <p:extLst>
      <p:ext uri="{BB962C8B-B14F-4D97-AF65-F5344CB8AC3E}">
        <p14:creationId xmlns:p14="http://schemas.microsoft.com/office/powerpoint/2010/main" val="2159187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preserve="1" userDrawn="1">
  <p:cSld name="Title slide - Brand 3">
    <p:spTree>
      <p:nvGrpSpPr>
        <p:cNvPr id="1" name=""/>
        <p:cNvGrpSpPr/>
        <p:nvPr/>
      </p:nvGrpSpPr>
      <p:grpSpPr>
        <a:xfrm>
          <a:off x="0" y="0"/>
          <a:ext cx="0" cy="0"/>
          <a:chOff x="0" y="0"/>
          <a:chExt cx="0" cy="0"/>
        </a:xfrm>
      </p:grpSpPr>
      <p:pic>
        <p:nvPicPr>
          <p:cNvPr id="11" name="Tijdelijke aanduiding voor afbeelding 6" descr="Afbeelding met man, muur, buiten, lucht&#10;&#10;Automatisch gegenereerde beschrijving">
            <a:extLst>
              <a:ext uri="{FF2B5EF4-FFF2-40B4-BE49-F238E27FC236}">
                <a16:creationId xmlns:a16="http://schemas.microsoft.com/office/drawing/2014/main" id="{EC68116D-9A6B-4DCE-8FF8-C73772025D5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0" y="0"/>
            <a:ext cx="12192000" cy="6858000"/>
          </a:xfrm>
          <a:prstGeom prst="rect">
            <a:avLst/>
          </a:prstGeom>
        </p:spPr>
      </p:pic>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US" sz="800" kern="1200">
                <a:solidFill>
                  <a:schemeClr val="tx1">
                    <a:tint val="75000"/>
                  </a:schemeClr>
                </a:solidFill>
                <a:latin typeface="+mn-lt"/>
                <a:ea typeface="+mn-ea"/>
                <a:cs typeface="+mn-cs"/>
              </a:rPr>
              <a:t>© 2019 FrieslandCampina Ingredients</a:t>
            </a:r>
          </a:p>
        </p:txBody>
      </p:sp>
      <p:sp>
        <p:nvSpPr>
          <p:cNvPr id="18" name="Tijdelijke aanduiding voor tekst 17">
            <a:extLst>
              <a:ext uri="{FF2B5EF4-FFF2-40B4-BE49-F238E27FC236}">
                <a16:creationId xmlns:a16="http://schemas.microsoft.com/office/drawing/2014/main" id="{134848E4-6B17-49A0-B7F6-34867199C050}"/>
              </a:ext>
            </a:extLst>
          </p:cNvPr>
          <p:cNvSpPr>
            <a:spLocks noGrp="1"/>
          </p:cNvSpPr>
          <p:nvPr>
            <p:ph type="body" sz="quarter" idx="18" hasCustomPrompt="1"/>
          </p:nvPr>
        </p:nvSpPr>
        <p:spPr>
          <a:xfrm>
            <a:off x="336552" y="0"/>
            <a:ext cx="5327648" cy="5596669"/>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1080000" anchor="b" anchorCtr="0">
            <a:noAutofit/>
          </a:bodyPr>
          <a:lstStyle>
            <a:lvl1pPr marL="0" indent="0">
              <a:buNone/>
              <a:defRPr sz="3200">
                <a:solidFill>
                  <a:schemeClr val="accent1"/>
                </a:solidFill>
              </a:defRPr>
            </a:lvl1pPr>
          </a:lstStyle>
          <a:p>
            <a:pPr lvl="0"/>
            <a:r>
              <a:rPr lang="nl-NL"/>
              <a:t>Title (max 2 lines)</a:t>
            </a:r>
          </a:p>
        </p:txBody>
      </p:sp>
      <p:sp>
        <p:nvSpPr>
          <p:cNvPr id="3" name="Subtitle 2"/>
          <p:cNvSpPr>
            <a:spLocks noGrp="1"/>
          </p:cNvSpPr>
          <p:nvPr>
            <p:ph type="subTitle" idx="1" hasCustomPrompt="1"/>
          </p:nvPr>
        </p:nvSpPr>
        <p:spPr>
          <a:xfrm>
            <a:off x="1007533" y="4991102"/>
            <a:ext cx="4077992"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Subtitle</a:t>
            </a:r>
          </a:p>
        </p:txBody>
      </p:sp>
      <p:sp>
        <p:nvSpPr>
          <p:cNvPr id="22" name="Tijdelijke aanduiding voor tekst 21">
            <a:extLst>
              <a:ext uri="{FF2B5EF4-FFF2-40B4-BE49-F238E27FC236}">
                <a16:creationId xmlns:a16="http://schemas.microsoft.com/office/drawing/2014/main" id="{FB8EC1E8-CA61-4781-B9FD-8B2A398367C1}"/>
              </a:ext>
            </a:extLst>
          </p:cNvPr>
          <p:cNvSpPr>
            <a:spLocks noGrp="1"/>
          </p:cNvSpPr>
          <p:nvPr>
            <p:ph type="body" sz="quarter" idx="19" hasCustomPrompt="1"/>
          </p:nvPr>
        </p:nvSpPr>
        <p:spPr>
          <a:xfrm>
            <a:off x="662400" y="374400"/>
            <a:ext cx="1737600" cy="1046400"/>
          </a:xfrm>
          <a:blipFill>
            <a:blip r:embed="rId3"/>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nl-NL"/>
              <a:t>.</a:t>
            </a:r>
          </a:p>
        </p:txBody>
      </p:sp>
      <p:grpSp>
        <p:nvGrpSpPr>
          <p:cNvPr id="12" name="Groep 11">
            <a:extLst>
              <a:ext uri="{FF2B5EF4-FFF2-40B4-BE49-F238E27FC236}">
                <a16:creationId xmlns:a16="http://schemas.microsoft.com/office/drawing/2014/main" id="{F34E7E5D-83FD-4F48-B0DA-AC19BC7FD52A}"/>
              </a:ext>
            </a:extLst>
          </p:cNvPr>
          <p:cNvGrpSpPr/>
          <p:nvPr userDrawn="1"/>
        </p:nvGrpSpPr>
        <p:grpSpPr>
          <a:xfrm>
            <a:off x="12262862" y="696656"/>
            <a:ext cx="1130143" cy="757167"/>
            <a:chOff x="9197145" y="1199569"/>
            <a:chExt cx="847607" cy="567875"/>
          </a:xfrm>
        </p:grpSpPr>
        <p:sp>
          <p:nvSpPr>
            <p:cNvPr id="14" name="Freeform 20">
              <a:extLst>
                <a:ext uri="{FF2B5EF4-FFF2-40B4-BE49-F238E27FC236}">
                  <a16:creationId xmlns:a16="http://schemas.microsoft.com/office/drawing/2014/main" id="{2E059584-51EF-4EC6-ADE2-F521AF1DC19A}"/>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5" name="Tekstvak 14">
              <a:extLst>
                <a:ext uri="{FF2B5EF4-FFF2-40B4-BE49-F238E27FC236}">
                  <a16:creationId xmlns:a16="http://schemas.microsoft.com/office/drawing/2014/main" id="{87C655A2-E2F5-40DF-B17C-94A26B4C3721}"/>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US" sz="933" b="0"/>
                <a:t>Delete the stamps</a:t>
              </a:r>
              <a:br>
                <a:rPr lang="en-US" sz="933" b="0"/>
              </a:br>
              <a:r>
                <a:rPr lang="en-US" sz="933" b="0"/>
                <a:t>you don’t use and align the correct one on top</a:t>
              </a:r>
            </a:p>
          </p:txBody>
        </p:sp>
      </p:grpSp>
    </p:spTree>
    <p:extLst>
      <p:ext uri="{BB962C8B-B14F-4D97-AF65-F5344CB8AC3E}">
        <p14:creationId xmlns:p14="http://schemas.microsoft.com/office/powerpoint/2010/main" val="490404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userDrawn="1">
  <p:cSld name="Title slide - Brand 4">
    <p:spTree>
      <p:nvGrpSpPr>
        <p:cNvPr id="1" name=""/>
        <p:cNvGrpSpPr/>
        <p:nvPr/>
      </p:nvGrpSpPr>
      <p:grpSpPr>
        <a:xfrm>
          <a:off x="0" y="0"/>
          <a:ext cx="0" cy="0"/>
          <a:chOff x="0" y="0"/>
          <a:chExt cx="0" cy="0"/>
        </a:xfrm>
      </p:grpSpPr>
      <p:pic>
        <p:nvPicPr>
          <p:cNvPr id="10" name="Tijdelijke aanduiding voor afbeelding 6" descr="Afbeelding met muur, man, binnen, vloer&#10;&#10;Automatisch gegenereerde beschrijving">
            <a:extLst>
              <a:ext uri="{FF2B5EF4-FFF2-40B4-BE49-F238E27FC236}">
                <a16:creationId xmlns:a16="http://schemas.microsoft.com/office/drawing/2014/main" id="{34A0D159-6198-489D-B700-FD07D424C906}"/>
              </a:ext>
            </a:extLst>
          </p:cNvPr>
          <p:cNvPicPr>
            <a:picLocks noChangeAspect="1"/>
          </p:cNvPicPr>
          <p:nvPr userDrawn="1"/>
        </p:nvPicPr>
        <p:blipFill rotWithShape="1">
          <a:blip r:embed="rId2"/>
          <a:srcRect t="23636" r="17878" b="8036"/>
          <a:stretch/>
        </p:blipFill>
        <p:spPr>
          <a:xfrm>
            <a:off x="0" y="0"/>
            <a:ext cx="12192000" cy="6858000"/>
          </a:xfrm>
          <a:prstGeom prst="rect">
            <a:avLst/>
          </a:prstGeom>
        </p:spPr>
      </p:pic>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US" sz="800" kern="1200">
                <a:solidFill>
                  <a:schemeClr val="tx1">
                    <a:tint val="75000"/>
                  </a:schemeClr>
                </a:solidFill>
                <a:latin typeface="+mn-lt"/>
                <a:ea typeface="+mn-ea"/>
                <a:cs typeface="+mn-cs"/>
              </a:rPr>
              <a:t>© 2019 FrieslandCampina Ingredients</a:t>
            </a:r>
          </a:p>
        </p:txBody>
      </p:sp>
      <p:sp>
        <p:nvSpPr>
          <p:cNvPr id="18" name="Tijdelijke aanduiding voor tekst 17">
            <a:extLst>
              <a:ext uri="{FF2B5EF4-FFF2-40B4-BE49-F238E27FC236}">
                <a16:creationId xmlns:a16="http://schemas.microsoft.com/office/drawing/2014/main" id="{134848E4-6B17-49A0-B7F6-34867199C050}"/>
              </a:ext>
            </a:extLst>
          </p:cNvPr>
          <p:cNvSpPr>
            <a:spLocks noGrp="1"/>
          </p:cNvSpPr>
          <p:nvPr>
            <p:ph type="body" sz="quarter" idx="18" hasCustomPrompt="1"/>
          </p:nvPr>
        </p:nvSpPr>
        <p:spPr>
          <a:xfrm>
            <a:off x="336552" y="0"/>
            <a:ext cx="5327648" cy="5596669"/>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1080000" anchor="b" anchorCtr="0">
            <a:noAutofit/>
          </a:bodyPr>
          <a:lstStyle>
            <a:lvl1pPr marL="0" indent="0">
              <a:buNone/>
              <a:defRPr sz="3200">
                <a:solidFill>
                  <a:schemeClr val="accent1"/>
                </a:solidFill>
              </a:defRPr>
            </a:lvl1pPr>
          </a:lstStyle>
          <a:p>
            <a:pPr lvl="0"/>
            <a:r>
              <a:rPr lang="nl-NL" err="1"/>
              <a:t>Title</a:t>
            </a:r>
            <a:r>
              <a:rPr lang="nl-NL"/>
              <a:t> (max 2 </a:t>
            </a:r>
            <a:r>
              <a:rPr lang="nl-NL" err="1"/>
              <a:t>lines</a:t>
            </a:r>
            <a:r>
              <a:rPr lang="nl-NL"/>
              <a:t>)</a:t>
            </a:r>
          </a:p>
        </p:txBody>
      </p:sp>
      <p:sp>
        <p:nvSpPr>
          <p:cNvPr id="3" name="Subtitle 2"/>
          <p:cNvSpPr>
            <a:spLocks noGrp="1"/>
          </p:cNvSpPr>
          <p:nvPr>
            <p:ph type="subTitle" idx="1" hasCustomPrompt="1"/>
          </p:nvPr>
        </p:nvSpPr>
        <p:spPr>
          <a:xfrm>
            <a:off x="1007533" y="4991102"/>
            <a:ext cx="4077992"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Subtitle</a:t>
            </a:r>
          </a:p>
        </p:txBody>
      </p:sp>
      <p:sp>
        <p:nvSpPr>
          <p:cNvPr id="22" name="Tijdelijke aanduiding voor tekst 21">
            <a:extLst>
              <a:ext uri="{FF2B5EF4-FFF2-40B4-BE49-F238E27FC236}">
                <a16:creationId xmlns:a16="http://schemas.microsoft.com/office/drawing/2014/main" id="{FB8EC1E8-CA61-4781-B9FD-8B2A398367C1}"/>
              </a:ext>
            </a:extLst>
          </p:cNvPr>
          <p:cNvSpPr>
            <a:spLocks noGrp="1"/>
          </p:cNvSpPr>
          <p:nvPr>
            <p:ph type="body" sz="quarter" idx="19" hasCustomPrompt="1"/>
          </p:nvPr>
        </p:nvSpPr>
        <p:spPr>
          <a:xfrm>
            <a:off x="662400" y="374400"/>
            <a:ext cx="1737600" cy="1046400"/>
          </a:xfrm>
          <a:blipFill>
            <a:blip r:embed="rId3"/>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nl-NL"/>
              <a:t>.</a:t>
            </a:r>
          </a:p>
        </p:txBody>
      </p:sp>
      <p:grpSp>
        <p:nvGrpSpPr>
          <p:cNvPr id="12" name="Groep 11">
            <a:extLst>
              <a:ext uri="{FF2B5EF4-FFF2-40B4-BE49-F238E27FC236}">
                <a16:creationId xmlns:a16="http://schemas.microsoft.com/office/drawing/2014/main" id="{2ADDB6F1-9239-410D-9E94-70C869EBB25E}"/>
              </a:ext>
            </a:extLst>
          </p:cNvPr>
          <p:cNvGrpSpPr/>
          <p:nvPr userDrawn="1"/>
        </p:nvGrpSpPr>
        <p:grpSpPr>
          <a:xfrm>
            <a:off x="12262862" y="696656"/>
            <a:ext cx="1130143" cy="757167"/>
            <a:chOff x="9197145" y="1199569"/>
            <a:chExt cx="847607" cy="567875"/>
          </a:xfrm>
        </p:grpSpPr>
        <p:sp>
          <p:nvSpPr>
            <p:cNvPr id="14" name="Freeform 20">
              <a:extLst>
                <a:ext uri="{FF2B5EF4-FFF2-40B4-BE49-F238E27FC236}">
                  <a16:creationId xmlns:a16="http://schemas.microsoft.com/office/drawing/2014/main" id="{C2A087DB-B328-455C-8DD9-BAC7DD1D56C2}"/>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5" name="Tekstvak 14">
              <a:extLst>
                <a:ext uri="{FF2B5EF4-FFF2-40B4-BE49-F238E27FC236}">
                  <a16:creationId xmlns:a16="http://schemas.microsoft.com/office/drawing/2014/main" id="{87E12922-FC28-4314-8FE5-B2227B8EF627}"/>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US" sz="933" b="0"/>
                <a:t>Delete the stamps</a:t>
              </a:r>
              <a:br>
                <a:rPr lang="en-US" sz="933" b="0"/>
              </a:br>
              <a:r>
                <a:rPr lang="en-US" sz="933" b="0"/>
                <a:t>you don’t use and align the correct one on top</a:t>
              </a:r>
            </a:p>
          </p:txBody>
        </p:sp>
      </p:grpSp>
    </p:spTree>
    <p:extLst>
      <p:ext uri="{BB962C8B-B14F-4D97-AF65-F5344CB8AC3E}">
        <p14:creationId xmlns:p14="http://schemas.microsoft.com/office/powerpoint/2010/main" val="3522730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preserve="1" userDrawn="1">
  <p:cSld name="Title slide - EarlyLife 1">
    <p:spTree>
      <p:nvGrpSpPr>
        <p:cNvPr id="1" name=""/>
        <p:cNvGrpSpPr/>
        <p:nvPr/>
      </p:nvGrpSpPr>
      <p:grpSpPr>
        <a:xfrm>
          <a:off x="0" y="0"/>
          <a:ext cx="0" cy="0"/>
          <a:chOff x="0" y="0"/>
          <a:chExt cx="0" cy="0"/>
        </a:xfrm>
      </p:grpSpPr>
      <p:pic>
        <p:nvPicPr>
          <p:cNvPr id="14" name="Tijdelijke aanduiding voor afbeelding 6" descr="Afbeelding met vrouw&#10;&#10;Automatisch gegenereerde beschrijving">
            <a:extLst>
              <a:ext uri="{FF2B5EF4-FFF2-40B4-BE49-F238E27FC236}">
                <a16:creationId xmlns:a16="http://schemas.microsoft.com/office/drawing/2014/main" id="{6EBB7A92-5C59-47C2-8570-E6B780A6502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US" sz="800" kern="1200">
                <a:solidFill>
                  <a:schemeClr val="tx1">
                    <a:tint val="75000"/>
                  </a:schemeClr>
                </a:solidFill>
                <a:latin typeface="+mn-lt"/>
                <a:ea typeface="+mn-ea"/>
                <a:cs typeface="+mn-cs"/>
              </a:rPr>
              <a:t>© 2019 FrieslandCampina Ingredients</a:t>
            </a:r>
          </a:p>
        </p:txBody>
      </p:sp>
      <p:sp>
        <p:nvSpPr>
          <p:cNvPr id="18" name="Tijdelijke aanduiding voor tekst 17">
            <a:extLst>
              <a:ext uri="{FF2B5EF4-FFF2-40B4-BE49-F238E27FC236}">
                <a16:creationId xmlns:a16="http://schemas.microsoft.com/office/drawing/2014/main" id="{134848E4-6B17-49A0-B7F6-34867199C050}"/>
              </a:ext>
            </a:extLst>
          </p:cNvPr>
          <p:cNvSpPr>
            <a:spLocks noGrp="1"/>
          </p:cNvSpPr>
          <p:nvPr>
            <p:ph type="body" sz="quarter" idx="18" hasCustomPrompt="1"/>
          </p:nvPr>
        </p:nvSpPr>
        <p:spPr>
          <a:xfrm>
            <a:off x="336552" y="0"/>
            <a:ext cx="5327648" cy="5596669"/>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1080000" anchor="b" anchorCtr="0">
            <a:noAutofit/>
          </a:bodyPr>
          <a:lstStyle>
            <a:lvl1pPr marL="0" indent="0">
              <a:buNone/>
              <a:defRPr sz="3200">
                <a:solidFill>
                  <a:schemeClr val="accent1"/>
                </a:solidFill>
              </a:defRPr>
            </a:lvl1pPr>
          </a:lstStyle>
          <a:p>
            <a:pPr lvl="0"/>
            <a:r>
              <a:rPr lang="nl-NL"/>
              <a:t>Title (max 2 lines)</a:t>
            </a:r>
          </a:p>
        </p:txBody>
      </p:sp>
      <p:sp>
        <p:nvSpPr>
          <p:cNvPr id="3" name="Subtitle 2"/>
          <p:cNvSpPr>
            <a:spLocks noGrp="1"/>
          </p:cNvSpPr>
          <p:nvPr>
            <p:ph type="subTitle" idx="1" hasCustomPrompt="1"/>
          </p:nvPr>
        </p:nvSpPr>
        <p:spPr>
          <a:xfrm>
            <a:off x="1007533" y="4991102"/>
            <a:ext cx="4077992"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Subtitle</a:t>
            </a:r>
          </a:p>
        </p:txBody>
      </p:sp>
      <p:sp>
        <p:nvSpPr>
          <p:cNvPr id="11" name="Tijdelijke aanduiding voor tekst 21">
            <a:extLst>
              <a:ext uri="{FF2B5EF4-FFF2-40B4-BE49-F238E27FC236}">
                <a16:creationId xmlns:a16="http://schemas.microsoft.com/office/drawing/2014/main" id="{864B06FA-CA70-4595-8439-FEB797046608}"/>
              </a:ext>
            </a:extLst>
          </p:cNvPr>
          <p:cNvSpPr>
            <a:spLocks noGrp="1"/>
          </p:cNvSpPr>
          <p:nvPr>
            <p:ph type="body" sz="quarter" idx="19" hasCustomPrompt="1"/>
          </p:nvPr>
        </p:nvSpPr>
        <p:spPr>
          <a:xfrm>
            <a:off x="662400" y="374400"/>
            <a:ext cx="1737600" cy="1046400"/>
          </a:xfrm>
          <a:blipFill>
            <a:blip r:embed="rId3"/>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nl-NL"/>
              <a:t>.</a:t>
            </a:r>
          </a:p>
        </p:txBody>
      </p:sp>
      <p:grpSp>
        <p:nvGrpSpPr>
          <p:cNvPr id="10" name="Groep 9">
            <a:extLst>
              <a:ext uri="{FF2B5EF4-FFF2-40B4-BE49-F238E27FC236}">
                <a16:creationId xmlns:a16="http://schemas.microsoft.com/office/drawing/2014/main" id="{2D3B3783-BF87-416D-8312-A253A1630159}"/>
              </a:ext>
            </a:extLst>
          </p:cNvPr>
          <p:cNvGrpSpPr/>
          <p:nvPr userDrawn="1"/>
        </p:nvGrpSpPr>
        <p:grpSpPr>
          <a:xfrm>
            <a:off x="12262862" y="696656"/>
            <a:ext cx="1130143" cy="757167"/>
            <a:chOff x="9197145" y="1199569"/>
            <a:chExt cx="847607" cy="567875"/>
          </a:xfrm>
        </p:grpSpPr>
        <p:sp>
          <p:nvSpPr>
            <p:cNvPr id="16" name="Freeform 20">
              <a:extLst>
                <a:ext uri="{FF2B5EF4-FFF2-40B4-BE49-F238E27FC236}">
                  <a16:creationId xmlns:a16="http://schemas.microsoft.com/office/drawing/2014/main" id="{B92E4F29-1E59-41AA-8B6A-AB0CE0321FCD}"/>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8F013AE7-A940-4288-807D-4C6C090D30BE}"/>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US" sz="933" b="0"/>
                <a:t>Delete the stamps</a:t>
              </a:r>
              <a:br>
                <a:rPr lang="en-US" sz="933" b="0"/>
              </a:br>
              <a:r>
                <a:rPr lang="en-US" sz="933" b="0"/>
                <a:t>you don’t use and align the correct one on top</a:t>
              </a:r>
            </a:p>
          </p:txBody>
        </p:sp>
      </p:grpSp>
    </p:spTree>
    <p:extLst>
      <p:ext uri="{BB962C8B-B14F-4D97-AF65-F5344CB8AC3E}">
        <p14:creationId xmlns:p14="http://schemas.microsoft.com/office/powerpoint/2010/main" val="4116829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userDrawn="1">
  <p:cSld name="Title slide - EarlyLife 2">
    <p:spTree>
      <p:nvGrpSpPr>
        <p:cNvPr id="1" name=""/>
        <p:cNvGrpSpPr/>
        <p:nvPr/>
      </p:nvGrpSpPr>
      <p:grpSpPr>
        <a:xfrm>
          <a:off x="0" y="0"/>
          <a:ext cx="0" cy="0"/>
          <a:chOff x="0" y="0"/>
          <a:chExt cx="0" cy="0"/>
        </a:xfrm>
      </p:grpSpPr>
      <p:pic>
        <p:nvPicPr>
          <p:cNvPr id="12" name="Tijdelijke aanduiding voor afbeelding 6">
            <a:extLst>
              <a:ext uri="{FF2B5EF4-FFF2-40B4-BE49-F238E27FC236}">
                <a16:creationId xmlns:a16="http://schemas.microsoft.com/office/drawing/2014/main" id="{62C5A7AF-EB24-4D48-AE42-4F1FB5B4422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a:xfrm flipH="1">
            <a:off x="0" y="0"/>
            <a:ext cx="12192000" cy="6858000"/>
          </a:xfrm>
          <a:prstGeom prst="rect">
            <a:avLst/>
          </a:prstGeom>
        </p:spPr>
      </p:pic>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US" sz="800" kern="1200">
                <a:solidFill>
                  <a:schemeClr val="tx1">
                    <a:tint val="75000"/>
                  </a:schemeClr>
                </a:solidFill>
                <a:latin typeface="+mn-lt"/>
                <a:ea typeface="+mn-ea"/>
                <a:cs typeface="+mn-cs"/>
              </a:rPr>
              <a:t>© 2019 FrieslandCampina Ingredients</a:t>
            </a:r>
          </a:p>
        </p:txBody>
      </p:sp>
      <p:sp>
        <p:nvSpPr>
          <p:cNvPr id="18" name="Tijdelijke aanduiding voor tekst 17">
            <a:extLst>
              <a:ext uri="{FF2B5EF4-FFF2-40B4-BE49-F238E27FC236}">
                <a16:creationId xmlns:a16="http://schemas.microsoft.com/office/drawing/2014/main" id="{134848E4-6B17-49A0-B7F6-34867199C050}"/>
              </a:ext>
            </a:extLst>
          </p:cNvPr>
          <p:cNvSpPr>
            <a:spLocks noGrp="1"/>
          </p:cNvSpPr>
          <p:nvPr>
            <p:ph type="body" sz="quarter" idx="18" hasCustomPrompt="1"/>
          </p:nvPr>
        </p:nvSpPr>
        <p:spPr>
          <a:xfrm>
            <a:off x="336552" y="0"/>
            <a:ext cx="5327648" cy="5596669"/>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1080000" anchor="b" anchorCtr="0">
            <a:noAutofit/>
          </a:bodyPr>
          <a:lstStyle>
            <a:lvl1pPr marL="0" indent="0">
              <a:buNone/>
              <a:defRPr sz="3200">
                <a:solidFill>
                  <a:schemeClr val="accent1"/>
                </a:solidFill>
              </a:defRPr>
            </a:lvl1pPr>
          </a:lstStyle>
          <a:p>
            <a:pPr lvl="0"/>
            <a:r>
              <a:rPr lang="nl-NL"/>
              <a:t>Title (max 2 lines)</a:t>
            </a:r>
          </a:p>
        </p:txBody>
      </p:sp>
      <p:sp>
        <p:nvSpPr>
          <p:cNvPr id="3" name="Subtitle 2"/>
          <p:cNvSpPr>
            <a:spLocks noGrp="1"/>
          </p:cNvSpPr>
          <p:nvPr>
            <p:ph type="subTitle" idx="1" hasCustomPrompt="1"/>
          </p:nvPr>
        </p:nvSpPr>
        <p:spPr>
          <a:xfrm>
            <a:off x="1007533" y="4991102"/>
            <a:ext cx="4077992"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Subtitle</a:t>
            </a:r>
          </a:p>
        </p:txBody>
      </p:sp>
      <p:sp>
        <p:nvSpPr>
          <p:cNvPr id="11" name="Tijdelijke aanduiding voor tekst 21">
            <a:extLst>
              <a:ext uri="{FF2B5EF4-FFF2-40B4-BE49-F238E27FC236}">
                <a16:creationId xmlns:a16="http://schemas.microsoft.com/office/drawing/2014/main" id="{864B06FA-CA70-4595-8439-FEB797046608}"/>
              </a:ext>
            </a:extLst>
          </p:cNvPr>
          <p:cNvSpPr>
            <a:spLocks noGrp="1"/>
          </p:cNvSpPr>
          <p:nvPr>
            <p:ph type="body" sz="quarter" idx="19" hasCustomPrompt="1"/>
          </p:nvPr>
        </p:nvSpPr>
        <p:spPr>
          <a:xfrm>
            <a:off x="662400" y="374400"/>
            <a:ext cx="1737600" cy="1046400"/>
          </a:xfrm>
          <a:blipFill>
            <a:blip r:embed="rId3"/>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nl-NL"/>
              <a:t>.</a:t>
            </a:r>
          </a:p>
        </p:txBody>
      </p:sp>
      <p:grpSp>
        <p:nvGrpSpPr>
          <p:cNvPr id="10" name="Groep 9">
            <a:extLst>
              <a:ext uri="{FF2B5EF4-FFF2-40B4-BE49-F238E27FC236}">
                <a16:creationId xmlns:a16="http://schemas.microsoft.com/office/drawing/2014/main" id="{2D3B3783-BF87-416D-8312-A253A1630159}"/>
              </a:ext>
            </a:extLst>
          </p:cNvPr>
          <p:cNvGrpSpPr/>
          <p:nvPr userDrawn="1"/>
        </p:nvGrpSpPr>
        <p:grpSpPr>
          <a:xfrm>
            <a:off x="12262862" y="696656"/>
            <a:ext cx="1130143" cy="757167"/>
            <a:chOff x="9197145" y="1199569"/>
            <a:chExt cx="847607" cy="567875"/>
          </a:xfrm>
        </p:grpSpPr>
        <p:sp>
          <p:nvSpPr>
            <p:cNvPr id="16" name="Freeform 20">
              <a:extLst>
                <a:ext uri="{FF2B5EF4-FFF2-40B4-BE49-F238E27FC236}">
                  <a16:creationId xmlns:a16="http://schemas.microsoft.com/office/drawing/2014/main" id="{B92E4F29-1E59-41AA-8B6A-AB0CE0321FCD}"/>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8F013AE7-A940-4288-807D-4C6C090D30BE}"/>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US" sz="933" b="0"/>
                <a:t>Delete the stamps</a:t>
              </a:r>
              <a:br>
                <a:rPr lang="en-US" sz="933" b="0"/>
              </a:br>
              <a:r>
                <a:rPr lang="en-US" sz="933" b="0"/>
                <a:t>you don’t use and align the correct one on top</a:t>
              </a:r>
            </a:p>
          </p:txBody>
        </p:sp>
      </p:grpSp>
    </p:spTree>
    <p:extLst>
      <p:ext uri="{BB962C8B-B14F-4D97-AF65-F5344CB8AC3E}">
        <p14:creationId xmlns:p14="http://schemas.microsoft.com/office/powerpoint/2010/main" val="1914223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userDrawn="1">
  <p:cSld name="Title slide - Active">
    <p:spTree>
      <p:nvGrpSpPr>
        <p:cNvPr id="1" name=""/>
        <p:cNvGrpSpPr/>
        <p:nvPr/>
      </p:nvGrpSpPr>
      <p:grpSpPr>
        <a:xfrm>
          <a:off x="0" y="0"/>
          <a:ext cx="0" cy="0"/>
          <a:chOff x="0" y="0"/>
          <a:chExt cx="0" cy="0"/>
        </a:xfrm>
      </p:grpSpPr>
      <p:pic>
        <p:nvPicPr>
          <p:cNvPr id="12" name="Tijdelijke aanduiding voor afbeelding 6" descr="Afbeelding met sneeuw, muur, binnen, man&#10;&#10;Automatisch gegenereerde beschrijving">
            <a:extLst>
              <a:ext uri="{FF2B5EF4-FFF2-40B4-BE49-F238E27FC236}">
                <a16:creationId xmlns:a16="http://schemas.microsoft.com/office/drawing/2014/main" id="{1CAED2E1-7E2D-4C8A-BA08-CA639139A8D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US" sz="800" kern="1200">
                <a:solidFill>
                  <a:schemeClr val="tx1">
                    <a:tint val="75000"/>
                  </a:schemeClr>
                </a:solidFill>
                <a:latin typeface="+mn-lt"/>
                <a:ea typeface="+mn-ea"/>
                <a:cs typeface="+mn-cs"/>
              </a:rPr>
              <a:t>© 2019 FrieslandCampina Ingredients</a:t>
            </a:r>
          </a:p>
        </p:txBody>
      </p:sp>
      <p:sp>
        <p:nvSpPr>
          <p:cNvPr id="18" name="Tijdelijke aanduiding voor tekst 17">
            <a:extLst>
              <a:ext uri="{FF2B5EF4-FFF2-40B4-BE49-F238E27FC236}">
                <a16:creationId xmlns:a16="http://schemas.microsoft.com/office/drawing/2014/main" id="{134848E4-6B17-49A0-B7F6-34867199C050}"/>
              </a:ext>
            </a:extLst>
          </p:cNvPr>
          <p:cNvSpPr>
            <a:spLocks noGrp="1"/>
          </p:cNvSpPr>
          <p:nvPr>
            <p:ph type="body" sz="quarter" idx="18" hasCustomPrompt="1"/>
          </p:nvPr>
        </p:nvSpPr>
        <p:spPr>
          <a:xfrm>
            <a:off x="336552" y="0"/>
            <a:ext cx="5327648" cy="5596669"/>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1080000" anchor="b" anchorCtr="0">
            <a:noAutofit/>
          </a:bodyPr>
          <a:lstStyle>
            <a:lvl1pPr marL="0" indent="0">
              <a:buNone/>
              <a:defRPr sz="3200">
                <a:solidFill>
                  <a:schemeClr val="accent1"/>
                </a:solidFill>
              </a:defRPr>
            </a:lvl1pPr>
          </a:lstStyle>
          <a:p>
            <a:pPr lvl="0"/>
            <a:r>
              <a:rPr lang="nl-NL" err="1"/>
              <a:t>Title</a:t>
            </a:r>
            <a:r>
              <a:rPr lang="nl-NL"/>
              <a:t> (max 2 </a:t>
            </a:r>
            <a:r>
              <a:rPr lang="nl-NL" err="1"/>
              <a:t>lines</a:t>
            </a:r>
            <a:r>
              <a:rPr lang="nl-NL"/>
              <a:t>)</a:t>
            </a:r>
          </a:p>
        </p:txBody>
      </p:sp>
      <p:sp>
        <p:nvSpPr>
          <p:cNvPr id="3" name="Subtitle 2"/>
          <p:cNvSpPr>
            <a:spLocks noGrp="1"/>
          </p:cNvSpPr>
          <p:nvPr>
            <p:ph type="subTitle" idx="1" hasCustomPrompt="1"/>
          </p:nvPr>
        </p:nvSpPr>
        <p:spPr>
          <a:xfrm>
            <a:off x="1007533" y="4991102"/>
            <a:ext cx="4077992"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Subtitle</a:t>
            </a:r>
          </a:p>
        </p:txBody>
      </p:sp>
      <p:sp>
        <p:nvSpPr>
          <p:cNvPr id="11" name="Tijdelijke aanduiding voor tekst 21">
            <a:extLst>
              <a:ext uri="{FF2B5EF4-FFF2-40B4-BE49-F238E27FC236}">
                <a16:creationId xmlns:a16="http://schemas.microsoft.com/office/drawing/2014/main" id="{864B06FA-CA70-4595-8439-FEB797046608}"/>
              </a:ext>
            </a:extLst>
          </p:cNvPr>
          <p:cNvSpPr>
            <a:spLocks noGrp="1"/>
          </p:cNvSpPr>
          <p:nvPr>
            <p:ph type="body" sz="quarter" idx="19" hasCustomPrompt="1"/>
          </p:nvPr>
        </p:nvSpPr>
        <p:spPr>
          <a:xfrm>
            <a:off x="662400" y="374400"/>
            <a:ext cx="1737600" cy="1046400"/>
          </a:xfrm>
          <a:blipFill>
            <a:blip r:embed="rId3"/>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nl-NL"/>
              <a:t>.</a:t>
            </a:r>
          </a:p>
        </p:txBody>
      </p:sp>
      <p:grpSp>
        <p:nvGrpSpPr>
          <p:cNvPr id="15" name="Groep 14">
            <a:extLst>
              <a:ext uri="{FF2B5EF4-FFF2-40B4-BE49-F238E27FC236}">
                <a16:creationId xmlns:a16="http://schemas.microsoft.com/office/drawing/2014/main" id="{26B582DD-85D3-4396-A1BD-1FE9E211CE2B}"/>
              </a:ext>
            </a:extLst>
          </p:cNvPr>
          <p:cNvGrpSpPr/>
          <p:nvPr userDrawn="1"/>
        </p:nvGrpSpPr>
        <p:grpSpPr>
          <a:xfrm>
            <a:off x="12262862" y="696656"/>
            <a:ext cx="1130143" cy="757167"/>
            <a:chOff x="9197145" y="1199569"/>
            <a:chExt cx="847607" cy="567875"/>
          </a:xfrm>
        </p:grpSpPr>
        <p:sp>
          <p:nvSpPr>
            <p:cNvPr id="16" name="Freeform 20">
              <a:extLst>
                <a:ext uri="{FF2B5EF4-FFF2-40B4-BE49-F238E27FC236}">
                  <a16:creationId xmlns:a16="http://schemas.microsoft.com/office/drawing/2014/main" id="{040EC359-9BDD-4775-A957-4137B57732A5}"/>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6F63FEC7-0371-4FD8-952D-795EC110286B}"/>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US" sz="933" b="0"/>
                <a:t>Delete the stamps</a:t>
              </a:r>
              <a:br>
                <a:rPr lang="en-US" sz="933" b="0"/>
              </a:br>
              <a:r>
                <a:rPr lang="en-US" sz="933" b="0"/>
                <a:t>you don’t use and align the correct one on top</a:t>
              </a:r>
            </a:p>
          </p:txBody>
        </p:sp>
      </p:grpSp>
    </p:spTree>
    <p:extLst>
      <p:ext uri="{BB962C8B-B14F-4D97-AF65-F5344CB8AC3E}">
        <p14:creationId xmlns:p14="http://schemas.microsoft.com/office/powerpoint/2010/main" val="2400100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preserve="1" userDrawn="1">
  <p:cSld name="Title slide - Animal">
    <p:spTree>
      <p:nvGrpSpPr>
        <p:cNvPr id="1" name=""/>
        <p:cNvGrpSpPr/>
        <p:nvPr/>
      </p:nvGrpSpPr>
      <p:grpSpPr>
        <a:xfrm>
          <a:off x="0" y="0"/>
          <a:ext cx="0" cy="0"/>
          <a:chOff x="0" y="0"/>
          <a:chExt cx="0" cy="0"/>
        </a:xfrm>
      </p:grpSpPr>
      <p:pic>
        <p:nvPicPr>
          <p:cNvPr id="12" name="Tijdelijke aanduiding voor afbeelding 6" descr="Afbeelding met muur, binnen, staand, hond&#10;&#10;Automatisch gegenereerde beschrijving">
            <a:extLst>
              <a:ext uri="{FF2B5EF4-FFF2-40B4-BE49-F238E27FC236}">
                <a16:creationId xmlns:a16="http://schemas.microsoft.com/office/drawing/2014/main" id="{3726E048-BF4E-41BD-BEF3-96C213E510F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US" sz="800" kern="1200">
                <a:solidFill>
                  <a:schemeClr val="tx1">
                    <a:tint val="75000"/>
                  </a:schemeClr>
                </a:solidFill>
                <a:latin typeface="+mn-lt"/>
                <a:ea typeface="+mn-ea"/>
                <a:cs typeface="+mn-cs"/>
              </a:rPr>
              <a:t>© 2019 FrieslandCampina Ingredients</a:t>
            </a:r>
          </a:p>
        </p:txBody>
      </p:sp>
      <p:sp>
        <p:nvSpPr>
          <p:cNvPr id="18" name="Tijdelijke aanduiding voor tekst 17">
            <a:extLst>
              <a:ext uri="{FF2B5EF4-FFF2-40B4-BE49-F238E27FC236}">
                <a16:creationId xmlns:a16="http://schemas.microsoft.com/office/drawing/2014/main" id="{134848E4-6B17-49A0-B7F6-34867199C050}"/>
              </a:ext>
            </a:extLst>
          </p:cNvPr>
          <p:cNvSpPr>
            <a:spLocks noGrp="1"/>
          </p:cNvSpPr>
          <p:nvPr>
            <p:ph type="body" sz="quarter" idx="18" hasCustomPrompt="1"/>
          </p:nvPr>
        </p:nvSpPr>
        <p:spPr>
          <a:xfrm>
            <a:off x="336552" y="0"/>
            <a:ext cx="5327648" cy="5596669"/>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1080000" anchor="b" anchorCtr="0">
            <a:noAutofit/>
          </a:bodyPr>
          <a:lstStyle>
            <a:lvl1pPr marL="0" indent="0">
              <a:buNone/>
              <a:defRPr sz="3200">
                <a:solidFill>
                  <a:schemeClr val="accent1"/>
                </a:solidFill>
              </a:defRPr>
            </a:lvl1pPr>
          </a:lstStyle>
          <a:p>
            <a:pPr lvl="0"/>
            <a:r>
              <a:rPr lang="nl-NL"/>
              <a:t>Title (max 2 lines)</a:t>
            </a:r>
          </a:p>
        </p:txBody>
      </p:sp>
      <p:sp>
        <p:nvSpPr>
          <p:cNvPr id="3" name="Subtitle 2"/>
          <p:cNvSpPr>
            <a:spLocks noGrp="1"/>
          </p:cNvSpPr>
          <p:nvPr>
            <p:ph type="subTitle" idx="1" hasCustomPrompt="1"/>
          </p:nvPr>
        </p:nvSpPr>
        <p:spPr>
          <a:xfrm>
            <a:off x="1007533" y="4991102"/>
            <a:ext cx="4077992"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Subtitle</a:t>
            </a:r>
          </a:p>
        </p:txBody>
      </p:sp>
      <p:sp>
        <p:nvSpPr>
          <p:cNvPr id="11" name="Tijdelijke aanduiding voor tekst 21">
            <a:extLst>
              <a:ext uri="{FF2B5EF4-FFF2-40B4-BE49-F238E27FC236}">
                <a16:creationId xmlns:a16="http://schemas.microsoft.com/office/drawing/2014/main" id="{864B06FA-CA70-4595-8439-FEB797046608}"/>
              </a:ext>
            </a:extLst>
          </p:cNvPr>
          <p:cNvSpPr>
            <a:spLocks noGrp="1"/>
          </p:cNvSpPr>
          <p:nvPr>
            <p:ph type="body" sz="quarter" idx="19" hasCustomPrompt="1"/>
          </p:nvPr>
        </p:nvSpPr>
        <p:spPr>
          <a:xfrm>
            <a:off x="662400" y="374400"/>
            <a:ext cx="1737600" cy="1046400"/>
          </a:xfrm>
          <a:blipFill>
            <a:blip r:embed="rId3"/>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nl-NL"/>
              <a:t>.</a:t>
            </a:r>
          </a:p>
        </p:txBody>
      </p:sp>
      <p:grpSp>
        <p:nvGrpSpPr>
          <p:cNvPr id="15" name="Groep 14">
            <a:extLst>
              <a:ext uri="{FF2B5EF4-FFF2-40B4-BE49-F238E27FC236}">
                <a16:creationId xmlns:a16="http://schemas.microsoft.com/office/drawing/2014/main" id="{E93E3858-F974-4911-83A0-E846E87480C2}"/>
              </a:ext>
            </a:extLst>
          </p:cNvPr>
          <p:cNvGrpSpPr/>
          <p:nvPr userDrawn="1"/>
        </p:nvGrpSpPr>
        <p:grpSpPr>
          <a:xfrm>
            <a:off x="12262862" y="696656"/>
            <a:ext cx="1130143" cy="757167"/>
            <a:chOff x="9197145" y="1199569"/>
            <a:chExt cx="847607" cy="567875"/>
          </a:xfrm>
        </p:grpSpPr>
        <p:sp>
          <p:nvSpPr>
            <p:cNvPr id="16" name="Freeform 20">
              <a:extLst>
                <a:ext uri="{FF2B5EF4-FFF2-40B4-BE49-F238E27FC236}">
                  <a16:creationId xmlns:a16="http://schemas.microsoft.com/office/drawing/2014/main" id="{4D29C189-DDA3-41F2-83BA-5E83833097B3}"/>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492277EF-CB60-4158-9FC8-90DCF308C055}"/>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US" sz="933" b="0"/>
                <a:t>Delete the stamps</a:t>
              </a:r>
              <a:br>
                <a:rPr lang="en-US" sz="933" b="0"/>
              </a:br>
              <a:r>
                <a:rPr lang="en-US" sz="933" b="0"/>
                <a:t>you don’t use and align the correct one on top</a:t>
              </a:r>
            </a:p>
          </p:txBody>
        </p:sp>
      </p:grpSp>
    </p:spTree>
    <p:extLst>
      <p:ext uri="{BB962C8B-B14F-4D97-AF65-F5344CB8AC3E}">
        <p14:creationId xmlns:p14="http://schemas.microsoft.com/office/powerpoint/2010/main" val="3348437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userDrawn="1">
  <p:cSld name="Title slide - F&amp;B">
    <p:spTree>
      <p:nvGrpSpPr>
        <p:cNvPr id="1" name=""/>
        <p:cNvGrpSpPr/>
        <p:nvPr/>
      </p:nvGrpSpPr>
      <p:grpSpPr>
        <a:xfrm>
          <a:off x="0" y="0"/>
          <a:ext cx="0" cy="0"/>
          <a:chOff x="0" y="0"/>
          <a:chExt cx="0" cy="0"/>
        </a:xfrm>
      </p:grpSpPr>
      <p:pic>
        <p:nvPicPr>
          <p:cNvPr id="10" name="Tijdelijke aanduiding voor afbeelding 6" descr="Afbeelding met muur, binnen, meubels&#10;&#10;Automatisch gegenereerde beschrijving">
            <a:extLst>
              <a:ext uri="{FF2B5EF4-FFF2-40B4-BE49-F238E27FC236}">
                <a16:creationId xmlns:a16="http://schemas.microsoft.com/office/drawing/2014/main" id="{C93F0BA1-A468-4560-9759-5D6F18546C9D}"/>
              </a:ext>
            </a:extLst>
          </p:cNvPr>
          <p:cNvPicPr>
            <a:picLocks noChangeAspect="1"/>
          </p:cNvPicPr>
          <p:nvPr userDrawn="1"/>
        </p:nvPicPr>
        <p:blipFill>
          <a:blip r:embed="rId2"/>
          <a:srcRect t="8790" b="8790"/>
          <a:stretch>
            <a:fillRect/>
          </a:stretch>
        </p:blipFill>
        <p:spPr>
          <a:xfrm flipH="1">
            <a:off x="0" y="0"/>
            <a:ext cx="12192000" cy="6858000"/>
          </a:xfrm>
          <a:prstGeom prst="rect">
            <a:avLst/>
          </a:prstGeom>
        </p:spPr>
      </p:pic>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US" sz="800" kern="1200">
                <a:solidFill>
                  <a:schemeClr val="tx1">
                    <a:tint val="75000"/>
                  </a:schemeClr>
                </a:solidFill>
                <a:latin typeface="+mn-lt"/>
                <a:ea typeface="+mn-ea"/>
                <a:cs typeface="+mn-cs"/>
              </a:rPr>
              <a:t>© 2019 FrieslandCampina Ingredients</a:t>
            </a:r>
          </a:p>
        </p:txBody>
      </p:sp>
      <p:sp>
        <p:nvSpPr>
          <p:cNvPr id="18" name="Tijdelijke aanduiding voor tekst 17">
            <a:extLst>
              <a:ext uri="{FF2B5EF4-FFF2-40B4-BE49-F238E27FC236}">
                <a16:creationId xmlns:a16="http://schemas.microsoft.com/office/drawing/2014/main" id="{134848E4-6B17-49A0-B7F6-34867199C050}"/>
              </a:ext>
            </a:extLst>
          </p:cNvPr>
          <p:cNvSpPr>
            <a:spLocks noGrp="1"/>
          </p:cNvSpPr>
          <p:nvPr>
            <p:ph type="body" sz="quarter" idx="18" hasCustomPrompt="1"/>
          </p:nvPr>
        </p:nvSpPr>
        <p:spPr>
          <a:xfrm>
            <a:off x="336552" y="0"/>
            <a:ext cx="5327648" cy="5596669"/>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1080000" anchor="b" anchorCtr="0">
            <a:noAutofit/>
          </a:bodyPr>
          <a:lstStyle>
            <a:lvl1pPr marL="0" indent="0">
              <a:buNone/>
              <a:defRPr sz="3200">
                <a:solidFill>
                  <a:schemeClr val="accent1"/>
                </a:solidFill>
              </a:defRPr>
            </a:lvl1pPr>
          </a:lstStyle>
          <a:p>
            <a:pPr lvl="0"/>
            <a:r>
              <a:rPr lang="nl-NL"/>
              <a:t>Title (max 2 lines)</a:t>
            </a:r>
          </a:p>
        </p:txBody>
      </p:sp>
      <p:sp>
        <p:nvSpPr>
          <p:cNvPr id="3" name="Subtitle 2"/>
          <p:cNvSpPr>
            <a:spLocks noGrp="1"/>
          </p:cNvSpPr>
          <p:nvPr>
            <p:ph type="subTitle" idx="1" hasCustomPrompt="1"/>
          </p:nvPr>
        </p:nvSpPr>
        <p:spPr>
          <a:xfrm>
            <a:off x="1007533" y="4991102"/>
            <a:ext cx="4077992"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Subtitle</a:t>
            </a:r>
          </a:p>
        </p:txBody>
      </p:sp>
      <p:sp>
        <p:nvSpPr>
          <p:cNvPr id="11" name="Tijdelijke aanduiding voor tekst 21">
            <a:extLst>
              <a:ext uri="{FF2B5EF4-FFF2-40B4-BE49-F238E27FC236}">
                <a16:creationId xmlns:a16="http://schemas.microsoft.com/office/drawing/2014/main" id="{864B06FA-CA70-4595-8439-FEB797046608}"/>
              </a:ext>
            </a:extLst>
          </p:cNvPr>
          <p:cNvSpPr>
            <a:spLocks noGrp="1"/>
          </p:cNvSpPr>
          <p:nvPr>
            <p:ph type="body" sz="quarter" idx="19" hasCustomPrompt="1"/>
          </p:nvPr>
        </p:nvSpPr>
        <p:spPr>
          <a:xfrm>
            <a:off x="662400" y="374400"/>
            <a:ext cx="1737600" cy="1046400"/>
          </a:xfrm>
          <a:blipFill>
            <a:blip r:embed="rId3"/>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nl-NL"/>
              <a:t>.</a:t>
            </a:r>
          </a:p>
        </p:txBody>
      </p:sp>
      <p:grpSp>
        <p:nvGrpSpPr>
          <p:cNvPr id="15" name="Groep 14">
            <a:extLst>
              <a:ext uri="{FF2B5EF4-FFF2-40B4-BE49-F238E27FC236}">
                <a16:creationId xmlns:a16="http://schemas.microsoft.com/office/drawing/2014/main" id="{5F6B2FA8-EEF3-4CDA-9FEB-7E79E95522C0}"/>
              </a:ext>
            </a:extLst>
          </p:cNvPr>
          <p:cNvGrpSpPr/>
          <p:nvPr userDrawn="1"/>
        </p:nvGrpSpPr>
        <p:grpSpPr>
          <a:xfrm>
            <a:off x="12262862" y="696656"/>
            <a:ext cx="1130143" cy="757167"/>
            <a:chOff x="9197145" y="1199569"/>
            <a:chExt cx="847607" cy="567875"/>
          </a:xfrm>
        </p:grpSpPr>
        <p:sp>
          <p:nvSpPr>
            <p:cNvPr id="16" name="Freeform 20">
              <a:extLst>
                <a:ext uri="{FF2B5EF4-FFF2-40B4-BE49-F238E27FC236}">
                  <a16:creationId xmlns:a16="http://schemas.microsoft.com/office/drawing/2014/main" id="{41362B8D-5982-495C-842A-A2FF269D0105}"/>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4244E6F1-E970-4E0A-9524-A328B2F2C147}"/>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US" sz="933" b="0"/>
                <a:t>Delete the stamps</a:t>
              </a:r>
              <a:br>
                <a:rPr lang="en-US" sz="933" b="0"/>
              </a:br>
              <a:r>
                <a:rPr lang="en-US" sz="933" b="0"/>
                <a:t>you don’t use and align the correct one on top</a:t>
              </a:r>
            </a:p>
          </p:txBody>
        </p:sp>
      </p:grpSp>
    </p:spTree>
    <p:extLst>
      <p:ext uri="{BB962C8B-B14F-4D97-AF65-F5344CB8AC3E}">
        <p14:creationId xmlns:p14="http://schemas.microsoft.com/office/powerpoint/2010/main" val="578341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preserve="1" userDrawn="1">
  <p:cSld name="Title slide - Medical">
    <p:spTree>
      <p:nvGrpSpPr>
        <p:cNvPr id="1" name=""/>
        <p:cNvGrpSpPr/>
        <p:nvPr/>
      </p:nvGrpSpPr>
      <p:grpSpPr>
        <a:xfrm>
          <a:off x="0" y="0"/>
          <a:ext cx="0" cy="0"/>
          <a:chOff x="0" y="0"/>
          <a:chExt cx="0" cy="0"/>
        </a:xfrm>
      </p:grpSpPr>
      <p:pic>
        <p:nvPicPr>
          <p:cNvPr id="12" name="Tijdelijke aanduiding voor afbeelding 6" descr="Afbeelding met muur, man, binnen, persoon&#10;&#10;Automatisch gegenereerde beschrijving">
            <a:extLst>
              <a:ext uri="{FF2B5EF4-FFF2-40B4-BE49-F238E27FC236}">
                <a16:creationId xmlns:a16="http://schemas.microsoft.com/office/drawing/2014/main" id="{C2651B6A-D009-4467-BAAC-9A4A0415849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US" sz="800" kern="1200">
                <a:solidFill>
                  <a:schemeClr val="tx1">
                    <a:tint val="75000"/>
                  </a:schemeClr>
                </a:solidFill>
                <a:latin typeface="+mn-lt"/>
                <a:ea typeface="+mn-ea"/>
                <a:cs typeface="+mn-cs"/>
              </a:rPr>
              <a:t>© 2019 FrieslandCampina Ingredients</a:t>
            </a:r>
          </a:p>
        </p:txBody>
      </p:sp>
      <p:sp>
        <p:nvSpPr>
          <p:cNvPr id="18" name="Tijdelijke aanduiding voor tekst 17">
            <a:extLst>
              <a:ext uri="{FF2B5EF4-FFF2-40B4-BE49-F238E27FC236}">
                <a16:creationId xmlns:a16="http://schemas.microsoft.com/office/drawing/2014/main" id="{134848E4-6B17-49A0-B7F6-34867199C050}"/>
              </a:ext>
            </a:extLst>
          </p:cNvPr>
          <p:cNvSpPr>
            <a:spLocks noGrp="1"/>
          </p:cNvSpPr>
          <p:nvPr>
            <p:ph type="body" sz="quarter" idx="18" hasCustomPrompt="1"/>
          </p:nvPr>
        </p:nvSpPr>
        <p:spPr>
          <a:xfrm>
            <a:off x="336552" y="0"/>
            <a:ext cx="5327648" cy="5596669"/>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1080000" anchor="b" anchorCtr="0">
            <a:noAutofit/>
          </a:bodyPr>
          <a:lstStyle>
            <a:lvl1pPr marL="0" indent="0">
              <a:buNone/>
              <a:defRPr sz="3200">
                <a:solidFill>
                  <a:schemeClr val="accent1"/>
                </a:solidFill>
              </a:defRPr>
            </a:lvl1pPr>
          </a:lstStyle>
          <a:p>
            <a:pPr lvl="0"/>
            <a:r>
              <a:rPr lang="nl-NL"/>
              <a:t>Title (max 2 lines)</a:t>
            </a:r>
          </a:p>
        </p:txBody>
      </p:sp>
      <p:sp>
        <p:nvSpPr>
          <p:cNvPr id="3" name="Subtitle 2"/>
          <p:cNvSpPr>
            <a:spLocks noGrp="1"/>
          </p:cNvSpPr>
          <p:nvPr>
            <p:ph type="subTitle" idx="1" hasCustomPrompt="1"/>
          </p:nvPr>
        </p:nvSpPr>
        <p:spPr>
          <a:xfrm>
            <a:off x="1007533" y="4991102"/>
            <a:ext cx="4077992"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Subtitle</a:t>
            </a:r>
          </a:p>
        </p:txBody>
      </p:sp>
      <p:sp>
        <p:nvSpPr>
          <p:cNvPr id="11" name="Tijdelijke aanduiding voor tekst 21">
            <a:extLst>
              <a:ext uri="{FF2B5EF4-FFF2-40B4-BE49-F238E27FC236}">
                <a16:creationId xmlns:a16="http://schemas.microsoft.com/office/drawing/2014/main" id="{864B06FA-CA70-4595-8439-FEB797046608}"/>
              </a:ext>
            </a:extLst>
          </p:cNvPr>
          <p:cNvSpPr>
            <a:spLocks noGrp="1"/>
          </p:cNvSpPr>
          <p:nvPr>
            <p:ph type="body" sz="quarter" idx="19" hasCustomPrompt="1"/>
          </p:nvPr>
        </p:nvSpPr>
        <p:spPr>
          <a:xfrm>
            <a:off x="662400" y="374400"/>
            <a:ext cx="1737600" cy="1046400"/>
          </a:xfrm>
          <a:blipFill>
            <a:blip r:embed="rId3"/>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nl-NL"/>
              <a:t>.</a:t>
            </a:r>
          </a:p>
        </p:txBody>
      </p:sp>
      <p:grpSp>
        <p:nvGrpSpPr>
          <p:cNvPr id="15" name="Groep 14">
            <a:extLst>
              <a:ext uri="{FF2B5EF4-FFF2-40B4-BE49-F238E27FC236}">
                <a16:creationId xmlns:a16="http://schemas.microsoft.com/office/drawing/2014/main" id="{BAA1BCD9-45E9-4B83-9FEE-F1CE98E92DE8}"/>
              </a:ext>
            </a:extLst>
          </p:cNvPr>
          <p:cNvGrpSpPr/>
          <p:nvPr userDrawn="1"/>
        </p:nvGrpSpPr>
        <p:grpSpPr>
          <a:xfrm>
            <a:off x="12262862" y="696656"/>
            <a:ext cx="1130143" cy="757167"/>
            <a:chOff x="9197145" y="1199569"/>
            <a:chExt cx="847607" cy="567875"/>
          </a:xfrm>
        </p:grpSpPr>
        <p:sp>
          <p:nvSpPr>
            <p:cNvPr id="16" name="Freeform 20">
              <a:extLst>
                <a:ext uri="{FF2B5EF4-FFF2-40B4-BE49-F238E27FC236}">
                  <a16:creationId xmlns:a16="http://schemas.microsoft.com/office/drawing/2014/main" id="{81354EDD-EEE1-4FF1-B136-EAA3435011DC}"/>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652A80FE-093A-4450-AE3E-50E28D0164D7}"/>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US" sz="933" b="0"/>
                <a:t>Delete the stamps</a:t>
              </a:r>
              <a:br>
                <a:rPr lang="en-US" sz="933" b="0"/>
              </a:br>
              <a:r>
                <a:rPr lang="en-US" sz="933" b="0"/>
                <a:t>you don’t use and align the correct one on top</a:t>
              </a:r>
            </a:p>
          </p:txBody>
        </p:sp>
      </p:grpSp>
    </p:spTree>
    <p:extLst>
      <p:ext uri="{BB962C8B-B14F-4D97-AF65-F5344CB8AC3E}">
        <p14:creationId xmlns:p14="http://schemas.microsoft.com/office/powerpoint/2010/main" val="3949800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preserve="1" userDrawn="1">
  <p:cSld name="Title slide - Performance 1">
    <p:spTree>
      <p:nvGrpSpPr>
        <p:cNvPr id="1" name=""/>
        <p:cNvGrpSpPr/>
        <p:nvPr/>
      </p:nvGrpSpPr>
      <p:grpSpPr>
        <a:xfrm>
          <a:off x="0" y="0"/>
          <a:ext cx="0" cy="0"/>
          <a:chOff x="0" y="0"/>
          <a:chExt cx="0" cy="0"/>
        </a:xfrm>
      </p:grpSpPr>
      <p:pic>
        <p:nvPicPr>
          <p:cNvPr id="10" name="Tijdelijke aanduiding voor afbeelding 6" descr="Afbeelding met muur, binnen&#10;&#10;Automatisch gegenereerde beschrijving">
            <a:extLst>
              <a:ext uri="{FF2B5EF4-FFF2-40B4-BE49-F238E27FC236}">
                <a16:creationId xmlns:a16="http://schemas.microsoft.com/office/drawing/2014/main" id="{2AF420C7-99B0-46B6-A8B2-C66653BD107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US" sz="800" kern="1200">
                <a:solidFill>
                  <a:schemeClr val="tx1">
                    <a:tint val="75000"/>
                  </a:schemeClr>
                </a:solidFill>
                <a:latin typeface="+mn-lt"/>
                <a:ea typeface="+mn-ea"/>
                <a:cs typeface="+mn-cs"/>
              </a:rPr>
              <a:t>© 2019 FrieslandCampina Ingredients</a:t>
            </a:r>
          </a:p>
        </p:txBody>
      </p:sp>
      <p:sp>
        <p:nvSpPr>
          <p:cNvPr id="18" name="Tijdelijke aanduiding voor tekst 17">
            <a:extLst>
              <a:ext uri="{FF2B5EF4-FFF2-40B4-BE49-F238E27FC236}">
                <a16:creationId xmlns:a16="http://schemas.microsoft.com/office/drawing/2014/main" id="{134848E4-6B17-49A0-B7F6-34867199C050}"/>
              </a:ext>
            </a:extLst>
          </p:cNvPr>
          <p:cNvSpPr>
            <a:spLocks noGrp="1"/>
          </p:cNvSpPr>
          <p:nvPr>
            <p:ph type="body" sz="quarter" idx="18" hasCustomPrompt="1"/>
          </p:nvPr>
        </p:nvSpPr>
        <p:spPr>
          <a:xfrm>
            <a:off x="336552" y="0"/>
            <a:ext cx="5327648" cy="5596669"/>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1080000" anchor="b" anchorCtr="0">
            <a:noAutofit/>
          </a:bodyPr>
          <a:lstStyle>
            <a:lvl1pPr marL="0" indent="0">
              <a:buNone/>
              <a:defRPr sz="3200">
                <a:solidFill>
                  <a:schemeClr val="accent1"/>
                </a:solidFill>
              </a:defRPr>
            </a:lvl1pPr>
          </a:lstStyle>
          <a:p>
            <a:pPr lvl="0"/>
            <a:r>
              <a:rPr lang="nl-NL"/>
              <a:t>Title (max 2 lines)</a:t>
            </a:r>
          </a:p>
        </p:txBody>
      </p:sp>
      <p:sp>
        <p:nvSpPr>
          <p:cNvPr id="3" name="Subtitle 2"/>
          <p:cNvSpPr>
            <a:spLocks noGrp="1"/>
          </p:cNvSpPr>
          <p:nvPr>
            <p:ph type="subTitle" idx="1" hasCustomPrompt="1"/>
          </p:nvPr>
        </p:nvSpPr>
        <p:spPr>
          <a:xfrm>
            <a:off x="1007533" y="4991102"/>
            <a:ext cx="4077992"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Subtitle</a:t>
            </a:r>
          </a:p>
        </p:txBody>
      </p:sp>
      <p:sp>
        <p:nvSpPr>
          <p:cNvPr id="11" name="Tijdelijke aanduiding voor tekst 21">
            <a:extLst>
              <a:ext uri="{FF2B5EF4-FFF2-40B4-BE49-F238E27FC236}">
                <a16:creationId xmlns:a16="http://schemas.microsoft.com/office/drawing/2014/main" id="{864B06FA-CA70-4595-8439-FEB797046608}"/>
              </a:ext>
            </a:extLst>
          </p:cNvPr>
          <p:cNvSpPr>
            <a:spLocks noGrp="1"/>
          </p:cNvSpPr>
          <p:nvPr>
            <p:ph type="body" sz="quarter" idx="19" hasCustomPrompt="1"/>
          </p:nvPr>
        </p:nvSpPr>
        <p:spPr>
          <a:xfrm>
            <a:off x="662400" y="374400"/>
            <a:ext cx="1737600" cy="1046400"/>
          </a:xfrm>
          <a:blipFill>
            <a:blip r:embed="rId3"/>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nl-NL"/>
              <a:t>.</a:t>
            </a:r>
          </a:p>
        </p:txBody>
      </p:sp>
      <p:grpSp>
        <p:nvGrpSpPr>
          <p:cNvPr id="15" name="Groep 14">
            <a:extLst>
              <a:ext uri="{FF2B5EF4-FFF2-40B4-BE49-F238E27FC236}">
                <a16:creationId xmlns:a16="http://schemas.microsoft.com/office/drawing/2014/main" id="{5719CCBA-0A8C-4DA3-A2BF-6F4EFD7ECA57}"/>
              </a:ext>
            </a:extLst>
          </p:cNvPr>
          <p:cNvGrpSpPr/>
          <p:nvPr userDrawn="1"/>
        </p:nvGrpSpPr>
        <p:grpSpPr>
          <a:xfrm>
            <a:off x="12262862" y="696656"/>
            <a:ext cx="1130143" cy="757167"/>
            <a:chOff x="9197145" y="1199569"/>
            <a:chExt cx="847607" cy="567875"/>
          </a:xfrm>
        </p:grpSpPr>
        <p:sp>
          <p:nvSpPr>
            <p:cNvPr id="16" name="Freeform 20">
              <a:extLst>
                <a:ext uri="{FF2B5EF4-FFF2-40B4-BE49-F238E27FC236}">
                  <a16:creationId xmlns:a16="http://schemas.microsoft.com/office/drawing/2014/main" id="{E613E7A1-9EE6-403B-A778-AAEC3C3F1F2D}"/>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C3750E03-2E3B-4B06-AEBC-30BD5F6674C9}"/>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US" sz="933" b="0"/>
                <a:t>Delete the stamps</a:t>
              </a:r>
              <a:br>
                <a:rPr lang="en-US" sz="933" b="0"/>
              </a:br>
              <a:r>
                <a:rPr lang="en-US" sz="933" b="0"/>
                <a:t>you don’t use and align the correct one on top</a:t>
              </a:r>
            </a:p>
          </p:txBody>
        </p:sp>
      </p:grpSp>
    </p:spTree>
    <p:extLst>
      <p:ext uri="{BB962C8B-B14F-4D97-AF65-F5344CB8AC3E}">
        <p14:creationId xmlns:p14="http://schemas.microsoft.com/office/powerpoint/2010/main" val="865741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 Brand - 3">
    <p:spTree>
      <p:nvGrpSpPr>
        <p:cNvPr id="1" name=""/>
        <p:cNvGrpSpPr/>
        <p:nvPr/>
      </p:nvGrpSpPr>
      <p:grpSpPr>
        <a:xfrm>
          <a:off x="0" y="0"/>
          <a:ext cx="0" cy="0"/>
          <a:chOff x="0" y="0"/>
          <a:chExt cx="0" cy="0"/>
        </a:xfrm>
      </p:grpSpPr>
      <p:pic>
        <p:nvPicPr>
          <p:cNvPr id="10" name="Tijdelijke aanduiding voor afbeelding 4">
            <a:extLst>
              <a:ext uri="{FF2B5EF4-FFF2-40B4-BE49-F238E27FC236}">
                <a16:creationId xmlns:a16="http://schemas.microsoft.com/office/drawing/2014/main" id="{AA1D9A3A-374F-43FA-8CC7-CCA513065EF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4 FrieslandCampina Ingredients</a:t>
            </a:r>
          </a:p>
        </p:txBody>
      </p:sp>
      <p:sp>
        <p:nvSpPr>
          <p:cNvPr id="18" name="Tijdelijke aanduiding voor tekst 17">
            <a:extLst>
              <a:ext uri="{FF2B5EF4-FFF2-40B4-BE49-F238E27FC236}">
                <a16:creationId xmlns:a16="http://schemas.microsoft.com/office/drawing/2014/main" id="{134848E4-6B17-49A0-B7F6-34867199C050}"/>
              </a:ext>
            </a:extLst>
          </p:cNvPr>
          <p:cNvSpPr>
            <a:spLocks noGrp="1"/>
          </p:cNvSpPr>
          <p:nvPr>
            <p:ph type="body" sz="quarter" idx="18" hasCustomPrompt="1"/>
          </p:nvPr>
        </p:nvSpPr>
        <p:spPr>
          <a:xfrm>
            <a:off x="336554" y="1"/>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3" name="Subtitle 2"/>
          <p:cNvSpPr>
            <a:spLocks noGrp="1"/>
          </p:cNvSpPr>
          <p:nvPr>
            <p:ph type="subTitle" idx="1" hasCustomPrompt="1"/>
          </p:nvPr>
        </p:nvSpPr>
        <p:spPr>
          <a:xfrm>
            <a:off x="1007533" y="3885842"/>
            <a:ext cx="3168651"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Subtitle</a:t>
            </a:r>
          </a:p>
        </p:txBody>
      </p:sp>
      <p:sp>
        <p:nvSpPr>
          <p:cNvPr id="22" name="Tijdelijke aanduiding voor tekst 21">
            <a:extLst>
              <a:ext uri="{FF2B5EF4-FFF2-40B4-BE49-F238E27FC236}">
                <a16:creationId xmlns:a16="http://schemas.microsoft.com/office/drawing/2014/main" id="{FB8EC1E8-CA61-4781-B9FD-8B2A398367C1}"/>
              </a:ext>
            </a:extLst>
          </p:cNvPr>
          <p:cNvSpPr>
            <a:spLocks noGrp="1"/>
          </p:cNvSpPr>
          <p:nvPr>
            <p:ph type="body" sz="quarter" idx="19" hasCustomPrompt="1"/>
          </p:nvPr>
        </p:nvSpPr>
        <p:spPr>
          <a:xfrm>
            <a:off x="662400" y="374400"/>
            <a:ext cx="1737600" cy="1046400"/>
          </a:xfrm>
          <a:blipFill>
            <a:blip r:embed="rId3" cstate="print">
              <a:extLst>
                <a:ext uri="{28A0092B-C50C-407E-A947-70E740481C1C}">
                  <a14:useLocalDpi xmlns:a14="http://schemas.microsoft.com/office/drawing/2010/main" val="0"/>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en-GB"/>
              <a:t>.</a:t>
            </a:r>
          </a:p>
        </p:txBody>
      </p:sp>
      <p:grpSp>
        <p:nvGrpSpPr>
          <p:cNvPr id="12" name="Groep 11">
            <a:extLst>
              <a:ext uri="{FF2B5EF4-FFF2-40B4-BE49-F238E27FC236}">
                <a16:creationId xmlns:a16="http://schemas.microsoft.com/office/drawing/2014/main" id="{F34E7E5D-83FD-4F48-B0DA-AC19BC7FD52A}"/>
              </a:ext>
            </a:extLst>
          </p:cNvPr>
          <p:cNvGrpSpPr/>
          <p:nvPr userDrawn="1"/>
        </p:nvGrpSpPr>
        <p:grpSpPr>
          <a:xfrm>
            <a:off x="12262862" y="575999"/>
            <a:ext cx="1130143" cy="757167"/>
            <a:chOff x="9197145" y="1199569"/>
            <a:chExt cx="847607" cy="567875"/>
          </a:xfrm>
        </p:grpSpPr>
        <p:sp>
          <p:nvSpPr>
            <p:cNvPr id="14" name="Freeform 20">
              <a:extLst>
                <a:ext uri="{FF2B5EF4-FFF2-40B4-BE49-F238E27FC236}">
                  <a16:creationId xmlns:a16="http://schemas.microsoft.com/office/drawing/2014/main" id="{2E059584-51EF-4EC6-ADE2-F521AF1DC19A}"/>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5" name="Tekstvak 14">
              <a:extLst>
                <a:ext uri="{FF2B5EF4-FFF2-40B4-BE49-F238E27FC236}">
                  <a16:creationId xmlns:a16="http://schemas.microsoft.com/office/drawing/2014/main" id="{87C655A2-E2F5-40DF-B17C-94A26B4C3721}"/>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1719843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preserve="1" userDrawn="1">
  <p:cSld name="Title slide - Performance 2">
    <p:spTree>
      <p:nvGrpSpPr>
        <p:cNvPr id="1" name=""/>
        <p:cNvGrpSpPr/>
        <p:nvPr/>
      </p:nvGrpSpPr>
      <p:grpSpPr>
        <a:xfrm>
          <a:off x="0" y="0"/>
          <a:ext cx="0" cy="0"/>
          <a:chOff x="0" y="0"/>
          <a:chExt cx="0" cy="0"/>
        </a:xfrm>
      </p:grpSpPr>
      <p:pic>
        <p:nvPicPr>
          <p:cNvPr id="14" name="Tijdelijke aanduiding voor afbeelding 6" descr="Afbeelding met binnen, muur&#10;&#10;Automatisch gegenereerde beschrijving">
            <a:extLst>
              <a:ext uri="{FF2B5EF4-FFF2-40B4-BE49-F238E27FC236}">
                <a16:creationId xmlns:a16="http://schemas.microsoft.com/office/drawing/2014/main" id="{3F0055B5-4F8F-4010-8BC1-28C25208941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US" sz="800" kern="1200">
                <a:solidFill>
                  <a:schemeClr val="tx1">
                    <a:tint val="75000"/>
                  </a:schemeClr>
                </a:solidFill>
                <a:latin typeface="+mn-lt"/>
                <a:ea typeface="+mn-ea"/>
                <a:cs typeface="+mn-cs"/>
              </a:rPr>
              <a:t>© 2019 FrieslandCampina Ingredients</a:t>
            </a:r>
          </a:p>
        </p:txBody>
      </p:sp>
      <p:sp>
        <p:nvSpPr>
          <p:cNvPr id="18" name="Tijdelijke aanduiding voor tekst 17">
            <a:extLst>
              <a:ext uri="{FF2B5EF4-FFF2-40B4-BE49-F238E27FC236}">
                <a16:creationId xmlns:a16="http://schemas.microsoft.com/office/drawing/2014/main" id="{134848E4-6B17-49A0-B7F6-34867199C050}"/>
              </a:ext>
            </a:extLst>
          </p:cNvPr>
          <p:cNvSpPr>
            <a:spLocks noGrp="1"/>
          </p:cNvSpPr>
          <p:nvPr>
            <p:ph type="body" sz="quarter" idx="18" hasCustomPrompt="1"/>
          </p:nvPr>
        </p:nvSpPr>
        <p:spPr>
          <a:xfrm>
            <a:off x="336552" y="0"/>
            <a:ext cx="5327648" cy="5596669"/>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1080000" anchor="b" anchorCtr="0">
            <a:noAutofit/>
          </a:bodyPr>
          <a:lstStyle>
            <a:lvl1pPr marL="0" indent="0">
              <a:buNone/>
              <a:defRPr sz="3200">
                <a:solidFill>
                  <a:schemeClr val="accent1"/>
                </a:solidFill>
              </a:defRPr>
            </a:lvl1pPr>
          </a:lstStyle>
          <a:p>
            <a:pPr lvl="0"/>
            <a:r>
              <a:rPr lang="nl-NL"/>
              <a:t>Title (max 2 lines)</a:t>
            </a:r>
          </a:p>
        </p:txBody>
      </p:sp>
      <p:sp>
        <p:nvSpPr>
          <p:cNvPr id="3" name="Subtitle 2"/>
          <p:cNvSpPr>
            <a:spLocks noGrp="1"/>
          </p:cNvSpPr>
          <p:nvPr>
            <p:ph type="subTitle" idx="1" hasCustomPrompt="1"/>
          </p:nvPr>
        </p:nvSpPr>
        <p:spPr>
          <a:xfrm>
            <a:off x="1007533" y="4991102"/>
            <a:ext cx="4077992"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Subtitle</a:t>
            </a:r>
          </a:p>
        </p:txBody>
      </p:sp>
      <p:sp>
        <p:nvSpPr>
          <p:cNvPr id="11" name="Tijdelijke aanduiding voor tekst 21">
            <a:extLst>
              <a:ext uri="{FF2B5EF4-FFF2-40B4-BE49-F238E27FC236}">
                <a16:creationId xmlns:a16="http://schemas.microsoft.com/office/drawing/2014/main" id="{864B06FA-CA70-4595-8439-FEB797046608}"/>
              </a:ext>
            </a:extLst>
          </p:cNvPr>
          <p:cNvSpPr>
            <a:spLocks noGrp="1"/>
          </p:cNvSpPr>
          <p:nvPr>
            <p:ph type="body" sz="quarter" idx="19" hasCustomPrompt="1"/>
          </p:nvPr>
        </p:nvSpPr>
        <p:spPr>
          <a:xfrm>
            <a:off x="662400" y="374400"/>
            <a:ext cx="1737600" cy="1046400"/>
          </a:xfrm>
          <a:blipFill>
            <a:blip r:embed="rId3"/>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nl-NL"/>
              <a:t>.</a:t>
            </a:r>
          </a:p>
        </p:txBody>
      </p:sp>
      <p:grpSp>
        <p:nvGrpSpPr>
          <p:cNvPr id="15" name="Groep 14">
            <a:extLst>
              <a:ext uri="{FF2B5EF4-FFF2-40B4-BE49-F238E27FC236}">
                <a16:creationId xmlns:a16="http://schemas.microsoft.com/office/drawing/2014/main" id="{5719CCBA-0A8C-4DA3-A2BF-6F4EFD7ECA57}"/>
              </a:ext>
            </a:extLst>
          </p:cNvPr>
          <p:cNvGrpSpPr/>
          <p:nvPr userDrawn="1"/>
        </p:nvGrpSpPr>
        <p:grpSpPr>
          <a:xfrm>
            <a:off x="12262862" y="696656"/>
            <a:ext cx="1130143" cy="757167"/>
            <a:chOff x="9197145" y="1199569"/>
            <a:chExt cx="847607" cy="567875"/>
          </a:xfrm>
        </p:grpSpPr>
        <p:sp>
          <p:nvSpPr>
            <p:cNvPr id="16" name="Freeform 20">
              <a:extLst>
                <a:ext uri="{FF2B5EF4-FFF2-40B4-BE49-F238E27FC236}">
                  <a16:creationId xmlns:a16="http://schemas.microsoft.com/office/drawing/2014/main" id="{E613E7A1-9EE6-403B-A778-AAEC3C3F1F2D}"/>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C3750E03-2E3B-4B06-AEBC-30BD5F6674C9}"/>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US" sz="933" b="0"/>
                <a:t>Delete the stamps</a:t>
              </a:r>
              <a:br>
                <a:rPr lang="en-US" sz="933" b="0"/>
              </a:br>
              <a:r>
                <a:rPr lang="en-US" sz="933" b="0"/>
                <a:t>you don’t use and align the correct one on top</a:t>
              </a:r>
            </a:p>
          </p:txBody>
        </p:sp>
      </p:grpSp>
    </p:spTree>
    <p:extLst>
      <p:ext uri="{BB962C8B-B14F-4D97-AF65-F5344CB8AC3E}">
        <p14:creationId xmlns:p14="http://schemas.microsoft.com/office/powerpoint/2010/main" val="2053959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preserve="1" userDrawn="1">
  <p:cSld name="Title slide - Cell">
    <p:spTree>
      <p:nvGrpSpPr>
        <p:cNvPr id="1" name=""/>
        <p:cNvGrpSpPr/>
        <p:nvPr/>
      </p:nvGrpSpPr>
      <p:grpSpPr>
        <a:xfrm>
          <a:off x="0" y="0"/>
          <a:ext cx="0" cy="0"/>
          <a:chOff x="0" y="0"/>
          <a:chExt cx="0" cy="0"/>
        </a:xfrm>
      </p:grpSpPr>
      <p:pic>
        <p:nvPicPr>
          <p:cNvPr id="12" name="Tijdelijke aanduiding voor afbeelding 6" descr="Afbeelding met muur, binnen, kast, persoon&#10;&#10;Automatisch gegenereerde beschrijving">
            <a:extLst>
              <a:ext uri="{FF2B5EF4-FFF2-40B4-BE49-F238E27FC236}">
                <a16:creationId xmlns:a16="http://schemas.microsoft.com/office/drawing/2014/main" id="{013A8E42-82FC-4EBB-A3D0-38C2FB54F43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US" sz="800" kern="1200">
                <a:solidFill>
                  <a:schemeClr val="tx1">
                    <a:tint val="75000"/>
                  </a:schemeClr>
                </a:solidFill>
                <a:latin typeface="+mn-lt"/>
                <a:ea typeface="+mn-ea"/>
                <a:cs typeface="+mn-cs"/>
              </a:rPr>
              <a:t>© 2019 FrieslandCampina Ingredients</a:t>
            </a:r>
          </a:p>
        </p:txBody>
      </p:sp>
      <p:sp>
        <p:nvSpPr>
          <p:cNvPr id="18" name="Tijdelijke aanduiding voor tekst 17">
            <a:extLst>
              <a:ext uri="{FF2B5EF4-FFF2-40B4-BE49-F238E27FC236}">
                <a16:creationId xmlns:a16="http://schemas.microsoft.com/office/drawing/2014/main" id="{134848E4-6B17-49A0-B7F6-34867199C050}"/>
              </a:ext>
            </a:extLst>
          </p:cNvPr>
          <p:cNvSpPr>
            <a:spLocks noGrp="1"/>
          </p:cNvSpPr>
          <p:nvPr>
            <p:ph type="body" sz="quarter" idx="18" hasCustomPrompt="1"/>
          </p:nvPr>
        </p:nvSpPr>
        <p:spPr>
          <a:xfrm>
            <a:off x="336552" y="0"/>
            <a:ext cx="5327648" cy="5596669"/>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1080000" anchor="b" anchorCtr="0">
            <a:noAutofit/>
          </a:bodyPr>
          <a:lstStyle>
            <a:lvl1pPr marL="0" indent="0">
              <a:buNone/>
              <a:defRPr sz="3200">
                <a:solidFill>
                  <a:schemeClr val="accent1"/>
                </a:solidFill>
              </a:defRPr>
            </a:lvl1pPr>
          </a:lstStyle>
          <a:p>
            <a:pPr lvl="0"/>
            <a:r>
              <a:rPr lang="nl-NL"/>
              <a:t>Title (max 2 lines)</a:t>
            </a:r>
          </a:p>
        </p:txBody>
      </p:sp>
      <p:sp>
        <p:nvSpPr>
          <p:cNvPr id="3" name="Subtitle 2"/>
          <p:cNvSpPr>
            <a:spLocks noGrp="1"/>
          </p:cNvSpPr>
          <p:nvPr>
            <p:ph type="subTitle" idx="1" hasCustomPrompt="1"/>
          </p:nvPr>
        </p:nvSpPr>
        <p:spPr>
          <a:xfrm>
            <a:off x="1007533" y="4991102"/>
            <a:ext cx="4077992"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Subtitle</a:t>
            </a:r>
          </a:p>
        </p:txBody>
      </p:sp>
      <p:sp>
        <p:nvSpPr>
          <p:cNvPr id="11" name="Tijdelijke aanduiding voor tekst 21">
            <a:extLst>
              <a:ext uri="{FF2B5EF4-FFF2-40B4-BE49-F238E27FC236}">
                <a16:creationId xmlns:a16="http://schemas.microsoft.com/office/drawing/2014/main" id="{864B06FA-CA70-4595-8439-FEB797046608}"/>
              </a:ext>
            </a:extLst>
          </p:cNvPr>
          <p:cNvSpPr>
            <a:spLocks noGrp="1"/>
          </p:cNvSpPr>
          <p:nvPr>
            <p:ph type="body" sz="quarter" idx="19" hasCustomPrompt="1"/>
          </p:nvPr>
        </p:nvSpPr>
        <p:spPr>
          <a:xfrm>
            <a:off x="662400" y="374400"/>
            <a:ext cx="1737600" cy="1046400"/>
          </a:xfrm>
          <a:blipFill>
            <a:blip r:embed="rId3"/>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nl-NL"/>
              <a:t>.</a:t>
            </a:r>
          </a:p>
        </p:txBody>
      </p:sp>
      <p:grpSp>
        <p:nvGrpSpPr>
          <p:cNvPr id="15" name="Groep 14">
            <a:extLst>
              <a:ext uri="{FF2B5EF4-FFF2-40B4-BE49-F238E27FC236}">
                <a16:creationId xmlns:a16="http://schemas.microsoft.com/office/drawing/2014/main" id="{ED4C5031-7AC8-4BE5-BE89-140AA1F475CE}"/>
              </a:ext>
            </a:extLst>
          </p:cNvPr>
          <p:cNvGrpSpPr/>
          <p:nvPr userDrawn="1"/>
        </p:nvGrpSpPr>
        <p:grpSpPr>
          <a:xfrm>
            <a:off x="12262862" y="696656"/>
            <a:ext cx="1130143" cy="757167"/>
            <a:chOff x="9197145" y="1199569"/>
            <a:chExt cx="847607" cy="567875"/>
          </a:xfrm>
        </p:grpSpPr>
        <p:sp>
          <p:nvSpPr>
            <p:cNvPr id="16" name="Freeform 20">
              <a:extLst>
                <a:ext uri="{FF2B5EF4-FFF2-40B4-BE49-F238E27FC236}">
                  <a16:creationId xmlns:a16="http://schemas.microsoft.com/office/drawing/2014/main" id="{F19F2DF6-D9C0-48E9-BED6-6107F241BAC5}"/>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8A6F57C1-1B96-437A-88E0-A356DD482312}"/>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US" sz="933" b="0"/>
                <a:t>Delete the stamps</a:t>
              </a:r>
              <a:br>
                <a:rPr lang="en-US" sz="933" b="0"/>
              </a:br>
              <a:r>
                <a:rPr lang="en-US" sz="933" b="0"/>
                <a:t>you don’t use and align the correct one on top</a:t>
              </a:r>
            </a:p>
          </p:txBody>
        </p:sp>
      </p:grpSp>
    </p:spTree>
    <p:extLst>
      <p:ext uri="{BB962C8B-B14F-4D97-AF65-F5344CB8AC3E}">
        <p14:creationId xmlns:p14="http://schemas.microsoft.com/office/powerpoint/2010/main" val="1646460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userDrawn="1">
  <p:cSld name="Title slide -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007533" y="2620896"/>
            <a:ext cx="3168651" cy="2460245"/>
          </a:xfrm>
        </p:spPr>
        <p:txBody>
          <a:bodyPr wrap="square" anchor="b"/>
          <a:lstStyle>
            <a:lvl1pPr algn="l">
              <a:defRPr sz="3200"/>
            </a:lvl1pPr>
          </a:lstStyle>
          <a:p>
            <a:r>
              <a:rPr lang="en-US"/>
              <a:t>Click to edit Master title style</a:t>
            </a:r>
          </a:p>
        </p:txBody>
      </p:sp>
      <p:sp>
        <p:nvSpPr>
          <p:cNvPr id="3" name="Subtitle 2"/>
          <p:cNvSpPr>
            <a:spLocks noGrp="1"/>
          </p:cNvSpPr>
          <p:nvPr>
            <p:ph type="subTitle" idx="1" hasCustomPrompt="1"/>
          </p:nvPr>
        </p:nvSpPr>
        <p:spPr>
          <a:xfrm>
            <a:off x="1007535" y="5240497"/>
            <a:ext cx="3168676" cy="644296"/>
          </a:xfrm>
        </p:spPr>
        <p:txBody>
          <a:bodyPr wrap="square">
            <a:noAutofit/>
          </a:bodyPr>
          <a:lstStyle>
            <a:lvl1pPr marL="0" indent="0" algn="l">
              <a:buNone/>
              <a:defRPr sz="1867"/>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7535" y="6536949"/>
            <a:ext cx="1982915" cy="123111"/>
          </a:xfrm>
          <a:prstGeom prst="rect">
            <a:avLst/>
          </a:prstGeom>
          <a:noFill/>
        </p:spPr>
        <p:txBody>
          <a:bodyPr wrap="none" lIns="0" tIns="0" rIns="0" bIns="0" rtlCol="0">
            <a:spAutoFit/>
          </a:bodyPr>
          <a:lstStyle/>
          <a:p>
            <a:r>
              <a:rPr lang="en-US" sz="800" kern="1200">
                <a:solidFill>
                  <a:schemeClr val="tx1">
                    <a:tint val="75000"/>
                  </a:schemeClr>
                </a:solidFill>
                <a:latin typeface="+mn-lt"/>
                <a:ea typeface="+mn-ea"/>
                <a:cs typeface="+mn-cs"/>
              </a:rPr>
              <a:t>© 2019 FrieslandCampina Ingredients</a:t>
            </a:r>
          </a:p>
        </p:txBody>
      </p:sp>
      <p:grpSp>
        <p:nvGrpSpPr>
          <p:cNvPr id="5" name="Groep 4">
            <a:extLst>
              <a:ext uri="{FF2B5EF4-FFF2-40B4-BE49-F238E27FC236}">
                <a16:creationId xmlns:a16="http://schemas.microsoft.com/office/drawing/2014/main" id="{D5A2D930-4F05-43DA-8F93-DEAFE1096447}"/>
              </a:ext>
            </a:extLst>
          </p:cNvPr>
          <p:cNvGrpSpPr/>
          <p:nvPr userDrawn="1"/>
        </p:nvGrpSpPr>
        <p:grpSpPr>
          <a:xfrm>
            <a:off x="12262862" y="696656"/>
            <a:ext cx="1130143" cy="757167"/>
            <a:chOff x="9197145" y="1199569"/>
            <a:chExt cx="847607" cy="567875"/>
          </a:xfrm>
        </p:grpSpPr>
        <p:sp>
          <p:nvSpPr>
            <p:cNvPr id="7" name="Freeform 20">
              <a:extLst>
                <a:ext uri="{FF2B5EF4-FFF2-40B4-BE49-F238E27FC236}">
                  <a16:creationId xmlns:a16="http://schemas.microsoft.com/office/drawing/2014/main" id="{EC6D8501-6CE5-4E1D-B8D6-010E436AF741}"/>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4" name="Tekstvak 3">
              <a:extLst>
                <a:ext uri="{FF2B5EF4-FFF2-40B4-BE49-F238E27FC236}">
                  <a16:creationId xmlns:a16="http://schemas.microsoft.com/office/drawing/2014/main" id="{2565ADC4-81D8-4B71-BCBD-613626D2F4F6}"/>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US" sz="933" b="0"/>
                <a:t>Delete the stamps</a:t>
              </a:r>
              <a:br>
                <a:rPr lang="en-US" sz="933" b="0"/>
              </a:br>
              <a:r>
                <a:rPr lang="en-US" sz="933" b="0"/>
                <a:t>you don’t use and align the correct one on top</a:t>
              </a:r>
            </a:p>
          </p:txBody>
        </p:sp>
      </p:grpSp>
      <p:pic>
        <p:nvPicPr>
          <p:cNvPr id="8" name="Afbeelding 7">
            <a:extLst>
              <a:ext uri="{FF2B5EF4-FFF2-40B4-BE49-F238E27FC236}">
                <a16:creationId xmlns:a16="http://schemas.microsoft.com/office/drawing/2014/main" id="{98B43D0B-1546-47CD-A118-64DC48F23434}"/>
              </a:ext>
            </a:extLst>
          </p:cNvPr>
          <p:cNvPicPr>
            <a:picLocks noChangeAspect="1"/>
          </p:cNvPicPr>
          <p:nvPr userDrawn="1"/>
        </p:nvPicPr>
        <p:blipFill>
          <a:blip r:embed="rId2"/>
          <a:stretch>
            <a:fillRect/>
          </a:stretch>
        </p:blipFill>
        <p:spPr>
          <a:xfrm>
            <a:off x="648002" y="374400"/>
            <a:ext cx="1727615" cy="1046400"/>
          </a:xfrm>
          <a:prstGeom prst="rect">
            <a:avLst/>
          </a:prstGeom>
        </p:spPr>
      </p:pic>
      <p:sp>
        <p:nvSpPr>
          <p:cNvPr id="18" name="Tijdelijke aanduiding voor afbeelding 17">
            <a:extLst>
              <a:ext uri="{FF2B5EF4-FFF2-40B4-BE49-F238E27FC236}">
                <a16:creationId xmlns:a16="http://schemas.microsoft.com/office/drawing/2014/main" id="{6E9B25BF-2C2A-4C2A-B366-1212A42A49B8}"/>
              </a:ext>
            </a:extLst>
          </p:cNvPr>
          <p:cNvSpPr>
            <a:spLocks noGrp="1"/>
          </p:cNvSpPr>
          <p:nvPr>
            <p:ph type="pic" sz="quarter" idx="14" hasCustomPrompt="1"/>
          </p:nvPr>
        </p:nvSpPr>
        <p:spPr>
          <a:xfrm>
            <a:off x="4526471" y="2"/>
            <a:ext cx="7665532" cy="5884793"/>
          </a:xfrm>
          <a:custGeom>
            <a:avLst/>
            <a:gdLst>
              <a:gd name="connsiteX0" fmla="*/ 0 w 5749149"/>
              <a:gd name="connsiteY0" fmla="*/ 0 h 4413595"/>
              <a:gd name="connsiteX1" fmla="*/ 5749148 w 5749149"/>
              <a:gd name="connsiteY1" fmla="*/ 0 h 4413595"/>
              <a:gd name="connsiteX2" fmla="*/ 5749148 w 5749149"/>
              <a:gd name="connsiteY2" fmla="*/ 712034 h 4413595"/>
              <a:gd name="connsiteX3" fmla="*/ 5749149 w 5749149"/>
              <a:gd name="connsiteY3" fmla="*/ 712034 h 4413595"/>
              <a:gd name="connsiteX4" fmla="*/ 5749149 w 5749149"/>
              <a:gd name="connsiteY4" fmla="*/ 4413595 h 4413595"/>
              <a:gd name="connsiteX5" fmla="*/ 616959 w 5749149"/>
              <a:gd name="connsiteY5" fmla="*/ 4413595 h 4413595"/>
              <a:gd name="connsiteX6" fmla="*/ 20 w 5749149"/>
              <a:gd name="connsiteY6" fmla="*/ 3796656 h 4413595"/>
              <a:gd name="connsiteX7" fmla="*/ 20 w 5749149"/>
              <a:gd name="connsiteY7" fmla="*/ 3452501 h 4413595"/>
              <a:gd name="connsiteX8" fmla="*/ 0 w 5749149"/>
              <a:gd name="connsiteY8" fmla="*/ 3452501 h 441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49149" h="4413595">
                <a:moveTo>
                  <a:pt x="0" y="0"/>
                </a:moveTo>
                <a:lnTo>
                  <a:pt x="5749148" y="0"/>
                </a:lnTo>
                <a:lnTo>
                  <a:pt x="5749148" y="712034"/>
                </a:lnTo>
                <a:lnTo>
                  <a:pt x="5749149" y="712034"/>
                </a:lnTo>
                <a:lnTo>
                  <a:pt x="5749149" y="4413595"/>
                </a:lnTo>
                <a:lnTo>
                  <a:pt x="616959" y="4413595"/>
                </a:lnTo>
                <a:cubicBezTo>
                  <a:pt x="276233" y="4413595"/>
                  <a:pt x="20" y="4137382"/>
                  <a:pt x="20" y="3796656"/>
                </a:cubicBezTo>
                <a:lnTo>
                  <a:pt x="20" y="3452501"/>
                </a:lnTo>
                <a:lnTo>
                  <a:pt x="0" y="3452501"/>
                </a:lnTo>
                <a:close/>
              </a:path>
            </a:pathLst>
          </a:custGeom>
          <a:solidFill>
            <a:schemeClr val="tx1">
              <a:lumMod val="20000"/>
              <a:lumOff val="80000"/>
            </a:schemeClr>
          </a:solidFill>
        </p:spPr>
        <p:txBody>
          <a:bodyPr wrap="square">
            <a:noAutofit/>
          </a:bodyPr>
          <a:lstStyle>
            <a:lvl1pPr marL="0" indent="0" algn="ctr">
              <a:buNone/>
              <a:defRPr>
                <a:solidFill>
                  <a:schemeClr val="accent1"/>
                </a:solidFill>
              </a:defRPr>
            </a:lvl1pPr>
          </a:lstStyle>
          <a:p>
            <a:r>
              <a:rPr lang="en-US"/>
              <a:t>Image</a:t>
            </a:r>
          </a:p>
        </p:txBody>
      </p:sp>
    </p:spTree>
    <p:extLst>
      <p:ext uri="{BB962C8B-B14F-4D97-AF65-F5344CB8AC3E}">
        <p14:creationId xmlns:p14="http://schemas.microsoft.com/office/powerpoint/2010/main" val="679563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3">
          <p15:clr>
            <a:srgbClr val="5ACBF0"/>
          </p15:clr>
        </p15:guide>
        <p15:guide id="2" pos="476">
          <p15:clr>
            <a:srgbClr val="5ACBF0"/>
          </p15:clr>
        </p15:guide>
        <p15:guide id="3" orient="horz" pos="2346">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preserve="1" userDrawn="1">
  <p:cSld name="Breaker">
    <p:spTree>
      <p:nvGrpSpPr>
        <p:cNvPr id="1" name=""/>
        <p:cNvGrpSpPr/>
        <p:nvPr/>
      </p:nvGrpSpPr>
      <p:grpSpPr>
        <a:xfrm>
          <a:off x="0" y="0"/>
          <a:ext cx="0" cy="0"/>
          <a:chOff x="0" y="0"/>
          <a:chExt cx="0" cy="0"/>
        </a:xfrm>
      </p:grpSpPr>
      <p:sp>
        <p:nvSpPr>
          <p:cNvPr id="10" name="Tijdelijke aanduiding voor afbeelding 7">
            <a:extLst>
              <a:ext uri="{FF2B5EF4-FFF2-40B4-BE49-F238E27FC236}">
                <a16:creationId xmlns:a16="http://schemas.microsoft.com/office/drawing/2014/main" id="{4DAEAD04-C1FD-4924-B727-1FF08B2835E8}"/>
              </a:ext>
            </a:extLst>
          </p:cNvPr>
          <p:cNvSpPr>
            <a:spLocks noGrp="1"/>
          </p:cNvSpPr>
          <p:nvPr>
            <p:ph type="pic" sz="quarter" idx="13" hasCustomPrompt="1"/>
          </p:nvPr>
        </p:nvSpPr>
        <p:spPr>
          <a:xfrm>
            <a:off x="0" y="0"/>
            <a:ext cx="12192000" cy="6858000"/>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
        <p:nvSpPr>
          <p:cNvPr id="18" name="Tijdelijke aanduiding voor tekst 17">
            <a:extLst>
              <a:ext uri="{FF2B5EF4-FFF2-40B4-BE49-F238E27FC236}">
                <a16:creationId xmlns:a16="http://schemas.microsoft.com/office/drawing/2014/main" id="{134848E4-6B17-49A0-B7F6-34867199C050}"/>
              </a:ext>
            </a:extLst>
          </p:cNvPr>
          <p:cNvSpPr>
            <a:spLocks noGrp="1"/>
          </p:cNvSpPr>
          <p:nvPr>
            <p:ph type="body" sz="quarter" idx="18" hasCustomPrompt="1"/>
          </p:nvPr>
        </p:nvSpPr>
        <p:spPr>
          <a:xfrm>
            <a:off x="336552" y="3070800"/>
            <a:ext cx="3839632" cy="3787200"/>
          </a:xfrm>
          <a:prstGeom prst="round1Rect">
            <a:avLst/>
          </a:prstGeom>
          <a:solidFill>
            <a:srgbClr val="FFFFFF">
              <a:alpha val="85098"/>
            </a:srgbClr>
          </a:solidFill>
        </p:spPr>
        <p:txBody>
          <a:bodyPr wrap="square" lIns="288000" tIns="468000" rIns="72000" bIns="252000">
            <a:noAutofit/>
          </a:bodyPr>
          <a:lstStyle>
            <a:lvl1pPr marL="0" indent="0">
              <a:buNone/>
              <a:defRPr sz="3200">
                <a:solidFill>
                  <a:schemeClr val="accent1"/>
                </a:solidFill>
              </a:defRPr>
            </a:lvl1pPr>
          </a:lstStyle>
          <a:p>
            <a:pPr lvl="0"/>
            <a:r>
              <a:rPr lang="nl-NL"/>
              <a:t>Breaker text</a:t>
            </a:r>
          </a:p>
        </p:txBody>
      </p:sp>
    </p:spTree>
    <p:extLst>
      <p:ext uri="{BB962C8B-B14F-4D97-AF65-F5344CB8AC3E}">
        <p14:creationId xmlns:p14="http://schemas.microsoft.com/office/powerpoint/2010/main" val="3634945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userDrawn="1">
  <p:cSld name="Breaker - Sustainability 1">
    <p:spTree>
      <p:nvGrpSpPr>
        <p:cNvPr id="1" name=""/>
        <p:cNvGrpSpPr/>
        <p:nvPr/>
      </p:nvGrpSpPr>
      <p:grpSpPr>
        <a:xfrm>
          <a:off x="0" y="0"/>
          <a:ext cx="0" cy="0"/>
          <a:chOff x="0" y="0"/>
          <a:chExt cx="0" cy="0"/>
        </a:xfrm>
      </p:grpSpPr>
      <p:pic>
        <p:nvPicPr>
          <p:cNvPr id="6" name="Tijdelijke aanduiding voor afbeelding 4" descr="Afbeelding met man, muur, binnen, persoon&#10;&#10;Automatisch gegenereerde beschrijving">
            <a:extLst>
              <a:ext uri="{FF2B5EF4-FFF2-40B4-BE49-F238E27FC236}">
                <a16:creationId xmlns:a16="http://schemas.microsoft.com/office/drawing/2014/main" id="{5666F016-DEDE-4115-9CB0-6E425EC45CC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Rechthoek: met één afgeronde hoek 2">
            <a:extLst>
              <a:ext uri="{FF2B5EF4-FFF2-40B4-BE49-F238E27FC236}">
                <a16:creationId xmlns:a16="http://schemas.microsoft.com/office/drawing/2014/main" id="{0F2970B3-AB62-4F48-96FA-91A92E724688}"/>
              </a:ext>
            </a:extLst>
          </p:cNvPr>
          <p:cNvSpPr/>
          <p:nvPr userDrawn="1"/>
        </p:nvSpPr>
        <p:spPr>
          <a:xfrm>
            <a:off x="336000" y="3072000"/>
            <a:ext cx="3840000" cy="3787200"/>
          </a:xfrm>
          <a:prstGeom prst="round1Rect">
            <a:avLst>
              <a:gd name="adj" fmla="val 16667"/>
            </a:avLst>
          </a:prstGeom>
          <a:solidFill>
            <a:srgbClr val="FFFFFF">
              <a:alpha val="85098"/>
            </a:srgbClr>
          </a:solidFill>
        </p:spPr>
        <p:txBody>
          <a:bodyPr vert="horz" wrap="square" lIns="384000" tIns="624000" rIns="96000" bIns="336000" rtlCol="0">
            <a:noAutofit/>
          </a:bodyPr>
          <a:lstStyle/>
          <a:p>
            <a:pPr lvl="0" indent="0" defTabSz="914354">
              <a:lnSpc>
                <a:spcPct val="113000"/>
              </a:lnSpc>
              <a:spcBef>
                <a:spcPts val="1600"/>
              </a:spcBef>
              <a:buClr>
                <a:schemeClr val="tx1"/>
              </a:buClr>
              <a:buFont typeface="Arial" panose="020B0604020202020204" pitchFamily="34" charset="0"/>
              <a:buNone/>
            </a:pPr>
            <a:endParaRPr lang="en-GB" sz="133">
              <a:solidFill>
                <a:schemeClr val="bg1"/>
              </a:solidFill>
            </a:endParaRPr>
          </a:p>
        </p:txBody>
      </p:sp>
      <p:sp>
        <p:nvSpPr>
          <p:cNvPr id="2" name="Tekstvak 1">
            <a:extLst>
              <a:ext uri="{FF2B5EF4-FFF2-40B4-BE49-F238E27FC236}">
                <a16:creationId xmlns:a16="http://schemas.microsoft.com/office/drawing/2014/main" id="{3C147804-0D75-49CF-993B-3D757915D422}"/>
              </a:ext>
            </a:extLst>
          </p:cNvPr>
          <p:cNvSpPr txBox="1"/>
          <p:nvPr userDrawn="1"/>
        </p:nvSpPr>
        <p:spPr>
          <a:xfrm>
            <a:off x="717846" y="3691784"/>
            <a:ext cx="2777620" cy="1050352"/>
          </a:xfrm>
          <a:prstGeom prst="rect">
            <a:avLst/>
          </a:prstGeom>
          <a:noFill/>
        </p:spPr>
        <p:txBody>
          <a:bodyPr wrap="none" lIns="0" tIns="0" rIns="0" bIns="0" rtlCol="0">
            <a:spAutoFit/>
          </a:bodyPr>
          <a:lstStyle/>
          <a:p>
            <a:pPr algn="l">
              <a:lnSpc>
                <a:spcPct val="112000"/>
              </a:lnSpc>
            </a:pPr>
            <a:r>
              <a:rPr lang="en-GB" sz="3200" kern="1200">
                <a:solidFill>
                  <a:schemeClr val="accent1"/>
                </a:solidFill>
                <a:latin typeface="+mn-lt"/>
                <a:ea typeface="+mn-ea"/>
                <a:cs typeface="+mn-cs"/>
              </a:rPr>
              <a:t>Sustainability</a:t>
            </a:r>
          </a:p>
          <a:p>
            <a:pPr algn="l">
              <a:lnSpc>
                <a:spcPct val="112000"/>
              </a:lnSpc>
            </a:pPr>
            <a:endParaRPr lang="en-GB" sz="3200" kern="1200">
              <a:solidFill>
                <a:schemeClr val="accent1"/>
              </a:solidFill>
              <a:latin typeface="+mn-lt"/>
              <a:ea typeface="+mn-ea"/>
              <a:cs typeface="+mn-cs"/>
            </a:endParaRPr>
          </a:p>
        </p:txBody>
      </p:sp>
    </p:spTree>
    <p:extLst>
      <p:ext uri="{BB962C8B-B14F-4D97-AF65-F5344CB8AC3E}">
        <p14:creationId xmlns:p14="http://schemas.microsoft.com/office/powerpoint/2010/main" val="1302585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userDrawn="1">
  <p:cSld name="Breaker - Sustainability 2">
    <p:spTree>
      <p:nvGrpSpPr>
        <p:cNvPr id="1" name=""/>
        <p:cNvGrpSpPr/>
        <p:nvPr/>
      </p:nvGrpSpPr>
      <p:grpSpPr>
        <a:xfrm>
          <a:off x="0" y="0"/>
          <a:ext cx="0" cy="0"/>
          <a:chOff x="0" y="0"/>
          <a:chExt cx="0" cy="0"/>
        </a:xfrm>
      </p:grpSpPr>
      <p:pic>
        <p:nvPicPr>
          <p:cNvPr id="8" name="Tijdelijke aanduiding voor afbeelding 4" descr="Afbeelding met muur, binnen, staand, man&#10;&#10;Automatisch gegenereerde beschrijving">
            <a:extLst>
              <a:ext uri="{FF2B5EF4-FFF2-40B4-BE49-F238E27FC236}">
                <a16:creationId xmlns:a16="http://schemas.microsoft.com/office/drawing/2014/main" id="{C2F280A5-C404-4589-B38B-35E808D5E831}"/>
              </a:ext>
            </a:extLst>
          </p:cNvPr>
          <p:cNvPicPr>
            <a:picLocks noChangeAspect="1"/>
          </p:cNvPicPr>
          <p:nvPr userDrawn="1"/>
        </p:nvPicPr>
        <p:blipFill>
          <a:blip r:embed="rId2"/>
          <a:srcRect t="7968" b="7968"/>
          <a:stretch>
            <a:fillRect/>
          </a:stretch>
        </p:blipFill>
        <p:spPr>
          <a:xfrm>
            <a:off x="0" y="0"/>
            <a:ext cx="12192000" cy="6858000"/>
          </a:xfrm>
          <a:prstGeom prst="rect">
            <a:avLst/>
          </a:prstGeom>
        </p:spPr>
      </p:pic>
      <p:sp>
        <p:nvSpPr>
          <p:cNvPr id="3" name="Rechthoek: met één afgeronde hoek 2">
            <a:extLst>
              <a:ext uri="{FF2B5EF4-FFF2-40B4-BE49-F238E27FC236}">
                <a16:creationId xmlns:a16="http://schemas.microsoft.com/office/drawing/2014/main" id="{0F2970B3-AB62-4F48-96FA-91A92E724688}"/>
              </a:ext>
            </a:extLst>
          </p:cNvPr>
          <p:cNvSpPr/>
          <p:nvPr userDrawn="1"/>
        </p:nvSpPr>
        <p:spPr>
          <a:xfrm>
            <a:off x="336000" y="3072000"/>
            <a:ext cx="3840000" cy="3787200"/>
          </a:xfrm>
          <a:prstGeom prst="round1Rect">
            <a:avLst>
              <a:gd name="adj" fmla="val 16667"/>
            </a:avLst>
          </a:prstGeom>
          <a:solidFill>
            <a:srgbClr val="FFFFFF">
              <a:alpha val="85098"/>
            </a:srgbClr>
          </a:solidFill>
        </p:spPr>
        <p:txBody>
          <a:bodyPr vert="horz" wrap="square" lIns="384000" tIns="624000" rIns="96000" bIns="336000" rtlCol="0">
            <a:noAutofit/>
          </a:bodyPr>
          <a:lstStyle/>
          <a:p>
            <a:pPr lvl="0" indent="0" defTabSz="914354">
              <a:lnSpc>
                <a:spcPct val="113000"/>
              </a:lnSpc>
              <a:spcBef>
                <a:spcPts val="1600"/>
              </a:spcBef>
              <a:buClr>
                <a:schemeClr val="tx1"/>
              </a:buClr>
              <a:buFont typeface="Arial" panose="020B0604020202020204" pitchFamily="34" charset="0"/>
              <a:buNone/>
            </a:pPr>
            <a:endParaRPr lang="en-GB" sz="133">
              <a:solidFill>
                <a:schemeClr val="bg1"/>
              </a:solidFill>
            </a:endParaRPr>
          </a:p>
        </p:txBody>
      </p:sp>
      <p:sp>
        <p:nvSpPr>
          <p:cNvPr id="2" name="Tekstvak 1">
            <a:extLst>
              <a:ext uri="{FF2B5EF4-FFF2-40B4-BE49-F238E27FC236}">
                <a16:creationId xmlns:a16="http://schemas.microsoft.com/office/drawing/2014/main" id="{3C147804-0D75-49CF-993B-3D757915D422}"/>
              </a:ext>
            </a:extLst>
          </p:cNvPr>
          <p:cNvSpPr txBox="1"/>
          <p:nvPr userDrawn="1"/>
        </p:nvSpPr>
        <p:spPr>
          <a:xfrm>
            <a:off x="717846" y="3691784"/>
            <a:ext cx="2777620" cy="1050352"/>
          </a:xfrm>
          <a:prstGeom prst="rect">
            <a:avLst/>
          </a:prstGeom>
          <a:noFill/>
        </p:spPr>
        <p:txBody>
          <a:bodyPr wrap="none" lIns="0" tIns="0" rIns="0" bIns="0" rtlCol="0">
            <a:spAutoFit/>
          </a:bodyPr>
          <a:lstStyle/>
          <a:p>
            <a:pPr algn="l">
              <a:lnSpc>
                <a:spcPct val="112000"/>
              </a:lnSpc>
            </a:pPr>
            <a:r>
              <a:rPr lang="en-GB" sz="3200" kern="1200">
                <a:solidFill>
                  <a:schemeClr val="accent1"/>
                </a:solidFill>
                <a:latin typeface="+mn-lt"/>
                <a:ea typeface="+mn-ea"/>
                <a:cs typeface="+mn-cs"/>
              </a:rPr>
              <a:t>Sustainability</a:t>
            </a:r>
          </a:p>
          <a:p>
            <a:pPr algn="l">
              <a:lnSpc>
                <a:spcPct val="112000"/>
              </a:lnSpc>
            </a:pPr>
            <a:endParaRPr lang="en-GB" sz="3200" kern="1200">
              <a:solidFill>
                <a:schemeClr val="accent1"/>
              </a:solidFill>
              <a:latin typeface="+mn-lt"/>
              <a:ea typeface="+mn-ea"/>
              <a:cs typeface="+mn-cs"/>
            </a:endParaRPr>
          </a:p>
        </p:txBody>
      </p:sp>
    </p:spTree>
    <p:extLst>
      <p:ext uri="{BB962C8B-B14F-4D97-AF65-F5344CB8AC3E}">
        <p14:creationId xmlns:p14="http://schemas.microsoft.com/office/powerpoint/2010/main" val="62751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userDrawn="1">
  <p:cSld name="Breaker - Sustainability 3">
    <p:spTree>
      <p:nvGrpSpPr>
        <p:cNvPr id="1" name=""/>
        <p:cNvGrpSpPr/>
        <p:nvPr/>
      </p:nvGrpSpPr>
      <p:grpSpPr>
        <a:xfrm>
          <a:off x="0" y="0"/>
          <a:ext cx="0" cy="0"/>
          <a:chOff x="0" y="0"/>
          <a:chExt cx="0" cy="0"/>
        </a:xfrm>
      </p:grpSpPr>
      <p:pic>
        <p:nvPicPr>
          <p:cNvPr id="5" name="Tijdelijke aanduiding voor afbeelding 4" descr="Afbeelding met man, staand, muur&#10;&#10;Automatisch gegenereerde beschrijving">
            <a:extLst>
              <a:ext uri="{FF2B5EF4-FFF2-40B4-BE49-F238E27FC236}">
                <a16:creationId xmlns:a16="http://schemas.microsoft.com/office/drawing/2014/main" id="{12A9C31A-46CF-4A95-87AF-98F54443AFAC}"/>
              </a:ext>
            </a:extLst>
          </p:cNvPr>
          <p:cNvPicPr>
            <a:picLocks noChangeAspect="1"/>
          </p:cNvPicPr>
          <p:nvPr userDrawn="1"/>
        </p:nvPicPr>
        <p:blipFill>
          <a:blip r:embed="rId2"/>
          <a:srcRect t="7968" b="7968"/>
          <a:stretch>
            <a:fillRect/>
          </a:stretch>
        </p:blipFill>
        <p:spPr>
          <a:xfrm>
            <a:off x="0" y="0"/>
            <a:ext cx="12192000" cy="6858000"/>
          </a:xfrm>
          <a:prstGeom prst="rect">
            <a:avLst/>
          </a:prstGeom>
        </p:spPr>
      </p:pic>
      <p:sp>
        <p:nvSpPr>
          <p:cNvPr id="3" name="Rechthoek: met één afgeronde hoek 2">
            <a:extLst>
              <a:ext uri="{FF2B5EF4-FFF2-40B4-BE49-F238E27FC236}">
                <a16:creationId xmlns:a16="http://schemas.microsoft.com/office/drawing/2014/main" id="{0F2970B3-AB62-4F48-96FA-91A92E724688}"/>
              </a:ext>
            </a:extLst>
          </p:cNvPr>
          <p:cNvSpPr/>
          <p:nvPr userDrawn="1"/>
        </p:nvSpPr>
        <p:spPr>
          <a:xfrm>
            <a:off x="336000" y="3072000"/>
            <a:ext cx="3840000" cy="3787200"/>
          </a:xfrm>
          <a:prstGeom prst="round1Rect">
            <a:avLst>
              <a:gd name="adj" fmla="val 16667"/>
            </a:avLst>
          </a:prstGeom>
          <a:solidFill>
            <a:srgbClr val="FFFFFF">
              <a:alpha val="85098"/>
            </a:srgbClr>
          </a:solidFill>
        </p:spPr>
        <p:txBody>
          <a:bodyPr vert="horz" wrap="square" lIns="384000" tIns="624000" rIns="96000" bIns="336000" rtlCol="0">
            <a:noAutofit/>
          </a:bodyPr>
          <a:lstStyle/>
          <a:p>
            <a:pPr lvl="0" indent="0" defTabSz="914354">
              <a:lnSpc>
                <a:spcPct val="113000"/>
              </a:lnSpc>
              <a:spcBef>
                <a:spcPts val="1600"/>
              </a:spcBef>
              <a:buClr>
                <a:schemeClr val="tx1"/>
              </a:buClr>
              <a:buFont typeface="Arial" panose="020B0604020202020204" pitchFamily="34" charset="0"/>
              <a:buNone/>
            </a:pPr>
            <a:endParaRPr lang="en-GB" sz="133">
              <a:solidFill>
                <a:schemeClr val="bg1"/>
              </a:solidFill>
            </a:endParaRPr>
          </a:p>
        </p:txBody>
      </p:sp>
      <p:sp>
        <p:nvSpPr>
          <p:cNvPr id="2" name="Tekstvak 1">
            <a:extLst>
              <a:ext uri="{FF2B5EF4-FFF2-40B4-BE49-F238E27FC236}">
                <a16:creationId xmlns:a16="http://schemas.microsoft.com/office/drawing/2014/main" id="{3C147804-0D75-49CF-993B-3D757915D422}"/>
              </a:ext>
            </a:extLst>
          </p:cNvPr>
          <p:cNvSpPr txBox="1"/>
          <p:nvPr userDrawn="1"/>
        </p:nvSpPr>
        <p:spPr>
          <a:xfrm>
            <a:off x="717846" y="3691784"/>
            <a:ext cx="2777620" cy="1050352"/>
          </a:xfrm>
          <a:prstGeom prst="rect">
            <a:avLst/>
          </a:prstGeom>
          <a:noFill/>
        </p:spPr>
        <p:txBody>
          <a:bodyPr wrap="none" lIns="0" tIns="0" rIns="0" bIns="0" rtlCol="0">
            <a:spAutoFit/>
          </a:bodyPr>
          <a:lstStyle/>
          <a:p>
            <a:pPr algn="l">
              <a:lnSpc>
                <a:spcPct val="112000"/>
              </a:lnSpc>
            </a:pPr>
            <a:r>
              <a:rPr lang="en-GB" sz="3200" kern="1200">
                <a:solidFill>
                  <a:schemeClr val="accent1"/>
                </a:solidFill>
                <a:latin typeface="+mn-lt"/>
                <a:ea typeface="+mn-ea"/>
                <a:cs typeface="+mn-cs"/>
              </a:rPr>
              <a:t>Sustainability</a:t>
            </a:r>
          </a:p>
          <a:p>
            <a:pPr algn="l">
              <a:lnSpc>
                <a:spcPct val="112000"/>
              </a:lnSpc>
            </a:pPr>
            <a:endParaRPr lang="en-GB" sz="3200" kern="1200">
              <a:solidFill>
                <a:schemeClr val="accent1"/>
              </a:solidFill>
              <a:latin typeface="+mn-lt"/>
              <a:ea typeface="+mn-ea"/>
              <a:cs typeface="+mn-cs"/>
            </a:endParaRPr>
          </a:p>
        </p:txBody>
      </p:sp>
    </p:spTree>
    <p:extLst>
      <p:ext uri="{BB962C8B-B14F-4D97-AF65-F5344CB8AC3E}">
        <p14:creationId xmlns:p14="http://schemas.microsoft.com/office/powerpoint/2010/main" val="1126178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preserve="1" userDrawn="1">
  <p:cSld name="Breaker - R&amp;D">
    <p:spTree>
      <p:nvGrpSpPr>
        <p:cNvPr id="1" name=""/>
        <p:cNvGrpSpPr/>
        <p:nvPr/>
      </p:nvGrpSpPr>
      <p:grpSpPr>
        <a:xfrm>
          <a:off x="0" y="0"/>
          <a:ext cx="0" cy="0"/>
          <a:chOff x="0" y="0"/>
          <a:chExt cx="0" cy="0"/>
        </a:xfrm>
      </p:grpSpPr>
      <p:pic>
        <p:nvPicPr>
          <p:cNvPr id="7" name="Tijdelijke aanduiding voor afbeelding 4" descr="Afbeelding met muur, binnen, man, kast&#10;&#10;Automatisch gegenereerde beschrijving">
            <a:extLst>
              <a:ext uri="{FF2B5EF4-FFF2-40B4-BE49-F238E27FC236}">
                <a16:creationId xmlns:a16="http://schemas.microsoft.com/office/drawing/2014/main" id="{6FE5F232-D9F7-4D5C-8553-EF43D6694C32}"/>
              </a:ext>
            </a:extLst>
          </p:cNvPr>
          <p:cNvPicPr>
            <a:picLocks noChangeAspect="1"/>
          </p:cNvPicPr>
          <p:nvPr userDrawn="1"/>
        </p:nvPicPr>
        <p:blipFill>
          <a:blip r:embed="rId2"/>
          <a:srcRect t="8299" b="8299"/>
          <a:stretch>
            <a:fillRect/>
          </a:stretch>
        </p:blipFill>
        <p:spPr>
          <a:xfrm>
            <a:off x="0" y="0"/>
            <a:ext cx="12192000" cy="6858000"/>
          </a:xfrm>
          <a:prstGeom prst="rect">
            <a:avLst/>
          </a:prstGeom>
        </p:spPr>
      </p:pic>
      <p:sp>
        <p:nvSpPr>
          <p:cNvPr id="6" name="Rechthoek: met één afgeronde hoek 5">
            <a:extLst>
              <a:ext uri="{FF2B5EF4-FFF2-40B4-BE49-F238E27FC236}">
                <a16:creationId xmlns:a16="http://schemas.microsoft.com/office/drawing/2014/main" id="{29F0F10D-1796-46A9-AFD4-E40C2912F402}"/>
              </a:ext>
            </a:extLst>
          </p:cNvPr>
          <p:cNvSpPr/>
          <p:nvPr userDrawn="1"/>
        </p:nvSpPr>
        <p:spPr>
          <a:xfrm>
            <a:off x="336000" y="3072000"/>
            <a:ext cx="3840000" cy="3787200"/>
          </a:xfrm>
          <a:prstGeom prst="round1Rect">
            <a:avLst>
              <a:gd name="adj" fmla="val 16667"/>
            </a:avLst>
          </a:prstGeom>
          <a:solidFill>
            <a:srgbClr val="FFFFFF">
              <a:alpha val="85098"/>
            </a:srgbClr>
          </a:solidFill>
        </p:spPr>
        <p:txBody>
          <a:bodyPr vert="horz" wrap="square" lIns="384000" tIns="624000" rIns="96000" bIns="336000" rtlCol="0">
            <a:noAutofit/>
          </a:bodyPr>
          <a:lstStyle/>
          <a:p>
            <a:pPr lvl="0" indent="0" defTabSz="914354">
              <a:lnSpc>
                <a:spcPct val="113000"/>
              </a:lnSpc>
              <a:spcBef>
                <a:spcPts val="1600"/>
              </a:spcBef>
              <a:buClr>
                <a:schemeClr val="tx1"/>
              </a:buClr>
              <a:buFont typeface="Arial" panose="020B0604020202020204" pitchFamily="34" charset="0"/>
              <a:buNone/>
            </a:pPr>
            <a:endParaRPr lang="en-GB" sz="133">
              <a:solidFill>
                <a:schemeClr val="bg1"/>
              </a:solidFill>
            </a:endParaRPr>
          </a:p>
        </p:txBody>
      </p:sp>
      <p:sp>
        <p:nvSpPr>
          <p:cNvPr id="2" name="Tekstvak 1">
            <a:extLst>
              <a:ext uri="{FF2B5EF4-FFF2-40B4-BE49-F238E27FC236}">
                <a16:creationId xmlns:a16="http://schemas.microsoft.com/office/drawing/2014/main" id="{3C147804-0D75-49CF-993B-3D757915D422}"/>
              </a:ext>
            </a:extLst>
          </p:cNvPr>
          <p:cNvSpPr txBox="1"/>
          <p:nvPr userDrawn="1"/>
        </p:nvSpPr>
        <p:spPr>
          <a:xfrm>
            <a:off x="717847" y="3691786"/>
            <a:ext cx="899285" cy="498791"/>
          </a:xfrm>
          <a:prstGeom prst="rect">
            <a:avLst/>
          </a:prstGeom>
          <a:noFill/>
        </p:spPr>
        <p:txBody>
          <a:bodyPr wrap="none" lIns="0" tIns="0" rIns="0" bIns="0" rtlCol="0">
            <a:spAutoFit/>
          </a:bodyPr>
          <a:lstStyle/>
          <a:p>
            <a:pPr algn="l">
              <a:lnSpc>
                <a:spcPct val="112000"/>
              </a:lnSpc>
            </a:pPr>
            <a:r>
              <a:rPr lang="en-GB" sz="3200" kern="1200">
                <a:solidFill>
                  <a:schemeClr val="accent1"/>
                </a:solidFill>
                <a:latin typeface="+mn-lt"/>
                <a:ea typeface="+mn-ea"/>
                <a:cs typeface="+mn-cs"/>
              </a:rPr>
              <a:t>R&amp;D</a:t>
            </a:r>
          </a:p>
        </p:txBody>
      </p:sp>
    </p:spTree>
    <p:extLst>
      <p:ext uri="{BB962C8B-B14F-4D97-AF65-F5344CB8AC3E}">
        <p14:creationId xmlns:p14="http://schemas.microsoft.com/office/powerpoint/2010/main" val="480942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preserve="1" userDrawn="1">
  <p:cSld name="Breaker - Collaboration">
    <p:spTree>
      <p:nvGrpSpPr>
        <p:cNvPr id="1" name=""/>
        <p:cNvGrpSpPr/>
        <p:nvPr/>
      </p:nvGrpSpPr>
      <p:grpSpPr>
        <a:xfrm>
          <a:off x="0" y="0"/>
          <a:ext cx="0" cy="0"/>
          <a:chOff x="0" y="0"/>
          <a:chExt cx="0" cy="0"/>
        </a:xfrm>
      </p:grpSpPr>
      <p:pic>
        <p:nvPicPr>
          <p:cNvPr id="7" name="Tijdelijke aanduiding voor afbeelding 4" descr="Afbeelding met muur&#10;&#10;Automatisch gegenereerde beschrijving">
            <a:extLst>
              <a:ext uri="{FF2B5EF4-FFF2-40B4-BE49-F238E27FC236}">
                <a16:creationId xmlns:a16="http://schemas.microsoft.com/office/drawing/2014/main" id="{B7C05AA1-1AB3-4A67-A102-A71347837EC4}"/>
              </a:ext>
            </a:extLst>
          </p:cNvPr>
          <p:cNvPicPr>
            <a:picLocks noChangeAspect="1"/>
          </p:cNvPicPr>
          <p:nvPr userDrawn="1"/>
        </p:nvPicPr>
        <p:blipFill>
          <a:blip r:embed="rId2"/>
          <a:srcRect t="8312" b="8312"/>
          <a:stretch>
            <a:fillRect/>
          </a:stretch>
        </p:blipFill>
        <p:spPr>
          <a:xfrm>
            <a:off x="0" y="0"/>
            <a:ext cx="12192000" cy="6858000"/>
          </a:xfrm>
          <a:prstGeom prst="rect">
            <a:avLst/>
          </a:prstGeom>
        </p:spPr>
      </p:pic>
      <p:sp>
        <p:nvSpPr>
          <p:cNvPr id="6" name="Rechthoek: met één afgeronde hoek 5">
            <a:extLst>
              <a:ext uri="{FF2B5EF4-FFF2-40B4-BE49-F238E27FC236}">
                <a16:creationId xmlns:a16="http://schemas.microsoft.com/office/drawing/2014/main" id="{D42682E2-58BE-481F-876E-36F5CAD996E9}"/>
              </a:ext>
            </a:extLst>
          </p:cNvPr>
          <p:cNvSpPr/>
          <p:nvPr userDrawn="1"/>
        </p:nvSpPr>
        <p:spPr>
          <a:xfrm>
            <a:off x="336000" y="3072000"/>
            <a:ext cx="3840000" cy="3787200"/>
          </a:xfrm>
          <a:prstGeom prst="round1Rect">
            <a:avLst>
              <a:gd name="adj" fmla="val 16667"/>
            </a:avLst>
          </a:prstGeom>
          <a:solidFill>
            <a:srgbClr val="FFFFFF">
              <a:alpha val="85098"/>
            </a:srgbClr>
          </a:solidFill>
        </p:spPr>
        <p:txBody>
          <a:bodyPr vert="horz" wrap="square" lIns="384000" tIns="624000" rIns="96000" bIns="336000" rtlCol="0">
            <a:noAutofit/>
          </a:bodyPr>
          <a:lstStyle/>
          <a:p>
            <a:pPr lvl="0" indent="0" defTabSz="914354">
              <a:lnSpc>
                <a:spcPct val="113000"/>
              </a:lnSpc>
              <a:spcBef>
                <a:spcPts val="1600"/>
              </a:spcBef>
              <a:buClr>
                <a:schemeClr val="tx1"/>
              </a:buClr>
              <a:buFont typeface="Arial" panose="020B0604020202020204" pitchFamily="34" charset="0"/>
              <a:buNone/>
            </a:pPr>
            <a:endParaRPr lang="en-GB" sz="133">
              <a:solidFill>
                <a:schemeClr val="bg1"/>
              </a:solidFill>
            </a:endParaRPr>
          </a:p>
        </p:txBody>
      </p:sp>
      <p:sp>
        <p:nvSpPr>
          <p:cNvPr id="2" name="Tekstvak 1">
            <a:extLst>
              <a:ext uri="{FF2B5EF4-FFF2-40B4-BE49-F238E27FC236}">
                <a16:creationId xmlns:a16="http://schemas.microsoft.com/office/drawing/2014/main" id="{3C147804-0D75-49CF-993B-3D757915D422}"/>
              </a:ext>
            </a:extLst>
          </p:cNvPr>
          <p:cNvSpPr txBox="1"/>
          <p:nvPr userDrawn="1"/>
        </p:nvSpPr>
        <p:spPr>
          <a:xfrm>
            <a:off x="717847" y="3691784"/>
            <a:ext cx="2708242" cy="1050352"/>
          </a:xfrm>
          <a:prstGeom prst="rect">
            <a:avLst/>
          </a:prstGeom>
          <a:noFill/>
        </p:spPr>
        <p:txBody>
          <a:bodyPr wrap="none" lIns="0" tIns="0" rIns="0" bIns="0" rtlCol="0">
            <a:spAutoFit/>
          </a:bodyPr>
          <a:lstStyle/>
          <a:p>
            <a:pPr algn="l">
              <a:lnSpc>
                <a:spcPct val="112000"/>
              </a:lnSpc>
            </a:pPr>
            <a:r>
              <a:rPr lang="en-GB" sz="3200" kern="1200">
                <a:solidFill>
                  <a:schemeClr val="accent1"/>
                </a:solidFill>
                <a:latin typeface="+mn-lt"/>
                <a:ea typeface="+mn-ea"/>
                <a:cs typeface="+mn-cs"/>
              </a:rPr>
              <a:t>Collaboration</a:t>
            </a:r>
          </a:p>
          <a:p>
            <a:pPr algn="l">
              <a:lnSpc>
                <a:spcPct val="112000"/>
              </a:lnSpc>
            </a:pPr>
            <a:endParaRPr lang="en-GB" sz="3200" kern="1200">
              <a:solidFill>
                <a:schemeClr val="accent1"/>
              </a:solidFill>
              <a:latin typeface="+mn-lt"/>
              <a:ea typeface="+mn-ea"/>
              <a:cs typeface="+mn-cs"/>
            </a:endParaRPr>
          </a:p>
        </p:txBody>
      </p:sp>
    </p:spTree>
    <p:extLst>
      <p:ext uri="{BB962C8B-B14F-4D97-AF65-F5344CB8AC3E}">
        <p14:creationId xmlns:p14="http://schemas.microsoft.com/office/powerpoint/2010/main" val="3016862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preserve="1" userDrawn="1">
  <p:cSld name="Breaker - Production">
    <p:spTree>
      <p:nvGrpSpPr>
        <p:cNvPr id="1" name=""/>
        <p:cNvGrpSpPr/>
        <p:nvPr/>
      </p:nvGrpSpPr>
      <p:grpSpPr>
        <a:xfrm>
          <a:off x="0" y="0"/>
          <a:ext cx="0" cy="0"/>
          <a:chOff x="0" y="0"/>
          <a:chExt cx="0" cy="0"/>
        </a:xfrm>
      </p:grpSpPr>
      <p:pic>
        <p:nvPicPr>
          <p:cNvPr id="5" name="Tijdelijke aanduiding voor afbeelding 4" descr="Afbeelding met binnen, tafel, venster&#10;&#10;Automatisch gegenereerde beschrijving">
            <a:extLst>
              <a:ext uri="{FF2B5EF4-FFF2-40B4-BE49-F238E27FC236}">
                <a16:creationId xmlns:a16="http://schemas.microsoft.com/office/drawing/2014/main" id="{8260F85D-E03B-4132-A56F-5586B4FC168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sp>
        <p:nvSpPr>
          <p:cNvPr id="6" name="Rechthoek: met één afgeronde hoek 5">
            <a:extLst>
              <a:ext uri="{FF2B5EF4-FFF2-40B4-BE49-F238E27FC236}">
                <a16:creationId xmlns:a16="http://schemas.microsoft.com/office/drawing/2014/main" id="{91604D84-2647-44F4-9BD8-060F04C1F78A}"/>
              </a:ext>
            </a:extLst>
          </p:cNvPr>
          <p:cNvSpPr/>
          <p:nvPr userDrawn="1"/>
        </p:nvSpPr>
        <p:spPr>
          <a:xfrm>
            <a:off x="336000" y="3072000"/>
            <a:ext cx="3840000" cy="3787200"/>
          </a:xfrm>
          <a:prstGeom prst="round1Rect">
            <a:avLst>
              <a:gd name="adj" fmla="val 16667"/>
            </a:avLst>
          </a:prstGeom>
          <a:solidFill>
            <a:srgbClr val="FFFFFF">
              <a:alpha val="85098"/>
            </a:srgbClr>
          </a:solidFill>
        </p:spPr>
        <p:txBody>
          <a:bodyPr vert="horz" wrap="square" lIns="384000" tIns="624000" rIns="96000" bIns="336000" rtlCol="0">
            <a:noAutofit/>
          </a:bodyPr>
          <a:lstStyle/>
          <a:p>
            <a:pPr lvl="0" indent="0" defTabSz="914354">
              <a:lnSpc>
                <a:spcPct val="113000"/>
              </a:lnSpc>
              <a:spcBef>
                <a:spcPts val="1600"/>
              </a:spcBef>
              <a:buClr>
                <a:schemeClr val="tx1"/>
              </a:buClr>
              <a:buFont typeface="Arial" panose="020B0604020202020204" pitchFamily="34" charset="0"/>
              <a:buNone/>
            </a:pPr>
            <a:endParaRPr lang="en-GB" sz="133">
              <a:solidFill>
                <a:schemeClr val="bg1"/>
              </a:solidFill>
            </a:endParaRPr>
          </a:p>
        </p:txBody>
      </p:sp>
      <p:sp>
        <p:nvSpPr>
          <p:cNvPr id="2" name="Tekstvak 1">
            <a:extLst>
              <a:ext uri="{FF2B5EF4-FFF2-40B4-BE49-F238E27FC236}">
                <a16:creationId xmlns:a16="http://schemas.microsoft.com/office/drawing/2014/main" id="{3C147804-0D75-49CF-993B-3D757915D422}"/>
              </a:ext>
            </a:extLst>
          </p:cNvPr>
          <p:cNvSpPr txBox="1"/>
          <p:nvPr userDrawn="1"/>
        </p:nvSpPr>
        <p:spPr>
          <a:xfrm>
            <a:off x="717847" y="3691784"/>
            <a:ext cx="2181687" cy="1050352"/>
          </a:xfrm>
          <a:prstGeom prst="rect">
            <a:avLst/>
          </a:prstGeom>
          <a:noFill/>
        </p:spPr>
        <p:txBody>
          <a:bodyPr wrap="none" lIns="0" tIns="0" rIns="0" bIns="0" rtlCol="0">
            <a:spAutoFit/>
          </a:bodyPr>
          <a:lstStyle/>
          <a:p>
            <a:pPr algn="l">
              <a:lnSpc>
                <a:spcPct val="112000"/>
              </a:lnSpc>
            </a:pPr>
            <a:r>
              <a:rPr lang="en-GB" sz="3200" kern="1200">
                <a:solidFill>
                  <a:schemeClr val="accent1"/>
                </a:solidFill>
                <a:latin typeface="+mn-lt"/>
                <a:ea typeface="+mn-ea"/>
                <a:cs typeface="+mn-cs"/>
              </a:rPr>
              <a:t>Production</a:t>
            </a:r>
          </a:p>
          <a:p>
            <a:pPr algn="l">
              <a:lnSpc>
                <a:spcPct val="112000"/>
              </a:lnSpc>
            </a:pPr>
            <a:endParaRPr lang="en-GB" sz="3200" kern="1200">
              <a:solidFill>
                <a:schemeClr val="accent1"/>
              </a:solidFill>
              <a:latin typeface="+mn-lt"/>
              <a:ea typeface="+mn-ea"/>
              <a:cs typeface="+mn-cs"/>
            </a:endParaRPr>
          </a:p>
        </p:txBody>
      </p:sp>
    </p:spTree>
    <p:extLst>
      <p:ext uri="{BB962C8B-B14F-4D97-AF65-F5344CB8AC3E}">
        <p14:creationId xmlns:p14="http://schemas.microsoft.com/office/powerpoint/2010/main" val="2508123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 Brand - 4">
    <p:spTree>
      <p:nvGrpSpPr>
        <p:cNvPr id="1" name=""/>
        <p:cNvGrpSpPr/>
        <p:nvPr/>
      </p:nvGrpSpPr>
      <p:grpSpPr>
        <a:xfrm>
          <a:off x="0" y="0"/>
          <a:ext cx="0" cy="0"/>
          <a:chOff x="0" y="0"/>
          <a:chExt cx="0" cy="0"/>
        </a:xfrm>
      </p:grpSpPr>
      <p:pic>
        <p:nvPicPr>
          <p:cNvPr id="10" name="Tijdelijke aanduiding voor afbeelding 6" descr="Afbeelding met muur, man, binnen, vloer&#10;&#10;Automatisch gegenereerde beschrijving">
            <a:extLst>
              <a:ext uri="{FF2B5EF4-FFF2-40B4-BE49-F238E27FC236}">
                <a16:creationId xmlns:a16="http://schemas.microsoft.com/office/drawing/2014/main" id="{34A0D159-6198-489D-B700-FD07D424C90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1" name="Tijdelijke aanduiding voor tekst 17">
            <a:extLst>
              <a:ext uri="{FF2B5EF4-FFF2-40B4-BE49-F238E27FC236}">
                <a16:creationId xmlns:a16="http://schemas.microsoft.com/office/drawing/2014/main" id="{2E806245-70A0-4A2A-ACD4-FAB62C0564D6}"/>
              </a:ext>
            </a:extLst>
          </p:cNvPr>
          <p:cNvSpPr>
            <a:spLocks noGrp="1"/>
          </p:cNvSpPr>
          <p:nvPr>
            <p:ph type="body" sz="quarter" idx="18" hasCustomPrompt="1"/>
          </p:nvPr>
        </p:nvSpPr>
        <p:spPr>
          <a:xfrm>
            <a:off x="336554" y="1"/>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2"/>
            <a:ext cx="3168651"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Subtitle</a:t>
            </a:r>
          </a:p>
        </p:txBody>
      </p:sp>
      <p:sp>
        <p:nvSpPr>
          <p:cNvPr id="22" name="Tijdelijke aanduiding voor tekst 21">
            <a:extLst>
              <a:ext uri="{FF2B5EF4-FFF2-40B4-BE49-F238E27FC236}">
                <a16:creationId xmlns:a16="http://schemas.microsoft.com/office/drawing/2014/main" id="{FB8EC1E8-CA61-4781-B9FD-8B2A398367C1}"/>
              </a:ext>
            </a:extLst>
          </p:cNvPr>
          <p:cNvSpPr>
            <a:spLocks noGrp="1"/>
          </p:cNvSpPr>
          <p:nvPr>
            <p:ph type="body" sz="quarter" idx="19" hasCustomPrompt="1"/>
          </p:nvPr>
        </p:nvSpPr>
        <p:spPr>
          <a:xfrm>
            <a:off x="662400" y="374400"/>
            <a:ext cx="1737600" cy="1046400"/>
          </a:xfrm>
          <a:blipFill>
            <a:blip r:embed="rId3" cstate="print">
              <a:extLst>
                <a:ext uri="{28A0092B-C50C-407E-A947-70E740481C1C}">
                  <a14:useLocalDpi xmlns:a14="http://schemas.microsoft.com/office/drawing/2010/main" val="0"/>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en-GB"/>
              <a:t>.</a:t>
            </a:r>
          </a:p>
        </p:txBody>
      </p:sp>
      <p:grpSp>
        <p:nvGrpSpPr>
          <p:cNvPr id="12" name="Groep 11">
            <a:extLst>
              <a:ext uri="{FF2B5EF4-FFF2-40B4-BE49-F238E27FC236}">
                <a16:creationId xmlns:a16="http://schemas.microsoft.com/office/drawing/2014/main" id="{2ADDB6F1-9239-410D-9E94-70C869EBB25E}"/>
              </a:ext>
            </a:extLst>
          </p:cNvPr>
          <p:cNvGrpSpPr/>
          <p:nvPr userDrawn="1"/>
        </p:nvGrpSpPr>
        <p:grpSpPr>
          <a:xfrm>
            <a:off x="12262862" y="575999"/>
            <a:ext cx="1130143" cy="757167"/>
            <a:chOff x="9197145" y="1199569"/>
            <a:chExt cx="847607" cy="567875"/>
          </a:xfrm>
        </p:grpSpPr>
        <p:sp>
          <p:nvSpPr>
            <p:cNvPr id="14" name="Freeform 20">
              <a:extLst>
                <a:ext uri="{FF2B5EF4-FFF2-40B4-BE49-F238E27FC236}">
                  <a16:creationId xmlns:a16="http://schemas.microsoft.com/office/drawing/2014/main" id="{C2A087DB-B328-455C-8DD9-BAC7DD1D56C2}"/>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5" name="Tekstvak 14">
              <a:extLst>
                <a:ext uri="{FF2B5EF4-FFF2-40B4-BE49-F238E27FC236}">
                  <a16:creationId xmlns:a16="http://schemas.microsoft.com/office/drawing/2014/main" id="{87E12922-FC28-4314-8FE5-B2227B8EF627}"/>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3254629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object, image left">
    <p:spTree>
      <p:nvGrpSpPr>
        <p:cNvPr id="1" name=""/>
        <p:cNvGrpSpPr/>
        <p:nvPr/>
      </p:nvGrpSpPr>
      <p:grpSpPr>
        <a:xfrm>
          <a:off x="0" y="0"/>
          <a:ext cx="0" cy="0"/>
          <a:chOff x="0" y="0"/>
          <a:chExt cx="0" cy="0"/>
        </a:xfrm>
      </p:grpSpPr>
      <p:sp>
        <p:nvSpPr>
          <p:cNvPr id="8" name="Tijdelijke aanduiding voor afbeelding 7">
            <a:extLst>
              <a:ext uri="{FF2B5EF4-FFF2-40B4-BE49-F238E27FC236}">
                <a16:creationId xmlns:a16="http://schemas.microsoft.com/office/drawing/2014/main" id="{F720B503-17F8-4237-9A82-0CEE6CD5AC31}"/>
              </a:ext>
            </a:extLst>
          </p:cNvPr>
          <p:cNvSpPr>
            <a:spLocks noGrp="1"/>
          </p:cNvSpPr>
          <p:nvPr>
            <p:ph type="pic" sz="quarter" idx="13" hasCustomPrompt="1"/>
          </p:nvPr>
        </p:nvSpPr>
        <p:spPr>
          <a:xfrm>
            <a:off x="-1" y="0"/>
            <a:ext cx="4176185" cy="6858000"/>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
        <p:nvSpPr>
          <p:cNvPr id="2" name="Title 1"/>
          <p:cNvSpPr>
            <a:spLocks noGrp="1"/>
          </p:cNvSpPr>
          <p:nvPr>
            <p:ph type="title" hasCustomPrompt="1"/>
          </p:nvPr>
        </p:nvSpPr>
        <p:spPr>
          <a:xfrm>
            <a:off x="4512734" y="548219"/>
            <a:ext cx="7103532" cy="1036965"/>
          </a:xfrm>
        </p:spPr>
        <p:txBody>
          <a:bodyPr/>
          <a:lstStyle/>
          <a:p>
            <a:r>
              <a:rPr lang="en-US"/>
              <a:t>Click to edit Master title style</a:t>
            </a:r>
          </a:p>
        </p:txBody>
      </p:sp>
      <p:sp>
        <p:nvSpPr>
          <p:cNvPr id="3" name="Content Placeholder 2"/>
          <p:cNvSpPr>
            <a:spLocks noGrp="1"/>
          </p:cNvSpPr>
          <p:nvPr>
            <p:ph idx="1" hasCustomPrompt="1"/>
          </p:nvPr>
        </p:nvSpPr>
        <p:spPr>
          <a:xfrm>
            <a:off x="4512735" y="1701801"/>
            <a:ext cx="7103532" cy="41761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DFE4FAB-30FB-4D6C-8D75-A958037B9550}" type="datetime1">
              <a:rPr lang="en-US" smtClean="0"/>
              <a:t>4/18/2025</a:t>
            </a:fld>
            <a:endParaRPr lang="en-US"/>
          </a:p>
        </p:txBody>
      </p:sp>
      <p:sp>
        <p:nvSpPr>
          <p:cNvPr id="5" name="Footer Placeholder 4"/>
          <p:cNvSpPr>
            <a:spLocks noGrp="1"/>
          </p:cNvSpPr>
          <p:nvPr>
            <p:ph type="ftr" sz="quarter" idx="11"/>
          </p:nvPr>
        </p:nvSpPr>
        <p:spPr>
          <a:xfrm>
            <a:off x="4792233" y="6491432"/>
            <a:ext cx="1652163" cy="102592"/>
          </a:xfrm>
        </p:spPr>
        <p:txBody>
          <a:bodyPr/>
          <a:lstStyle/>
          <a:p>
            <a:r>
              <a:rPr lang="en-US"/>
              <a:t>FrieslandCampina Ingredients | Confidential</a:t>
            </a:r>
          </a:p>
        </p:txBody>
      </p:sp>
      <p:sp>
        <p:nvSpPr>
          <p:cNvPr id="6" name="Slide Number Placeholder 5"/>
          <p:cNvSpPr>
            <a:spLocks noGrp="1"/>
          </p:cNvSpPr>
          <p:nvPr>
            <p:ph type="sldNum" sz="quarter" idx="12"/>
          </p:nvPr>
        </p:nvSpPr>
        <p:spPr>
          <a:xfrm>
            <a:off x="4523663" y="6491401"/>
            <a:ext cx="147476" cy="102657"/>
          </a:xfrm>
        </p:spPr>
        <p:txBody>
          <a:bodyPr/>
          <a:lstStyle/>
          <a:p>
            <a:fld id="{9BE0E23E-9022-4929-B297-EB2777CDBB1F}" type="slidenum">
              <a:rPr lang="en-US" smtClean="0"/>
              <a:t>‹#›</a:t>
            </a:fld>
            <a:endParaRPr lang="en-US"/>
          </a:p>
        </p:txBody>
      </p:sp>
    </p:spTree>
    <p:extLst>
      <p:ext uri="{BB962C8B-B14F-4D97-AF65-F5344CB8AC3E}">
        <p14:creationId xmlns:p14="http://schemas.microsoft.com/office/powerpoint/2010/main" val="3697741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itle, object, image right (small)">
    <p:spTree>
      <p:nvGrpSpPr>
        <p:cNvPr id="1" name=""/>
        <p:cNvGrpSpPr/>
        <p:nvPr/>
      </p:nvGrpSpPr>
      <p:grpSpPr>
        <a:xfrm>
          <a:off x="0" y="0"/>
          <a:ext cx="0" cy="0"/>
          <a:chOff x="0" y="0"/>
          <a:chExt cx="0" cy="0"/>
        </a:xfrm>
      </p:grpSpPr>
      <p:sp>
        <p:nvSpPr>
          <p:cNvPr id="8" name="Tijdelijke aanduiding voor afbeelding 7">
            <a:extLst>
              <a:ext uri="{FF2B5EF4-FFF2-40B4-BE49-F238E27FC236}">
                <a16:creationId xmlns:a16="http://schemas.microsoft.com/office/drawing/2014/main" id="{F720B503-17F8-4237-9A82-0CEE6CD5AC31}"/>
              </a:ext>
            </a:extLst>
          </p:cNvPr>
          <p:cNvSpPr>
            <a:spLocks noGrp="1"/>
          </p:cNvSpPr>
          <p:nvPr>
            <p:ph type="pic" sz="quarter" idx="13" hasCustomPrompt="1"/>
          </p:nvPr>
        </p:nvSpPr>
        <p:spPr>
          <a:xfrm>
            <a:off x="8015818" y="0"/>
            <a:ext cx="4176183" cy="6858000"/>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
        <p:nvSpPr>
          <p:cNvPr id="2" name="Title 1"/>
          <p:cNvSpPr>
            <a:spLocks noGrp="1"/>
          </p:cNvSpPr>
          <p:nvPr>
            <p:ph type="title" hasCustomPrompt="1"/>
          </p:nvPr>
        </p:nvSpPr>
        <p:spPr>
          <a:xfrm>
            <a:off x="575735" y="548219"/>
            <a:ext cx="7096356" cy="1036965"/>
          </a:xfrm>
        </p:spPr>
        <p:txBody>
          <a:bodyPr/>
          <a:lstStyle/>
          <a:p>
            <a:r>
              <a:rPr lang="en-US"/>
              <a:t>Click to edit Master title style</a:t>
            </a:r>
          </a:p>
        </p:txBody>
      </p:sp>
      <p:sp>
        <p:nvSpPr>
          <p:cNvPr id="3" name="Content Placeholder 2"/>
          <p:cNvSpPr>
            <a:spLocks noGrp="1"/>
          </p:cNvSpPr>
          <p:nvPr>
            <p:ph idx="1" hasCustomPrompt="1"/>
          </p:nvPr>
        </p:nvSpPr>
        <p:spPr>
          <a:xfrm>
            <a:off x="580292" y="1701801"/>
            <a:ext cx="7096355" cy="41761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7163686" y="6491400"/>
            <a:ext cx="512961" cy="102657"/>
          </a:xfrm>
        </p:spPr>
        <p:txBody>
          <a:bodyPr/>
          <a:lstStyle/>
          <a:p>
            <a:fld id="{C4906112-88B6-4E02-A54A-3A8FA40AEFF1}" type="datetime1">
              <a:rPr lang="en-US" smtClean="0"/>
              <a:t>4/18/2025</a:t>
            </a:fld>
            <a:endParaRPr lang="en-US"/>
          </a:p>
        </p:txBody>
      </p:sp>
      <p:sp>
        <p:nvSpPr>
          <p:cNvPr id="5" name="Footer Placeholder 4"/>
          <p:cNvSpPr>
            <a:spLocks noGrp="1"/>
          </p:cNvSpPr>
          <p:nvPr>
            <p:ph type="ftr" sz="quarter" idx="11"/>
          </p:nvPr>
        </p:nvSpPr>
        <p:spPr/>
        <p:txBody>
          <a:bodyPr/>
          <a:lstStyle/>
          <a:p>
            <a:r>
              <a:rPr lang="en-US"/>
              <a:t>FrieslandCampina Ingredients | Confidential</a:t>
            </a:r>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spTree>
    <p:extLst>
      <p:ext uri="{BB962C8B-B14F-4D97-AF65-F5344CB8AC3E}">
        <p14:creationId xmlns:p14="http://schemas.microsoft.com/office/powerpoint/2010/main" val="3330268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itle, object, image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5735" y="548219"/>
            <a:ext cx="5257804" cy="1036965"/>
          </a:xfrm>
        </p:spPr>
        <p:txBody>
          <a:bodyPr/>
          <a:lstStyle/>
          <a:p>
            <a:r>
              <a:rPr lang="en-US"/>
              <a:t>Click to edit Master title style</a:t>
            </a:r>
          </a:p>
        </p:txBody>
      </p:sp>
      <p:sp>
        <p:nvSpPr>
          <p:cNvPr id="3" name="Content Placeholder 2"/>
          <p:cNvSpPr>
            <a:spLocks noGrp="1"/>
          </p:cNvSpPr>
          <p:nvPr>
            <p:ph idx="1" hasCustomPrompt="1"/>
          </p:nvPr>
        </p:nvSpPr>
        <p:spPr>
          <a:xfrm>
            <a:off x="580294" y="1701802"/>
            <a:ext cx="5257804" cy="43666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325137" y="6491400"/>
            <a:ext cx="512961" cy="102657"/>
          </a:xfrm>
        </p:spPr>
        <p:txBody>
          <a:bodyPr/>
          <a:lstStyle/>
          <a:p>
            <a:fld id="{6ED932B6-067E-4F81-9CC2-2C2B2A4F9D59}" type="datetime1">
              <a:rPr lang="en-US" smtClean="0"/>
              <a:t>4/18/2025</a:t>
            </a:fld>
            <a:endParaRPr lang="en-US"/>
          </a:p>
        </p:txBody>
      </p:sp>
      <p:sp>
        <p:nvSpPr>
          <p:cNvPr id="5" name="Footer Placeholder 4"/>
          <p:cNvSpPr>
            <a:spLocks noGrp="1"/>
          </p:cNvSpPr>
          <p:nvPr>
            <p:ph type="ftr" sz="quarter" idx="11"/>
          </p:nvPr>
        </p:nvSpPr>
        <p:spPr/>
        <p:txBody>
          <a:bodyPr/>
          <a:lstStyle/>
          <a:p>
            <a:r>
              <a:rPr lang="en-US"/>
              <a:t>FrieslandCampina Ingredients | Confidential</a:t>
            </a:r>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sp>
        <p:nvSpPr>
          <p:cNvPr id="8" name="Tijdelijke aanduiding voor afbeelding 7">
            <a:extLst>
              <a:ext uri="{FF2B5EF4-FFF2-40B4-BE49-F238E27FC236}">
                <a16:creationId xmlns:a16="http://schemas.microsoft.com/office/drawing/2014/main" id="{F720B503-17F8-4237-9A82-0CEE6CD5AC31}"/>
              </a:ext>
            </a:extLst>
          </p:cNvPr>
          <p:cNvSpPr>
            <a:spLocks noGrp="1"/>
          </p:cNvSpPr>
          <p:nvPr>
            <p:ph type="pic" sz="quarter" idx="13" hasCustomPrompt="1"/>
          </p:nvPr>
        </p:nvSpPr>
        <p:spPr>
          <a:xfrm>
            <a:off x="6096000" y="0"/>
            <a:ext cx="6096000" cy="6858000"/>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Tree>
    <p:extLst>
      <p:ext uri="{BB962C8B-B14F-4D97-AF65-F5344CB8AC3E}">
        <p14:creationId xmlns:p14="http://schemas.microsoft.com/office/powerpoint/2010/main" val="516949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itle, object + Sustainabiliy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5735" y="548219"/>
            <a:ext cx="5257804" cy="1036965"/>
          </a:xfrm>
        </p:spPr>
        <p:txBody>
          <a:bodyPr/>
          <a:lstStyle/>
          <a:p>
            <a:r>
              <a:rPr lang="en-US"/>
              <a:t>Click to edit Master title style</a:t>
            </a:r>
          </a:p>
        </p:txBody>
      </p:sp>
      <p:sp>
        <p:nvSpPr>
          <p:cNvPr id="3" name="Content Placeholder 2"/>
          <p:cNvSpPr>
            <a:spLocks noGrp="1"/>
          </p:cNvSpPr>
          <p:nvPr>
            <p:ph idx="1" hasCustomPrompt="1"/>
          </p:nvPr>
        </p:nvSpPr>
        <p:spPr>
          <a:xfrm>
            <a:off x="580294" y="1701802"/>
            <a:ext cx="5257804" cy="43666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325137" y="6491400"/>
            <a:ext cx="512961" cy="102657"/>
          </a:xfrm>
        </p:spPr>
        <p:txBody>
          <a:bodyPr/>
          <a:lstStyle/>
          <a:p>
            <a:fld id="{0EA49D33-792C-4312-9EDE-A5CD9248FCAD}" type="datetime1">
              <a:rPr lang="en-US" smtClean="0"/>
              <a:t>4/18/2025</a:t>
            </a:fld>
            <a:endParaRPr lang="en-US"/>
          </a:p>
        </p:txBody>
      </p:sp>
      <p:sp>
        <p:nvSpPr>
          <p:cNvPr id="5" name="Footer Placeholder 4"/>
          <p:cNvSpPr>
            <a:spLocks noGrp="1"/>
          </p:cNvSpPr>
          <p:nvPr>
            <p:ph type="ftr" sz="quarter" idx="11"/>
          </p:nvPr>
        </p:nvSpPr>
        <p:spPr/>
        <p:txBody>
          <a:bodyPr/>
          <a:lstStyle/>
          <a:p>
            <a:r>
              <a:rPr lang="en-US"/>
              <a:t>FrieslandCampina Ingredients | Confidential</a:t>
            </a:r>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pic>
        <p:nvPicPr>
          <p:cNvPr id="8" name="Tijdelijke aanduiding voor afbeelding 6" descr="Afbeelding met man, muur, binnen, persoon&#10;&#10;Automatisch gegenereerde beschrijving">
            <a:extLst>
              <a:ext uri="{FF2B5EF4-FFF2-40B4-BE49-F238E27FC236}">
                <a16:creationId xmlns:a16="http://schemas.microsoft.com/office/drawing/2014/main" id="{F9AF366F-3C90-404E-84C6-29A7048B573A}"/>
              </a:ext>
            </a:extLst>
          </p:cNvPr>
          <p:cNvPicPr>
            <a:picLocks noChangeAspect="1"/>
          </p:cNvPicPr>
          <p:nvPr userDrawn="1"/>
        </p:nvPicPr>
        <p:blipFill>
          <a:blip r:embed="rId2"/>
          <a:srcRect l="20297" r="20297"/>
          <a:stretch>
            <a:fillRect/>
          </a:stretch>
        </p:blipFill>
        <p:spPr>
          <a:xfrm>
            <a:off x="6096000" y="0"/>
            <a:ext cx="6096000" cy="6858000"/>
          </a:xfrm>
          <a:prstGeom prst="rect">
            <a:avLst/>
          </a:prstGeom>
        </p:spPr>
      </p:pic>
    </p:spTree>
    <p:extLst>
      <p:ext uri="{BB962C8B-B14F-4D97-AF65-F5344CB8AC3E}">
        <p14:creationId xmlns:p14="http://schemas.microsoft.com/office/powerpoint/2010/main" val="4006302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itle, object + R&amp;D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5735" y="548219"/>
            <a:ext cx="5257804" cy="1036965"/>
          </a:xfrm>
        </p:spPr>
        <p:txBody>
          <a:bodyPr/>
          <a:lstStyle/>
          <a:p>
            <a:r>
              <a:rPr lang="en-US"/>
              <a:t>Click to edit Master title style</a:t>
            </a:r>
          </a:p>
        </p:txBody>
      </p:sp>
      <p:sp>
        <p:nvSpPr>
          <p:cNvPr id="3" name="Content Placeholder 2"/>
          <p:cNvSpPr>
            <a:spLocks noGrp="1"/>
          </p:cNvSpPr>
          <p:nvPr>
            <p:ph idx="1" hasCustomPrompt="1"/>
          </p:nvPr>
        </p:nvSpPr>
        <p:spPr>
          <a:xfrm>
            <a:off x="580294" y="1701802"/>
            <a:ext cx="5257804" cy="43666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325137" y="6491400"/>
            <a:ext cx="512961" cy="102657"/>
          </a:xfrm>
        </p:spPr>
        <p:txBody>
          <a:bodyPr/>
          <a:lstStyle/>
          <a:p>
            <a:fld id="{21C34A85-9BDE-44BF-8554-AE2F4214FC78}" type="datetime1">
              <a:rPr lang="en-US" smtClean="0"/>
              <a:t>4/18/2025</a:t>
            </a:fld>
            <a:endParaRPr lang="en-US"/>
          </a:p>
        </p:txBody>
      </p:sp>
      <p:sp>
        <p:nvSpPr>
          <p:cNvPr id="5" name="Footer Placeholder 4"/>
          <p:cNvSpPr>
            <a:spLocks noGrp="1"/>
          </p:cNvSpPr>
          <p:nvPr>
            <p:ph type="ftr" sz="quarter" idx="11"/>
          </p:nvPr>
        </p:nvSpPr>
        <p:spPr/>
        <p:txBody>
          <a:bodyPr/>
          <a:lstStyle/>
          <a:p>
            <a:r>
              <a:rPr lang="en-US"/>
              <a:t>FrieslandCampina Ingredients | Confidential</a:t>
            </a:r>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pic>
        <p:nvPicPr>
          <p:cNvPr id="8" name="Tijdelijke aanduiding voor afbeelding 6" descr="Afbeelding met muur, binnen, man, kast&#10;&#10;Automatisch gegenereerde beschrijving">
            <a:extLst>
              <a:ext uri="{FF2B5EF4-FFF2-40B4-BE49-F238E27FC236}">
                <a16:creationId xmlns:a16="http://schemas.microsoft.com/office/drawing/2014/main" id="{2A8506C1-4D2B-4D7F-A996-0795412114B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3920834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object + Collaboration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5735" y="548219"/>
            <a:ext cx="5257804" cy="1036965"/>
          </a:xfrm>
        </p:spPr>
        <p:txBody>
          <a:bodyPr/>
          <a:lstStyle/>
          <a:p>
            <a:r>
              <a:rPr lang="en-US"/>
              <a:t>Click to edit Master title style</a:t>
            </a:r>
          </a:p>
        </p:txBody>
      </p:sp>
      <p:sp>
        <p:nvSpPr>
          <p:cNvPr id="3" name="Content Placeholder 2"/>
          <p:cNvSpPr>
            <a:spLocks noGrp="1"/>
          </p:cNvSpPr>
          <p:nvPr>
            <p:ph idx="1" hasCustomPrompt="1"/>
          </p:nvPr>
        </p:nvSpPr>
        <p:spPr>
          <a:xfrm>
            <a:off x="580294" y="1701802"/>
            <a:ext cx="5257804" cy="43666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325137" y="6491400"/>
            <a:ext cx="512961" cy="102657"/>
          </a:xfrm>
        </p:spPr>
        <p:txBody>
          <a:bodyPr/>
          <a:lstStyle/>
          <a:p>
            <a:fld id="{63188D92-EE5F-45B2-8FAF-8757235CDBFB}" type="datetime1">
              <a:rPr lang="en-US" smtClean="0"/>
              <a:t>4/18/2025</a:t>
            </a:fld>
            <a:endParaRPr lang="en-US"/>
          </a:p>
        </p:txBody>
      </p:sp>
      <p:sp>
        <p:nvSpPr>
          <p:cNvPr id="5" name="Footer Placeholder 4"/>
          <p:cNvSpPr>
            <a:spLocks noGrp="1"/>
          </p:cNvSpPr>
          <p:nvPr>
            <p:ph type="ftr" sz="quarter" idx="11"/>
          </p:nvPr>
        </p:nvSpPr>
        <p:spPr/>
        <p:txBody>
          <a:bodyPr/>
          <a:lstStyle/>
          <a:p>
            <a:r>
              <a:rPr lang="en-US"/>
              <a:t>FrieslandCampina Ingredients | Confidential</a:t>
            </a:r>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pic>
        <p:nvPicPr>
          <p:cNvPr id="8" name="Tijdelijke aanduiding voor afbeelding 6" descr="Afbeelding met muur&#10;&#10;Automatisch gegenereerde beschrijving">
            <a:extLst>
              <a:ext uri="{FF2B5EF4-FFF2-40B4-BE49-F238E27FC236}">
                <a16:creationId xmlns:a16="http://schemas.microsoft.com/office/drawing/2014/main" id="{8240536E-A3AE-4149-9C7C-2F1158FAF2D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765787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object + Production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5735" y="548219"/>
            <a:ext cx="5257804" cy="1036965"/>
          </a:xfrm>
        </p:spPr>
        <p:txBody>
          <a:bodyPr/>
          <a:lstStyle/>
          <a:p>
            <a:r>
              <a:rPr lang="en-US"/>
              <a:t>Click to edit Master title style</a:t>
            </a:r>
          </a:p>
        </p:txBody>
      </p:sp>
      <p:sp>
        <p:nvSpPr>
          <p:cNvPr id="3" name="Content Placeholder 2"/>
          <p:cNvSpPr>
            <a:spLocks noGrp="1"/>
          </p:cNvSpPr>
          <p:nvPr>
            <p:ph idx="1" hasCustomPrompt="1"/>
          </p:nvPr>
        </p:nvSpPr>
        <p:spPr>
          <a:xfrm>
            <a:off x="580294" y="1701802"/>
            <a:ext cx="5257804" cy="43666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325137" y="6491400"/>
            <a:ext cx="512961" cy="102657"/>
          </a:xfrm>
        </p:spPr>
        <p:txBody>
          <a:bodyPr/>
          <a:lstStyle/>
          <a:p>
            <a:fld id="{A2D1A555-241E-4D30-9AE3-454CF54A1413}" type="datetime1">
              <a:rPr lang="en-US" smtClean="0"/>
              <a:t>4/18/2025</a:t>
            </a:fld>
            <a:endParaRPr lang="en-US"/>
          </a:p>
        </p:txBody>
      </p:sp>
      <p:sp>
        <p:nvSpPr>
          <p:cNvPr id="5" name="Footer Placeholder 4"/>
          <p:cNvSpPr>
            <a:spLocks noGrp="1"/>
          </p:cNvSpPr>
          <p:nvPr>
            <p:ph type="ftr" sz="quarter" idx="11"/>
          </p:nvPr>
        </p:nvSpPr>
        <p:spPr/>
        <p:txBody>
          <a:bodyPr/>
          <a:lstStyle/>
          <a:p>
            <a:r>
              <a:rPr lang="en-US"/>
              <a:t>FrieslandCampina Ingredients | Confidential</a:t>
            </a:r>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pic>
        <p:nvPicPr>
          <p:cNvPr id="9" name="Tijdelijke aanduiding voor afbeelding 6" descr="Afbeelding met binnen, tafel, venster&#10;&#10;Automatisch gegenereerde beschrijving">
            <a:extLst>
              <a:ext uri="{FF2B5EF4-FFF2-40B4-BE49-F238E27FC236}">
                <a16:creationId xmlns:a16="http://schemas.microsoft.com/office/drawing/2014/main" id="{8D074549-7CCC-4DC1-8C7E-D76EADE35B98}"/>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a:off x="6096000" y="0"/>
            <a:ext cx="6096000" cy="6858000"/>
          </a:xfrm>
          <a:prstGeom prst="rect">
            <a:avLst/>
          </a:prstGeom>
        </p:spPr>
      </p:pic>
    </p:spTree>
    <p:extLst>
      <p:ext uri="{BB962C8B-B14F-4D97-AF65-F5344CB8AC3E}">
        <p14:creationId xmlns:p14="http://schemas.microsoft.com/office/powerpoint/2010/main" val="3174088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and im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A7F7E275-AC3A-42B5-BC3F-30A60A51A1BE}" type="datetime1">
              <a:rPr lang="en-US" smtClean="0"/>
              <a:t>4/18/2025</a:t>
            </a:fld>
            <a:endParaRPr lang="en-US"/>
          </a:p>
        </p:txBody>
      </p:sp>
      <p:sp>
        <p:nvSpPr>
          <p:cNvPr id="5" name="Footer Placeholder 4"/>
          <p:cNvSpPr>
            <a:spLocks noGrp="1"/>
          </p:cNvSpPr>
          <p:nvPr>
            <p:ph type="ftr" sz="quarter" idx="11"/>
          </p:nvPr>
        </p:nvSpPr>
        <p:spPr/>
        <p:txBody>
          <a:bodyPr/>
          <a:lstStyle/>
          <a:p>
            <a:r>
              <a:rPr lang="en-US"/>
              <a:t>FrieslandCampina Ingredients | Confidential</a:t>
            </a:r>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sp>
        <p:nvSpPr>
          <p:cNvPr id="8" name="Tijdelijke aanduiding voor afbeelding 7">
            <a:extLst>
              <a:ext uri="{FF2B5EF4-FFF2-40B4-BE49-F238E27FC236}">
                <a16:creationId xmlns:a16="http://schemas.microsoft.com/office/drawing/2014/main" id="{F720B503-17F8-4237-9A82-0CEE6CD5AC31}"/>
              </a:ext>
            </a:extLst>
          </p:cNvPr>
          <p:cNvSpPr>
            <a:spLocks noGrp="1"/>
          </p:cNvSpPr>
          <p:nvPr>
            <p:ph type="pic" sz="quarter" idx="13" hasCustomPrompt="1"/>
          </p:nvPr>
        </p:nvSpPr>
        <p:spPr>
          <a:xfrm>
            <a:off x="580293" y="1701801"/>
            <a:ext cx="11035975" cy="4176184"/>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Tree>
    <p:extLst>
      <p:ext uri="{BB962C8B-B14F-4D97-AF65-F5344CB8AC3E}">
        <p14:creationId xmlns:p14="http://schemas.microsoft.com/office/powerpoint/2010/main" val="3344191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type="obj" preserve="1">
  <p:cSld name="Title and objec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3" name="Content Placeholder 2"/>
          <p:cNvSpPr>
            <a:spLocks noGrp="1"/>
          </p:cNvSpPr>
          <p:nvPr>
            <p:ph idx="1" hasCustomPrompt="1"/>
          </p:nvPr>
        </p:nvSpPr>
        <p:spPr>
          <a:xfrm>
            <a:off x="580293" y="1701801"/>
            <a:ext cx="11035975" cy="41761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BECAAF6-35EB-4F42-AA9F-2EB5836AC816}" type="datetime1">
              <a:rPr lang="en-US" smtClean="0"/>
              <a:t>4/18/2025</a:t>
            </a:fld>
            <a:endParaRPr lang="en-US"/>
          </a:p>
        </p:txBody>
      </p:sp>
      <p:sp>
        <p:nvSpPr>
          <p:cNvPr id="5" name="Footer Placeholder 4"/>
          <p:cNvSpPr>
            <a:spLocks noGrp="1"/>
          </p:cNvSpPr>
          <p:nvPr>
            <p:ph type="ftr" sz="quarter" idx="11"/>
          </p:nvPr>
        </p:nvSpPr>
        <p:spPr/>
        <p:txBody>
          <a:bodyPr/>
          <a:lstStyle/>
          <a:p>
            <a:r>
              <a:rPr lang="en-US"/>
              <a:t>FrieslandCampina Ingredients | Confidential</a:t>
            </a:r>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spTree>
    <p:extLst>
      <p:ext uri="{BB962C8B-B14F-4D97-AF65-F5344CB8AC3E}">
        <p14:creationId xmlns:p14="http://schemas.microsoft.com/office/powerpoint/2010/main" val="2481509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 subtitle and objec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3" name="Content Placeholder 2"/>
          <p:cNvSpPr>
            <a:spLocks noGrp="1"/>
          </p:cNvSpPr>
          <p:nvPr>
            <p:ph idx="1" hasCustomPrompt="1"/>
          </p:nvPr>
        </p:nvSpPr>
        <p:spPr>
          <a:xfrm>
            <a:off x="580293" y="2077593"/>
            <a:ext cx="11035975" cy="38003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D9588F5-02D4-4B68-9AF4-55763513FBB0}" type="datetime1">
              <a:rPr lang="en-US" smtClean="0"/>
              <a:t>4/18/2025</a:t>
            </a:fld>
            <a:endParaRPr lang="en-US"/>
          </a:p>
        </p:txBody>
      </p:sp>
      <p:sp>
        <p:nvSpPr>
          <p:cNvPr id="5" name="Footer Placeholder 4"/>
          <p:cNvSpPr>
            <a:spLocks noGrp="1"/>
          </p:cNvSpPr>
          <p:nvPr>
            <p:ph type="ftr" sz="quarter" idx="11"/>
          </p:nvPr>
        </p:nvSpPr>
        <p:spPr/>
        <p:txBody>
          <a:bodyPr/>
          <a:lstStyle/>
          <a:p>
            <a:r>
              <a:rPr lang="en-US"/>
              <a:t>FrieslandCampina Ingredients | Confidential</a:t>
            </a:r>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sp>
        <p:nvSpPr>
          <p:cNvPr id="8" name="Tijdelijke aanduiding voor tekst 7">
            <a:extLst>
              <a:ext uri="{FF2B5EF4-FFF2-40B4-BE49-F238E27FC236}">
                <a16:creationId xmlns:a16="http://schemas.microsoft.com/office/drawing/2014/main" id="{F7DBD289-E124-4653-9BF3-FE57FA1AC736}"/>
              </a:ext>
            </a:extLst>
          </p:cNvPr>
          <p:cNvSpPr>
            <a:spLocks noGrp="1"/>
          </p:cNvSpPr>
          <p:nvPr>
            <p:ph type="body" sz="quarter" idx="13" hasCustomPrompt="1"/>
          </p:nvPr>
        </p:nvSpPr>
        <p:spPr>
          <a:xfrm>
            <a:off x="580291" y="1701800"/>
            <a:ext cx="11035200" cy="375792"/>
          </a:xfrm>
        </p:spPr>
        <p:txBody>
          <a:bodyPr wrap="none"/>
          <a:lstStyle>
            <a:lvl1pPr marL="0" indent="0">
              <a:buNone/>
              <a:defRPr>
                <a:solidFill>
                  <a:schemeClr val="accent1"/>
                </a:solidFill>
              </a:defRPr>
            </a:lvl1pPr>
          </a:lstStyle>
          <a:p>
            <a:pPr lvl="0"/>
            <a:r>
              <a:rPr lang="en-US"/>
              <a:t>Subtitle</a:t>
            </a:r>
          </a:p>
        </p:txBody>
      </p:sp>
    </p:spTree>
    <p:extLst>
      <p:ext uri="{BB962C8B-B14F-4D97-AF65-F5344CB8AC3E}">
        <p14:creationId xmlns:p14="http://schemas.microsoft.com/office/powerpoint/2010/main" val="3811771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bject, image left - 1">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1E6EE77D-C38E-2716-B19D-1C29450E9556}"/>
              </a:ext>
            </a:extLst>
          </p:cNvPr>
          <p:cNvSpPr>
            <a:spLocks noGrp="1"/>
          </p:cNvSpPr>
          <p:nvPr>
            <p:ph type="pic" sz="quarter" idx="14"/>
          </p:nvPr>
        </p:nvSpPr>
        <p:spPr>
          <a:xfrm>
            <a:off x="580292" y="1701801"/>
            <a:ext cx="2889739" cy="4366684"/>
          </a:xfrm>
          <a:prstGeom prst="roundRect">
            <a:avLst>
              <a:gd name="adj" fmla="val 9038"/>
            </a:avLst>
          </a:prstGeom>
          <a:solidFill>
            <a:schemeClr val="tx1">
              <a:lumMod val="20000"/>
              <a:lumOff val="80000"/>
            </a:schemeClr>
          </a:solidFill>
        </p:spPr>
        <p:txBody>
          <a:bodyPr wrap="square" tIns="396000">
            <a:noAutofit/>
          </a:bodyPr>
          <a:lstStyle>
            <a:lvl1pPr marL="0" indent="0" algn="ctr">
              <a:buNone/>
              <a:defRPr/>
            </a:lvl1pPr>
          </a:lstStyle>
          <a:p>
            <a:r>
              <a:rPr lang="en-US"/>
              <a:t>Click icon to add picture</a:t>
            </a:r>
            <a:endParaRPr lang="en-GB"/>
          </a:p>
        </p:txBody>
      </p:sp>
      <p:sp>
        <p:nvSpPr>
          <p:cNvPr id="2" name="Title 1"/>
          <p:cNvSpPr>
            <a:spLocks noGrp="1"/>
          </p:cNvSpPr>
          <p:nvPr>
            <p:ph type="title" hasCustomPrompt="1"/>
          </p:nvPr>
        </p:nvSpPr>
        <p:spPr>
          <a:xfrm>
            <a:off x="580291" y="548218"/>
            <a:ext cx="11035975" cy="1036965"/>
          </a:xfrm>
        </p:spPr>
        <p:txBody>
          <a:bodyPr/>
          <a:lstStyle/>
          <a:p>
            <a:r>
              <a:rPr lang="en-GB"/>
              <a:t>Click to add title</a:t>
            </a:r>
          </a:p>
        </p:txBody>
      </p:sp>
      <p:sp>
        <p:nvSpPr>
          <p:cNvPr id="3" name="Content Placeholder 2"/>
          <p:cNvSpPr>
            <a:spLocks noGrp="1"/>
          </p:cNvSpPr>
          <p:nvPr>
            <p:ph idx="1" hasCustomPrompt="1"/>
          </p:nvPr>
        </p:nvSpPr>
        <p:spPr>
          <a:xfrm>
            <a:off x="3727939" y="1701801"/>
            <a:ext cx="7888327" cy="4366684"/>
          </a:xfrm>
        </p:spPr>
        <p:txBody>
          <a:bodyPr/>
          <a:lstStyle>
            <a:lvl1pPr>
              <a:defRPr/>
            </a:lvl1pPr>
          </a:lstStyle>
          <a:p>
            <a:pPr lvl="0"/>
            <a:r>
              <a:rPr lang="en-GB"/>
              <a:t>Click to add text or object</a:t>
            </a:r>
          </a:p>
          <a:p>
            <a:pPr lvl="1"/>
            <a:r>
              <a:rPr lang="en-GB"/>
              <a:t>Text level 2</a:t>
            </a:r>
          </a:p>
          <a:p>
            <a:pPr lvl="2"/>
            <a:r>
              <a:rPr lang="en-GB"/>
              <a:t>Text level 3</a:t>
            </a:r>
          </a:p>
          <a:p>
            <a:pPr lvl="3"/>
            <a:r>
              <a:rPr lang="en-GB"/>
              <a:t>Text level 4</a:t>
            </a:r>
          </a:p>
          <a:p>
            <a:pPr lvl="4"/>
            <a:r>
              <a:rPr lang="en-GB"/>
              <a:t>Text level 5</a:t>
            </a:r>
          </a:p>
        </p:txBody>
      </p:sp>
      <p:sp>
        <p:nvSpPr>
          <p:cNvPr id="4" name="Date Placeholder 3"/>
          <p:cNvSpPr>
            <a:spLocks noGrp="1"/>
          </p:cNvSpPr>
          <p:nvPr>
            <p:ph type="dt" sz="half" idx="10"/>
          </p:nvPr>
        </p:nvSpPr>
        <p:spPr/>
        <p:txBody>
          <a:bodyPr/>
          <a:lstStyle/>
          <a:p>
            <a:fld id="{8A785BAD-D9B7-45DC-A953-6739BCA62A11}" type="datetime1">
              <a:rPr lang="en-GB" smtClean="0"/>
              <a:t>18/04/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Tree>
    <p:extLst>
      <p:ext uri="{BB962C8B-B14F-4D97-AF65-F5344CB8AC3E}">
        <p14:creationId xmlns:p14="http://schemas.microsoft.com/office/powerpoint/2010/main" val="1920875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 Brand - 5">
    <p:spTree>
      <p:nvGrpSpPr>
        <p:cNvPr id="1" name=""/>
        <p:cNvGrpSpPr/>
        <p:nvPr/>
      </p:nvGrpSpPr>
      <p:grpSpPr>
        <a:xfrm>
          <a:off x="0" y="0"/>
          <a:ext cx="0" cy="0"/>
          <a:chOff x="0" y="0"/>
          <a:chExt cx="0" cy="0"/>
        </a:xfrm>
      </p:grpSpPr>
      <p:pic>
        <p:nvPicPr>
          <p:cNvPr id="11" name="Picture Placeholder 2" descr="A person sitting on the floor&#10;&#10;Description automatically generated with low confidence">
            <a:extLst>
              <a:ext uri="{FF2B5EF4-FFF2-40B4-BE49-F238E27FC236}">
                <a16:creationId xmlns:a16="http://schemas.microsoft.com/office/drawing/2014/main" id="{FC24F780-DD22-4876-842E-973833B0081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0" name="Tijdelijke aanduiding voor tekst 17">
            <a:extLst>
              <a:ext uri="{FF2B5EF4-FFF2-40B4-BE49-F238E27FC236}">
                <a16:creationId xmlns:a16="http://schemas.microsoft.com/office/drawing/2014/main" id="{F13B337B-9858-4763-ADED-229100D444B4}"/>
              </a:ext>
            </a:extLst>
          </p:cNvPr>
          <p:cNvSpPr>
            <a:spLocks noGrp="1"/>
          </p:cNvSpPr>
          <p:nvPr>
            <p:ph type="body" sz="quarter" idx="18" hasCustomPrompt="1"/>
          </p:nvPr>
        </p:nvSpPr>
        <p:spPr>
          <a:xfrm>
            <a:off x="336554" y="1"/>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2"/>
            <a:ext cx="3168651"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Subtitle</a:t>
            </a:r>
          </a:p>
        </p:txBody>
      </p:sp>
      <p:sp>
        <p:nvSpPr>
          <p:cNvPr id="22" name="Tijdelijke aanduiding voor tekst 21">
            <a:extLst>
              <a:ext uri="{FF2B5EF4-FFF2-40B4-BE49-F238E27FC236}">
                <a16:creationId xmlns:a16="http://schemas.microsoft.com/office/drawing/2014/main" id="{FB8EC1E8-CA61-4781-B9FD-8B2A398367C1}"/>
              </a:ext>
            </a:extLst>
          </p:cNvPr>
          <p:cNvSpPr>
            <a:spLocks noGrp="1"/>
          </p:cNvSpPr>
          <p:nvPr>
            <p:ph type="body" sz="quarter" idx="19" hasCustomPrompt="1"/>
          </p:nvPr>
        </p:nvSpPr>
        <p:spPr>
          <a:xfrm>
            <a:off x="662400" y="374400"/>
            <a:ext cx="1737600" cy="1046400"/>
          </a:xfrm>
          <a:blipFill>
            <a:blip r:embed="rId3" cstate="print">
              <a:extLst>
                <a:ext uri="{28A0092B-C50C-407E-A947-70E740481C1C}">
                  <a14:useLocalDpi xmlns:a14="http://schemas.microsoft.com/office/drawing/2010/main" val="0"/>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en-GB"/>
              <a:t>.</a:t>
            </a:r>
          </a:p>
        </p:txBody>
      </p:sp>
      <p:grpSp>
        <p:nvGrpSpPr>
          <p:cNvPr id="12" name="Groep 11">
            <a:extLst>
              <a:ext uri="{FF2B5EF4-FFF2-40B4-BE49-F238E27FC236}">
                <a16:creationId xmlns:a16="http://schemas.microsoft.com/office/drawing/2014/main" id="{2ADDB6F1-9239-410D-9E94-70C869EBB25E}"/>
              </a:ext>
            </a:extLst>
          </p:cNvPr>
          <p:cNvGrpSpPr/>
          <p:nvPr userDrawn="1"/>
        </p:nvGrpSpPr>
        <p:grpSpPr>
          <a:xfrm>
            <a:off x="12262862" y="575999"/>
            <a:ext cx="1130143" cy="757167"/>
            <a:chOff x="9197145" y="1199569"/>
            <a:chExt cx="847607" cy="567875"/>
          </a:xfrm>
        </p:grpSpPr>
        <p:sp>
          <p:nvSpPr>
            <p:cNvPr id="14" name="Freeform 20">
              <a:extLst>
                <a:ext uri="{FF2B5EF4-FFF2-40B4-BE49-F238E27FC236}">
                  <a16:creationId xmlns:a16="http://schemas.microsoft.com/office/drawing/2014/main" id="{C2A087DB-B328-455C-8DD9-BAC7DD1D56C2}"/>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5" name="Tekstvak 14">
              <a:extLst>
                <a:ext uri="{FF2B5EF4-FFF2-40B4-BE49-F238E27FC236}">
                  <a16:creationId xmlns:a16="http://schemas.microsoft.com/office/drawing/2014/main" id="{87E12922-FC28-4314-8FE5-B2227B8EF627}"/>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2917314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itle and 2 objec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80800" y="1703997"/>
            <a:ext cx="5400000" cy="417398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216264" y="1703997"/>
            <a:ext cx="5400000" cy="417398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BF29B9E6-27DE-48C2-B27A-1EA2797A76A0}" type="datetime1">
              <a:rPr lang="en-US" smtClean="0"/>
              <a:t>4/18/2025</a:t>
            </a:fld>
            <a:endParaRPr lang="en-US"/>
          </a:p>
        </p:txBody>
      </p:sp>
      <p:sp>
        <p:nvSpPr>
          <p:cNvPr id="6" name="Footer Placeholder 5"/>
          <p:cNvSpPr>
            <a:spLocks noGrp="1"/>
          </p:cNvSpPr>
          <p:nvPr>
            <p:ph type="ftr" sz="quarter" idx="11"/>
          </p:nvPr>
        </p:nvSpPr>
        <p:spPr/>
        <p:txBody>
          <a:bodyPr/>
          <a:lstStyle/>
          <a:p>
            <a:r>
              <a:rPr lang="en-US"/>
              <a:t>FrieslandCampina Ingredients | Confidential</a:t>
            </a:r>
          </a:p>
        </p:txBody>
      </p:sp>
      <p:sp>
        <p:nvSpPr>
          <p:cNvPr id="7" name="Slide Number Placeholder 6"/>
          <p:cNvSpPr>
            <a:spLocks noGrp="1"/>
          </p:cNvSpPr>
          <p:nvPr>
            <p:ph type="sldNum" sz="quarter" idx="12"/>
          </p:nvPr>
        </p:nvSpPr>
        <p:spPr/>
        <p:txBody>
          <a:bodyPr/>
          <a:lstStyle/>
          <a:p>
            <a:fld id="{9BE0E23E-9022-4929-B297-EB2777CDBB1F}" type="slidenum">
              <a:rPr lang="en-US" smtClean="0"/>
              <a:t>‹#›</a:t>
            </a:fld>
            <a:endParaRPr lang="en-US"/>
          </a:p>
        </p:txBody>
      </p:sp>
      <p:sp>
        <p:nvSpPr>
          <p:cNvPr id="8" name="Titel 7">
            <a:extLst>
              <a:ext uri="{FF2B5EF4-FFF2-40B4-BE49-F238E27FC236}">
                <a16:creationId xmlns:a16="http://schemas.microsoft.com/office/drawing/2014/main" id="{26BE0271-8E9F-4D14-97DF-D828AE403B0B}"/>
              </a:ext>
            </a:extLst>
          </p:cNvPr>
          <p:cNvSpPr>
            <a:spLocks noGrp="1"/>
          </p:cNvSpPr>
          <p:nvPr>
            <p:ph type="title" hasCustomPrompt="1"/>
          </p:nvPr>
        </p:nvSpPr>
        <p:spPr/>
        <p:txBody>
          <a:bodyPr/>
          <a:lstStyle/>
          <a:p>
            <a:r>
              <a:rPr lang="en-US"/>
              <a:t>Click to edit Master title style</a:t>
            </a:r>
            <a:endParaRPr lang="nl-NL"/>
          </a:p>
        </p:txBody>
      </p:sp>
    </p:spTree>
    <p:extLst>
      <p:ext uri="{BB962C8B-B14F-4D97-AF65-F5344CB8AC3E}">
        <p14:creationId xmlns:p14="http://schemas.microsoft.com/office/powerpoint/2010/main" val="2581068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subtitle, 2 objec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80800" y="2077592"/>
            <a:ext cx="5400000" cy="38003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216265" y="2077592"/>
            <a:ext cx="5400000" cy="38003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B89F3768-725C-4769-97E2-2116DC00F95B}" type="datetime1">
              <a:rPr lang="en-US" smtClean="0"/>
              <a:t>4/18/2025</a:t>
            </a:fld>
            <a:endParaRPr lang="en-US"/>
          </a:p>
        </p:txBody>
      </p:sp>
      <p:sp>
        <p:nvSpPr>
          <p:cNvPr id="6" name="Footer Placeholder 5"/>
          <p:cNvSpPr>
            <a:spLocks noGrp="1"/>
          </p:cNvSpPr>
          <p:nvPr>
            <p:ph type="ftr" sz="quarter" idx="11"/>
          </p:nvPr>
        </p:nvSpPr>
        <p:spPr/>
        <p:txBody>
          <a:bodyPr/>
          <a:lstStyle/>
          <a:p>
            <a:r>
              <a:rPr lang="en-US"/>
              <a:t>FrieslandCampina Ingredients | Confidential</a:t>
            </a:r>
          </a:p>
        </p:txBody>
      </p:sp>
      <p:sp>
        <p:nvSpPr>
          <p:cNvPr id="7" name="Slide Number Placeholder 6"/>
          <p:cNvSpPr>
            <a:spLocks noGrp="1"/>
          </p:cNvSpPr>
          <p:nvPr>
            <p:ph type="sldNum" sz="quarter" idx="12"/>
          </p:nvPr>
        </p:nvSpPr>
        <p:spPr/>
        <p:txBody>
          <a:bodyPr/>
          <a:lstStyle/>
          <a:p>
            <a:fld id="{9BE0E23E-9022-4929-B297-EB2777CDBB1F}" type="slidenum">
              <a:rPr lang="en-US" smtClean="0"/>
              <a:t>‹#›</a:t>
            </a:fld>
            <a:endParaRPr lang="en-US"/>
          </a:p>
        </p:txBody>
      </p:sp>
      <p:sp>
        <p:nvSpPr>
          <p:cNvPr id="9" name="Tijdelijke aanduiding voor tekst 7">
            <a:extLst>
              <a:ext uri="{FF2B5EF4-FFF2-40B4-BE49-F238E27FC236}">
                <a16:creationId xmlns:a16="http://schemas.microsoft.com/office/drawing/2014/main" id="{27508BEF-285C-40D0-8A0C-EE0B84C47D52}"/>
              </a:ext>
            </a:extLst>
          </p:cNvPr>
          <p:cNvSpPr>
            <a:spLocks noGrp="1"/>
          </p:cNvSpPr>
          <p:nvPr>
            <p:ph type="body" sz="quarter" idx="13" hasCustomPrompt="1"/>
          </p:nvPr>
        </p:nvSpPr>
        <p:spPr>
          <a:xfrm>
            <a:off x="580291" y="1701800"/>
            <a:ext cx="5400000" cy="375792"/>
          </a:xfrm>
        </p:spPr>
        <p:txBody>
          <a:bodyPr wrap="none"/>
          <a:lstStyle>
            <a:lvl1pPr marL="0" indent="0">
              <a:buNone/>
              <a:defRPr>
                <a:solidFill>
                  <a:schemeClr val="accent1"/>
                </a:solidFill>
              </a:defRPr>
            </a:lvl1pPr>
          </a:lstStyle>
          <a:p>
            <a:pPr lvl="0"/>
            <a:r>
              <a:rPr lang="en-US"/>
              <a:t>Subtitle</a:t>
            </a:r>
          </a:p>
        </p:txBody>
      </p:sp>
      <p:sp>
        <p:nvSpPr>
          <p:cNvPr id="10" name="Tijdelijke aanduiding voor tekst 7">
            <a:extLst>
              <a:ext uri="{FF2B5EF4-FFF2-40B4-BE49-F238E27FC236}">
                <a16:creationId xmlns:a16="http://schemas.microsoft.com/office/drawing/2014/main" id="{9913EE84-7DEC-4A2D-AD57-9B4798154DE0}"/>
              </a:ext>
            </a:extLst>
          </p:cNvPr>
          <p:cNvSpPr>
            <a:spLocks noGrp="1"/>
          </p:cNvSpPr>
          <p:nvPr>
            <p:ph type="body" sz="quarter" idx="14" hasCustomPrompt="1"/>
          </p:nvPr>
        </p:nvSpPr>
        <p:spPr>
          <a:xfrm>
            <a:off x="6216264" y="1703997"/>
            <a:ext cx="5400000" cy="375792"/>
          </a:xfrm>
        </p:spPr>
        <p:txBody>
          <a:bodyPr wrap="none"/>
          <a:lstStyle>
            <a:lvl1pPr marL="0" indent="0">
              <a:buNone/>
              <a:defRPr>
                <a:solidFill>
                  <a:schemeClr val="accent1"/>
                </a:solidFill>
              </a:defRPr>
            </a:lvl1pPr>
          </a:lstStyle>
          <a:p>
            <a:pPr lvl="0"/>
            <a:r>
              <a:rPr lang="en-US"/>
              <a:t>Subtitel</a:t>
            </a:r>
          </a:p>
        </p:txBody>
      </p:sp>
      <p:sp>
        <p:nvSpPr>
          <p:cNvPr id="8" name="Titel 7">
            <a:extLst>
              <a:ext uri="{FF2B5EF4-FFF2-40B4-BE49-F238E27FC236}">
                <a16:creationId xmlns:a16="http://schemas.microsoft.com/office/drawing/2014/main" id="{8ABE8B1D-E1F9-4E74-945C-E81D06AF0D78}"/>
              </a:ext>
            </a:extLst>
          </p:cNvPr>
          <p:cNvSpPr>
            <a:spLocks noGrp="1"/>
          </p:cNvSpPr>
          <p:nvPr>
            <p:ph type="title" hasCustomPrompt="1"/>
          </p:nvPr>
        </p:nvSpPr>
        <p:spPr/>
        <p:txBody>
          <a:bodyPr/>
          <a:lstStyle/>
          <a:p>
            <a:r>
              <a:rPr lang="en-US"/>
              <a:t>Click to edit Master title style</a:t>
            </a:r>
            <a:endParaRPr lang="nl-NL"/>
          </a:p>
        </p:txBody>
      </p:sp>
    </p:spTree>
    <p:extLst>
      <p:ext uri="{BB962C8B-B14F-4D97-AF65-F5344CB8AC3E}">
        <p14:creationId xmlns:p14="http://schemas.microsoft.com/office/powerpoint/2010/main" val="709974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text and tab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80800" y="1703997"/>
            <a:ext cx="5400000" cy="417541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2DBA662-1792-465B-BEFE-5C80AF4C6295}" type="datetime1">
              <a:rPr lang="en-US" smtClean="0"/>
              <a:t>4/18/2025</a:t>
            </a:fld>
            <a:endParaRPr lang="en-US"/>
          </a:p>
        </p:txBody>
      </p:sp>
      <p:sp>
        <p:nvSpPr>
          <p:cNvPr id="6" name="Footer Placeholder 5"/>
          <p:cNvSpPr>
            <a:spLocks noGrp="1"/>
          </p:cNvSpPr>
          <p:nvPr>
            <p:ph type="ftr" sz="quarter" idx="11"/>
          </p:nvPr>
        </p:nvSpPr>
        <p:spPr/>
        <p:txBody>
          <a:bodyPr/>
          <a:lstStyle/>
          <a:p>
            <a:r>
              <a:rPr lang="en-US"/>
              <a:t>FrieslandCampina Ingredients | Confidential</a:t>
            </a:r>
          </a:p>
        </p:txBody>
      </p:sp>
      <p:sp>
        <p:nvSpPr>
          <p:cNvPr id="7" name="Slide Number Placeholder 6"/>
          <p:cNvSpPr>
            <a:spLocks noGrp="1"/>
          </p:cNvSpPr>
          <p:nvPr>
            <p:ph type="sldNum" sz="quarter" idx="12"/>
          </p:nvPr>
        </p:nvSpPr>
        <p:spPr/>
        <p:txBody>
          <a:bodyPr/>
          <a:lstStyle/>
          <a:p>
            <a:fld id="{9BE0E23E-9022-4929-B297-EB2777CDBB1F}" type="slidenum">
              <a:rPr lang="en-US" smtClean="0"/>
              <a:t>‹#›</a:t>
            </a:fld>
            <a:endParaRPr lang="en-US"/>
          </a:p>
        </p:txBody>
      </p:sp>
      <p:sp>
        <p:nvSpPr>
          <p:cNvPr id="10" name="Tijdelijke aanduiding voor tabel 8">
            <a:extLst>
              <a:ext uri="{FF2B5EF4-FFF2-40B4-BE49-F238E27FC236}">
                <a16:creationId xmlns:a16="http://schemas.microsoft.com/office/drawing/2014/main" id="{D2E9F6DD-7E2C-4192-BBC9-125146AEF9DA}"/>
              </a:ext>
            </a:extLst>
          </p:cNvPr>
          <p:cNvSpPr>
            <a:spLocks noGrp="1"/>
          </p:cNvSpPr>
          <p:nvPr>
            <p:ph type="tbl" sz="quarter" idx="13"/>
          </p:nvPr>
        </p:nvSpPr>
        <p:spPr>
          <a:xfrm>
            <a:off x="6216652" y="1701800"/>
            <a:ext cx="5394549" cy="4176184"/>
          </a:xfrm>
        </p:spPr>
        <p:txBody>
          <a:bodyPr/>
          <a:lstStyle/>
          <a:p>
            <a:r>
              <a:rPr lang="en-US"/>
              <a:t>Click icon to add table</a:t>
            </a:r>
            <a:endParaRPr lang="nl-NL"/>
          </a:p>
        </p:txBody>
      </p:sp>
      <p:sp>
        <p:nvSpPr>
          <p:cNvPr id="4" name="Titel 3">
            <a:extLst>
              <a:ext uri="{FF2B5EF4-FFF2-40B4-BE49-F238E27FC236}">
                <a16:creationId xmlns:a16="http://schemas.microsoft.com/office/drawing/2014/main" id="{5DE9D13A-D41B-4FAB-8651-676FFDB4FE5F}"/>
              </a:ext>
            </a:extLst>
          </p:cNvPr>
          <p:cNvSpPr>
            <a:spLocks noGrp="1"/>
          </p:cNvSpPr>
          <p:nvPr>
            <p:ph type="title" hasCustomPrompt="1"/>
          </p:nvPr>
        </p:nvSpPr>
        <p:spPr/>
        <p:txBody>
          <a:bodyPr/>
          <a:lstStyle/>
          <a:p>
            <a:r>
              <a:rPr lang="en-US"/>
              <a:t>Click to edit Master title style</a:t>
            </a:r>
            <a:endParaRPr lang="nl-NL"/>
          </a:p>
        </p:txBody>
      </p:sp>
    </p:spTree>
    <p:extLst>
      <p:ext uri="{BB962C8B-B14F-4D97-AF65-F5344CB8AC3E}">
        <p14:creationId xmlns:p14="http://schemas.microsoft.com/office/powerpoint/2010/main" val="3927032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EAE0B75-0773-4EC5-863F-CBB2EE10E374}" type="datetime1">
              <a:rPr lang="en-US" smtClean="0"/>
              <a:t>4/18/2025</a:t>
            </a:fld>
            <a:endParaRPr lang="en-US"/>
          </a:p>
        </p:txBody>
      </p:sp>
      <p:sp>
        <p:nvSpPr>
          <p:cNvPr id="5" name="Footer Placeholder 4"/>
          <p:cNvSpPr>
            <a:spLocks noGrp="1"/>
          </p:cNvSpPr>
          <p:nvPr>
            <p:ph type="ftr" sz="quarter" idx="11"/>
          </p:nvPr>
        </p:nvSpPr>
        <p:spPr/>
        <p:txBody>
          <a:bodyPr/>
          <a:lstStyle/>
          <a:p>
            <a:r>
              <a:rPr lang="en-US"/>
              <a:t>FrieslandCampina Ingredients | Confidential</a:t>
            </a:r>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sp>
        <p:nvSpPr>
          <p:cNvPr id="9" name="Tijdelijke aanduiding voor tabel 7">
            <a:extLst>
              <a:ext uri="{FF2B5EF4-FFF2-40B4-BE49-F238E27FC236}">
                <a16:creationId xmlns:a16="http://schemas.microsoft.com/office/drawing/2014/main" id="{DEED083B-6C6C-41E9-9AEE-A277FCC01CE9}"/>
              </a:ext>
            </a:extLst>
          </p:cNvPr>
          <p:cNvSpPr>
            <a:spLocks noGrp="1"/>
          </p:cNvSpPr>
          <p:nvPr>
            <p:ph type="tbl" sz="quarter" idx="13"/>
          </p:nvPr>
        </p:nvSpPr>
        <p:spPr>
          <a:xfrm>
            <a:off x="575735" y="1701801"/>
            <a:ext cx="11040533" cy="4176184"/>
          </a:xfrm>
        </p:spPr>
        <p:txBody>
          <a:bodyPr/>
          <a:lstStyle/>
          <a:p>
            <a:r>
              <a:rPr lang="en-US"/>
              <a:t>Click icon to add table</a:t>
            </a:r>
            <a:endParaRPr lang="nl-NL"/>
          </a:p>
        </p:txBody>
      </p:sp>
    </p:spTree>
    <p:extLst>
      <p:ext uri="{BB962C8B-B14F-4D97-AF65-F5344CB8AC3E}">
        <p14:creationId xmlns:p14="http://schemas.microsoft.com/office/powerpoint/2010/main" val="3630443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3 text boxes and text">
    <p:spTree>
      <p:nvGrpSpPr>
        <p:cNvPr id="1" name=""/>
        <p:cNvGrpSpPr/>
        <p:nvPr/>
      </p:nvGrpSpPr>
      <p:grpSpPr>
        <a:xfrm>
          <a:off x="0" y="0"/>
          <a:ext cx="0" cy="0"/>
          <a:chOff x="0" y="0"/>
          <a:chExt cx="0" cy="0"/>
        </a:xfrm>
      </p:grpSpPr>
      <p:sp>
        <p:nvSpPr>
          <p:cNvPr id="10" name="Tijdelijke aanduiding voor tekst 9">
            <a:extLst>
              <a:ext uri="{FF2B5EF4-FFF2-40B4-BE49-F238E27FC236}">
                <a16:creationId xmlns:a16="http://schemas.microsoft.com/office/drawing/2014/main" id="{6E44AC7A-399D-4447-913F-693F8257E520}"/>
              </a:ext>
            </a:extLst>
          </p:cNvPr>
          <p:cNvSpPr>
            <a:spLocks noGrp="1"/>
          </p:cNvSpPr>
          <p:nvPr>
            <p:ph type="body" sz="quarter" idx="19"/>
          </p:nvPr>
        </p:nvSpPr>
        <p:spPr>
          <a:xfrm>
            <a:off x="575735" y="2495374"/>
            <a:ext cx="3441700" cy="3382612"/>
          </a:xfrm>
          <a:ln>
            <a:solidFill>
              <a:schemeClr val="accent1"/>
            </a:solidFill>
          </a:ln>
        </p:spPr>
        <p:txBody>
          <a:bodyPr lIns="72000" tIns="288000" rIns="72000"/>
          <a:lstStyle>
            <a:lvl1pPr>
              <a:defRPr sz="1600"/>
            </a:lvl1pPr>
            <a:lvl2pPr>
              <a:defRPr sz="1600"/>
            </a:lvl2pPr>
            <a:lvl3pPr>
              <a:defRPr sz="1600"/>
            </a:lvl3pPr>
            <a:lvl4pPr>
              <a:defRPr sz="1600"/>
            </a:lvl4pPr>
            <a:lvl5pPr>
              <a:defRPr sz="16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17" name="Tijdelijke aanduiding voor tekst 9">
            <a:extLst>
              <a:ext uri="{FF2B5EF4-FFF2-40B4-BE49-F238E27FC236}">
                <a16:creationId xmlns:a16="http://schemas.microsoft.com/office/drawing/2014/main" id="{FA5263FC-52AF-4B41-B9E2-8646A7426720}"/>
              </a:ext>
            </a:extLst>
          </p:cNvPr>
          <p:cNvSpPr>
            <a:spLocks noGrp="1"/>
          </p:cNvSpPr>
          <p:nvPr>
            <p:ph type="body" sz="quarter" idx="20"/>
          </p:nvPr>
        </p:nvSpPr>
        <p:spPr>
          <a:xfrm>
            <a:off x="4375103" y="2495374"/>
            <a:ext cx="3441700" cy="3382612"/>
          </a:xfrm>
          <a:ln>
            <a:solidFill>
              <a:schemeClr val="accent1"/>
            </a:solidFill>
          </a:ln>
        </p:spPr>
        <p:txBody>
          <a:bodyPr lIns="72000" tIns="288000" rIns="72000"/>
          <a:lstStyle>
            <a:lvl1pPr>
              <a:defRPr sz="1600"/>
            </a:lvl1pPr>
            <a:lvl2pPr>
              <a:defRPr sz="1600"/>
            </a:lvl2pPr>
            <a:lvl3pPr>
              <a:defRPr sz="1600"/>
            </a:lvl3pPr>
            <a:lvl4pPr>
              <a:defRPr sz="1600"/>
            </a:lvl4pPr>
            <a:lvl5pPr>
              <a:defRPr sz="16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18" name="Tijdelijke aanduiding voor tekst 9">
            <a:extLst>
              <a:ext uri="{FF2B5EF4-FFF2-40B4-BE49-F238E27FC236}">
                <a16:creationId xmlns:a16="http://schemas.microsoft.com/office/drawing/2014/main" id="{492614B2-9824-40F5-8714-52933A386792}"/>
              </a:ext>
            </a:extLst>
          </p:cNvPr>
          <p:cNvSpPr>
            <a:spLocks noGrp="1"/>
          </p:cNvSpPr>
          <p:nvPr>
            <p:ph type="body" sz="quarter" idx="21"/>
          </p:nvPr>
        </p:nvSpPr>
        <p:spPr>
          <a:xfrm>
            <a:off x="8174571" y="2495374"/>
            <a:ext cx="3441700" cy="3382612"/>
          </a:xfrm>
          <a:ln>
            <a:solidFill>
              <a:schemeClr val="accent1"/>
            </a:solidFill>
          </a:ln>
        </p:spPr>
        <p:txBody>
          <a:bodyPr lIns="72000" tIns="288000" rIns="72000"/>
          <a:lstStyle>
            <a:lvl1pPr>
              <a:defRPr sz="1600"/>
            </a:lvl1pPr>
            <a:lvl2pPr>
              <a:defRPr sz="1600"/>
            </a:lvl2pPr>
            <a:lvl3pPr>
              <a:defRPr sz="1600"/>
            </a:lvl3pPr>
            <a:lvl4pPr>
              <a:defRPr sz="1600"/>
            </a:lvl4pPr>
            <a:lvl5pPr>
              <a:defRPr sz="16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2" name="Title 1"/>
          <p:cNvSpPr>
            <a:spLocks noGrp="1"/>
          </p:cNvSpPr>
          <p:nvPr>
            <p:ph type="title" hasCustomPrompt="1"/>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5422AE25-9756-488F-B945-B6CD1CB70C4D}" type="datetime1">
              <a:rPr lang="en-US" smtClean="0"/>
              <a:t>4/18/2025</a:t>
            </a:fld>
            <a:endParaRPr lang="en-US"/>
          </a:p>
        </p:txBody>
      </p:sp>
      <p:sp>
        <p:nvSpPr>
          <p:cNvPr id="5" name="Footer Placeholder 4"/>
          <p:cNvSpPr>
            <a:spLocks noGrp="1"/>
          </p:cNvSpPr>
          <p:nvPr>
            <p:ph type="ftr" sz="quarter" idx="11"/>
          </p:nvPr>
        </p:nvSpPr>
        <p:spPr/>
        <p:txBody>
          <a:bodyPr/>
          <a:lstStyle/>
          <a:p>
            <a:r>
              <a:rPr lang="en-US"/>
              <a:t>FrieslandCampina Ingredients | Confidential</a:t>
            </a:r>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sp>
        <p:nvSpPr>
          <p:cNvPr id="14" name="Tijdelijke aanduiding voor tekst 13">
            <a:extLst>
              <a:ext uri="{FF2B5EF4-FFF2-40B4-BE49-F238E27FC236}">
                <a16:creationId xmlns:a16="http://schemas.microsoft.com/office/drawing/2014/main" id="{CE04E62B-DFE8-49C6-BCEC-A19BF0599890}"/>
              </a:ext>
            </a:extLst>
          </p:cNvPr>
          <p:cNvSpPr>
            <a:spLocks noGrp="1"/>
          </p:cNvSpPr>
          <p:nvPr>
            <p:ph type="body" sz="quarter" idx="16" hasCustomPrompt="1"/>
          </p:nvPr>
        </p:nvSpPr>
        <p:spPr>
          <a:xfrm>
            <a:off x="575732" y="1881239"/>
            <a:ext cx="34416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a:ln>
            <a:solidFill>
              <a:schemeClr val="accent1"/>
            </a:solidFill>
          </a:ln>
        </p:spPr>
        <p:txBody>
          <a:bodyPr wrap="square" anchor="ctr" anchorCtr="0">
            <a:noAutofit/>
          </a:bodyPr>
          <a:lstStyle>
            <a:lvl1pPr marL="0" indent="0" algn="ctr">
              <a:buNone/>
              <a:defRPr>
                <a:solidFill>
                  <a:schemeClr val="bg1"/>
                </a:solidFill>
              </a:defRPr>
            </a:lvl1pPr>
          </a:lstStyle>
          <a:p>
            <a:pPr lvl="0"/>
            <a:r>
              <a:rPr lang="nl-NL"/>
              <a:t>text</a:t>
            </a:r>
          </a:p>
        </p:txBody>
      </p:sp>
      <p:sp>
        <p:nvSpPr>
          <p:cNvPr id="15" name="Tijdelijke aanduiding voor tekst 14">
            <a:extLst>
              <a:ext uri="{FF2B5EF4-FFF2-40B4-BE49-F238E27FC236}">
                <a16:creationId xmlns:a16="http://schemas.microsoft.com/office/drawing/2014/main" id="{93339D03-BA0D-439C-9AE3-76BF835F80BC}"/>
              </a:ext>
            </a:extLst>
          </p:cNvPr>
          <p:cNvSpPr>
            <a:spLocks noGrp="1"/>
          </p:cNvSpPr>
          <p:nvPr>
            <p:ph type="body" sz="quarter" idx="17" hasCustomPrompt="1"/>
          </p:nvPr>
        </p:nvSpPr>
        <p:spPr>
          <a:xfrm>
            <a:off x="4375201" y="1881239"/>
            <a:ext cx="34416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a:ln>
            <a:solidFill>
              <a:schemeClr val="accent1"/>
            </a:solidFill>
          </a:ln>
        </p:spPr>
        <p:txBody>
          <a:bodyPr wrap="square" anchor="ctr" anchorCtr="0">
            <a:noAutofit/>
          </a:bodyPr>
          <a:lstStyle>
            <a:lvl1pPr marL="0" indent="0" algn="ctr">
              <a:buNone/>
              <a:defRPr>
                <a:solidFill>
                  <a:schemeClr val="bg1"/>
                </a:solidFill>
              </a:defRPr>
            </a:lvl1pPr>
          </a:lstStyle>
          <a:p>
            <a:pPr lvl="0"/>
            <a:r>
              <a:rPr lang="nl-NL"/>
              <a:t>text</a:t>
            </a:r>
          </a:p>
        </p:txBody>
      </p:sp>
      <p:sp>
        <p:nvSpPr>
          <p:cNvPr id="16" name="Tijdelijke aanduiding voor tekst 15">
            <a:extLst>
              <a:ext uri="{FF2B5EF4-FFF2-40B4-BE49-F238E27FC236}">
                <a16:creationId xmlns:a16="http://schemas.microsoft.com/office/drawing/2014/main" id="{93DBC742-8E58-4623-A40E-7D2DB102CDAF}"/>
              </a:ext>
            </a:extLst>
          </p:cNvPr>
          <p:cNvSpPr>
            <a:spLocks noGrp="1"/>
          </p:cNvSpPr>
          <p:nvPr>
            <p:ph type="body" sz="quarter" idx="18" hasCustomPrompt="1"/>
          </p:nvPr>
        </p:nvSpPr>
        <p:spPr>
          <a:xfrm>
            <a:off x="8174669" y="1881239"/>
            <a:ext cx="34416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a:ln>
            <a:solidFill>
              <a:schemeClr val="accent1"/>
            </a:solidFill>
          </a:ln>
        </p:spPr>
        <p:txBody>
          <a:bodyPr wrap="square" anchor="ctr" anchorCtr="0">
            <a:noAutofit/>
          </a:bodyPr>
          <a:lstStyle>
            <a:lvl1pPr marL="0" indent="0" algn="ctr">
              <a:buNone/>
              <a:defRPr>
                <a:solidFill>
                  <a:schemeClr val="bg1"/>
                </a:solidFill>
              </a:defRPr>
            </a:lvl1pPr>
          </a:lstStyle>
          <a:p>
            <a:pPr lvl="0"/>
            <a:r>
              <a:rPr lang="nl-NL"/>
              <a:t>text</a:t>
            </a:r>
          </a:p>
        </p:txBody>
      </p:sp>
    </p:spTree>
    <p:extLst>
      <p:ext uri="{BB962C8B-B14F-4D97-AF65-F5344CB8AC3E}">
        <p14:creationId xmlns:p14="http://schemas.microsoft.com/office/powerpoint/2010/main" val="3884054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itle, 4 text boxes and text">
    <p:spTree>
      <p:nvGrpSpPr>
        <p:cNvPr id="1" name=""/>
        <p:cNvGrpSpPr/>
        <p:nvPr/>
      </p:nvGrpSpPr>
      <p:grpSpPr>
        <a:xfrm>
          <a:off x="0" y="0"/>
          <a:ext cx="0" cy="0"/>
          <a:chOff x="0" y="0"/>
          <a:chExt cx="0" cy="0"/>
        </a:xfrm>
      </p:grpSpPr>
      <p:sp>
        <p:nvSpPr>
          <p:cNvPr id="18" name="Tijdelijke aanduiding voor tekst 9">
            <a:extLst>
              <a:ext uri="{FF2B5EF4-FFF2-40B4-BE49-F238E27FC236}">
                <a16:creationId xmlns:a16="http://schemas.microsoft.com/office/drawing/2014/main" id="{B1DBF5D7-C132-40CC-A85A-C82D8B39A011}"/>
              </a:ext>
            </a:extLst>
          </p:cNvPr>
          <p:cNvSpPr>
            <a:spLocks noGrp="1"/>
          </p:cNvSpPr>
          <p:nvPr>
            <p:ph type="body" sz="quarter" idx="19"/>
          </p:nvPr>
        </p:nvSpPr>
        <p:spPr>
          <a:xfrm>
            <a:off x="575733" y="2495374"/>
            <a:ext cx="2568000" cy="3382612"/>
          </a:xfrm>
          <a:ln>
            <a:solidFill>
              <a:schemeClr val="accent1"/>
            </a:solidFill>
          </a:ln>
        </p:spPr>
        <p:txBody>
          <a:bodyPr lIns="72000" tIns="288000" rIns="72000"/>
          <a:lstStyle>
            <a:lvl1pPr>
              <a:defRPr sz="1600"/>
            </a:lvl1pPr>
            <a:lvl2pPr>
              <a:defRPr sz="1600"/>
            </a:lvl2pPr>
            <a:lvl3pPr>
              <a:defRPr sz="1600"/>
            </a:lvl3pPr>
            <a:lvl4pPr>
              <a:defRPr sz="1600"/>
            </a:lvl4pPr>
            <a:lvl5pPr>
              <a:defRPr sz="16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19" name="Tijdelijke aanduiding voor tekst 9">
            <a:extLst>
              <a:ext uri="{FF2B5EF4-FFF2-40B4-BE49-F238E27FC236}">
                <a16:creationId xmlns:a16="http://schemas.microsoft.com/office/drawing/2014/main" id="{AEA49228-3077-4774-B49B-014998EF6753}"/>
              </a:ext>
            </a:extLst>
          </p:cNvPr>
          <p:cNvSpPr>
            <a:spLocks noGrp="1"/>
          </p:cNvSpPr>
          <p:nvPr>
            <p:ph type="body" sz="quarter" idx="22"/>
          </p:nvPr>
        </p:nvSpPr>
        <p:spPr>
          <a:xfrm>
            <a:off x="3399911" y="2495374"/>
            <a:ext cx="2568000" cy="3382612"/>
          </a:xfrm>
          <a:ln>
            <a:solidFill>
              <a:schemeClr val="accent1"/>
            </a:solidFill>
          </a:ln>
        </p:spPr>
        <p:txBody>
          <a:bodyPr lIns="72000" tIns="288000" rIns="72000"/>
          <a:lstStyle>
            <a:lvl1pPr>
              <a:defRPr sz="1600"/>
            </a:lvl1pPr>
            <a:lvl2pPr>
              <a:defRPr sz="1600"/>
            </a:lvl2pPr>
            <a:lvl3pPr>
              <a:defRPr sz="1600"/>
            </a:lvl3pPr>
            <a:lvl4pPr>
              <a:defRPr sz="1600"/>
            </a:lvl4pPr>
            <a:lvl5pPr>
              <a:defRPr sz="16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20" name="Tijdelijke aanduiding voor tekst 9">
            <a:extLst>
              <a:ext uri="{FF2B5EF4-FFF2-40B4-BE49-F238E27FC236}">
                <a16:creationId xmlns:a16="http://schemas.microsoft.com/office/drawing/2014/main" id="{182BA976-3733-49B5-B0A3-2E4CA89FDBE2}"/>
              </a:ext>
            </a:extLst>
          </p:cNvPr>
          <p:cNvSpPr>
            <a:spLocks noGrp="1"/>
          </p:cNvSpPr>
          <p:nvPr>
            <p:ph type="body" sz="quarter" idx="23"/>
          </p:nvPr>
        </p:nvSpPr>
        <p:spPr>
          <a:xfrm>
            <a:off x="6224088" y="2495374"/>
            <a:ext cx="2568000" cy="3382612"/>
          </a:xfrm>
          <a:ln>
            <a:solidFill>
              <a:schemeClr val="accent1"/>
            </a:solidFill>
          </a:ln>
        </p:spPr>
        <p:txBody>
          <a:bodyPr lIns="72000" tIns="288000" rIns="72000"/>
          <a:lstStyle>
            <a:lvl1pPr>
              <a:defRPr sz="1600"/>
            </a:lvl1pPr>
            <a:lvl2pPr>
              <a:defRPr sz="1600"/>
            </a:lvl2pPr>
            <a:lvl3pPr>
              <a:defRPr sz="1600"/>
            </a:lvl3pPr>
            <a:lvl4pPr>
              <a:defRPr sz="1600"/>
            </a:lvl4pPr>
            <a:lvl5pPr>
              <a:defRPr sz="16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21" name="Tijdelijke aanduiding voor tekst 9">
            <a:extLst>
              <a:ext uri="{FF2B5EF4-FFF2-40B4-BE49-F238E27FC236}">
                <a16:creationId xmlns:a16="http://schemas.microsoft.com/office/drawing/2014/main" id="{732CF53A-4EE3-4F44-B459-A6EACF01AA0E}"/>
              </a:ext>
            </a:extLst>
          </p:cNvPr>
          <p:cNvSpPr>
            <a:spLocks noGrp="1"/>
          </p:cNvSpPr>
          <p:nvPr>
            <p:ph type="body" sz="quarter" idx="24"/>
          </p:nvPr>
        </p:nvSpPr>
        <p:spPr>
          <a:xfrm>
            <a:off x="9048265" y="2495374"/>
            <a:ext cx="2568000" cy="3382612"/>
          </a:xfrm>
          <a:ln>
            <a:solidFill>
              <a:schemeClr val="accent1"/>
            </a:solidFill>
          </a:ln>
        </p:spPr>
        <p:txBody>
          <a:bodyPr lIns="72000" tIns="288000" rIns="72000"/>
          <a:lstStyle>
            <a:lvl1pPr>
              <a:defRPr sz="1600"/>
            </a:lvl1pPr>
            <a:lvl2pPr>
              <a:defRPr sz="1600"/>
            </a:lvl2pPr>
            <a:lvl3pPr>
              <a:defRPr sz="1600"/>
            </a:lvl3pPr>
            <a:lvl4pPr>
              <a:defRPr sz="1600"/>
            </a:lvl4pPr>
            <a:lvl5pPr>
              <a:defRPr sz="16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2" name="Title 1"/>
          <p:cNvSpPr>
            <a:spLocks noGrp="1"/>
          </p:cNvSpPr>
          <p:nvPr>
            <p:ph type="title" hasCustomPrompt="1"/>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1787DA0F-51EA-4281-B58C-25D6D2DD2AD8}" type="datetime1">
              <a:rPr lang="en-US" smtClean="0"/>
              <a:t>4/18/2025</a:t>
            </a:fld>
            <a:endParaRPr lang="en-US"/>
          </a:p>
        </p:txBody>
      </p:sp>
      <p:sp>
        <p:nvSpPr>
          <p:cNvPr id="5" name="Footer Placeholder 4"/>
          <p:cNvSpPr>
            <a:spLocks noGrp="1"/>
          </p:cNvSpPr>
          <p:nvPr>
            <p:ph type="ftr" sz="quarter" idx="11"/>
          </p:nvPr>
        </p:nvSpPr>
        <p:spPr/>
        <p:txBody>
          <a:bodyPr/>
          <a:lstStyle/>
          <a:p>
            <a:r>
              <a:rPr lang="en-US"/>
              <a:t>FrieslandCampina Ingredients | Confidential</a:t>
            </a:r>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sp>
        <p:nvSpPr>
          <p:cNvPr id="14" name="Tijdelijke aanduiding voor tekst 13">
            <a:extLst>
              <a:ext uri="{FF2B5EF4-FFF2-40B4-BE49-F238E27FC236}">
                <a16:creationId xmlns:a16="http://schemas.microsoft.com/office/drawing/2014/main" id="{CE04E62B-DFE8-49C6-BCEC-A19BF0599890}"/>
              </a:ext>
            </a:extLst>
          </p:cNvPr>
          <p:cNvSpPr>
            <a:spLocks noGrp="1"/>
          </p:cNvSpPr>
          <p:nvPr>
            <p:ph type="body" sz="quarter" idx="16" hasCustomPrompt="1"/>
          </p:nvPr>
        </p:nvSpPr>
        <p:spPr>
          <a:xfrm>
            <a:off x="575732" y="1881239"/>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a:ln>
            <a:solidFill>
              <a:schemeClr val="accent1"/>
            </a:solidFill>
          </a:ln>
        </p:spPr>
        <p:txBody>
          <a:bodyPr wrap="square" anchor="ctr" anchorCtr="0">
            <a:noAutofit/>
          </a:bodyPr>
          <a:lstStyle>
            <a:lvl1pPr marL="0" indent="0" algn="ctr">
              <a:buNone/>
              <a:defRPr>
                <a:solidFill>
                  <a:schemeClr val="bg1"/>
                </a:solidFill>
              </a:defRPr>
            </a:lvl1pPr>
          </a:lstStyle>
          <a:p>
            <a:pPr lvl="0"/>
            <a:r>
              <a:rPr lang="nl-NL"/>
              <a:t>text</a:t>
            </a:r>
          </a:p>
        </p:txBody>
      </p:sp>
      <p:sp>
        <p:nvSpPr>
          <p:cNvPr id="15" name="Tijdelijke aanduiding voor tekst 14">
            <a:extLst>
              <a:ext uri="{FF2B5EF4-FFF2-40B4-BE49-F238E27FC236}">
                <a16:creationId xmlns:a16="http://schemas.microsoft.com/office/drawing/2014/main" id="{93339D03-BA0D-439C-9AE3-76BF835F80BC}"/>
              </a:ext>
            </a:extLst>
          </p:cNvPr>
          <p:cNvSpPr>
            <a:spLocks noGrp="1"/>
          </p:cNvSpPr>
          <p:nvPr>
            <p:ph type="body" sz="quarter" idx="17" hasCustomPrompt="1"/>
          </p:nvPr>
        </p:nvSpPr>
        <p:spPr>
          <a:xfrm>
            <a:off x="3399909" y="1881239"/>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a:ln>
            <a:solidFill>
              <a:schemeClr val="accent1"/>
            </a:solidFill>
          </a:ln>
        </p:spPr>
        <p:txBody>
          <a:bodyPr wrap="square" anchor="ctr" anchorCtr="0">
            <a:noAutofit/>
          </a:bodyPr>
          <a:lstStyle>
            <a:lvl1pPr marL="0" indent="0" algn="ctr">
              <a:buNone/>
              <a:defRPr>
                <a:solidFill>
                  <a:schemeClr val="bg1"/>
                </a:solidFill>
              </a:defRPr>
            </a:lvl1pPr>
          </a:lstStyle>
          <a:p>
            <a:pPr lvl="0"/>
            <a:r>
              <a:rPr lang="nl-NL"/>
              <a:t>text</a:t>
            </a:r>
          </a:p>
        </p:txBody>
      </p:sp>
      <p:sp>
        <p:nvSpPr>
          <p:cNvPr id="16" name="Tijdelijke aanduiding voor tekst 15">
            <a:extLst>
              <a:ext uri="{FF2B5EF4-FFF2-40B4-BE49-F238E27FC236}">
                <a16:creationId xmlns:a16="http://schemas.microsoft.com/office/drawing/2014/main" id="{93DBC742-8E58-4623-A40E-7D2DB102CDAF}"/>
              </a:ext>
            </a:extLst>
          </p:cNvPr>
          <p:cNvSpPr>
            <a:spLocks noGrp="1"/>
          </p:cNvSpPr>
          <p:nvPr>
            <p:ph type="body" sz="quarter" idx="18" hasCustomPrompt="1"/>
          </p:nvPr>
        </p:nvSpPr>
        <p:spPr>
          <a:xfrm>
            <a:off x="6224087" y="1881239"/>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a:ln>
            <a:solidFill>
              <a:schemeClr val="accent1"/>
            </a:solidFill>
          </a:ln>
        </p:spPr>
        <p:txBody>
          <a:bodyPr wrap="square" anchor="ctr" anchorCtr="0">
            <a:noAutofit/>
          </a:bodyPr>
          <a:lstStyle>
            <a:lvl1pPr marL="0" indent="0" algn="ctr">
              <a:buNone/>
              <a:defRPr>
                <a:solidFill>
                  <a:schemeClr val="bg1"/>
                </a:solidFill>
              </a:defRPr>
            </a:lvl1pPr>
          </a:lstStyle>
          <a:p>
            <a:pPr lvl="0"/>
            <a:r>
              <a:rPr lang="nl-NL"/>
              <a:t>text</a:t>
            </a:r>
          </a:p>
        </p:txBody>
      </p:sp>
      <p:sp>
        <p:nvSpPr>
          <p:cNvPr id="17" name="Tijdelijke aanduiding voor tekst 16">
            <a:extLst>
              <a:ext uri="{FF2B5EF4-FFF2-40B4-BE49-F238E27FC236}">
                <a16:creationId xmlns:a16="http://schemas.microsoft.com/office/drawing/2014/main" id="{8B53FD86-423F-4F36-AC16-3D6CA052A00B}"/>
              </a:ext>
            </a:extLst>
          </p:cNvPr>
          <p:cNvSpPr>
            <a:spLocks noGrp="1"/>
          </p:cNvSpPr>
          <p:nvPr>
            <p:ph type="body" sz="quarter" idx="21" hasCustomPrompt="1"/>
          </p:nvPr>
        </p:nvSpPr>
        <p:spPr>
          <a:xfrm>
            <a:off x="9048265" y="1881239"/>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a:ln>
            <a:solidFill>
              <a:schemeClr val="accent1"/>
            </a:solidFill>
          </a:ln>
        </p:spPr>
        <p:txBody>
          <a:bodyPr wrap="square" anchor="ctr" anchorCtr="0">
            <a:noAutofit/>
          </a:bodyPr>
          <a:lstStyle>
            <a:lvl1pPr marL="0" indent="0" algn="ctr">
              <a:buNone/>
              <a:defRPr>
                <a:solidFill>
                  <a:schemeClr val="bg1"/>
                </a:solidFill>
              </a:defRPr>
            </a:lvl1pPr>
          </a:lstStyle>
          <a:p>
            <a:pPr lvl="0"/>
            <a:r>
              <a:rPr lang="nl-NL"/>
              <a:t>text</a:t>
            </a:r>
          </a:p>
        </p:txBody>
      </p:sp>
    </p:spTree>
    <p:extLst>
      <p:ext uri="{BB962C8B-B14F-4D97-AF65-F5344CB8AC3E}">
        <p14:creationId xmlns:p14="http://schemas.microsoft.com/office/powerpoint/2010/main" val="2763559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3 images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24BE4094-ACDB-4B29-99EB-E22F2EE8B278}" type="datetime1">
              <a:rPr lang="en-US" smtClean="0"/>
              <a:t>4/18/2025</a:t>
            </a:fld>
            <a:endParaRPr lang="en-US"/>
          </a:p>
        </p:txBody>
      </p:sp>
      <p:sp>
        <p:nvSpPr>
          <p:cNvPr id="5" name="Footer Placeholder 4"/>
          <p:cNvSpPr>
            <a:spLocks noGrp="1"/>
          </p:cNvSpPr>
          <p:nvPr>
            <p:ph type="ftr" sz="quarter" idx="11"/>
          </p:nvPr>
        </p:nvSpPr>
        <p:spPr/>
        <p:txBody>
          <a:bodyPr/>
          <a:lstStyle/>
          <a:p>
            <a:r>
              <a:rPr lang="en-US"/>
              <a:t>FrieslandCampina Ingredients | Confidential</a:t>
            </a:r>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sp>
        <p:nvSpPr>
          <p:cNvPr id="7" name="Tijdelijke aanduiding voor afbeelding 7">
            <a:extLst>
              <a:ext uri="{FF2B5EF4-FFF2-40B4-BE49-F238E27FC236}">
                <a16:creationId xmlns:a16="http://schemas.microsoft.com/office/drawing/2014/main" id="{65B18880-82CC-4AC0-9FD4-73A347590E4A}"/>
              </a:ext>
            </a:extLst>
          </p:cNvPr>
          <p:cNvSpPr>
            <a:spLocks noGrp="1"/>
          </p:cNvSpPr>
          <p:nvPr>
            <p:ph type="pic" sz="quarter" idx="13" hasCustomPrompt="1"/>
          </p:nvPr>
        </p:nvSpPr>
        <p:spPr>
          <a:xfrm>
            <a:off x="575733" y="1881237"/>
            <a:ext cx="3441600" cy="2760000"/>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
        <p:nvSpPr>
          <p:cNvPr id="8" name="Tijdelijke aanduiding voor afbeelding 7">
            <a:extLst>
              <a:ext uri="{FF2B5EF4-FFF2-40B4-BE49-F238E27FC236}">
                <a16:creationId xmlns:a16="http://schemas.microsoft.com/office/drawing/2014/main" id="{F21877E9-C5B9-480D-8B19-E3F131AE2D94}"/>
              </a:ext>
            </a:extLst>
          </p:cNvPr>
          <p:cNvSpPr>
            <a:spLocks noGrp="1"/>
          </p:cNvSpPr>
          <p:nvPr>
            <p:ph type="pic" sz="quarter" idx="14" hasCustomPrompt="1"/>
          </p:nvPr>
        </p:nvSpPr>
        <p:spPr>
          <a:xfrm>
            <a:off x="4375201" y="1881237"/>
            <a:ext cx="3441600" cy="2760000"/>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
        <p:nvSpPr>
          <p:cNvPr id="9" name="Tijdelijke aanduiding voor afbeelding 7">
            <a:extLst>
              <a:ext uri="{FF2B5EF4-FFF2-40B4-BE49-F238E27FC236}">
                <a16:creationId xmlns:a16="http://schemas.microsoft.com/office/drawing/2014/main" id="{41A0AB49-F1DD-4324-B0FE-DC835BD3B2FB}"/>
              </a:ext>
            </a:extLst>
          </p:cNvPr>
          <p:cNvSpPr>
            <a:spLocks noGrp="1"/>
          </p:cNvSpPr>
          <p:nvPr>
            <p:ph type="pic" sz="quarter" idx="15" hasCustomPrompt="1"/>
          </p:nvPr>
        </p:nvSpPr>
        <p:spPr>
          <a:xfrm>
            <a:off x="8174669" y="1881237"/>
            <a:ext cx="3441600" cy="2760000"/>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
        <p:nvSpPr>
          <p:cNvPr id="14" name="Tijdelijke aanduiding voor tekst 13">
            <a:extLst>
              <a:ext uri="{FF2B5EF4-FFF2-40B4-BE49-F238E27FC236}">
                <a16:creationId xmlns:a16="http://schemas.microsoft.com/office/drawing/2014/main" id="{CE04E62B-DFE8-49C6-BCEC-A19BF0599890}"/>
              </a:ext>
            </a:extLst>
          </p:cNvPr>
          <p:cNvSpPr>
            <a:spLocks noGrp="1"/>
          </p:cNvSpPr>
          <p:nvPr>
            <p:ph type="body" sz="quarter" idx="16" hasCustomPrompt="1"/>
          </p:nvPr>
        </p:nvSpPr>
        <p:spPr>
          <a:xfrm>
            <a:off x="575732" y="4640556"/>
            <a:ext cx="34416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anchor="ctr" anchorCtr="0">
            <a:noAutofit/>
          </a:bodyPr>
          <a:lstStyle>
            <a:lvl1pPr marL="0" indent="0" algn="ctr">
              <a:buNone/>
              <a:defRPr>
                <a:solidFill>
                  <a:schemeClr val="bg1"/>
                </a:solidFill>
              </a:defRPr>
            </a:lvl1pPr>
          </a:lstStyle>
          <a:p>
            <a:pPr lvl="0"/>
            <a:r>
              <a:rPr lang="nl-NL"/>
              <a:t>text</a:t>
            </a:r>
          </a:p>
        </p:txBody>
      </p:sp>
      <p:sp>
        <p:nvSpPr>
          <p:cNvPr id="15" name="Tijdelijke aanduiding voor tekst 14">
            <a:extLst>
              <a:ext uri="{FF2B5EF4-FFF2-40B4-BE49-F238E27FC236}">
                <a16:creationId xmlns:a16="http://schemas.microsoft.com/office/drawing/2014/main" id="{93339D03-BA0D-439C-9AE3-76BF835F80BC}"/>
              </a:ext>
            </a:extLst>
          </p:cNvPr>
          <p:cNvSpPr>
            <a:spLocks noGrp="1"/>
          </p:cNvSpPr>
          <p:nvPr>
            <p:ph type="body" sz="quarter" idx="17" hasCustomPrompt="1"/>
          </p:nvPr>
        </p:nvSpPr>
        <p:spPr>
          <a:xfrm>
            <a:off x="4375201" y="4640556"/>
            <a:ext cx="34416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anchor="ctr" anchorCtr="0">
            <a:noAutofit/>
          </a:bodyPr>
          <a:lstStyle>
            <a:lvl1pPr marL="0" indent="0" algn="ctr">
              <a:buNone/>
              <a:defRPr>
                <a:solidFill>
                  <a:schemeClr val="bg1"/>
                </a:solidFill>
              </a:defRPr>
            </a:lvl1pPr>
          </a:lstStyle>
          <a:p>
            <a:pPr lvl="0"/>
            <a:r>
              <a:rPr lang="nl-NL"/>
              <a:t>text</a:t>
            </a:r>
          </a:p>
        </p:txBody>
      </p:sp>
      <p:sp>
        <p:nvSpPr>
          <p:cNvPr id="16" name="Tijdelijke aanduiding voor tekst 15">
            <a:extLst>
              <a:ext uri="{FF2B5EF4-FFF2-40B4-BE49-F238E27FC236}">
                <a16:creationId xmlns:a16="http://schemas.microsoft.com/office/drawing/2014/main" id="{93DBC742-8E58-4623-A40E-7D2DB102CDAF}"/>
              </a:ext>
            </a:extLst>
          </p:cNvPr>
          <p:cNvSpPr>
            <a:spLocks noGrp="1"/>
          </p:cNvSpPr>
          <p:nvPr>
            <p:ph type="body" sz="quarter" idx="18" hasCustomPrompt="1"/>
          </p:nvPr>
        </p:nvSpPr>
        <p:spPr>
          <a:xfrm>
            <a:off x="8174669" y="4640556"/>
            <a:ext cx="34416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anchor="ctr" anchorCtr="0">
            <a:noAutofit/>
          </a:bodyPr>
          <a:lstStyle>
            <a:lvl1pPr marL="0" indent="0" algn="ctr">
              <a:buNone/>
              <a:defRPr>
                <a:solidFill>
                  <a:schemeClr val="bg1"/>
                </a:solidFill>
              </a:defRPr>
            </a:lvl1pPr>
          </a:lstStyle>
          <a:p>
            <a:pPr lvl="0"/>
            <a:r>
              <a:rPr lang="nl-NL"/>
              <a:t>text</a:t>
            </a:r>
          </a:p>
        </p:txBody>
      </p:sp>
    </p:spTree>
    <p:extLst>
      <p:ext uri="{BB962C8B-B14F-4D97-AF65-F5344CB8AC3E}">
        <p14:creationId xmlns:p14="http://schemas.microsoft.com/office/powerpoint/2010/main" val="3097510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4 images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C7B03A88-0180-4115-9B9C-2B1AE6590D54}" type="datetime1">
              <a:rPr lang="en-US" smtClean="0"/>
              <a:t>4/18/2025</a:t>
            </a:fld>
            <a:endParaRPr lang="en-US"/>
          </a:p>
        </p:txBody>
      </p:sp>
      <p:sp>
        <p:nvSpPr>
          <p:cNvPr id="5" name="Footer Placeholder 4"/>
          <p:cNvSpPr>
            <a:spLocks noGrp="1"/>
          </p:cNvSpPr>
          <p:nvPr>
            <p:ph type="ftr" sz="quarter" idx="11"/>
          </p:nvPr>
        </p:nvSpPr>
        <p:spPr/>
        <p:txBody>
          <a:bodyPr/>
          <a:lstStyle/>
          <a:p>
            <a:r>
              <a:rPr lang="en-US"/>
              <a:t>FrieslandCampina Ingredients | Confidential</a:t>
            </a:r>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sp>
        <p:nvSpPr>
          <p:cNvPr id="7" name="Tijdelijke aanduiding voor afbeelding 7">
            <a:extLst>
              <a:ext uri="{FF2B5EF4-FFF2-40B4-BE49-F238E27FC236}">
                <a16:creationId xmlns:a16="http://schemas.microsoft.com/office/drawing/2014/main" id="{65B18880-82CC-4AC0-9FD4-73A347590E4A}"/>
              </a:ext>
            </a:extLst>
          </p:cNvPr>
          <p:cNvSpPr>
            <a:spLocks noGrp="1"/>
          </p:cNvSpPr>
          <p:nvPr>
            <p:ph type="pic" sz="quarter" idx="13" hasCustomPrompt="1"/>
          </p:nvPr>
        </p:nvSpPr>
        <p:spPr>
          <a:xfrm>
            <a:off x="575733" y="1881237"/>
            <a:ext cx="2568000" cy="2760000"/>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
        <p:nvSpPr>
          <p:cNvPr id="8" name="Tijdelijke aanduiding voor afbeelding 7">
            <a:extLst>
              <a:ext uri="{FF2B5EF4-FFF2-40B4-BE49-F238E27FC236}">
                <a16:creationId xmlns:a16="http://schemas.microsoft.com/office/drawing/2014/main" id="{F21877E9-C5B9-480D-8B19-E3F131AE2D94}"/>
              </a:ext>
            </a:extLst>
          </p:cNvPr>
          <p:cNvSpPr>
            <a:spLocks noGrp="1"/>
          </p:cNvSpPr>
          <p:nvPr>
            <p:ph type="pic" sz="quarter" idx="14" hasCustomPrompt="1"/>
          </p:nvPr>
        </p:nvSpPr>
        <p:spPr>
          <a:xfrm>
            <a:off x="3399911" y="1881237"/>
            <a:ext cx="2568000" cy="2760000"/>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
        <p:nvSpPr>
          <p:cNvPr id="9" name="Tijdelijke aanduiding voor afbeelding 7">
            <a:extLst>
              <a:ext uri="{FF2B5EF4-FFF2-40B4-BE49-F238E27FC236}">
                <a16:creationId xmlns:a16="http://schemas.microsoft.com/office/drawing/2014/main" id="{41A0AB49-F1DD-4324-B0FE-DC835BD3B2FB}"/>
              </a:ext>
            </a:extLst>
          </p:cNvPr>
          <p:cNvSpPr>
            <a:spLocks noGrp="1"/>
          </p:cNvSpPr>
          <p:nvPr>
            <p:ph type="pic" sz="quarter" idx="15" hasCustomPrompt="1"/>
          </p:nvPr>
        </p:nvSpPr>
        <p:spPr>
          <a:xfrm>
            <a:off x="6224088" y="1881237"/>
            <a:ext cx="2568000" cy="2760000"/>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
        <p:nvSpPr>
          <p:cNvPr id="14" name="Tijdelijke aanduiding voor tekst 13">
            <a:extLst>
              <a:ext uri="{FF2B5EF4-FFF2-40B4-BE49-F238E27FC236}">
                <a16:creationId xmlns:a16="http://schemas.microsoft.com/office/drawing/2014/main" id="{CE04E62B-DFE8-49C6-BCEC-A19BF0599890}"/>
              </a:ext>
            </a:extLst>
          </p:cNvPr>
          <p:cNvSpPr>
            <a:spLocks noGrp="1"/>
          </p:cNvSpPr>
          <p:nvPr>
            <p:ph type="body" sz="quarter" idx="16" hasCustomPrompt="1"/>
          </p:nvPr>
        </p:nvSpPr>
        <p:spPr>
          <a:xfrm>
            <a:off x="575732" y="4640556"/>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anchor="ctr" anchorCtr="0">
            <a:noAutofit/>
          </a:bodyPr>
          <a:lstStyle>
            <a:lvl1pPr marL="0" indent="0" algn="ctr">
              <a:buNone/>
              <a:defRPr>
                <a:solidFill>
                  <a:schemeClr val="bg1"/>
                </a:solidFill>
              </a:defRPr>
            </a:lvl1pPr>
          </a:lstStyle>
          <a:p>
            <a:pPr lvl="0"/>
            <a:r>
              <a:rPr lang="nl-NL"/>
              <a:t>text</a:t>
            </a:r>
          </a:p>
        </p:txBody>
      </p:sp>
      <p:sp>
        <p:nvSpPr>
          <p:cNvPr id="15" name="Tijdelijke aanduiding voor tekst 14">
            <a:extLst>
              <a:ext uri="{FF2B5EF4-FFF2-40B4-BE49-F238E27FC236}">
                <a16:creationId xmlns:a16="http://schemas.microsoft.com/office/drawing/2014/main" id="{93339D03-BA0D-439C-9AE3-76BF835F80BC}"/>
              </a:ext>
            </a:extLst>
          </p:cNvPr>
          <p:cNvSpPr>
            <a:spLocks noGrp="1"/>
          </p:cNvSpPr>
          <p:nvPr>
            <p:ph type="body" sz="quarter" idx="17" hasCustomPrompt="1"/>
          </p:nvPr>
        </p:nvSpPr>
        <p:spPr>
          <a:xfrm>
            <a:off x="3399909" y="4640556"/>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anchor="ctr" anchorCtr="0">
            <a:noAutofit/>
          </a:bodyPr>
          <a:lstStyle>
            <a:lvl1pPr marL="0" indent="0" algn="ctr">
              <a:buNone/>
              <a:defRPr>
                <a:solidFill>
                  <a:schemeClr val="bg1"/>
                </a:solidFill>
              </a:defRPr>
            </a:lvl1pPr>
          </a:lstStyle>
          <a:p>
            <a:pPr lvl="0"/>
            <a:r>
              <a:rPr lang="nl-NL"/>
              <a:t>text</a:t>
            </a:r>
          </a:p>
        </p:txBody>
      </p:sp>
      <p:sp>
        <p:nvSpPr>
          <p:cNvPr id="16" name="Tijdelijke aanduiding voor tekst 15">
            <a:extLst>
              <a:ext uri="{FF2B5EF4-FFF2-40B4-BE49-F238E27FC236}">
                <a16:creationId xmlns:a16="http://schemas.microsoft.com/office/drawing/2014/main" id="{93DBC742-8E58-4623-A40E-7D2DB102CDAF}"/>
              </a:ext>
            </a:extLst>
          </p:cNvPr>
          <p:cNvSpPr>
            <a:spLocks noGrp="1"/>
          </p:cNvSpPr>
          <p:nvPr>
            <p:ph type="body" sz="quarter" idx="18" hasCustomPrompt="1"/>
          </p:nvPr>
        </p:nvSpPr>
        <p:spPr>
          <a:xfrm>
            <a:off x="6224087" y="4640556"/>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anchor="ctr" anchorCtr="0">
            <a:noAutofit/>
          </a:bodyPr>
          <a:lstStyle>
            <a:lvl1pPr marL="0" indent="0" algn="ctr">
              <a:buNone/>
              <a:defRPr>
                <a:solidFill>
                  <a:schemeClr val="bg1"/>
                </a:solidFill>
              </a:defRPr>
            </a:lvl1pPr>
          </a:lstStyle>
          <a:p>
            <a:pPr lvl="0"/>
            <a:r>
              <a:rPr lang="nl-NL"/>
              <a:t>text</a:t>
            </a:r>
          </a:p>
        </p:txBody>
      </p:sp>
      <p:sp>
        <p:nvSpPr>
          <p:cNvPr id="13" name="Tijdelijke aanduiding voor afbeelding 7">
            <a:extLst>
              <a:ext uri="{FF2B5EF4-FFF2-40B4-BE49-F238E27FC236}">
                <a16:creationId xmlns:a16="http://schemas.microsoft.com/office/drawing/2014/main" id="{9014C87B-4A9B-46A5-92E7-D035D3B01B50}"/>
              </a:ext>
            </a:extLst>
          </p:cNvPr>
          <p:cNvSpPr>
            <a:spLocks noGrp="1"/>
          </p:cNvSpPr>
          <p:nvPr>
            <p:ph type="pic" sz="quarter" idx="20" hasCustomPrompt="1"/>
          </p:nvPr>
        </p:nvSpPr>
        <p:spPr>
          <a:xfrm>
            <a:off x="9048265" y="1881237"/>
            <a:ext cx="2568000" cy="2760000"/>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
        <p:nvSpPr>
          <p:cNvPr id="17" name="Tijdelijke aanduiding voor tekst 16">
            <a:extLst>
              <a:ext uri="{FF2B5EF4-FFF2-40B4-BE49-F238E27FC236}">
                <a16:creationId xmlns:a16="http://schemas.microsoft.com/office/drawing/2014/main" id="{8B53FD86-423F-4F36-AC16-3D6CA052A00B}"/>
              </a:ext>
            </a:extLst>
          </p:cNvPr>
          <p:cNvSpPr>
            <a:spLocks noGrp="1"/>
          </p:cNvSpPr>
          <p:nvPr>
            <p:ph type="body" sz="quarter" idx="21" hasCustomPrompt="1"/>
          </p:nvPr>
        </p:nvSpPr>
        <p:spPr>
          <a:xfrm>
            <a:off x="9048265" y="4640556"/>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anchor="ctr" anchorCtr="0">
            <a:noAutofit/>
          </a:bodyPr>
          <a:lstStyle>
            <a:lvl1pPr marL="0" indent="0" algn="ctr">
              <a:buNone/>
              <a:defRPr>
                <a:solidFill>
                  <a:schemeClr val="bg1"/>
                </a:solidFill>
              </a:defRPr>
            </a:lvl1pPr>
          </a:lstStyle>
          <a:p>
            <a:pPr lvl="0"/>
            <a:r>
              <a:rPr lang="nl-NL"/>
              <a:t>text</a:t>
            </a:r>
          </a:p>
        </p:txBody>
      </p:sp>
    </p:spTree>
    <p:extLst>
      <p:ext uri="{BB962C8B-B14F-4D97-AF65-F5344CB8AC3E}">
        <p14:creationId xmlns:p14="http://schemas.microsoft.com/office/powerpoint/2010/main" val="956523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userDrawn="1">
  <p:cSld name="7_Title, object, image left (curve)">
    <p:spTree>
      <p:nvGrpSpPr>
        <p:cNvPr id="1" name=""/>
        <p:cNvGrpSpPr/>
        <p:nvPr/>
      </p:nvGrpSpPr>
      <p:grpSpPr>
        <a:xfrm>
          <a:off x="0" y="0"/>
          <a:ext cx="0" cy="0"/>
          <a:chOff x="0" y="0"/>
          <a:chExt cx="0" cy="0"/>
        </a:xfrm>
      </p:grpSpPr>
      <p:sp>
        <p:nvSpPr>
          <p:cNvPr id="13" name="Round Same-side Corner of Rectangle 6">
            <a:extLst>
              <a:ext uri="{FF2B5EF4-FFF2-40B4-BE49-F238E27FC236}">
                <a16:creationId xmlns:a16="http://schemas.microsoft.com/office/drawing/2014/main" id="{302BAD65-059C-7D41-BD2E-A02D3C164CCB}"/>
              </a:ext>
            </a:extLst>
          </p:cNvPr>
          <p:cNvSpPr/>
          <p:nvPr userDrawn="1"/>
        </p:nvSpPr>
        <p:spPr>
          <a:xfrm rot="5400000">
            <a:off x="6242399" y="735241"/>
            <a:ext cx="6924111" cy="5399447"/>
          </a:xfrm>
          <a:custGeom>
            <a:avLst/>
            <a:gdLst>
              <a:gd name="connsiteX0" fmla="*/ 2571750 w 5143500"/>
              <a:gd name="connsiteY0" fmla="*/ 0 h 5796839"/>
              <a:gd name="connsiteX1" fmla="*/ 2571750 w 5143500"/>
              <a:gd name="connsiteY1" fmla="*/ 0 h 5796839"/>
              <a:gd name="connsiteX2" fmla="*/ 5143500 w 5143500"/>
              <a:gd name="connsiteY2" fmla="*/ 2571750 h 5796839"/>
              <a:gd name="connsiteX3" fmla="*/ 5143500 w 5143500"/>
              <a:gd name="connsiteY3" fmla="*/ 5796839 h 5796839"/>
              <a:gd name="connsiteX4" fmla="*/ 5143500 w 5143500"/>
              <a:gd name="connsiteY4" fmla="*/ 5796839 h 5796839"/>
              <a:gd name="connsiteX5" fmla="*/ 0 w 5143500"/>
              <a:gd name="connsiteY5" fmla="*/ 5796839 h 5796839"/>
              <a:gd name="connsiteX6" fmla="*/ 0 w 5143500"/>
              <a:gd name="connsiteY6" fmla="*/ 5796839 h 5796839"/>
              <a:gd name="connsiteX7" fmla="*/ 0 w 5143500"/>
              <a:gd name="connsiteY7" fmla="*/ 2571750 h 5796839"/>
              <a:gd name="connsiteX8" fmla="*/ 2571750 w 5143500"/>
              <a:gd name="connsiteY8" fmla="*/ 0 h 5796839"/>
              <a:gd name="connsiteX0" fmla="*/ 2601246 w 5172996"/>
              <a:gd name="connsiteY0" fmla="*/ 0 h 5796839"/>
              <a:gd name="connsiteX1" fmla="*/ 2601246 w 5172996"/>
              <a:gd name="connsiteY1" fmla="*/ 0 h 5796839"/>
              <a:gd name="connsiteX2" fmla="*/ 5172996 w 5172996"/>
              <a:gd name="connsiteY2" fmla="*/ 2571750 h 5796839"/>
              <a:gd name="connsiteX3" fmla="*/ 5172996 w 5172996"/>
              <a:gd name="connsiteY3" fmla="*/ 5796839 h 5796839"/>
              <a:gd name="connsiteX4" fmla="*/ 5172996 w 5172996"/>
              <a:gd name="connsiteY4" fmla="*/ 5796839 h 5796839"/>
              <a:gd name="connsiteX5" fmla="*/ 29496 w 5172996"/>
              <a:gd name="connsiteY5" fmla="*/ 5796839 h 5796839"/>
              <a:gd name="connsiteX6" fmla="*/ 29496 w 5172996"/>
              <a:gd name="connsiteY6" fmla="*/ 5796839 h 5796839"/>
              <a:gd name="connsiteX7" fmla="*/ 0 w 5172996"/>
              <a:gd name="connsiteY7" fmla="*/ 2158795 h 5796839"/>
              <a:gd name="connsiteX8" fmla="*/ 2601246 w 5172996"/>
              <a:gd name="connsiteY8" fmla="*/ 0 h 5796839"/>
              <a:gd name="connsiteX0" fmla="*/ 2601246 w 5192663"/>
              <a:gd name="connsiteY0" fmla="*/ 0 h 5796839"/>
              <a:gd name="connsiteX1" fmla="*/ 2601246 w 5192663"/>
              <a:gd name="connsiteY1" fmla="*/ 0 h 5796839"/>
              <a:gd name="connsiteX2" fmla="*/ 5192663 w 5192663"/>
              <a:gd name="connsiteY2" fmla="*/ 2109634 h 5796839"/>
              <a:gd name="connsiteX3" fmla="*/ 5172996 w 5192663"/>
              <a:gd name="connsiteY3" fmla="*/ 5796839 h 5796839"/>
              <a:gd name="connsiteX4" fmla="*/ 5172996 w 5192663"/>
              <a:gd name="connsiteY4" fmla="*/ 5796839 h 5796839"/>
              <a:gd name="connsiteX5" fmla="*/ 29496 w 5192663"/>
              <a:gd name="connsiteY5" fmla="*/ 5796839 h 5796839"/>
              <a:gd name="connsiteX6" fmla="*/ 29496 w 5192663"/>
              <a:gd name="connsiteY6" fmla="*/ 5796839 h 5796839"/>
              <a:gd name="connsiteX7" fmla="*/ 0 w 5192663"/>
              <a:gd name="connsiteY7" fmla="*/ 2158795 h 5796839"/>
              <a:gd name="connsiteX8" fmla="*/ 2601246 w 5192663"/>
              <a:gd name="connsiteY8" fmla="*/ 0 h 5796839"/>
              <a:gd name="connsiteX0" fmla="*/ 2601246 w 5467964"/>
              <a:gd name="connsiteY0" fmla="*/ 0 h 5796839"/>
              <a:gd name="connsiteX1" fmla="*/ 2601246 w 5467964"/>
              <a:gd name="connsiteY1" fmla="*/ 0 h 5796839"/>
              <a:gd name="connsiteX2" fmla="*/ 5192663 w 5467964"/>
              <a:gd name="connsiteY2" fmla="*/ 2109634 h 5796839"/>
              <a:gd name="connsiteX3" fmla="*/ 5172996 w 5467964"/>
              <a:gd name="connsiteY3" fmla="*/ 5796839 h 5796839"/>
              <a:gd name="connsiteX4" fmla="*/ 5467964 w 5467964"/>
              <a:gd name="connsiteY4" fmla="*/ 5737845 h 5796839"/>
              <a:gd name="connsiteX5" fmla="*/ 29496 w 5467964"/>
              <a:gd name="connsiteY5" fmla="*/ 5796839 h 5796839"/>
              <a:gd name="connsiteX6" fmla="*/ 29496 w 5467964"/>
              <a:gd name="connsiteY6" fmla="*/ 5796839 h 5796839"/>
              <a:gd name="connsiteX7" fmla="*/ 0 w 5467964"/>
              <a:gd name="connsiteY7" fmla="*/ 2158795 h 5796839"/>
              <a:gd name="connsiteX8" fmla="*/ 2601246 w 5467964"/>
              <a:gd name="connsiteY8" fmla="*/ 0 h 5796839"/>
              <a:gd name="connsiteX0" fmla="*/ 2601246 w 5192663"/>
              <a:gd name="connsiteY0" fmla="*/ 0 h 6534261"/>
              <a:gd name="connsiteX1" fmla="*/ 2601246 w 5192663"/>
              <a:gd name="connsiteY1" fmla="*/ 0 h 6534261"/>
              <a:gd name="connsiteX2" fmla="*/ 5192663 w 5192663"/>
              <a:gd name="connsiteY2" fmla="*/ 2109634 h 6534261"/>
              <a:gd name="connsiteX3" fmla="*/ 5172996 w 5192663"/>
              <a:gd name="connsiteY3" fmla="*/ 5796839 h 6534261"/>
              <a:gd name="connsiteX4" fmla="*/ 4878031 w 5192663"/>
              <a:gd name="connsiteY4" fmla="*/ 6534261 h 6534261"/>
              <a:gd name="connsiteX5" fmla="*/ 29496 w 5192663"/>
              <a:gd name="connsiteY5" fmla="*/ 5796839 h 6534261"/>
              <a:gd name="connsiteX6" fmla="*/ 29496 w 5192663"/>
              <a:gd name="connsiteY6" fmla="*/ 5796839 h 6534261"/>
              <a:gd name="connsiteX7" fmla="*/ 0 w 5192663"/>
              <a:gd name="connsiteY7" fmla="*/ 2158795 h 6534261"/>
              <a:gd name="connsiteX8" fmla="*/ 2601246 w 5192663"/>
              <a:gd name="connsiteY8" fmla="*/ 0 h 6534261"/>
              <a:gd name="connsiteX0" fmla="*/ 2601246 w 5192663"/>
              <a:gd name="connsiteY0" fmla="*/ 0 h 6534261"/>
              <a:gd name="connsiteX1" fmla="*/ 2601246 w 5192663"/>
              <a:gd name="connsiteY1" fmla="*/ 0 h 6534261"/>
              <a:gd name="connsiteX2" fmla="*/ 5192663 w 5192663"/>
              <a:gd name="connsiteY2" fmla="*/ 2109634 h 6534261"/>
              <a:gd name="connsiteX3" fmla="*/ 5172996 w 5192663"/>
              <a:gd name="connsiteY3" fmla="*/ 5796839 h 6534261"/>
              <a:gd name="connsiteX4" fmla="*/ 4878031 w 5192663"/>
              <a:gd name="connsiteY4" fmla="*/ 6534261 h 6534261"/>
              <a:gd name="connsiteX5" fmla="*/ 29496 w 5192663"/>
              <a:gd name="connsiteY5" fmla="*/ 5796839 h 6534261"/>
              <a:gd name="connsiteX6" fmla="*/ 19663 w 5192663"/>
              <a:gd name="connsiteY6" fmla="*/ 5580529 h 6534261"/>
              <a:gd name="connsiteX7" fmla="*/ 0 w 5192663"/>
              <a:gd name="connsiteY7" fmla="*/ 2158795 h 6534261"/>
              <a:gd name="connsiteX8" fmla="*/ 2601246 w 5192663"/>
              <a:gd name="connsiteY8" fmla="*/ 0 h 6534261"/>
              <a:gd name="connsiteX0" fmla="*/ 2601246 w 5192663"/>
              <a:gd name="connsiteY0" fmla="*/ 0 h 6534261"/>
              <a:gd name="connsiteX1" fmla="*/ 2601246 w 5192663"/>
              <a:gd name="connsiteY1" fmla="*/ 0 h 6534261"/>
              <a:gd name="connsiteX2" fmla="*/ 5192663 w 5192663"/>
              <a:gd name="connsiteY2" fmla="*/ 2109634 h 6534261"/>
              <a:gd name="connsiteX3" fmla="*/ 5172996 w 5192663"/>
              <a:gd name="connsiteY3" fmla="*/ 5796839 h 6534261"/>
              <a:gd name="connsiteX4" fmla="*/ 4878031 w 5192663"/>
              <a:gd name="connsiteY4" fmla="*/ 6534261 h 6534261"/>
              <a:gd name="connsiteX5" fmla="*/ 383458 w 5192663"/>
              <a:gd name="connsiteY5" fmla="*/ 6150800 h 6534261"/>
              <a:gd name="connsiteX6" fmla="*/ 19663 w 5192663"/>
              <a:gd name="connsiteY6" fmla="*/ 5580529 h 6534261"/>
              <a:gd name="connsiteX7" fmla="*/ 0 w 5192663"/>
              <a:gd name="connsiteY7" fmla="*/ 2158795 h 6534261"/>
              <a:gd name="connsiteX8" fmla="*/ 2601246 w 5192663"/>
              <a:gd name="connsiteY8" fmla="*/ 0 h 6534261"/>
              <a:gd name="connsiteX0" fmla="*/ 2601246 w 5192663"/>
              <a:gd name="connsiteY0" fmla="*/ 0 h 6534261"/>
              <a:gd name="connsiteX1" fmla="*/ 2601246 w 5192663"/>
              <a:gd name="connsiteY1" fmla="*/ 0 h 6534261"/>
              <a:gd name="connsiteX2" fmla="*/ 5192663 w 5192663"/>
              <a:gd name="connsiteY2" fmla="*/ 2109634 h 6534261"/>
              <a:gd name="connsiteX3" fmla="*/ 5172996 w 5192663"/>
              <a:gd name="connsiteY3" fmla="*/ 5796839 h 6534261"/>
              <a:gd name="connsiteX4" fmla="*/ 4878031 w 5192663"/>
              <a:gd name="connsiteY4" fmla="*/ 6534261 h 6534261"/>
              <a:gd name="connsiteX5" fmla="*/ 19663 w 5192663"/>
              <a:gd name="connsiteY5" fmla="*/ 5580529 h 6534261"/>
              <a:gd name="connsiteX6" fmla="*/ 0 w 5192663"/>
              <a:gd name="connsiteY6" fmla="*/ 2158795 h 6534261"/>
              <a:gd name="connsiteX7" fmla="*/ 2601246 w 5192663"/>
              <a:gd name="connsiteY7" fmla="*/ 0 h 6534261"/>
              <a:gd name="connsiteX0" fmla="*/ 2601246 w 5192663"/>
              <a:gd name="connsiteY0" fmla="*/ 0 h 5796839"/>
              <a:gd name="connsiteX1" fmla="*/ 2601246 w 5192663"/>
              <a:gd name="connsiteY1" fmla="*/ 0 h 5796839"/>
              <a:gd name="connsiteX2" fmla="*/ 5192663 w 5192663"/>
              <a:gd name="connsiteY2" fmla="*/ 2109634 h 5796839"/>
              <a:gd name="connsiteX3" fmla="*/ 5172996 w 5192663"/>
              <a:gd name="connsiteY3" fmla="*/ 5796839 h 5796839"/>
              <a:gd name="connsiteX4" fmla="*/ 19663 w 5192663"/>
              <a:gd name="connsiteY4" fmla="*/ 5580529 h 5796839"/>
              <a:gd name="connsiteX5" fmla="*/ 0 w 5192663"/>
              <a:gd name="connsiteY5" fmla="*/ 2158795 h 5796839"/>
              <a:gd name="connsiteX6" fmla="*/ 2601246 w 5192663"/>
              <a:gd name="connsiteY6" fmla="*/ 0 h 5796839"/>
              <a:gd name="connsiteX0" fmla="*/ 2601246 w 5202492"/>
              <a:gd name="connsiteY0" fmla="*/ 0 h 5904994"/>
              <a:gd name="connsiteX1" fmla="*/ 2601246 w 5202492"/>
              <a:gd name="connsiteY1" fmla="*/ 0 h 5904994"/>
              <a:gd name="connsiteX2" fmla="*/ 5192663 w 5202492"/>
              <a:gd name="connsiteY2" fmla="*/ 2109634 h 5904994"/>
              <a:gd name="connsiteX3" fmla="*/ 5202492 w 5202492"/>
              <a:gd name="connsiteY3" fmla="*/ 5904994 h 5904994"/>
              <a:gd name="connsiteX4" fmla="*/ 19663 w 5202492"/>
              <a:gd name="connsiteY4" fmla="*/ 5580529 h 5904994"/>
              <a:gd name="connsiteX5" fmla="*/ 0 w 5202492"/>
              <a:gd name="connsiteY5" fmla="*/ 2158795 h 5904994"/>
              <a:gd name="connsiteX6" fmla="*/ 2601246 w 5202492"/>
              <a:gd name="connsiteY6" fmla="*/ 0 h 5904994"/>
              <a:gd name="connsiteX0" fmla="*/ 2601246 w 5202492"/>
              <a:gd name="connsiteY0" fmla="*/ 0 h 5904994"/>
              <a:gd name="connsiteX1" fmla="*/ 2601246 w 5202492"/>
              <a:gd name="connsiteY1" fmla="*/ 0 h 5904994"/>
              <a:gd name="connsiteX2" fmla="*/ 5192663 w 5202492"/>
              <a:gd name="connsiteY2" fmla="*/ 2109634 h 5904994"/>
              <a:gd name="connsiteX3" fmla="*/ 5202492 w 5202492"/>
              <a:gd name="connsiteY3" fmla="*/ 5904994 h 5904994"/>
              <a:gd name="connsiteX4" fmla="*/ 19663 w 5202492"/>
              <a:gd name="connsiteY4" fmla="*/ 5904993 h 5904994"/>
              <a:gd name="connsiteX5" fmla="*/ 0 w 5202492"/>
              <a:gd name="connsiteY5" fmla="*/ 2158795 h 5904994"/>
              <a:gd name="connsiteX6" fmla="*/ 2601246 w 5202492"/>
              <a:gd name="connsiteY6" fmla="*/ 0 h 5904994"/>
              <a:gd name="connsiteX0" fmla="*/ 2601247 w 5202493"/>
              <a:gd name="connsiteY0" fmla="*/ 0 h 5904994"/>
              <a:gd name="connsiteX1" fmla="*/ 2601247 w 5202493"/>
              <a:gd name="connsiteY1" fmla="*/ 0 h 5904994"/>
              <a:gd name="connsiteX2" fmla="*/ 5192664 w 5202493"/>
              <a:gd name="connsiteY2" fmla="*/ 2109634 h 5904994"/>
              <a:gd name="connsiteX3" fmla="*/ 5202493 w 5202493"/>
              <a:gd name="connsiteY3" fmla="*/ 5904994 h 5904994"/>
              <a:gd name="connsiteX4" fmla="*/ 0 w 5202493"/>
              <a:gd name="connsiteY4" fmla="*/ 5904993 h 5904994"/>
              <a:gd name="connsiteX5" fmla="*/ 1 w 5202493"/>
              <a:gd name="connsiteY5" fmla="*/ 2158795 h 5904994"/>
              <a:gd name="connsiteX6" fmla="*/ 2601247 w 5202493"/>
              <a:gd name="connsiteY6" fmla="*/ 0 h 5904994"/>
              <a:gd name="connsiteX0" fmla="*/ 2601247 w 5192947"/>
              <a:gd name="connsiteY0" fmla="*/ 2893767 h 8798760"/>
              <a:gd name="connsiteX1" fmla="*/ 2601247 w 5192947"/>
              <a:gd name="connsiteY1" fmla="*/ 2893767 h 8798760"/>
              <a:gd name="connsiteX2" fmla="*/ 5192664 w 5192947"/>
              <a:gd name="connsiteY2" fmla="*/ 5003401 h 8798760"/>
              <a:gd name="connsiteX3" fmla="*/ 5173000 w 5192947"/>
              <a:gd name="connsiteY3" fmla="*/ 146370 h 8798760"/>
              <a:gd name="connsiteX4" fmla="*/ 0 w 5192947"/>
              <a:gd name="connsiteY4" fmla="*/ 8798760 h 8798760"/>
              <a:gd name="connsiteX5" fmla="*/ 1 w 5192947"/>
              <a:gd name="connsiteY5" fmla="*/ 5052562 h 8798760"/>
              <a:gd name="connsiteX6" fmla="*/ 2601247 w 5192947"/>
              <a:gd name="connsiteY6" fmla="*/ 2893767 h 8798760"/>
              <a:gd name="connsiteX0" fmla="*/ 2601247 w 5192947"/>
              <a:gd name="connsiteY0" fmla="*/ 2893767 h 5164111"/>
              <a:gd name="connsiteX1" fmla="*/ 2601247 w 5192947"/>
              <a:gd name="connsiteY1" fmla="*/ 2893767 h 5164111"/>
              <a:gd name="connsiteX2" fmla="*/ 5192664 w 5192947"/>
              <a:gd name="connsiteY2" fmla="*/ 5003401 h 5164111"/>
              <a:gd name="connsiteX3" fmla="*/ 5173000 w 5192947"/>
              <a:gd name="connsiteY3" fmla="*/ 146370 h 5164111"/>
              <a:gd name="connsiteX4" fmla="*/ 0 w 5192947"/>
              <a:gd name="connsiteY4" fmla="*/ 126706 h 5164111"/>
              <a:gd name="connsiteX5" fmla="*/ 1 w 5192947"/>
              <a:gd name="connsiteY5" fmla="*/ 5052562 h 5164111"/>
              <a:gd name="connsiteX6" fmla="*/ 2601247 w 5192947"/>
              <a:gd name="connsiteY6" fmla="*/ 2893767 h 5164111"/>
              <a:gd name="connsiteX0" fmla="*/ 2601247 w 5202496"/>
              <a:gd name="connsiteY0" fmla="*/ 2903424 h 5173768"/>
              <a:gd name="connsiteX1" fmla="*/ 2601247 w 5202496"/>
              <a:gd name="connsiteY1" fmla="*/ 2903424 h 5173768"/>
              <a:gd name="connsiteX2" fmla="*/ 5192664 w 5202496"/>
              <a:gd name="connsiteY2" fmla="*/ 5013058 h 5173768"/>
              <a:gd name="connsiteX3" fmla="*/ 5202496 w 5202496"/>
              <a:gd name="connsiteY3" fmla="*/ 146194 h 5173768"/>
              <a:gd name="connsiteX4" fmla="*/ 0 w 5202496"/>
              <a:gd name="connsiteY4" fmla="*/ 136363 h 5173768"/>
              <a:gd name="connsiteX5" fmla="*/ 1 w 5202496"/>
              <a:gd name="connsiteY5" fmla="*/ 5062219 h 5173768"/>
              <a:gd name="connsiteX6" fmla="*/ 2601247 w 5202496"/>
              <a:gd name="connsiteY6" fmla="*/ 2903424 h 5173768"/>
              <a:gd name="connsiteX0" fmla="*/ 2611407 w 5212656"/>
              <a:gd name="connsiteY0" fmla="*/ 2903424 h 5194209"/>
              <a:gd name="connsiteX1" fmla="*/ 2611407 w 5212656"/>
              <a:gd name="connsiteY1" fmla="*/ 2903424 h 5194209"/>
              <a:gd name="connsiteX2" fmla="*/ 5202824 w 5212656"/>
              <a:gd name="connsiteY2" fmla="*/ 5013058 h 5194209"/>
              <a:gd name="connsiteX3" fmla="*/ 5212656 w 5212656"/>
              <a:gd name="connsiteY3" fmla="*/ 146194 h 5194209"/>
              <a:gd name="connsiteX4" fmla="*/ 0 w 5212656"/>
              <a:gd name="connsiteY4" fmla="*/ 1335243 h 5194209"/>
              <a:gd name="connsiteX5" fmla="*/ 10161 w 5212656"/>
              <a:gd name="connsiteY5" fmla="*/ 5062219 h 5194209"/>
              <a:gd name="connsiteX6" fmla="*/ 2611407 w 5212656"/>
              <a:gd name="connsiteY6" fmla="*/ 2903424 h 5194209"/>
              <a:gd name="connsiteX0" fmla="*/ 2611407 w 5203244"/>
              <a:gd name="connsiteY0" fmla="*/ 1759412 h 4050197"/>
              <a:gd name="connsiteX1" fmla="*/ 2611407 w 5203244"/>
              <a:gd name="connsiteY1" fmla="*/ 1759412 h 4050197"/>
              <a:gd name="connsiteX2" fmla="*/ 5202824 w 5203244"/>
              <a:gd name="connsiteY2" fmla="*/ 3869046 h 4050197"/>
              <a:gd name="connsiteX3" fmla="*/ 5192339 w 5203244"/>
              <a:gd name="connsiteY3" fmla="*/ 170582 h 4050197"/>
              <a:gd name="connsiteX4" fmla="*/ 0 w 5203244"/>
              <a:gd name="connsiteY4" fmla="*/ 191231 h 4050197"/>
              <a:gd name="connsiteX5" fmla="*/ 10161 w 5203244"/>
              <a:gd name="connsiteY5" fmla="*/ 3918207 h 4050197"/>
              <a:gd name="connsiteX6" fmla="*/ 2611407 w 5203244"/>
              <a:gd name="connsiteY6" fmla="*/ 1759412 h 4050197"/>
              <a:gd name="connsiteX0" fmla="*/ 2601246 w 5193083"/>
              <a:gd name="connsiteY0" fmla="*/ 1759412 h 4049585"/>
              <a:gd name="connsiteX1" fmla="*/ 2601246 w 5193083"/>
              <a:gd name="connsiteY1" fmla="*/ 1759412 h 4049585"/>
              <a:gd name="connsiteX2" fmla="*/ 5192663 w 5193083"/>
              <a:gd name="connsiteY2" fmla="*/ 3869046 h 4049585"/>
              <a:gd name="connsiteX3" fmla="*/ 5182178 w 5193083"/>
              <a:gd name="connsiteY3" fmla="*/ 170582 h 4049585"/>
              <a:gd name="connsiteX4" fmla="*/ 1 w 5193083"/>
              <a:gd name="connsiteY4" fmla="*/ 160751 h 4049585"/>
              <a:gd name="connsiteX5" fmla="*/ 0 w 5193083"/>
              <a:gd name="connsiteY5" fmla="*/ 3918207 h 4049585"/>
              <a:gd name="connsiteX6" fmla="*/ 2601246 w 5193083"/>
              <a:gd name="connsiteY6" fmla="*/ 1759412 h 4049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93083" h="4049585">
                <a:moveTo>
                  <a:pt x="2601246" y="1759412"/>
                </a:moveTo>
                <a:lnTo>
                  <a:pt x="2601246" y="1759412"/>
                </a:lnTo>
                <a:cubicBezTo>
                  <a:pt x="4021584" y="1759412"/>
                  <a:pt x="5192663" y="2448708"/>
                  <a:pt x="5192663" y="3869046"/>
                </a:cubicBezTo>
                <a:cubicBezTo>
                  <a:pt x="5195939" y="5134166"/>
                  <a:pt x="5178902" y="-1094538"/>
                  <a:pt x="5182178" y="170582"/>
                </a:cubicBezTo>
                <a:lnTo>
                  <a:pt x="1" y="160751"/>
                </a:lnTo>
                <a:cubicBezTo>
                  <a:pt x="1" y="-914279"/>
                  <a:pt x="0" y="4993237"/>
                  <a:pt x="0" y="3918207"/>
                </a:cubicBezTo>
                <a:cubicBezTo>
                  <a:pt x="0" y="2497869"/>
                  <a:pt x="1180908" y="1759412"/>
                  <a:pt x="2601246" y="1759412"/>
                </a:cubicBezTo>
                <a:close/>
              </a:path>
            </a:pathLst>
          </a:custGeom>
          <a:solidFill>
            <a:srgbClr val="E6E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2000"/>
              </a:lnSpc>
            </a:pPr>
            <a:endParaRPr lang="en-NL" sz="1867"/>
          </a:p>
        </p:txBody>
      </p:sp>
      <p:sp>
        <p:nvSpPr>
          <p:cNvPr id="12" name="Slide Number Placeholder 5">
            <a:extLst>
              <a:ext uri="{FF2B5EF4-FFF2-40B4-BE49-F238E27FC236}">
                <a16:creationId xmlns:a16="http://schemas.microsoft.com/office/drawing/2014/main" id="{8B5166B9-B04F-6247-AEE7-CB1FCA2DAEBB}"/>
              </a:ext>
            </a:extLst>
          </p:cNvPr>
          <p:cNvSpPr>
            <a:spLocks noGrp="1"/>
          </p:cNvSpPr>
          <p:nvPr>
            <p:ph type="sldNum" sz="quarter" idx="12"/>
          </p:nvPr>
        </p:nvSpPr>
        <p:spPr>
          <a:xfrm>
            <a:off x="580291" y="6491400"/>
            <a:ext cx="147476" cy="102657"/>
          </a:xfrm>
        </p:spPr>
        <p:txBody>
          <a:bodyPr/>
          <a:lstStyle/>
          <a:p>
            <a:fld id="{9BE0E23E-9022-4929-B297-EB2777CDBB1F}" type="slidenum">
              <a:rPr lang="en-US" smtClean="0"/>
              <a:t>‹#›</a:t>
            </a:fld>
            <a:endParaRPr lang="en-US"/>
          </a:p>
        </p:txBody>
      </p:sp>
      <p:sp>
        <p:nvSpPr>
          <p:cNvPr id="5" name="Picture Placeholder 4">
            <a:extLst>
              <a:ext uri="{FF2B5EF4-FFF2-40B4-BE49-F238E27FC236}">
                <a16:creationId xmlns:a16="http://schemas.microsoft.com/office/drawing/2014/main" id="{B305BA50-CA29-D349-93A4-0113FA5FACA7}"/>
              </a:ext>
            </a:extLst>
          </p:cNvPr>
          <p:cNvSpPr>
            <a:spLocks noGrp="1"/>
          </p:cNvSpPr>
          <p:nvPr>
            <p:ph type="pic" sz="quarter" idx="13" hasCustomPrompt="1"/>
          </p:nvPr>
        </p:nvSpPr>
        <p:spPr>
          <a:xfrm>
            <a:off x="7451160" y="3811"/>
            <a:ext cx="4740841" cy="6858000"/>
          </a:xfrm>
        </p:spPr>
        <p:txBody>
          <a:bodyPr anchor="ctr"/>
          <a:lstStyle>
            <a:lvl1pPr marL="0" indent="0" algn="ctr">
              <a:buNone/>
              <a:defRPr/>
            </a:lvl1pPr>
          </a:lstStyle>
          <a:p>
            <a:r>
              <a:rPr lang="en-GB"/>
              <a:t>I</a:t>
            </a:r>
            <a:r>
              <a:rPr lang="en-NL"/>
              <a:t>nsert mockup</a:t>
            </a:r>
          </a:p>
        </p:txBody>
      </p:sp>
      <p:sp>
        <p:nvSpPr>
          <p:cNvPr id="10" name="Title 1">
            <a:extLst>
              <a:ext uri="{FF2B5EF4-FFF2-40B4-BE49-F238E27FC236}">
                <a16:creationId xmlns:a16="http://schemas.microsoft.com/office/drawing/2014/main" id="{BEE87524-CD75-B64D-B431-55F09686FA4C}"/>
              </a:ext>
            </a:extLst>
          </p:cNvPr>
          <p:cNvSpPr>
            <a:spLocks noGrp="1"/>
          </p:cNvSpPr>
          <p:nvPr>
            <p:ph type="title" hasCustomPrompt="1"/>
          </p:nvPr>
        </p:nvSpPr>
        <p:spPr>
          <a:xfrm>
            <a:off x="575733" y="548218"/>
            <a:ext cx="8041671" cy="1036965"/>
          </a:xfrm>
        </p:spPr>
        <p:txBody>
          <a:bodyPr/>
          <a:lstStyle>
            <a:lvl1pPr>
              <a:defRPr>
                <a:solidFill>
                  <a:schemeClr val="accent2"/>
                </a:solidFill>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lang="en-US" sz="2667" b="1">
                <a:solidFill>
                  <a:srgbClr val="00B050"/>
                </a:solidFill>
                <a:latin typeface="Verdana"/>
                <a:ea typeface="+mn-ea"/>
                <a:cs typeface="+mn-cs"/>
              </a:rPr>
              <a:t>Concept </a:t>
            </a:r>
            <a:r>
              <a:rPr lang="en-US"/>
              <a:t>- </a:t>
            </a:r>
            <a:r>
              <a:rPr lang="en-US">
                <a:solidFill>
                  <a:schemeClr val="accent2"/>
                </a:solidFill>
              </a:rPr>
              <a:t>Description Lorem Ipsum</a:t>
            </a:r>
            <a:endParaRPr lang="en-US"/>
          </a:p>
        </p:txBody>
      </p:sp>
      <p:sp>
        <p:nvSpPr>
          <p:cNvPr id="7" name="Footer Placeholder 4">
            <a:extLst>
              <a:ext uri="{FF2B5EF4-FFF2-40B4-BE49-F238E27FC236}">
                <a16:creationId xmlns:a16="http://schemas.microsoft.com/office/drawing/2014/main" id="{2B24D15C-5D45-E153-AAA6-7561435A1CF5}"/>
              </a:ext>
            </a:extLst>
          </p:cNvPr>
          <p:cNvSpPr>
            <a:spLocks noGrp="1"/>
          </p:cNvSpPr>
          <p:nvPr>
            <p:ph type="ftr" sz="quarter" idx="3"/>
          </p:nvPr>
        </p:nvSpPr>
        <p:spPr>
          <a:xfrm>
            <a:off x="848862" y="6491433"/>
            <a:ext cx="1066532" cy="102592"/>
          </a:xfrm>
          <a:prstGeom prst="rect">
            <a:avLst/>
          </a:prstGeom>
        </p:spPr>
        <p:txBody>
          <a:bodyPr vert="horz" wrap="none" lIns="0" tIns="0" rIns="0" bIns="0" rtlCol="0" anchor="ctr">
            <a:spAutoFit/>
          </a:bodyPr>
          <a:lstStyle>
            <a:lvl1pPr marL="0" marR="0" indent="0" algn="l" defTabSz="609585" rtl="0" eaLnBrk="1" fontAlgn="auto" latinLnBrk="0" hangingPunct="1">
              <a:lnSpc>
                <a:spcPct val="100000"/>
              </a:lnSpc>
              <a:spcBef>
                <a:spcPts val="0"/>
              </a:spcBef>
              <a:spcAft>
                <a:spcPts val="0"/>
              </a:spcAft>
              <a:buClrTx/>
              <a:buSzTx/>
              <a:buFontTx/>
              <a:buNone/>
              <a:tabLst/>
              <a:defRPr sz="667">
                <a:solidFill>
                  <a:schemeClr val="tx1">
                    <a:tint val="75000"/>
                  </a:schemeClr>
                </a:solidFill>
              </a:defRPr>
            </a:lvl1pPr>
          </a:lstStyle>
          <a:p>
            <a:r>
              <a:rPr lang="en-US"/>
              <a:t>FrieslandCampina Ingredients | Confidential</a:t>
            </a:r>
          </a:p>
        </p:txBody>
      </p:sp>
      <p:sp>
        <p:nvSpPr>
          <p:cNvPr id="15" name="TextBox 14">
            <a:extLst>
              <a:ext uri="{FF2B5EF4-FFF2-40B4-BE49-F238E27FC236}">
                <a16:creationId xmlns:a16="http://schemas.microsoft.com/office/drawing/2014/main" id="{E6E728CB-2FB5-F6FE-9143-E545BE1AB68F}"/>
              </a:ext>
            </a:extLst>
          </p:cNvPr>
          <p:cNvSpPr txBox="1"/>
          <p:nvPr userDrawn="1"/>
        </p:nvSpPr>
        <p:spPr>
          <a:xfrm>
            <a:off x="575733" y="1801707"/>
            <a:ext cx="3930748" cy="229799"/>
          </a:xfrm>
          <a:prstGeom prst="rect">
            <a:avLst/>
          </a:prstGeom>
          <a:noFill/>
        </p:spPr>
        <p:txBody>
          <a:bodyPr wrap="square" lIns="0" tIns="0" rIns="0" bIns="0" rtlCol="0">
            <a:noAutofit/>
          </a:bodyPr>
          <a:lstStyle/>
          <a:p>
            <a:pPr marL="0" marR="0" lvl="0" indent="0" algn="l" defTabSz="609539" rtl="0" eaLnBrk="1" fontAlgn="auto" latinLnBrk="0" hangingPunct="1">
              <a:lnSpc>
                <a:spcPct val="100000"/>
              </a:lnSpc>
              <a:spcBef>
                <a:spcPts val="600"/>
              </a:spcBef>
              <a:spcAft>
                <a:spcPts val="0"/>
              </a:spcAft>
              <a:buClr>
                <a:srgbClr val="0094D9"/>
              </a:buClr>
              <a:buSzTx/>
              <a:buFontTx/>
              <a:buNone/>
              <a:tabLst/>
              <a:defRPr/>
            </a:pPr>
            <a:r>
              <a:rPr kumimoji="0" lang="en-US" sz="1333" b="1" i="0" u="none" strike="noStrike" kern="0" cap="none" spc="0" normalizeH="0" baseline="0" noProof="0">
                <a:ln>
                  <a:noFill/>
                </a:ln>
                <a:solidFill>
                  <a:srgbClr val="39B54A"/>
                </a:solidFill>
                <a:effectLst/>
                <a:uLnTx/>
                <a:uFillTx/>
                <a:latin typeface="Verdana"/>
                <a:ea typeface="+mn-ea"/>
                <a:cs typeface="+mn-cs"/>
              </a:rPr>
              <a:t>Customer benefits </a:t>
            </a:r>
          </a:p>
        </p:txBody>
      </p:sp>
      <p:sp>
        <p:nvSpPr>
          <p:cNvPr id="16" name="TextBox 15">
            <a:extLst>
              <a:ext uri="{FF2B5EF4-FFF2-40B4-BE49-F238E27FC236}">
                <a16:creationId xmlns:a16="http://schemas.microsoft.com/office/drawing/2014/main" id="{3E338D07-1095-F695-DE98-4055DD523B8F}"/>
              </a:ext>
            </a:extLst>
          </p:cNvPr>
          <p:cNvSpPr txBox="1"/>
          <p:nvPr userDrawn="1"/>
        </p:nvSpPr>
        <p:spPr>
          <a:xfrm>
            <a:off x="575733" y="3843159"/>
            <a:ext cx="3930748" cy="229799"/>
          </a:xfrm>
          <a:prstGeom prst="rect">
            <a:avLst/>
          </a:prstGeom>
          <a:noFill/>
        </p:spPr>
        <p:txBody>
          <a:bodyPr wrap="square" lIns="0" tIns="0" rIns="0" bIns="0" rtlCol="0">
            <a:noAutofit/>
          </a:bodyPr>
          <a:lstStyle/>
          <a:p>
            <a:pPr marL="0" marR="0" lvl="0" indent="0" algn="l" defTabSz="609539" rtl="0" eaLnBrk="1" fontAlgn="auto" latinLnBrk="0" hangingPunct="1">
              <a:lnSpc>
                <a:spcPct val="100000"/>
              </a:lnSpc>
              <a:spcBef>
                <a:spcPts val="600"/>
              </a:spcBef>
              <a:spcAft>
                <a:spcPts val="0"/>
              </a:spcAft>
              <a:buClr>
                <a:srgbClr val="0094D9"/>
              </a:buClr>
              <a:buSzTx/>
              <a:buFontTx/>
              <a:buNone/>
              <a:tabLst/>
              <a:defRPr/>
            </a:pPr>
            <a:r>
              <a:rPr kumimoji="0" lang="en-US" sz="1333" b="1" i="0" u="none" strike="noStrike" kern="0" cap="none" spc="0" normalizeH="0" baseline="0" noProof="0">
                <a:ln>
                  <a:noFill/>
                </a:ln>
                <a:solidFill>
                  <a:srgbClr val="39B54A"/>
                </a:solidFill>
                <a:effectLst/>
                <a:uLnTx/>
                <a:uFillTx/>
                <a:latin typeface="Verdana"/>
                <a:ea typeface="+mn-ea"/>
                <a:cs typeface="+mn-cs"/>
              </a:rPr>
              <a:t>Market drivers </a:t>
            </a:r>
          </a:p>
        </p:txBody>
      </p:sp>
      <p:sp>
        <p:nvSpPr>
          <p:cNvPr id="17" name="TextBox 16">
            <a:extLst>
              <a:ext uri="{FF2B5EF4-FFF2-40B4-BE49-F238E27FC236}">
                <a16:creationId xmlns:a16="http://schemas.microsoft.com/office/drawing/2014/main" id="{57A91186-C4C6-AB55-04F8-E2E52C873388}"/>
              </a:ext>
            </a:extLst>
          </p:cNvPr>
          <p:cNvSpPr txBox="1"/>
          <p:nvPr userDrawn="1"/>
        </p:nvSpPr>
        <p:spPr>
          <a:xfrm>
            <a:off x="4686989" y="1801707"/>
            <a:ext cx="3930748" cy="229799"/>
          </a:xfrm>
          <a:prstGeom prst="rect">
            <a:avLst/>
          </a:prstGeom>
          <a:noFill/>
        </p:spPr>
        <p:txBody>
          <a:bodyPr wrap="square" lIns="0" tIns="0" rIns="0" bIns="0" rtlCol="0">
            <a:noAutofit/>
          </a:bodyPr>
          <a:lstStyle/>
          <a:p>
            <a:pPr marL="0" marR="0" lvl="0" indent="0" algn="l" defTabSz="609539" rtl="0" eaLnBrk="1" fontAlgn="auto" latinLnBrk="0" hangingPunct="1">
              <a:lnSpc>
                <a:spcPct val="100000"/>
              </a:lnSpc>
              <a:spcBef>
                <a:spcPts val="600"/>
              </a:spcBef>
              <a:spcAft>
                <a:spcPts val="0"/>
              </a:spcAft>
              <a:buClr>
                <a:srgbClr val="0094D9"/>
              </a:buClr>
              <a:buSzTx/>
              <a:buFontTx/>
              <a:buNone/>
              <a:tabLst/>
              <a:defRPr/>
            </a:pPr>
            <a:r>
              <a:rPr kumimoji="0" lang="en-US" sz="1333" b="1" i="0" u="none" strike="noStrike" kern="0" cap="none" spc="0" normalizeH="0" baseline="0" noProof="0">
                <a:ln>
                  <a:noFill/>
                </a:ln>
                <a:solidFill>
                  <a:srgbClr val="39B54A"/>
                </a:solidFill>
                <a:effectLst/>
                <a:uLnTx/>
                <a:uFillTx/>
                <a:latin typeface="Verdana"/>
                <a:ea typeface="+mn-ea"/>
                <a:cs typeface="+mn-cs"/>
              </a:rPr>
              <a:t>Positioning</a:t>
            </a:r>
          </a:p>
        </p:txBody>
      </p:sp>
      <p:sp>
        <p:nvSpPr>
          <p:cNvPr id="18" name="TextBox 17">
            <a:extLst>
              <a:ext uri="{FF2B5EF4-FFF2-40B4-BE49-F238E27FC236}">
                <a16:creationId xmlns:a16="http://schemas.microsoft.com/office/drawing/2014/main" id="{64511785-F0EA-F3A4-E8CC-B47E8F5B9BDC}"/>
              </a:ext>
            </a:extLst>
          </p:cNvPr>
          <p:cNvSpPr txBox="1"/>
          <p:nvPr userDrawn="1"/>
        </p:nvSpPr>
        <p:spPr>
          <a:xfrm>
            <a:off x="4672813" y="3843159"/>
            <a:ext cx="3930748" cy="229799"/>
          </a:xfrm>
          <a:prstGeom prst="rect">
            <a:avLst/>
          </a:prstGeom>
          <a:noFill/>
        </p:spPr>
        <p:txBody>
          <a:bodyPr wrap="square" lIns="0" tIns="0" rIns="0" bIns="0" rtlCol="0">
            <a:noAutofit/>
          </a:bodyPr>
          <a:lstStyle/>
          <a:p>
            <a:pPr marL="0" marR="0" lvl="0" indent="0" algn="l" defTabSz="609539" rtl="0" eaLnBrk="1" fontAlgn="auto" latinLnBrk="0" hangingPunct="1">
              <a:lnSpc>
                <a:spcPct val="100000"/>
              </a:lnSpc>
              <a:spcBef>
                <a:spcPts val="600"/>
              </a:spcBef>
              <a:spcAft>
                <a:spcPts val="0"/>
              </a:spcAft>
              <a:buClr>
                <a:srgbClr val="0094D9"/>
              </a:buClr>
              <a:buSzTx/>
              <a:buFontTx/>
              <a:buNone/>
              <a:tabLst/>
              <a:defRPr/>
            </a:pPr>
            <a:r>
              <a:rPr kumimoji="0" lang="en-US" sz="1333" b="1" i="0" u="none" strike="noStrike" kern="0" cap="none" spc="0" normalizeH="0" baseline="0" noProof="0">
                <a:ln>
                  <a:noFill/>
                </a:ln>
                <a:solidFill>
                  <a:srgbClr val="39B54A"/>
                </a:solidFill>
                <a:effectLst/>
                <a:uLnTx/>
                <a:uFillTx/>
                <a:latin typeface="Verdana"/>
                <a:ea typeface="+mn-ea"/>
                <a:cs typeface="+mn-cs"/>
              </a:rPr>
              <a:t>Target group</a:t>
            </a:r>
          </a:p>
        </p:txBody>
      </p:sp>
      <p:sp>
        <p:nvSpPr>
          <p:cNvPr id="21" name="Text Placeholder 20">
            <a:extLst>
              <a:ext uri="{FF2B5EF4-FFF2-40B4-BE49-F238E27FC236}">
                <a16:creationId xmlns:a16="http://schemas.microsoft.com/office/drawing/2014/main" id="{62D24384-975E-2F87-48FD-4764326D56A0}"/>
              </a:ext>
            </a:extLst>
          </p:cNvPr>
          <p:cNvSpPr>
            <a:spLocks noGrp="1"/>
          </p:cNvSpPr>
          <p:nvPr>
            <p:ph type="body" sz="quarter" idx="17" hasCustomPrompt="1"/>
          </p:nvPr>
        </p:nvSpPr>
        <p:spPr>
          <a:xfrm>
            <a:off x="575733" y="2041448"/>
            <a:ext cx="3930651" cy="1653187"/>
          </a:xfrm>
        </p:spPr>
        <p:txBody>
          <a:bodyPr/>
          <a:lstStyle>
            <a:lvl1pPr>
              <a:defRPr sz="1200"/>
            </a:lvl1pPr>
            <a:lvl2pPr>
              <a:defRPr sz="1200"/>
            </a:lvl2pPr>
            <a:lvl3pPr>
              <a:defRPr sz="1200"/>
            </a:lvl3pPr>
            <a:lvl4pPr>
              <a:defRPr sz="1200"/>
            </a:lvl4pPr>
            <a:lvl5pPr>
              <a:defRPr sz="1200"/>
            </a:lvl5pPr>
          </a:lstStyle>
          <a:p>
            <a:pPr lvl="0"/>
            <a:r>
              <a:rPr lang="en-GB"/>
              <a:t>Lorem ipsum</a:t>
            </a:r>
          </a:p>
          <a:p>
            <a:pPr lvl="0"/>
            <a:r>
              <a:rPr lang="en-GB"/>
              <a:t>Lorem ipsum</a:t>
            </a:r>
          </a:p>
          <a:p>
            <a:pPr lvl="0"/>
            <a:r>
              <a:rPr lang="en-GB"/>
              <a:t>Lorem ipsum</a:t>
            </a:r>
            <a:endParaRPr lang="en-NL"/>
          </a:p>
        </p:txBody>
      </p:sp>
      <p:sp>
        <p:nvSpPr>
          <p:cNvPr id="22" name="Text Placeholder 20">
            <a:extLst>
              <a:ext uri="{FF2B5EF4-FFF2-40B4-BE49-F238E27FC236}">
                <a16:creationId xmlns:a16="http://schemas.microsoft.com/office/drawing/2014/main" id="{21E24B73-207D-7EBB-B4F9-6BD74623936B}"/>
              </a:ext>
            </a:extLst>
          </p:cNvPr>
          <p:cNvSpPr>
            <a:spLocks noGrp="1"/>
          </p:cNvSpPr>
          <p:nvPr>
            <p:ph type="body" sz="quarter" idx="18" hasCustomPrompt="1"/>
          </p:nvPr>
        </p:nvSpPr>
        <p:spPr>
          <a:xfrm>
            <a:off x="4686752" y="2041448"/>
            <a:ext cx="3930651" cy="1653187"/>
          </a:xfrm>
        </p:spPr>
        <p:txBody>
          <a:bodyPr/>
          <a:lstStyle>
            <a:lvl1pPr>
              <a:defRPr sz="1200"/>
            </a:lvl1pPr>
            <a:lvl2pPr>
              <a:defRPr sz="1200"/>
            </a:lvl2pPr>
            <a:lvl3pPr>
              <a:defRPr sz="1200"/>
            </a:lvl3pPr>
            <a:lvl4pPr>
              <a:defRPr sz="1200"/>
            </a:lvl4pPr>
            <a:lvl5pPr>
              <a:defRPr sz="1200"/>
            </a:lvl5pPr>
          </a:lstStyle>
          <a:p>
            <a:pPr lvl="0"/>
            <a:r>
              <a:rPr lang="en-GB"/>
              <a:t>Lorem ipsum</a:t>
            </a:r>
          </a:p>
          <a:p>
            <a:pPr lvl="0"/>
            <a:r>
              <a:rPr lang="en-GB"/>
              <a:t>Lorem ipsum</a:t>
            </a:r>
          </a:p>
          <a:p>
            <a:pPr lvl="0"/>
            <a:r>
              <a:rPr lang="en-GB"/>
              <a:t>Lorem ipsum</a:t>
            </a:r>
            <a:endParaRPr lang="en-NL"/>
          </a:p>
        </p:txBody>
      </p:sp>
      <p:sp>
        <p:nvSpPr>
          <p:cNvPr id="23" name="Text Placeholder 20">
            <a:extLst>
              <a:ext uri="{FF2B5EF4-FFF2-40B4-BE49-F238E27FC236}">
                <a16:creationId xmlns:a16="http://schemas.microsoft.com/office/drawing/2014/main" id="{34BAEC3F-20E1-37D3-B464-3B78E1F0A1F0}"/>
              </a:ext>
            </a:extLst>
          </p:cNvPr>
          <p:cNvSpPr>
            <a:spLocks noGrp="1"/>
          </p:cNvSpPr>
          <p:nvPr>
            <p:ph type="body" sz="quarter" idx="19" hasCustomPrompt="1"/>
          </p:nvPr>
        </p:nvSpPr>
        <p:spPr>
          <a:xfrm>
            <a:off x="575733" y="4097076"/>
            <a:ext cx="3930651" cy="1653187"/>
          </a:xfrm>
        </p:spPr>
        <p:txBody>
          <a:bodyPr/>
          <a:lstStyle>
            <a:lvl1pPr>
              <a:defRPr sz="1200"/>
            </a:lvl1pPr>
            <a:lvl2pPr>
              <a:defRPr sz="1200"/>
            </a:lvl2pPr>
            <a:lvl3pPr>
              <a:defRPr sz="1200"/>
            </a:lvl3pPr>
            <a:lvl4pPr>
              <a:defRPr sz="1200"/>
            </a:lvl4pPr>
            <a:lvl5pPr>
              <a:defRPr sz="1200"/>
            </a:lvl5pPr>
          </a:lstStyle>
          <a:p>
            <a:pPr lvl="0"/>
            <a:r>
              <a:rPr lang="en-GB"/>
              <a:t>Lorem ipsum</a:t>
            </a:r>
          </a:p>
          <a:p>
            <a:pPr lvl="0"/>
            <a:r>
              <a:rPr lang="en-GB"/>
              <a:t>Lorem ipsum</a:t>
            </a:r>
          </a:p>
          <a:p>
            <a:pPr lvl="0"/>
            <a:r>
              <a:rPr lang="en-GB"/>
              <a:t>Lorem ipsum</a:t>
            </a:r>
            <a:endParaRPr lang="en-NL"/>
          </a:p>
        </p:txBody>
      </p:sp>
      <p:sp>
        <p:nvSpPr>
          <p:cNvPr id="24" name="Text Placeholder 20">
            <a:extLst>
              <a:ext uri="{FF2B5EF4-FFF2-40B4-BE49-F238E27FC236}">
                <a16:creationId xmlns:a16="http://schemas.microsoft.com/office/drawing/2014/main" id="{1EFA3E63-0B53-DC0B-7AC4-BD00E5EEB553}"/>
              </a:ext>
            </a:extLst>
          </p:cNvPr>
          <p:cNvSpPr>
            <a:spLocks noGrp="1"/>
          </p:cNvSpPr>
          <p:nvPr>
            <p:ph type="body" sz="quarter" idx="20" hasCustomPrompt="1"/>
          </p:nvPr>
        </p:nvSpPr>
        <p:spPr>
          <a:xfrm>
            <a:off x="4686752" y="4097076"/>
            <a:ext cx="3930651" cy="1653187"/>
          </a:xfrm>
        </p:spPr>
        <p:txBody>
          <a:bodyPr/>
          <a:lstStyle>
            <a:lvl1pPr>
              <a:defRPr sz="1200"/>
            </a:lvl1pPr>
            <a:lvl2pPr>
              <a:defRPr sz="1200"/>
            </a:lvl2pPr>
            <a:lvl3pPr>
              <a:defRPr sz="1200"/>
            </a:lvl3pPr>
            <a:lvl4pPr>
              <a:defRPr sz="1200"/>
            </a:lvl4pPr>
            <a:lvl5pPr>
              <a:defRPr sz="1200"/>
            </a:lvl5pPr>
          </a:lstStyle>
          <a:p>
            <a:pPr lvl="0"/>
            <a:r>
              <a:rPr lang="en-GB"/>
              <a:t>Lorem ipsum</a:t>
            </a:r>
          </a:p>
          <a:p>
            <a:pPr lvl="0"/>
            <a:r>
              <a:rPr lang="en-GB"/>
              <a:t>Lorem ipsum</a:t>
            </a:r>
          </a:p>
          <a:p>
            <a:pPr lvl="0"/>
            <a:r>
              <a:rPr lang="en-GB"/>
              <a:t>Lorem ipsum</a:t>
            </a:r>
            <a:endParaRPr lang="en-NL"/>
          </a:p>
        </p:txBody>
      </p:sp>
    </p:spTree>
    <p:extLst>
      <p:ext uri="{BB962C8B-B14F-4D97-AF65-F5344CB8AC3E}">
        <p14:creationId xmlns:p14="http://schemas.microsoft.com/office/powerpoint/2010/main" val="3512265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9.xml><?xml version="1.0" encoding="utf-8"?>
<p:sldLayout xmlns:a="http://schemas.openxmlformats.org/drawingml/2006/main" xmlns:r="http://schemas.openxmlformats.org/officeDocument/2006/relationships" xmlns:p="http://schemas.openxmlformats.org/presentationml/2006/main" matchingName="Content" type="objOnly">
  <p:cSld name="Content">
    <p:spTree>
      <p:nvGrpSpPr>
        <p:cNvPr id="1" name="Shape 21"/>
        <p:cNvGrpSpPr/>
        <p:nvPr/>
      </p:nvGrpSpPr>
      <p:grpSpPr>
        <a:xfrm>
          <a:off x="0" y="0"/>
          <a:ext cx="0" cy="0"/>
          <a:chOff x="0" y="0"/>
          <a:chExt cx="0" cy="0"/>
        </a:xfrm>
      </p:grpSpPr>
      <p:sp>
        <p:nvSpPr>
          <p:cNvPr id="22" name="Google Shape;22;p26"/>
          <p:cNvSpPr txBox="1">
            <a:spLocks noGrp="1"/>
          </p:cNvSpPr>
          <p:nvPr>
            <p:ph type="body" idx="1"/>
          </p:nvPr>
        </p:nvSpPr>
        <p:spPr>
          <a:xfrm>
            <a:off x="609600" y="274639"/>
            <a:ext cx="10972800" cy="5851525"/>
          </a:xfrm>
          <a:prstGeom prst="rect">
            <a:avLst/>
          </a:prstGeom>
          <a:noFill/>
          <a:ln>
            <a:noFill/>
          </a:ln>
        </p:spPr>
        <p:txBody>
          <a:bodyPr spcFirstLastPara="1" wrap="square" lIns="91425" tIns="45700" rIns="91425" bIns="45700" anchor="t" anchorCtr="0">
            <a:noAutofit/>
          </a:bodyPr>
          <a:lstStyle>
            <a:lvl1pPr marL="457200" lvl="0" indent="-342900" algn="l">
              <a:spcBef>
                <a:spcPts val="360"/>
              </a:spcBef>
              <a:spcAft>
                <a:spcPts val="0"/>
              </a:spcAft>
              <a:buClr>
                <a:schemeClr val="dk1"/>
              </a:buClr>
              <a:buSzPts val="1800"/>
              <a:buChar char="•"/>
              <a:defRPr/>
            </a:lvl1pPr>
            <a:lvl2pPr marL="914400" lvl="1" indent="-342900" algn="l">
              <a:spcBef>
                <a:spcPts val="360"/>
              </a:spcBef>
              <a:spcAft>
                <a:spcPts val="0"/>
              </a:spcAft>
              <a:buClr>
                <a:schemeClr val="dk1"/>
              </a:buClr>
              <a:buSzPts val="1800"/>
              <a:buChar char="–"/>
              <a:defRPr/>
            </a:lvl2pPr>
            <a:lvl3pPr marL="1371600" lvl="2" indent="-342900" algn="l">
              <a:spcBef>
                <a:spcPts val="360"/>
              </a:spcBef>
              <a:spcAft>
                <a:spcPts val="0"/>
              </a:spcAft>
              <a:buClr>
                <a:schemeClr val="dk1"/>
              </a:buClr>
              <a:buSzPts val="1800"/>
              <a:buChar char="•"/>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3" name="Google Shape;23;p26"/>
          <p:cNvSpPr txBox="1">
            <a:spLocks noGrp="1"/>
          </p:cNvSpPr>
          <p:nvPr>
            <p:ph type="dt" idx="10"/>
          </p:nvPr>
        </p:nvSpPr>
        <p:spPr>
          <a:xfrm>
            <a:off x="609600" y="6245225"/>
            <a:ext cx="2844800" cy="476250"/>
          </a:xfrm>
          <a:prstGeom prst="rect">
            <a:avLst/>
          </a:prstGeom>
          <a:noFill/>
          <a:ln>
            <a:noFill/>
          </a:ln>
        </p:spPr>
        <p:txBody>
          <a:bodyPr spcFirstLastPara="1" wrap="square" lIns="91425" tIns="45700" rIns="91425" bIns="45700" anchor="t"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 name="Google Shape;24;p26"/>
          <p:cNvSpPr txBox="1">
            <a:spLocks noGrp="1"/>
          </p:cNvSpPr>
          <p:nvPr>
            <p:ph type="ftr" idx="11"/>
          </p:nvPr>
        </p:nvSpPr>
        <p:spPr>
          <a:xfrm>
            <a:off x="4165600" y="6245225"/>
            <a:ext cx="3860800" cy="476250"/>
          </a:xfrm>
          <a:prstGeom prst="rect">
            <a:avLst/>
          </a:prstGeom>
          <a:noFill/>
          <a:ln>
            <a:noFill/>
          </a:ln>
        </p:spPr>
        <p:txBody>
          <a:bodyPr spcFirstLastPara="1" wrap="square" lIns="91425" tIns="45700" rIns="91425" bIns="45700" anchor="t"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 name="Google Shape;25;p26"/>
          <p:cNvSpPr txBox="1">
            <a:spLocks noGrp="1"/>
          </p:cNvSpPr>
          <p:nvPr>
            <p:ph type="sldNum" idx="12"/>
          </p:nvPr>
        </p:nvSpPr>
        <p:spPr>
          <a:xfrm>
            <a:off x="8737600" y="6245225"/>
            <a:ext cx="2844800" cy="476250"/>
          </a:xfrm>
          <a:prstGeom prst="rect">
            <a:avLst/>
          </a:prstGeom>
          <a:noFill/>
          <a:ln>
            <a:noFill/>
          </a:ln>
        </p:spPr>
        <p:txBody>
          <a:bodyPr spcFirstLastPara="1" wrap="square" lIns="91425" tIns="45700" rIns="91425" bIns="45700" anchor="t" anchorCtr="0">
            <a:noAutofit/>
          </a:bodyPr>
          <a:lstStyle>
            <a:lvl1pPr marL="0" lvl="0" indent="0" algn="r">
              <a:spcBef>
                <a:spcPts val="0"/>
              </a:spcBef>
              <a:spcAft>
                <a:spcPts val="0"/>
              </a:spcAft>
              <a:buNone/>
              <a:defRPr sz="1400">
                <a:solidFill>
                  <a:schemeClr val="dk1"/>
                </a:solidFill>
                <a:latin typeface="Arial"/>
                <a:ea typeface="Arial"/>
                <a:cs typeface="Arial"/>
                <a:sym typeface="Arial"/>
              </a:defRPr>
            </a:lvl1pPr>
            <a:lvl2pPr marL="0" lvl="1" indent="0" algn="r">
              <a:spcBef>
                <a:spcPts val="0"/>
              </a:spcBef>
              <a:spcAft>
                <a:spcPts val="0"/>
              </a:spcAft>
              <a:buNone/>
              <a:defRPr sz="1400">
                <a:solidFill>
                  <a:schemeClr val="dk1"/>
                </a:solidFill>
                <a:latin typeface="Arial"/>
                <a:ea typeface="Arial"/>
                <a:cs typeface="Arial"/>
                <a:sym typeface="Arial"/>
              </a:defRPr>
            </a:lvl2pPr>
            <a:lvl3pPr marL="0" lvl="2" indent="0" algn="r">
              <a:spcBef>
                <a:spcPts val="0"/>
              </a:spcBef>
              <a:spcAft>
                <a:spcPts val="0"/>
              </a:spcAft>
              <a:buNone/>
              <a:defRPr sz="1400">
                <a:solidFill>
                  <a:schemeClr val="dk1"/>
                </a:solidFill>
                <a:latin typeface="Arial"/>
                <a:ea typeface="Arial"/>
                <a:cs typeface="Arial"/>
                <a:sym typeface="Arial"/>
              </a:defRPr>
            </a:lvl3pPr>
            <a:lvl4pPr marL="0" lvl="3" indent="0" algn="r">
              <a:spcBef>
                <a:spcPts val="0"/>
              </a:spcBef>
              <a:spcAft>
                <a:spcPts val="0"/>
              </a:spcAft>
              <a:buNone/>
              <a:defRPr sz="1400">
                <a:solidFill>
                  <a:schemeClr val="dk1"/>
                </a:solidFill>
                <a:latin typeface="Arial"/>
                <a:ea typeface="Arial"/>
                <a:cs typeface="Arial"/>
                <a:sym typeface="Arial"/>
              </a:defRPr>
            </a:lvl4pPr>
            <a:lvl5pPr marL="0" lvl="4" indent="0" algn="r">
              <a:spcBef>
                <a:spcPts val="0"/>
              </a:spcBef>
              <a:spcAft>
                <a:spcPts val="0"/>
              </a:spcAft>
              <a:buNone/>
              <a:defRPr sz="1400">
                <a:solidFill>
                  <a:schemeClr val="dk1"/>
                </a:solidFill>
                <a:latin typeface="Arial"/>
                <a:ea typeface="Arial"/>
                <a:cs typeface="Arial"/>
                <a:sym typeface="Arial"/>
              </a:defRPr>
            </a:lvl5pPr>
            <a:lvl6pPr marL="0" lvl="5" indent="0" algn="r">
              <a:spcBef>
                <a:spcPts val="0"/>
              </a:spcBef>
              <a:spcAft>
                <a:spcPts val="0"/>
              </a:spcAft>
              <a:buNone/>
              <a:defRPr sz="1400">
                <a:solidFill>
                  <a:schemeClr val="dk1"/>
                </a:solidFill>
                <a:latin typeface="Arial"/>
                <a:ea typeface="Arial"/>
                <a:cs typeface="Arial"/>
                <a:sym typeface="Arial"/>
              </a:defRPr>
            </a:lvl6pPr>
            <a:lvl7pPr marL="0" lvl="6" indent="0" algn="r">
              <a:spcBef>
                <a:spcPts val="0"/>
              </a:spcBef>
              <a:spcAft>
                <a:spcPts val="0"/>
              </a:spcAft>
              <a:buNone/>
              <a:defRPr sz="1400">
                <a:solidFill>
                  <a:schemeClr val="dk1"/>
                </a:solidFill>
                <a:latin typeface="Arial"/>
                <a:ea typeface="Arial"/>
                <a:cs typeface="Arial"/>
                <a:sym typeface="Arial"/>
              </a:defRPr>
            </a:lvl7pPr>
            <a:lvl8pPr marL="0" lvl="7" indent="0" algn="r">
              <a:spcBef>
                <a:spcPts val="0"/>
              </a:spcBef>
              <a:spcAft>
                <a:spcPts val="0"/>
              </a:spcAft>
              <a:buNone/>
              <a:defRPr sz="1400">
                <a:solidFill>
                  <a:schemeClr val="dk1"/>
                </a:solidFill>
                <a:latin typeface="Arial"/>
                <a:ea typeface="Arial"/>
                <a:cs typeface="Arial"/>
                <a:sym typeface="Arial"/>
              </a:defRPr>
            </a:lvl8pPr>
            <a:lvl9pPr marL="0" lvl="8" indent="0" algn="r">
              <a:spcBef>
                <a:spcPts val="0"/>
              </a:spcBef>
              <a:spcAft>
                <a:spcPts val="0"/>
              </a:spcAft>
              <a:buNone/>
              <a:defRPr sz="1400">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402371066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 Brand - 6">
    <p:spTree>
      <p:nvGrpSpPr>
        <p:cNvPr id="1" name=""/>
        <p:cNvGrpSpPr/>
        <p:nvPr/>
      </p:nvGrpSpPr>
      <p:grpSpPr>
        <a:xfrm>
          <a:off x="0" y="0"/>
          <a:ext cx="0" cy="0"/>
          <a:chOff x="0" y="0"/>
          <a:chExt cx="0" cy="0"/>
        </a:xfrm>
      </p:grpSpPr>
      <p:pic>
        <p:nvPicPr>
          <p:cNvPr id="10" name="Picture Placeholder 2" descr="A person holding an orange umbrella&#10;&#10;Description automatically generated">
            <a:extLst>
              <a:ext uri="{FF2B5EF4-FFF2-40B4-BE49-F238E27FC236}">
                <a16:creationId xmlns:a16="http://schemas.microsoft.com/office/drawing/2014/main" id="{6A2470EC-D18A-4C2F-878A-75FBF0C6CD7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0"/>
            <a:ext cx="12192000" cy="6858000"/>
          </a:xfrm>
          <a:prstGeom prst="rect">
            <a:avLst/>
          </a:prstGeom>
        </p:spPr>
      </p:pic>
      <p:sp>
        <p:nvSpPr>
          <p:cNvPr id="11" name="Tijdelijke aanduiding voor tekst 17">
            <a:extLst>
              <a:ext uri="{FF2B5EF4-FFF2-40B4-BE49-F238E27FC236}">
                <a16:creationId xmlns:a16="http://schemas.microsoft.com/office/drawing/2014/main" id="{809CD212-EF63-4674-8354-FD63FB011413}"/>
              </a:ext>
            </a:extLst>
          </p:cNvPr>
          <p:cNvSpPr>
            <a:spLocks noGrp="1"/>
          </p:cNvSpPr>
          <p:nvPr>
            <p:ph type="body" sz="quarter" idx="18" hasCustomPrompt="1"/>
          </p:nvPr>
        </p:nvSpPr>
        <p:spPr>
          <a:xfrm>
            <a:off x="336554" y="1"/>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2"/>
            <a:ext cx="3168651"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Subtitle</a:t>
            </a:r>
          </a:p>
        </p:txBody>
      </p:sp>
      <p:sp>
        <p:nvSpPr>
          <p:cNvPr id="22" name="Tijdelijke aanduiding voor tekst 21">
            <a:extLst>
              <a:ext uri="{FF2B5EF4-FFF2-40B4-BE49-F238E27FC236}">
                <a16:creationId xmlns:a16="http://schemas.microsoft.com/office/drawing/2014/main" id="{FB8EC1E8-CA61-4781-B9FD-8B2A398367C1}"/>
              </a:ext>
            </a:extLst>
          </p:cNvPr>
          <p:cNvSpPr>
            <a:spLocks noGrp="1"/>
          </p:cNvSpPr>
          <p:nvPr>
            <p:ph type="body" sz="quarter" idx="19" hasCustomPrompt="1"/>
          </p:nvPr>
        </p:nvSpPr>
        <p:spPr>
          <a:xfrm>
            <a:off x="662400" y="374400"/>
            <a:ext cx="1737600" cy="1046400"/>
          </a:xfrm>
          <a:blipFill>
            <a:blip r:embed="rId3" cstate="print">
              <a:extLst>
                <a:ext uri="{28A0092B-C50C-407E-A947-70E740481C1C}">
                  <a14:useLocalDpi xmlns:a14="http://schemas.microsoft.com/office/drawing/2010/main" val="0"/>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en-GB"/>
              <a:t>.</a:t>
            </a:r>
          </a:p>
        </p:txBody>
      </p:sp>
      <p:grpSp>
        <p:nvGrpSpPr>
          <p:cNvPr id="12" name="Groep 11">
            <a:extLst>
              <a:ext uri="{FF2B5EF4-FFF2-40B4-BE49-F238E27FC236}">
                <a16:creationId xmlns:a16="http://schemas.microsoft.com/office/drawing/2014/main" id="{2ADDB6F1-9239-410D-9E94-70C869EBB25E}"/>
              </a:ext>
            </a:extLst>
          </p:cNvPr>
          <p:cNvGrpSpPr/>
          <p:nvPr userDrawn="1"/>
        </p:nvGrpSpPr>
        <p:grpSpPr>
          <a:xfrm>
            <a:off x="12262862" y="575999"/>
            <a:ext cx="1130143" cy="757167"/>
            <a:chOff x="9197145" y="1199569"/>
            <a:chExt cx="847607" cy="567875"/>
          </a:xfrm>
        </p:grpSpPr>
        <p:sp>
          <p:nvSpPr>
            <p:cNvPr id="14" name="Freeform 20">
              <a:extLst>
                <a:ext uri="{FF2B5EF4-FFF2-40B4-BE49-F238E27FC236}">
                  <a16:creationId xmlns:a16="http://schemas.microsoft.com/office/drawing/2014/main" id="{C2A087DB-B328-455C-8DD9-BAC7DD1D56C2}"/>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5" name="Tekstvak 14">
              <a:extLst>
                <a:ext uri="{FF2B5EF4-FFF2-40B4-BE49-F238E27FC236}">
                  <a16:creationId xmlns:a16="http://schemas.microsoft.com/office/drawing/2014/main" id="{87E12922-FC28-4314-8FE5-B2227B8EF627}"/>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3390727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preserve="1" userDrawn="1">
  <p:cSld name="Title slide - Picture">
    <p:spTree>
      <p:nvGrpSpPr>
        <p:cNvPr id="1" name=""/>
        <p:cNvGrpSpPr/>
        <p:nvPr/>
      </p:nvGrpSpPr>
      <p:grpSpPr>
        <a:xfrm>
          <a:off x="0" y="0"/>
          <a:ext cx="0" cy="0"/>
          <a:chOff x="0" y="0"/>
          <a:chExt cx="0" cy="0"/>
        </a:xfrm>
      </p:grpSpPr>
      <p:sp>
        <p:nvSpPr>
          <p:cNvPr id="10" name="Tijdelijke aanduiding voor afbeelding 7">
            <a:extLst>
              <a:ext uri="{FF2B5EF4-FFF2-40B4-BE49-F238E27FC236}">
                <a16:creationId xmlns:a16="http://schemas.microsoft.com/office/drawing/2014/main" id="{4DAEAD04-C1FD-4924-B727-1FF08B2835E8}"/>
              </a:ext>
            </a:extLst>
          </p:cNvPr>
          <p:cNvSpPr>
            <a:spLocks noGrp="1"/>
          </p:cNvSpPr>
          <p:nvPr>
            <p:ph type="pic" sz="quarter" idx="13" hasCustomPrompt="1"/>
          </p:nvPr>
        </p:nvSpPr>
        <p:spPr>
          <a:xfrm>
            <a:off x="0" y="0"/>
            <a:ext cx="12192000" cy="6858000"/>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US" sz="800" kern="1200">
                <a:solidFill>
                  <a:schemeClr val="tx1">
                    <a:tint val="75000"/>
                  </a:schemeClr>
                </a:solidFill>
                <a:latin typeface="+mn-lt"/>
                <a:ea typeface="+mn-ea"/>
                <a:cs typeface="+mn-cs"/>
              </a:rPr>
              <a:t>© 2019 FrieslandCampina Ingredients</a:t>
            </a:r>
          </a:p>
        </p:txBody>
      </p:sp>
      <p:sp>
        <p:nvSpPr>
          <p:cNvPr id="18" name="Tijdelijke aanduiding voor tekst 17">
            <a:extLst>
              <a:ext uri="{FF2B5EF4-FFF2-40B4-BE49-F238E27FC236}">
                <a16:creationId xmlns:a16="http://schemas.microsoft.com/office/drawing/2014/main" id="{134848E4-6B17-49A0-B7F6-34867199C050}"/>
              </a:ext>
            </a:extLst>
          </p:cNvPr>
          <p:cNvSpPr>
            <a:spLocks noGrp="1"/>
          </p:cNvSpPr>
          <p:nvPr>
            <p:ph type="body" sz="quarter" idx="18" hasCustomPrompt="1"/>
          </p:nvPr>
        </p:nvSpPr>
        <p:spPr>
          <a:xfrm>
            <a:off x="336552" y="0"/>
            <a:ext cx="5327648" cy="5596669"/>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1080000" anchor="b" anchorCtr="0">
            <a:noAutofit/>
          </a:bodyPr>
          <a:lstStyle>
            <a:lvl1pPr marL="0" indent="0">
              <a:buNone/>
              <a:defRPr sz="3200">
                <a:solidFill>
                  <a:schemeClr val="accent1"/>
                </a:solidFill>
              </a:defRPr>
            </a:lvl1pPr>
          </a:lstStyle>
          <a:p>
            <a:pPr lvl="0"/>
            <a:r>
              <a:rPr lang="nl-NL"/>
              <a:t>Title (max 2 lines)</a:t>
            </a:r>
          </a:p>
        </p:txBody>
      </p:sp>
      <p:sp>
        <p:nvSpPr>
          <p:cNvPr id="3" name="Subtitle 2"/>
          <p:cNvSpPr>
            <a:spLocks noGrp="1"/>
          </p:cNvSpPr>
          <p:nvPr>
            <p:ph type="subTitle" idx="1" hasCustomPrompt="1"/>
          </p:nvPr>
        </p:nvSpPr>
        <p:spPr>
          <a:xfrm>
            <a:off x="1007533" y="4991102"/>
            <a:ext cx="4077992"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Subtitle</a:t>
            </a:r>
          </a:p>
        </p:txBody>
      </p:sp>
      <p:sp>
        <p:nvSpPr>
          <p:cNvPr id="22" name="Tijdelijke aanduiding voor tekst 21">
            <a:extLst>
              <a:ext uri="{FF2B5EF4-FFF2-40B4-BE49-F238E27FC236}">
                <a16:creationId xmlns:a16="http://schemas.microsoft.com/office/drawing/2014/main" id="{FB8EC1E8-CA61-4781-B9FD-8B2A398367C1}"/>
              </a:ext>
            </a:extLst>
          </p:cNvPr>
          <p:cNvSpPr>
            <a:spLocks noGrp="1"/>
          </p:cNvSpPr>
          <p:nvPr>
            <p:ph type="body" sz="quarter" idx="19" hasCustomPrompt="1"/>
          </p:nvPr>
        </p:nvSpPr>
        <p:spPr>
          <a:xfrm>
            <a:off x="662400" y="374400"/>
            <a:ext cx="1737600" cy="10464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nl-NL"/>
              <a:t>.</a:t>
            </a:r>
          </a:p>
        </p:txBody>
      </p:sp>
      <p:grpSp>
        <p:nvGrpSpPr>
          <p:cNvPr id="11" name="Groep 10">
            <a:extLst>
              <a:ext uri="{FF2B5EF4-FFF2-40B4-BE49-F238E27FC236}">
                <a16:creationId xmlns:a16="http://schemas.microsoft.com/office/drawing/2014/main" id="{00535BFA-E28A-45B6-9D3C-16EA9D769715}"/>
              </a:ext>
            </a:extLst>
          </p:cNvPr>
          <p:cNvGrpSpPr/>
          <p:nvPr userDrawn="1"/>
        </p:nvGrpSpPr>
        <p:grpSpPr>
          <a:xfrm>
            <a:off x="12262862" y="696656"/>
            <a:ext cx="1130143" cy="757167"/>
            <a:chOff x="9197145" y="1199569"/>
            <a:chExt cx="847607" cy="567875"/>
          </a:xfrm>
        </p:grpSpPr>
        <p:sp>
          <p:nvSpPr>
            <p:cNvPr id="12" name="Freeform 20">
              <a:extLst>
                <a:ext uri="{FF2B5EF4-FFF2-40B4-BE49-F238E27FC236}">
                  <a16:creationId xmlns:a16="http://schemas.microsoft.com/office/drawing/2014/main" id="{873BFFE2-A199-4561-84F5-D9D0C64EAFC0}"/>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4" name="Tekstvak 13">
              <a:extLst>
                <a:ext uri="{FF2B5EF4-FFF2-40B4-BE49-F238E27FC236}">
                  <a16:creationId xmlns:a16="http://schemas.microsoft.com/office/drawing/2014/main" id="{B4D24D63-913D-4B46-A3FA-1CF82CD08E8D}"/>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US" sz="933" b="0"/>
                <a:t>Delete the stamps</a:t>
              </a:r>
              <a:br>
                <a:rPr lang="en-US" sz="933" b="0"/>
              </a:br>
              <a:r>
                <a:rPr lang="en-US" sz="933" b="0"/>
                <a:t>you don’t use and align the correct one on top</a:t>
              </a:r>
            </a:p>
          </p:txBody>
        </p:sp>
      </p:grpSp>
    </p:spTree>
    <p:extLst>
      <p:ext uri="{BB962C8B-B14F-4D97-AF65-F5344CB8AC3E}">
        <p14:creationId xmlns:p14="http://schemas.microsoft.com/office/powerpoint/2010/main" val="2880503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preserve="1" userDrawn="1">
  <p:cSld name="Title slide - Brand 1">
    <p:spTree>
      <p:nvGrpSpPr>
        <p:cNvPr id="1" name=""/>
        <p:cNvGrpSpPr/>
        <p:nvPr/>
      </p:nvGrpSpPr>
      <p:grpSpPr>
        <a:xfrm>
          <a:off x="0" y="0"/>
          <a:ext cx="0" cy="0"/>
          <a:chOff x="0" y="0"/>
          <a:chExt cx="0" cy="0"/>
        </a:xfrm>
      </p:grpSpPr>
      <p:pic>
        <p:nvPicPr>
          <p:cNvPr id="9" name="Picture Placeholder 6">
            <a:extLst>
              <a:ext uri="{FF2B5EF4-FFF2-40B4-BE49-F238E27FC236}">
                <a16:creationId xmlns:a16="http://schemas.microsoft.com/office/drawing/2014/main" id="{0DDEBA28-655F-4348-A6F5-06090337F5C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US" sz="800" kern="1200">
                <a:solidFill>
                  <a:schemeClr val="tx1">
                    <a:tint val="75000"/>
                  </a:schemeClr>
                </a:solidFill>
                <a:latin typeface="+mn-lt"/>
                <a:ea typeface="+mn-ea"/>
                <a:cs typeface="+mn-cs"/>
              </a:rPr>
              <a:t>© 2019 FrieslandCampina Ingredients</a:t>
            </a:r>
          </a:p>
        </p:txBody>
      </p:sp>
      <p:sp>
        <p:nvSpPr>
          <p:cNvPr id="18" name="Tijdelijke aanduiding voor tekst 17">
            <a:extLst>
              <a:ext uri="{FF2B5EF4-FFF2-40B4-BE49-F238E27FC236}">
                <a16:creationId xmlns:a16="http://schemas.microsoft.com/office/drawing/2014/main" id="{134848E4-6B17-49A0-B7F6-34867199C050}"/>
              </a:ext>
            </a:extLst>
          </p:cNvPr>
          <p:cNvSpPr>
            <a:spLocks noGrp="1"/>
          </p:cNvSpPr>
          <p:nvPr>
            <p:ph type="body" sz="quarter" idx="18" hasCustomPrompt="1"/>
          </p:nvPr>
        </p:nvSpPr>
        <p:spPr>
          <a:xfrm>
            <a:off x="336552" y="0"/>
            <a:ext cx="5327648" cy="5596669"/>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1080000" anchor="b" anchorCtr="0">
            <a:noAutofit/>
          </a:bodyPr>
          <a:lstStyle>
            <a:lvl1pPr marL="0" indent="0">
              <a:buNone/>
              <a:defRPr sz="3200">
                <a:solidFill>
                  <a:schemeClr val="accent1"/>
                </a:solidFill>
              </a:defRPr>
            </a:lvl1pPr>
          </a:lstStyle>
          <a:p>
            <a:pPr lvl="0"/>
            <a:r>
              <a:rPr lang="nl-NL"/>
              <a:t>Title (max 2 lines)</a:t>
            </a:r>
          </a:p>
        </p:txBody>
      </p:sp>
      <p:sp>
        <p:nvSpPr>
          <p:cNvPr id="3" name="Subtitle 2"/>
          <p:cNvSpPr>
            <a:spLocks noGrp="1"/>
          </p:cNvSpPr>
          <p:nvPr>
            <p:ph type="subTitle" idx="1" hasCustomPrompt="1"/>
          </p:nvPr>
        </p:nvSpPr>
        <p:spPr>
          <a:xfrm>
            <a:off x="1007533" y="4991102"/>
            <a:ext cx="4077992"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Subtitle</a:t>
            </a:r>
          </a:p>
        </p:txBody>
      </p:sp>
      <p:sp>
        <p:nvSpPr>
          <p:cNvPr id="8" name="Tijdelijke aanduiding voor tekst 21">
            <a:extLst>
              <a:ext uri="{FF2B5EF4-FFF2-40B4-BE49-F238E27FC236}">
                <a16:creationId xmlns:a16="http://schemas.microsoft.com/office/drawing/2014/main" id="{0516508F-A80F-44D7-B844-0E8F59789FF2}"/>
              </a:ext>
            </a:extLst>
          </p:cNvPr>
          <p:cNvSpPr>
            <a:spLocks noGrp="1"/>
          </p:cNvSpPr>
          <p:nvPr>
            <p:ph type="body" sz="quarter" idx="19" hasCustomPrompt="1"/>
          </p:nvPr>
        </p:nvSpPr>
        <p:spPr>
          <a:xfrm>
            <a:off x="662400" y="374400"/>
            <a:ext cx="1737600" cy="1046400"/>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nl-NL"/>
              <a:t>.</a:t>
            </a:r>
          </a:p>
        </p:txBody>
      </p:sp>
      <p:grpSp>
        <p:nvGrpSpPr>
          <p:cNvPr id="10" name="Groep 9">
            <a:extLst>
              <a:ext uri="{FF2B5EF4-FFF2-40B4-BE49-F238E27FC236}">
                <a16:creationId xmlns:a16="http://schemas.microsoft.com/office/drawing/2014/main" id="{614D66B5-B83D-4F74-9B3E-5605135EF6DE}"/>
              </a:ext>
            </a:extLst>
          </p:cNvPr>
          <p:cNvGrpSpPr/>
          <p:nvPr userDrawn="1"/>
        </p:nvGrpSpPr>
        <p:grpSpPr>
          <a:xfrm>
            <a:off x="12262862" y="696656"/>
            <a:ext cx="1130143" cy="757167"/>
            <a:chOff x="9197145" y="1199569"/>
            <a:chExt cx="847607" cy="567875"/>
          </a:xfrm>
        </p:grpSpPr>
        <p:sp>
          <p:nvSpPr>
            <p:cNvPr id="11" name="Freeform 20">
              <a:extLst>
                <a:ext uri="{FF2B5EF4-FFF2-40B4-BE49-F238E27FC236}">
                  <a16:creationId xmlns:a16="http://schemas.microsoft.com/office/drawing/2014/main" id="{A6A1DDA7-7242-48DF-8B8A-D685C3086E08}"/>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6" name="Tekstvak 15">
              <a:extLst>
                <a:ext uri="{FF2B5EF4-FFF2-40B4-BE49-F238E27FC236}">
                  <a16:creationId xmlns:a16="http://schemas.microsoft.com/office/drawing/2014/main" id="{D268ACCB-9161-4B23-8F9C-BD9E58E1CB92}"/>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US" sz="933" b="0"/>
                <a:t>Delete the stamps</a:t>
              </a:r>
              <a:br>
                <a:rPr lang="en-US" sz="933" b="0"/>
              </a:br>
              <a:r>
                <a:rPr lang="en-US" sz="933" b="0"/>
                <a:t>you don’t use and align the correct one on top</a:t>
              </a:r>
            </a:p>
          </p:txBody>
        </p:sp>
      </p:grpSp>
    </p:spTree>
    <p:extLst>
      <p:ext uri="{BB962C8B-B14F-4D97-AF65-F5344CB8AC3E}">
        <p14:creationId xmlns:p14="http://schemas.microsoft.com/office/powerpoint/2010/main" val="1770539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showMasterSp="0" preserve="1" userDrawn="1">
  <p:cSld name="Title slide - Brand 2">
    <p:spTree>
      <p:nvGrpSpPr>
        <p:cNvPr id="1" name=""/>
        <p:cNvGrpSpPr/>
        <p:nvPr/>
      </p:nvGrpSpPr>
      <p:grpSpPr>
        <a:xfrm>
          <a:off x="0" y="0"/>
          <a:ext cx="0" cy="0"/>
          <a:chOff x="0" y="0"/>
          <a:chExt cx="0" cy="0"/>
        </a:xfrm>
      </p:grpSpPr>
      <p:pic>
        <p:nvPicPr>
          <p:cNvPr id="10" name="Tijdelijke aanduiding voor afbeelding 6" descr="Afbeelding met muur, vloer, kamer&#10;&#10;Automatisch gegenereerde beschrijving">
            <a:extLst>
              <a:ext uri="{FF2B5EF4-FFF2-40B4-BE49-F238E27FC236}">
                <a16:creationId xmlns:a16="http://schemas.microsoft.com/office/drawing/2014/main" id="{6A3F958D-5DB0-4E7E-B918-F1C3F15729F8}"/>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US" sz="800" kern="1200">
                <a:solidFill>
                  <a:schemeClr val="tx1">
                    <a:tint val="75000"/>
                  </a:schemeClr>
                </a:solidFill>
                <a:latin typeface="+mn-lt"/>
                <a:ea typeface="+mn-ea"/>
                <a:cs typeface="+mn-cs"/>
              </a:rPr>
              <a:t>© 2019 FrieslandCampina Ingredients</a:t>
            </a:r>
          </a:p>
        </p:txBody>
      </p:sp>
      <p:sp>
        <p:nvSpPr>
          <p:cNvPr id="18" name="Tijdelijke aanduiding voor tekst 17">
            <a:extLst>
              <a:ext uri="{FF2B5EF4-FFF2-40B4-BE49-F238E27FC236}">
                <a16:creationId xmlns:a16="http://schemas.microsoft.com/office/drawing/2014/main" id="{134848E4-6B17-49A0-B7F6-34867199C050}"/>
              </a:ext>
            </a:extLst>
          </p:cNvPr>
          <p:cNvSpPr>
            <a:spLocks noGrp="1"/>
          </p:cNvSpPr>
          <p:nvPr>
            <p:ph type="body" sz="quarter" idx="18" hasCustomPrompt="1"/>
          </p:nvPr>
        </p:nvSpPr>
        <p:spPr>
          <a:xfrm>
            <a:off x="336552" y="0"/>
            <a:ext cx="5327648" cy="5596669"/>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1080000" anchor="b" anchorCtr="0">
            <a:noAutofit/>
          </a:bodyPr>
          <a:lstStyle>
            <a:lvl1pPr marL="0" indent="0">
              <a:buNone/>
              <a:defRPr sz="3200">
                <a:solidFill>
                  <a:schemeClr val="accent1"/>
                </a:solidFill>
              </a:defRPr>
            </a:lvl1pPr>
          </a:lstStyle>
          <a:p>
            <a:pPr lvl="0"/>
            <a:r>
              <a:rPr lang="nl-NL"/>
              <a:t>Title (max 2 lines)</a:t>
            </a:r>
          </a:p>
        </p:txBody>
      </p:sp>
      <p:sp>
        <p:nvSpPr>
          <p:cNvPr id="3" name="Subtitle 2"/>
          <p:cNvSpPr>
            <a:spLocks noGrp="1"/>
          </p:cNvSpPr>
          <p:nvPr>
            <p:ph type="subTitle" idx="1" hasCustomPrompt="1"/>
          </p:nvPr>
        </p:nvSpPr>
        <p:spPr>
          <a:xfrm>
            <a:off x="1007533" y="4991102"/>
            <a:ext cx="4077992"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Subtitle</a:t>
            </a:r>
          </a:p>
        </p:txBody>
      </p:sp>
      <p:sp>
        <p:nvSpPr>
          <p:cNvPr id="22" name="Tijdelijke aanduiding voor tekst 21">
            <a:extLst>
              <a:ext uri="{FF2B5EF4-FFF2-40B4-BE49-F238E27FC236}">
                <a16:creationId xmlns:a16="http://schemas.microsoft.com/office/drawing/2014/main" id="{FB8EC1E8-CA61-4781-B9FD-8B2A398367C1}"/>
              </a:ext>
            </a:extLst>
          </p:cNvPr>
          <p:cNvSpPr>
            <a:spLocks noGrp="1"/>
          </p:cNvSpPr>
          <p:nvPr>
            <p:ph type="body" sz="quarter" idx="19" hasCustomPrompt="1"/>
          </p:nvPr>
        </p:nvSpPr>
        <p:spPr>
          <a:xfrm>
            <a:off x="662400" y="374400"/>
            <a:ext cx="1737600" cy="1046400"/>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nl-NL"/>
              <a:t>.</a:t>
            </a:r>
          </a:p>
        </p:txBody>
      </p:sp>
      <p:grpSp>
        <p:nvGrpSpPr>
          <p:cNvPr id="12" name="Groep 11">
            <a:extLst>
              <a:ext uri="{FF2B5EF4-FFF2-40B4-BE49-F238E27FC236}">
                <a16:creationId xmlns:a16="http://schemas.microsoft.com/office/drawing/2014/main" id="{2E99C67E-E082-4382-83CF-8A9DC5D68CE8}"/>
              </a:ext>
            </a:extLst>
          </p:cNvPr>
          <p:cNvGrpSpPr/>
          <p:nvPr userDrawn="1"/>
        </p:nvGrpSpPr>
        <p:grpSpPr>
          <a:xfrm>
            <a:off x="12262862" y="696656"/>
            <a:ext cx="1130143" cy="757167"/>
            <a:chOff x="9197145" y="1199569"/>
            <a:chExt cx="847607" cy="567875"/>
          </a:xfrm>
        </p:grpSpPr>
        <p:sp>
          <p:nvSpPr>
            <p:cNvPr id="14" name="Freeform 20">
              <a:extLst>
                <a:ext uri="{FF2B5EF4-FFF2-40B4-BE49-F238E27FC236}">
                  <a16:creationId xmlns:a16="http://schemas.microsoft.com/office/drawing/2014/main" id="{E78238A7-D9EF-4A46-8AB6-C32646D7F048}"/>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5" name="Tekstvak 14">
              <a:extLst>
                <a:ext uri="{FF2B5EF4-FFF2-40B4-BE49-F238E27FC236}">
                  <a16:creationId xmlns:a16="http://schemas.microsoft.com/office/drawing/2014/main" id="{968821E9-D123-4775-A120-259ED7D1EC50}"/>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US" sz="933" b="0"/>
                <a:t>Delete the stamps</a:t>
              </a:r>
              <a:br>
                <a:rPr lang="en-US" sz="933" b="0"/>
              </a:br>
              <a:r>
                <a:rPr lang="en-US" sz="933" b="0"/>
                <a:t>you don’t use and align the correct one on top</a:t>
              </a:r>
            </a:p>
          </p:txBody>
        </p:sp>
      </p:grpSp>
    </p:spTree>
    <p:extLst>
      <p:ext uri="{BB962C8B-B14F-4D97-AF65-F5344CB8AC3E}">
        <p14:creationId xmlns:p14="http://schemas.microsoft.com/office/powerpoint/2010/main" val="2454816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showMasterSp="0" preserve="1" userDrawn="1">
  <p:cSld name="Title slide - Brand 3">
    <p:spTree>
      <p:nvGrpSpPr>
        <p:cNvPr id="1" name=""/>
        <p:cNvGrpSpPr/>
        <p:nvPr/>
      </p:nvGrpSpPr>
      <p:grpSpPr>
        <a:xfrm>
          <a:off x="0" y="0"/>
          <a:ext cx="0" cy="0"/>
          <a:chOff x="0" y="0"/>
          <a:chExt cx="0" cy="0"/>
        </a:xfrm>
      </p:grpSpPr>
      <p:pic>
        <p:nvPicPr>
          <p:cNvPr id="11" name="Tijdelijke aanduiding voor afbeelding 6" descr="Afbeelding met man, muur, buiten, lucht&#10;&#10;Automatisch gegenereerde beschrijving">
            <a:extLst>
              <a:ext uri="{FF2B5EF4-FFF2-40B4-BE49-F238E27FC236}">
                <a16:creationId xmlns:a16="http://schemas.microsoft.com/office/drawing/2014/main" id="{EC68116D-9A6B-4DCE-8FF8-C73772025D55}"/>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US" sz="800" kern="1200">
                <a:solidFill>
                  <a:schemeClr val="tx1">
                    <a:tint val="75000"/>
                  </a:schemeClr>
                </a:solidFill>
                <a:latin typeface="+mn-lt"/>
                <a:ea typeface="+mn-ea"/>
                <a:cs typeface="+mn-cs"/>
              </a:rPr>
              <a:t>© 2019 FrieslandCampina Ingredients</a:t>
            </a:r>
          </a:p>
        </p:txBody>
      </p:sp>
      <p:sp>
        <p:nvSpPr>
          <p:cNvPr id="18" name="Tijdelijke aanduiding voor tekst 17">
            <a:extLst>
              <a:ext uri="{FF2B5EF4-FFF2-40B4-BE49-F238E27FC236}">
                <a16:creationId xmlns:a16="http://schemas.microsoft.com/office/drawing/2014/main" id="{134848E4-6B17-49A0-B7F6-34867199C050}"/>
              </a:ext>
            </a:extLst>
          </p:cNvPr>
          <p:cNvSpPr>
            <a:spLocks noGrp="1"/>
          </p:cNvSpPr>
          <p:nvPr>
            <p:ph type="body" sz="quarter" idx="18" hasCustomPrompt="1"/>
          </p:nvPr>
        </p:nvSpPr>
        <p:spPr>
          <a:xfrm>
            <a:off x="336552" y="0"/>
            <a:ext cx="5327648" cy="5596669"/>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1080000" anchor="b" anchorCtr="0">
            <a:noAutofit/>
          </a:bodyPr>
          <a:lstStyle>
            <a:lvl1pPr marL="0" indent="0">
              <a:buNone/>
              <a:defRPr sz="3200">
                <a:solidFill>
                  <a:schemeClr val="accent1"/>
                </a:solidFill>
              </a:defRPr>
            </a:lvl1pPr>
          </a:lstStyle>
          <a:p>
            <a:pPr lvl="0"/>
            <a:r>
              <a:rPr lang="nl-NL"/>
              <a:t>Title (max 2 lines)</a:t>
            </a:r>
          </a:p>
        </p:txBody>
      </p:sp>
      <p:sp>
        <p:nvSpPr>
          <p:cNvPr id="3" name="Subtitle 2"/>
          <p:cNvSpPr>
            <a:spLocks noGrp="1"/>
          </p:cNvSpPr>
          <p:nvPr>
            <p:ph type="subTitle" idx="1" hasCustomPrompt="1"/>
          </p:nvPr>
        </p:nvSpPr>
        <p:spPr>
          <a:xfrm>
            <a:off x="1007533" y="4991102"/>
            <a:ext cx="4077992"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Subtitle</a:t>
            </a:r>
          </a:p>
        </p:txBody>
      </p:sp>
      <p:sp>
        <p:nvSpPr>
          <p:cNvPr id="22" name="Tijdelijke aanduiding voor tekst 21">
            <a:extLst>
              <a:ext uri="{FF2B5EF4-FFF2-40B4-BE49-F238E27FC236}">
                <a16:creationId xmlns:a16="http://schemas.microsoft.com/office/drawing/2014/main" id="{FB8EC1E8-CA61-4781-B9FD-8B2A398367C1}"/>
              </a:ext>
            </a:extLst>
          </p:cNvPr>
          <p:cNvSpPr>
            <a:spLocks noGrp="1"/>
          </p:cNvSpPr>
          <p:nvPr>
            <p:ph type="body" sz="quarter" idx="19" hasCustomPrompt="1"/>
          </p:nvPr>
        </p:nvSpPr>
        <p:spPr>
          <a:xfrm>
            <a:off x="662400" y="374400"/>
            <a:ext cx="1737600" cy="1046400"/>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nl-NL"/>
              <a:t>.</a:t>
            </a:r>
          </a:p>
        </p:txBody>
      </p:sp>
      <p:grpSp>
        <p:nvGrpSpPr>
          <p:cNvPr id="12" name="Groep 11">
            <a:extLst>
              <a:ext uri="{FF2B5EF4-FFF2-40B4-BE49-F238E27FC236}">
                <a16:creationId xmlns:a16="http://schemas.microsoft.com/office/drawing/2014/main" id="{F34E7E5D-83FD-4F48-B0DA-AC19BC7FD52A}"/>
              </a:ext>
            </a:extLst>
          </p:cNvPr>
          <p:cNvGrpSpPr/>
          <p:nvPr userDrawn="1"/>
        </p:nvGrpSpPr>
        <p:grpSpPr>
          <a:xfrm>
            <a:off x="12262862" y="696656"/>
            <a:ext cx="1130143" cy="757167"/>
            <a:chOff x="9197145" y="1199569"/>
            <a:chExt cx="847607" cy="567875"/>
          </a:xfrm>
        </p:grpSpPr>
        <p:sp>
          <p:nvSpPr>
            <p:cNvPr id="14" name="Freeform 20">
              <a:extLst>
                <a:ext uri="{FF2B5EF4-FFF2-40B4-BE49-F238E27FC236}">
                  <a16:creationId xmlns:a16="http://schemas.microsoft.com/office/drawing/2014/main" id="{2E059584-51EF-4EC6-ADE2-F521AF1DC19A}"/>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5" name="Tekstvak 14">
              <a:extLst>
                <a:ext uri="{FF2B5EF4-FFF2-40B4-BE49-F238E27FC236}">
                  <a16:creationId xmlns:a16="http://schemas.microsoft.com/office/drawing/2014/main" id="{87C655A2-E2F5-40DF-B17C-94A26B4C3721}"/>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US" sz="933" b="0"/>
                <a:t>Delete the stamps</a:t>
              </a:r>
              <a:br>
                <a:rPr lang="en-US" sz="933" b="0"/>
              </a:br>
              <a:r>
                <a:rPr lang="en-US" sz="933" b="0"/>
                <a:t>you don’t use and align the correct one on top</a:t>
              </a:r>
            </a:p>
          </p:txBody>
        </p:sp>
      </p:grpSp>
    </p:spTree>
    <p:extLst>
      <p:ext uri="{BB962C8B-B14F-4D97-AF65-F5344CB8AC3E}">
        <p14:creationId xmlns:p14="http://schemas.microsoft.com/office/powerpoint/2010/main" val="105467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preserve="1" userDrawn="1">
  <p:cSld name="Title slide - Brand 4">
    <p:spTree>
      <p:nvGrpSpPr>
        <p:cNvPr id="1" name=""/>
        <p:cNvGrpSpPr/>
        <p:nvPr/>
      </p:nvGrpSpPr>
      <p:grpSpPr>
        <a:xfrm>
          <a:off x="0" y="0"/>
          <a:ext cx="0" cy="0"/>
          <a:chOff x="0" y="0"/>
          <a:chExt cx="0" cy="0"/>
        </a:xfrm>
      </p:grpSpPr>
      <p:pic>
        <p:nvPicPr>
          <p:cNvPr id="10" name="Tijdelijke aanduiding voor afbeelding 6" descr="Afbeelding met muur, man, binnen, vloer&#10;&#10;Automatisch gegenereerde beschrijving">
            <a:extLst>
              <a:ext uri="{FF2B5EF4-FFF2-40B4-BE49-F238E27FC236}">
                <a16:creationId xmlns:a16="http://schemas.microsoft.com/office/drawing/2014/main" id="{34A0D159-6198-489D-B700-FD07D424C906}"/>
              </a:ext>
            </a:extLst>
          </p:cNvPr>
          <p:cNvPicPr>
            <a:picLocks noChangeAspect="1"/>
          </p:cNvPicPr>
          <p:nvPr userDrawn="1"/>
        </p:nvPicPr>
        <p:blipFill rotWithShape="1">
          <a:blip r:embed="rId2"/>
          <a:srcRect t="23636" r="17878" b="8036"/>
          <a:stretch/>
        </p:blipFill>
        <p:spPr>
          <a:xfrm>
            <a:off x="0" y="0"/>
            <a:ext cx="12192000" cy="6858000"/>
          </a:xfrm>
          <a:prstGeom prst="rect">
            <a:avLst/>
          </a:prstGeom>
        </p:spPr>
      </p:pic>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US" sz="800" kern="1200">
                <a:solidFill>
                  <a:schemeClr val="tx1">
                    <a:tint val="75000"/>
                  </a:schemeClr>
                </a:solidFill>
                <a:latin typeface="+mn-lt"/>
                <a:ea typeface="+mn-ea"/>
                <a:cs typeface="+mn-cs"/>
              </a:rPr>
              <a:t>© 2019 FrieslandCampina Ingredients</a:t>
            </a:r>
          </a:p>
        </p:txBody>
      </p:sp>
      <p:sp>
        <p:nvSpPr>
          <p:cNvPr id="18" name="Tijdelijke aanduiding voor tekst 17">
            <a:extLst>
              <a:ext uri="{FF2B5EF4-FFF2-40B4-BE49-F238E27FC236}">
                <a16:creationId xmlns:a16="http://schemas.microsoft.com/office/drawing/2014/main" id="{134848E4-6B17-49A0-B7F6-34867199C050}"/>
              </a:ext>
            </a:extLst>
          </p:cNvPr>
          <p:cNvSpPr>
            <a:spLocks noGrp="1"/>
          </p:cNvSpPr>
          <p:nvPr>
            <p:ph type="body" sz="quarter" idx="18" hasCustomPrompt="1"/>
          </p:nvPr>
        </p:nvSpPr>
        <p:spPr>
          <a:xfrm>
            <a:off x="336552" y="0"/>
            <a:ext cx="5327648" cy="5596669"/>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1080000" anchor="b" anchorCtr="0">
            <a:noAutofit/>
          </a:bodyPr>
          <a:lstStyle>
            <a:lvl1pPr marL="0" indent="0">
              <a:buNone/>
              <a:defRPr sz="3200">
                <a:solidFill>
                  <a:schemeClr val="accent1"/>
                </a:solidFill>
              </a:defRPr>
            </a:lvl1pPr>
          </a:lstStyle>
          <a:p>
            <a:pPr lvl="0"/>
            <a:r>
              <a:rPr lang="nl-NL" err="1"/>
              <a:t>Title</a:t>
            </a:r>
            <a:r>
              <a:rPr lang="nl-NL"/>
              <a:t> (max 2 </a:t>
            </a:r>
            <a:r>
              <a:rPr lang="nl-NL" err="1"/>
              <a:t>lines</a:t>
            </a:r>
            <a:r>
              <a:rPr lang="nl-NL"/>
              <a:t>)</a:t>
            </a:r>
          </a:p>
        </p:txBody>
      </p:sp>
      <p:sp>
        <p:nvSpPr>
          <p:cNvPr id="3" name="Subtitle 2"/>
          <p:cNvSpPr>
            <a:spLocks noGrp="1"/>
          </p:cNvSpPr>
          <p:nvPr>
            <p:ph type="subTitle" idx="1" hasCustomPrompt="1"/>
          </p:nvPr>
        </p:nvSpPr>
        <p:spPr>
          <a:xfrm>
            <a:off x="1007533" y="4991102"/>
            <a:ext cx="4077992"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Subtitle</a:t>
            </a:r>
          </a:p>
        </p:txBody>
      </p:sp>
      <p:sp>
        <p:nvSpPr>
          <p:cNvPr id="22" name="Tijdelijke aanduiding voor tekst 21">
            <a:extLst>
              <a:ext uri="{FF2B5EF4-FFF2-40B4-BE49-F238E27FC236}">
                <a16:creationId xmlns:a16="http://schemas.microsoft.com/office/drawing/2014/main" id="{FB8EC1E8-CA61-4781-B9FD-8B2A398367C1}"/>
              </a:ext>
            </a:extLst>
          </p:cNvPr>
          <p:cNvSpPr>
            <a:spLocks noGrp="1"/>
          </p:cNvSpPr>
          <p:nvPr>
            <p:ph type="body" sz="quarter" idx="19" hasCustomPrompt="1"/>
          </p:nvPr>
        </p:nvSpPr>
        <p:spPr>
          <a:xfrm>
            <a:off x="662400" y="374400"/>
            <a:ext cx="1737600" cy="1046400"/>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nl-NL"/>
              <a:t>.</a:t>
            </a:r>
          </a:p>
        </p:txBody>
      </p:sp>
      <p:grpSp>
        <p:nvGrpSpPr>
          <p:cNvPr id="12" name="Groep 11">
            <a:extLst>
              <a:ext uri="{FF2B5EF4-FFF2-40B4-BE49-F238E27FC236}">
                <a16:creationId xmlns:a16="http://schemas.microsoft.com/office/drawing/2014/main" id="{2ADDB6F1-9239-410D-9E94-70C869EBB25E}"/>
              </a:ext>
            </a:extLst>
          </p:cNvPr>
          <p:cNvGrpSpPr/>
          <p:nvPr userDrawn="1"/>
        </p:nvGrpSpPr>
        <p:grpSpPr>
          <a:xfrm>
            <a:off x="12262862" y="696656"/>
            <a:ext cx="1130143" cy="757167"/>
            <a:chOff x="9197145" y="1199569"/>
            <a:chExt cx="847607" cy="567875"/>
          </a:xfrm>
        </p:grpSpPr>
        <p:sp>
          <p:nvSpPr>
            <p:cNvPr id="14" name="Freeform 20">
              <a:extLst>
                <a:ext uri="{FF2B5EF4-FFF2-40B4-BE49-F238E27FC236}">
                  <a16:creationId xmlns:a16="http://schemas.microsoft.com/office/drawing/2014/main" id="{C2A087DB-B328-455C-8DD9-BAC7DD1D56C2}"/>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5" name="Tekstvak 14">
              <a:extLst>
                <a:ext uri="{FF2B5EF4-FFF2-40B4-BE49-F238E27FC236}">
                  <a16:creationId xmlns:a16="http://schemas.microsoft.com/office/drawing/2014/main" id="{87E12922-FC28-4314-8FE5-B2227B8EF627}"/>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US" sz="933" b="0"/>
                <a:t>Delete the stamps</a:t>
              </a:r>
              <a:br>
                <a:rPr lang="en-US" sz="933" b="0"/>
              </a:br>
              <a:r>
                <a:rPr lang="en-US" sz="933" b="0"/>
                <a:t>you don’t use and align the correct one on top</a:t>
              </a:r>
            </a:p>
          </p:txBody>
        </p:sp>
      </p:grpSp>
    </p:spTree>
    <p:extLst>
      <p:ext uri="{BB962C8B-B14F-4D97-AF65-F5344CB8AC3E}">
        <p14:creationId xmlns:p14="http://schemas.microsoft.com/office/powerpoint/2010/main" val="633376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showMasterSp="0" preserve="1" userDrawn="1">
  <p:cSld name="Title slide - EarlyLife 1">
    <p:spTree>
      <p:nvGrpSpPr>
        <p:cNvPr id="1" name=""/>
        <p:cNvGrpSpPr/>
        <p:nvPr/>
      </p:nvGrpSpPr>
      <p:grpSpPr>
        <a:xfrm>
          <a:off x="0" y="0"/>
          <a:ext cx="0" cy="0"/>
          <a:chOff x="0" y="0"/>
          <a:chExt cx="0" cy="0"/>
        </a:xfrm>
      </p:grpSpPr>
      <p:pic>
        <p:nvPicPr>
          <p:cNvPr id="14" name="Tijdelijke aanduiding voor afbeelding 6" descr="Afbeelding met vrouw&#10;&#10;Automatisch gegenereerde beschrijving">
            <a:extLst>
              <a:ext uri="{FF2B5EF4-FFF2-40B4-BE49-F238E27FC236}">
                <a16:creationId xmlns:a16="http://schemas.microsoft.com/office/drawing/2014/main" id="{6EBB7A92-5C59-47C2-8570-E6B780A65023}"/>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US" sz="800" kern="1200">
                <a:solidFill>
                  <a:schemeClr val="tx1">
                    <a:tint val="75000"/>
                  </a:schemeClr>
                </a:solidFill>
                <a:latin typeface="+mn-lt"/>
                <a:ea typeface="+mn-ea"/>
                <a:cs typeface="+mn-cs"/>
              </a:rPr>
              <a:t>© 2019 FrieslandCampina Ingredients</a:t>
            </a:r>
          </a:p>
        </p:txBody>
      </p:sp>
      <p:sp>
        <p:nvSpPr>
          <p:cNvPr id="18" name="Tijdelijke aanduiding voor tekst 17">
            <a:extLst>
              <a:ext uri="{FF2B5EF4-FFF2-40B4-BE49-F238E27FC236}">
                <a16:creationId xmlns:a16="http://schemas.microsoft.com/office/drawing/2014/main" id="{134848E4-6B17-49A0-B7F6-34867199C050}"/>
              </a:ext>
            </a:extLst>
          </p:cNvPr>
          <p:cNvSpPr>
            <a:spLocks noGrp="1"/>
          </p:cNvSpPr>
          <p:nvPr>
            <p:ph type="body" sz="quarter" idx="18" hasCustomPrompt="1"/>
          </p:nvPr>
        </p:nvSpPr>
        <p:spPr>
          <a:xfrm>
            <a:off x="336552" y="0"/>
            <a:ext cx="5327648" cy="5596669"/>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1080000" anchor="b" anchorCtr="0">
            <a:noAutofit/>
          </a:bodyPr>
          <a:lstStyle>
            <a:lvl1pPr marL="0" indent="0">
              <a:buNone/>
              <a:defRPr sz="3200">
                <a:solidFill>
                  <a:schemeClr val="accent1"/>
                </a:solidFill>
              </a:defRPr>
            </a:lvl1pPr>
          </a:lstStyle>
          <a:p>
            <a:pPr lvl="0"/>
            <a:r>
              <a:rPr lang="nl-NL"/>
              <a:t>Title (max 2 lines)</a:t>
            </a:r>
          </a:p>
        </p:txBody>
      </p:sp>
      <p:sp>
        <p:nvSpPr>
          <p:cNvPr id="3" name="Subtitle 2"/>
          <p:cNvSpPr>
            <a:spLocks noGrp="1"/>
          </p:cNvSpPr>
          <p:nvPr>
            <p:ph type="subTitle" idx="1" hasCustomPrompt="1"/>
          </p:nvPr>
        </p:nvSpPr>
        <p:spPr>
          <a:xfrm>
            <a:off x="1007533" y="4991102"/>
            <a:ext cx="4077992"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Subtitle</a:t>
            </a:r>
          </a:p>
        </p:txBody>
      </p:sp>
      <p:sp>
        <p:nvSpPr>
          <p:cNvPr id="11" name="Tijdelijke aanduiding voor tekst 21">
            <a:extLst>
              <a:ext uri="{FF2B5EF4-FFF2-40B4-BE49-F238E27FC236}">
                <a16:creationId xmlns:a16="http://schemas.microsoft.com/office/drawing/2014/main" id="{864B06FA-CA70-4595-8439-FEB797046608}"/>
              </a:ext>
            </a:extLst>
          </p:cNvPr>
          <p:cNvSpPr>
            <a:spLocks noGrp="1"/>
          </p:cNvSpPr>
          <p:nvPr>
            <p:ph type="body" sz="quarter" idx="19" hasCustomPrompt="1"/>
          </p:nvPr>
        </p:nvSpPr>
        <p:spPr>
          <a:xfrm>
            <a:off x="662400" y="374400"/>
            <a:ext cx="1737600" cy="1046400"/>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nl-NL"/>
              <a:t>.</a:t>
            </a:r>
          </a:p>
        </p:txBody>
      </p:sp>
      <p:grpSp>
        <p:nvGrpSpPr>
          <p:cNvPr id="10" name="Groep 9">
            <a:extLst>
              <a:ext uri="{FF2B5EF4-FFF2-40B4-BE49-F238E27FC236}">
                <a16:creationId xmlns:a16="http://schemas.microsoft.com/office/drawing/2014/main" id="{2D3B3783-BF87-416D-8312-A253A1630159}"/>
              </a:ext>
            </a:extLst>
          </p:cNvPr>
          <p:cNvGrpSpPr/>
          <p:nvPr userDrawn="1"/>
        </p:nvGrpSpPr>
        <p:grpSpPr>
          <a:xfrm>
            <a:off x="12262862" y="696656"/>
            <a:ext cx="1130143" cy="757167"/>
            <a:chOff x="9197145" y="1199569"/>
            <a:chExt cx="847607" cy="567875"/>
          </a:xfrm>
        </p:grpSpPr>
        <p:sp>
          <p:nvSpPr>
            <p:cNvPr id="16" name="Freeform 20">
              <a:extLst>
                <a:ext uri="{FF2B5EF4-FFF2-40B4-BE49-F238E27FC236}">
                  <a16:creationId xmlns:a16="http://schemas.microsoft.com/office/drawing/2014/main" id="{B92E4F29-1E59-41AA-8B6A-AB0CE0321FCD}"/>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8F013AE7-A940-4288-807D-4C6C090D30BE}"/>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US" sz="933" b="0"/>
                <a:t>Delete the stamps</a:t>
              </a:r>
              <a:br>
                <a:rPr lang="en-US" sz="933" b="0"/>
              </a:br>
              <a:r>
                <a:rPr lang="en-US" sz="933" b="0"/>
                <a:t>you don’t use and align the correct one on top</a:t>
              </a:r>
            </a:p>
          </p:txBody>
        </p:sp>
      </p:grpSp>
    </p:spTree>
    <p:extLst>
      <p:ext uri="{BB962C8B-B14F-4D97-AF65-F5344CB8AC3E}">
        <p14:creationId xmlns:p14="http://schemas.microsoft.com/office/powerpoint/2010/main" val="1316256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preserve="1" userDrawn="1">
  <p:cSld name="Title slide - EarlyLife 2">
    <p:spTree>
      <p:nvGrpSpPr>
        <p:cNvPr id="1" name=""/>
        <p:cNvGrpSpPr/>
        <p:nvPr/>
      </p:nvGrpSpPr>
      <p:grpSpPr>
        <a:xfrm>
          <a:off x="0" y="0"/>
          <a:ext cx="0" cy="0"/>
          <a:chOff x="0" y="0"/>
          <a:chExt cx="0" cy="0"/>
        </a:xfrm>
      </p:grpSpPr>
      <p:pic>
        <p:nvPicPr>
          <p:cNvPr id="12" name="Tijdelijke aanduiding voor afbeelding 6">
            <a:extLst>
              <a:ext uri="{FF2B5EF4-FFF2-40B4-BE49-F238E27FC236}">
                <a16:creationId xmlns:a16="http://schemas.microsoft.com/office/drawing/2014/main" id="{62C5A7AF-EB24-4D48-AE42-4F1FB5B44225}"/>
              </a:ext>
            </a:extLst>
          </p:cNvPr>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a:xfrm flipH="1">
            <a:off x="0" y="0"/>
            <a:ext cx="12192000" cy="6858000"/>
          </a:xfrm>
          <a:prstGeom prst="rect">
            <a:avLst/>
          </a:prstGeom>
        </p:spPr>
      </p:pic>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US" sz="800" kern="1200">
                <a:solidFill>
                  <a:schemeClr val="tx1">
                    <a:tint val="75000"/>
                  </a:schemeClr>
                </a:solidFill>
                <a:latin typeface="+mn-lt"/>
                <a:ea typeface="+mn-ea"/>
                <a:cs typeface="+mn-cs"/>
              </a:rPr>
              <a:t>© 2019 FrieslandCampina Ingredients</a:t>
            </a:r>
          </a:p>
        </p:txBody>
      </p:sp>
      <p:sp>
        <p:nvSpPr>
          <p:cNvPr id="18" name="Tijdelijke aanduiding voor tekst 17">
            <a:extLst>
              <a:ext uri="{FF2B5EF4-FFF2-40B4-BE49-F238E27FC236}">
                <a16:creationId xmlns:a16="http://schemas.microsoft.com/office/drawing/2014/main" id="{134848E4-6B17-49A0-B7F6-34867199C050}"/>
              </a:ext>
            </a:extLst>
          </p:cNvPr>
          <p:cNvSpPr>
            <a:spLocks noGrp="1"/>
          </p:cNvSpPr>
          <p:nvPr>
            <p:ph type="body" sz="quarter" idx="18" hasCustomPrompt="1"/>
          </p:nvPr>
        </p:nvSpPr>
        <p:spPr>
          <a:xfrm>
            <a:off x="336552" y="0"/>
            <a:ext cx="5327648" cy="5596669"/>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1080000" anchor="b" anchorCtr="0">
            <a:noAutofit/>
          </a:bodyPr>
          <a:lstStyle>
            <a:lvl1pPr marL="0" indent="0">
              <a:buNone/>
              <a:defRPr sz="3200">
                <a:solidFill>
                  <a:schemeClr val="accent1"/>
                </a:solidFill>
              </a:defRPr>
            </a:lvl1pPr>
          </a:lstStyle>
          <a:p>
            <a:pPr lvl="0"/>
            <a:r>
              <a:rPr lang="nl-NL"/>
              <a:t>Title (max 2 lines)</a:t>
            </a:r>
          </a:p>
        </p:txBody>
      </p:sp>
      <p:sp>
        <p:nvSpPr>
          <p:cNvPr id="3" name="Subtitle 2"/>
          <p:cNvSpPr>
            <a:spLocks noGrp="1"/>
          </p:cNvSpPr>
          <p:nvPr>
            <p:ph type="subTitle" idx="1" hasCustomPrompt="1"/>
          </p:nvPr>
        </p:nvSpPr>
        <p:spPr>
          <a:xfrm>
            <a:off x="1007533" y="4991102"/>
            <a:ext cx="4077992"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Subtitle</a:t>
            </a:r>
          </a:p>
        </p:txBody>
      </p:sp>
      <p:sp>
        <p:nvSpPr>
          <p:cNvPr id="11" name="Tijdelijke aanduiding voor tekst 21">
            <a:extLst>
              <a:ext uri="{FF2B5EF4-FFF2-40B4-BE49-F238E27FC236}">
                <a16:creationId xmlns:a16="http://schemas.microsoft.com/office/drawing/2014/main" id="{864B06FA-CA70-4595-8439-FEB797046608}"/>
              </a:ext>
            </a:extLst>
          </p:cNvPr>
          <p:cNvSpPr>
            <a:spLocks noGrp="1"/>
          </p:cNvSpPr>
          <p:nvPr>
            <p:ph type="body" sz="quarter" idx="19" hasCustomPrompt="1"/>
          </p:nvPr>
        </p:nvSpPr>
        <p:spPr>
          <a:xfrm>
            <a:off x="662400" y="374400"/>
            <a:ext cx="1737600" cy="1046400"/>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nl-NL"/>
              <a:t>.</a:t>
            </a:r>
          </a:p>
        </p:txBody>
      </p:sp>
      <p:grpSp>
        <p:nvGrpSpPr>
          <p:cNvPr id="10" name="Groep 9">
            <a:extLst>
              <a:ext uri="{FF2B5EF4-FFF2-40B4-BE49-F238E27FC236}">
                <a16:creationId xmlns:a16="http://schemas.microsoft.com/office/drawing/2014/main" id="{2D3B3783-BF87-416D-8312-A253A1630159}"/>
              </a:ext>
            </a:extLst>
          </p:cNvPr>
          <p:cNvGrpSpPr/>
          <p:nvPr userDrawn="1"/>
        </p:nvGrpSpPr>
        <p:grpSpPr>
          <a:xfrm>
            <a:off x="12262862" y="696656"/>
            <a:ext cx="1130143" cy="757167"/>
            <a:chOff x="9197145" y="1199569"/>
            <a:chExt cx="847607" cy="567875"/>
          </a:xfrm>
        </p:grpSpPr>
        <p:sp>
          <p:nvSpPr>
            <p:cNvPr id="16" name="Freeform 20">
              <a:extLst>
                <a:ext uri="{FF2B5EF4-FFF2-40B4-BE49-F238E27FC236}">
                  <a16:creationId xmlns:a16="http://schemas.microsoft.com/office/drawing/2014/main" id="{B92E4F29-1E59-41AA-8B6A-AB0CE0321FCD}"/>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8F013AE7-A940-4288-807D-4C6C090D30BE}"/>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US" sz="933" b="0"/>
                <a:t>Delete the stamps</a:t>
              </a:r>
              <a:br>
                <a:rPr lang="en-US" sz="933" b="0"/>
              </a:br>
              <a:r>
                <a:rPr lang="en-US" sz="933" b="0"/>
                <a:t>you don’t use and align the correct one on top</a:t>
              </a:r>
            </a:p>
          </p:txBody>
        </p:sp>
      </p:grpSp>
    </p:spTree>
    <p:extLst>
      <p:ext uri="{BB962C8B-B14F-4D97-AF65-F5344CB8AC3E}">
        <p14:creationId xmlns:p14="http://schemas.microsoft.com/office/powerpoint/2010/main" val="1190419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showMasterSp="0" preserve="1" userDrawn="1">
  <p:cSld name="Title slide - Active">
    <p:spTree>
      <p:nvGrpSpPr>
        <p:cNvPr id="1" name=""/>
        <p:cNvGrpSpPr/>
        <p:nvPr/>
      </p:nvGrpSpPr>
      <p:grpSpPr>
        <a:xfrm>
          <a:off x="0" y="0"/>
          <a:ext cx="0" cy="0"/>
          <a:chOff x="0" y="0"/>
          <a:chExt cx="0" cy="0"/>
        </a:xfrm>
      </p:grpSpPr>
      <p:pic>
        <p:nvPicPr>
          <p:cNvPr id="12" name="Tijdelijke aanduiding voor afbeelding 6" descr="Afbeelding met sneeuw, muur, binnen, man&#10;&#10;Automatisch gegenereerde beschrijving">
            <a:extLst>
              <a:ext uri="{FF2B5EF4-FFF2-40B4-BE49-F238E27FC236}">
                <a16:creationId xmlns:a16="http://schemas.microsoft.com/office/drawing/2014/main" id="{1CAED2E1-7E2D-4C8A-BA08-CA639139A8D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US" sz="800" kern="1200">
                <a:solidFill>
                  <a:schemeClr val="tx1">
                    <a:tint val="75000"/>
                  </a:schemeClr>
                </a:solidFill>
                <a:latin typeface="+mn-lt"/>
                <a:ea typeface="+mn-ea"/>
                <a:cs typeface="+mn-cs"/>
              </a:rPr>
              <a:t>© 2019 FrieslandCampina Ingredients</a:t>
            </a:r>
          </a:p>
        </p:txBody>
      </p:sp>
      <p:sp>
        <p:nvSpPr>
          <p:cNvPr id="18" name="Tijdelijke aanduiding voor tekst 17">
            <a:extLst>
              <a:ext uri="{FF2B5EF4-FFF2-40B4-BE49-F238E27FC236}">
                <a16:creationId xmlns:a16="http://schemas.microsoft.com/office/drawing/2014/main" id="{134848E4-6B17-49A0-B7F6-34867199C050}"/>
              </a:ext>
            </a:extLst>
          </p:cNvPr>
          <p:cNvSpPr>
            <a:spLocks noGrp="1"/>
          </p:cNvSpPr>
          <p:nvPr>
            <p:ph type="body" sz="quarter" idx="18" hasCustomPrompt="1"/>
          </p:nvPr>
        </p:nvSpPr>
        <p:spPr>
          <a:xfrm>
            <a:off x="336552" y="0"/>
            <a:ext cx="5327648" cy="5596669"/>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1080000" anchor="b" anchorCtr="0">
            <a:noAutofit/>
          </a:bodyPr>
          <a:lstStyle>
            <a:lvl1pPr marL="0" indent="0">
              <a:buNone/>
              <a:defRPr sz="3200">
                <a:solidFill>
                  <a:schemeClr val="accent1"/>
                </a:solidFill>
              </a:defRPr>
            </a:lvl1pPr>
          </a:lstStyle>
          <a:p>
            <a:pPr lvl="0"/>
            <a:r>
              <a:rPr lang="nl-NL" err="1"/>
              <a:t>Title</a:t>
            </a:r>
            <a:r>
              <a:rPr lang="nl-NL"/>
              <a:t> (max 2 </a:t>
            </a:r>
            <a:r>
              <a:rPr lang="nl-NL" err="1"/>
              <a:t>lines</a:t>
            </a:r>
            <a:r>
              <a:rPr lang="nl-NL"/>
              <a:t>)</a:t>
            </a:r>
          </a:p>
        </p:txBody>
      </p:sp>
      <p:sp>
        <p:nvSpPr>
          <p:cNvPr id="3" name="Subtitle 2"/>
          <p:cNvSpPr>
            <a:spLocks noGrp="1"/>
          </p:cNvSpPr>
          <p:nvPr>
            <p:ph type="subTitle" idx="1" hasCustomPrompt="1"/>
          </p:nvPr>
        </p:nvSpPr>
        <p:spPr>
          <a:xfrm>
            <a:off x="1007533" y="4991102"/>
            <a:ext cx="4077992"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Subtitle</a:t>
            </a:r>
          </a:p>
        </p:txBody>
      </p:sp>
      <p:sp>
        <p:nvSpPr>
          <p:cNvPr id="11" name="Tijdelijke aanduiding voor tekst 21">
            <a:extLst>
              <a:ext uri="{FF2B5EF4-FFF2-40B4-BE49-F238E27FC236}">
                <a16:creationId xmlns:a16="http://schemas.microsoft.com/office/drawing/2014/main" id="{864B06FA-CA70-4595-8439-FEB797046608}"/>
              </a:ext>
            </a:extLst>
          </p:cNvPr>
          <p:cNvSpPr>
            <a:spLocks noGrp="1"/>
          </p:cNvSpPr>
          <p:nvPr>
            <p:ph type="body" sz="quarter" idx="19" hasCustomPrompt="1"/>
          </p:nvPr>
        </p:nvSpPr>
        <p:spPr>
          <a:xfrm>
            <a:off x="662400" y="374400"/>
            <a:ext cx="1737600" cy="1046400"/>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nl-NL"/>
              <a:t>.</a:t>
            </a:r>
          </a:p>
        </p:txBody>
      </p:sp>
      <p:grpSp>
        <p:nvGrpSpPr>
          <p:cNvPr id="15" name="Groep 14">
            <a:extLst>
              <a:ext uri="{FF2B5EF4-FFF2-40B4-BE49-F238E27FC236}">
                <a16:creationId xmlns:a16="http://schemas.microsoft.com/office/drawing/2014/main" id="{26B582DD-85D3-4396-A1BD-1FE9E211CE2B}"/>
              </a:ext>
            </a:extLst>
          </p:cNvPr>
          <p:cNvGrpSpPr/>
          <p:nvPr userDrawn="1"/>
        </p:nvGrpSpPr>
        <p:grpSpPr>
          <a:xfrm>
            <a:off x="12262862" y="696656"/>
            <a:ext cx="1130143" cy="757167"/>
            <a:chOff x="9197145" y="1199569"/>
            <a:chExt cx="847607" cy="567875"/>
          </a:xfrm>
        </p:grpSpPr>
        <p:sp>
          <p:nvSpPr>
            <p:cNvPr id="16" name="Freeform 20">
              <a:extLst>
                <a:ext uri="{FF2B5EF4-FFF2-40B4-BE49-F238E27FC236}">
                  <a16:creationId xmlns:a16="http://schemas.microsoft.com/office/drawing/2014/main" id="{040EC359-9BDD-4775-A957-4137B57732A5}"/>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6F63FEC7-0371-4FD8-952D-795EC110286B}"/>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US" sz="933" b="0"/>
                <a:t>Delete the stamps</a:t>
              </a:r>
              <a:br>
                <a:rPr lang="en-US" sz="933" b="0"/>
              </a:br>
              <a:r>
                <a:rPr lang="en-US" sz="933" b="0"/>
                <a:t>you don’t use and align the correct one on top</a:t>
              </a:r>
            </a:p>
          </p:txBody>
        </p:sp>
      </p:grpSp>
    </p:spTree>
    <p:extLst>
      <p:ext uri="{BB962C8B-B14F-4D97-AF65-F5344CB8AC3E}">
        <p14:creationId xmlns:p14="http://schemas.microsoft.com/office/powerpoint/2010/main" val="3114495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showMasterSp="0" preserve="1" userDrawn="1">
  <p:cSld name="Title slide - Animal">
    <p:spTree>
      <p:nvGrpSpPr>
        <p:cNvPr id="1" name=""/>
        <p:cNvGrpSpPr/>
        <p:nvPr/>
      </p:nvGrpSpPr>
      <p:grpSpPr>
        <a:xfrm>
          <a:off x="0" y="0"/>
          <a:ext cx="0" cy="0"/>
          <a:chOff x="0" y="0"/>
          <a:chExt cx="0" cy="0"/>
        </a:xfrm>
      </p:grpSpPr>
      <p:pic>
        <p:nvPicPr>
          <p:cNvPr id="12" name="Tijdelijke aanduiding voor afbeelding 6" descr="Afbeelding met muur, binnen, staand, hond&#10;&#10;Automatisch gegenereerde beschrijving">
            <a:extLst>
              <a:ext uri="{FF2B5EF4-FFF2-40B4-BE49-F238E27FC236}">
                <a16:creationId xmlns:a16="http://schemas.microsoft.com/office/drawing/2014/main" id="{3726E048-BF4E-41BD-BEF3-96C213E510FF}"/>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US" sz="800" kern="1200">
                <a:solidFill>
                  <a:schemeClr val="tx1">
                    <a:tint val="75000"/>
                  </a:schemeClr>
                </a:solidFill>
                <a:latin typeface="+mn-lt"/>
                <a:ea typeface="+mn-ea"/>
                <a:cs typeface="+mn-cs"/>
              </a:rPr>
              <a:t>© 2019 FrieslandCampina Ingredients</a:t>
            </a:r>
          </a:p>
        </p:txBody>
      </p:sp>
      <p:sp>
        <p:nvSpPr>
          <p:cNvPr id="18" name="Tijdelijke aanduiding voor tekst 17">
            <a:extLst>
              <a:ext uri="{FF2B5EF4-FFF2-40B4-BE49-F238E27FC236}">
                <a16:creationId xmlns:a16="http://schemas.microsoft.com/office/drawing/2014/main" id="{134848E4-6B17-49A0-B7F6-34867199C050}"/>
              </a:ext>
            </a:extLst>
          </p:cNvPr>
          <p:cNvSpPr>
            <a:spLocks noGrp="1"/>
          </p:cNvSpPr>
          <p:nvPr>
            <p:ph type="body" sz="quarter" idx="18" hasCustomPrompt="1"/>
          </p:nvPr>
        </p:nvSpPr>
        <p:spPr>
          <a:xfrm>
            <a:off x="336552" y="0"/>
            <a:ext cx="5327648" cy="5596669"/>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1080000" anchor="b" anchorCtr="0">
            <a:noAutofit/>
          </a:bodyPr>
          <a:lstStyle>
            <a:lvl1pPr marL="0" indent="0">
              <a:buNone/>
              <a:defRPr sz="3200">
                <a:solidFill>
                  <a:schemeClr val="accent1"/>
                </a:solidFill>
              </a:defRPr>
            </a:lvl1pPr>
          </a:lstStyle>
          <a:p>
            <a:pPr lvl="0"/>
            <a:r>
              <a:rPr lang="nl-NL"/>
              <a:t>Title (max 2 lines)</a:t>
            </a:r>
          </a:p>
        </p:txBody>
      </p:sp>
      <p:sp>
        <p:nvSpPr>
          <p:cNvPr id="3" name="Subtitle 2"/>
          <p:cNvSpPr>
            <a:spLocks noGrp="1"/>
          </p:cNvSpPr>
          <p:nvPr>
            <p:ph type="subTitle" idx="1" hasCustomPrompt="1"/>
          </p:nvPr>
        </p:nvSpPr>
        <p:spPr>
          <a:xfrm>
            <a:off x="1007533" y="4991102"/>
            <a:ext cx="4077992"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Subtitle</a:t>
            </a:r>
          </a:p>
        </p:txBody>
      </p:sp>
      <p:sp>
        <p:nvSpPr>
          <p:cNvPr id="11" name="Tijdelijke aanduiding voor tekst 21">
            <a:extLst>
              <a:ext uri="{FF2B5EF4-FFF2-40B4-BE49-F238E27FC236}">
                <a16:creationId xmlns:a16="http://schemas.microsoft.com/office/drawing/2014/main" id="{864B06FA-CA70-4595-8439-FEB797046608}"/>
              </a:ext>
            </a:extLst>
          </p:cNvPr>
          <p:cNvSpPr>
            <a:spLocks noGrp="1"/>
          </p:cNvSpPr>
          <p:nvPr>
            <p:ph type="body" sz="quarter" idx="19" hasCustomPrompt="1"/>
          </p:nvPr>
        </p:nvSpPr>
        <p:spPr>
          <a:xfrm>
            <a:off x="662400" y="374400"/>
            <a:ext cx="1737600" cy="1046400"/>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nl-NL"/>
              <a:t>.</a:t>
            </a:r>
          </a:p>
        </p:txBody>
      </p:sp>
      <p:grpSp>
        <p:nvGrpSpPr>
          <p:cNvPr id="15" name="Groep 14">
            <a:extLst>
              <a:ext uri="{FF2B5EF4-FFF2-40B4-BE49-F238E27FC236}">
                <a16:creationId xmlns:a16="http://schemas.microsoft.com/office/drawing/2014/main" id="{E93E3858-F974-4911-83A0-E846E87480C2}"/>
              </a:ext>
            </a:extLst>
          </p:cNvPr>
          <p:cNvGrpSpPr/>
          <p:nvPr userDrawn="1"/>
        </p:nvGrpSpPr>
        <p:grpSpPr>
          <a:xfrm>
            <a:off x="12262862" y="696656"/>
            <a:ext cx="1130143" cy="757167"/>
            <a:chOff x="9197145" y="1199569"/>
            <a:chExt cx="847607" cy="567875"/>
          </a:xfrm>
        </p:grpSpPr>
        <p:sp>
          <p:nvSpPr>
            <p:cNvPr id="16" name="Freeform 20">
              <a:extLst>
                <a:ext uri="{FF2B5EF4-FFF2-40B4-BE49-F238E27FC236}">
                  <a16:creationId xmlns:a16="http://schemas.microsoft.com/office/drawing/2014/main" id="{4D29C189-DDA3-41F2-83BA-5E83833097B3}"/>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492277EF-CB60-4158-9FC8-90DCF308C055}"/>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US" sz="933" b="0"/>
                <a:t>Delete the stamps</a:t>
              </a:r>
              <a:br>
                <a:rPr lang="en-US" sz="933" b="0"/>
              </a:br>
              <a:r>
                <a:rPr lang="en-US" sz="933" b="0"/>
                <a:t>you don’t use and align the correct one on top</a:t>
              </a:r>
            </a:p>
          </p:txBody>
        </p:sp>
      </p:grpSp>
    </p:spTree>
    <p:extLst>
      <p:ext uri="{BB962C8B-B14F-4D97-AF65-F5344CB8AC3E}">
        <p14:creationId xmlns:p14="http://schemas.microsoft.com/office/powerpoint/2010/main" val="1600869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showMasterSp="0" preserve="1" userDrawn="1">
  <p:cSld name="Title slide - F&amp;B">
    <p:spTree>
      <p:nvGrpSpPr>
        <p:cNvPr id="1" name=""/>
        <p:cNvGrpSpPr/>
        <p:nvPr/>
      </p:nvGrpSpPr>
      <p:grpSpPr>
        <a:xfrm>
          <a:off x="0" y="0"/>
          <a:ext cx="0" cy="0"/>
          <a:chOff x="0" y="0"/>
          <a:chExt cx="0" cy="0"/>
        </a:xfrm>
      </p:grpSpPr>
      <p:pic>
        <p:nvPicPr>
          <p:cNvPr id="10" name="Tijdelijke aanduiding voor afbeelding 6" descr="Afbeelding met muur, binnen, meubels&#10;&#10;Automatisch gegenereerde beschrijving">
            <a:extLst>
              <a:ext uri="{FF2B5EF4-FFF2-40B4-BE49-F238E27FC236}">
                <a16:creationId xmlns:a16="http://schemas.microsoft.com/office/drawing/2014/main" id="{C93F0BA1-A468-4560-9759-5D6F18546C9D}"/>
              </a:ext>
            </a:extLst>
          </p:cNvPr>
          <p:cNvPicPr>
            <a:picLocks noChangeAspect="1"/>
          </p:cNvPicPr>
          <p:nvPr userDrawn="1"/>
        </p:nvPicPr>
        <p:blipFill>
          <a:blip r:embed="rId2"/>
          <a:srcRect t="8790" b="8790"/>
          <a:stretch>
            <a:fillRect/>
          </a:stretch>
        </p:blipFill>
        <p:spPr>
          <a:xfrm flipH="1">
            <a:off x="0" y="0"/>
            <a:ext cx="12192000" cy="6858000"/>
          </a:xfrm>
          <a:prstGeom prst="rect">
            <a:avLst/>
          </a:prstGeom>
        </p:spPr>
      </p:pic>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US" sz="800" kern="1200">
                <a:solidFill>
                  <a:schemeClr val="tx1">
                    <a:tint val="75000"/>
                  </a:schemeClr>
                </a:solidFill>
                <a:latin typeface="+mn-lt"/>
                <a:ea typeface="+mn-ea"/>
                <a:cs typeface="+mn-cs"/>
              </a:rPr>
              <a:t>© 2019 FrieslandCampina Ingredients</a:t>
            </a:r>
          </a:p>
        </p:txBody>
      </p:sp>
      <p:sp>
        <p:nvSpPr>
          <p:cNvPr id="18" name="Tijdelijke aanduiding voor tekst 17">
            <a:extLst>
              <a:ext uri="{FF2B5EF4-FFF2-40B4-BE49-F238E27FC236}">
                <a16:creationId xmlns:a16="http://schemas.microsoft.com/office/drawing/2014/main" id="{134848E4-6B17-49A0-B7F6-34867199C050}"/>
              </a:ext>
            </a:extLst>
          </p:cNvPr>
          <p:cNvSpPr>
            <a:spLocks noGrp="1"/>
          </p:cNvSpPr>
          <p:nvPr>
            <p:ph type="body" sz="quarter" idx="18" hasCustomPrompt="1"/>
          </p:nvPr>
        </p:nvSpPr>
        <p:spPr>
          <a:xfrm>
            <a:off x="336552" y="0"/>
            <a:ext cx="5327648" cy="5596669"/>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1080000" anchor="b" anchorCtr="0">
            <a:noAutofit/>
          </a:bodyPr>
          <a:lstStyle>
            <a:lvl1pPr marL="0" indent="0">
              <a:buNone/>
              <a:defRPr sz="3200">
                <a:solidFill>
                  <a:schemeClr val="accent1"/>
                </a:solidFill>
              </a:defRPr>
            </a:lvl1pPr>
          </a:lstStyle>
          <a:p>
            <a:pPr lvl="0"/>
            <a:r>
              <a:rPr lang="nl-NL"/>
              <a:t>Title (max 2 lines)</a:t>
            </a:r>
          </a:p>
        </p:txBody>
      </p:sp>
      <p:sp>
        <p:nvSpPr>
          <p:cNvPr id="3" name="Subtitle 2"/>
          <p:cNvSpPr>
            <a:spLocks noGrp="1"/>
          </p:cNvSpPr>
          <p:nvPr>
            <p:ph type="subTitle" idx="1" hasCustomPrompt="1"/>
          </p:nvPr>
        </p:nvSpPr>
        <p:spPr>
          <a:xfrm>
            <a:off x="1007533" y="4991102"/>
            <a:ext cx="4077992"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Subtitle</a:t>
            </a:r>
          </a:p>
        </p:txBody>
      </p:sp>
      <p:sp>
        <p:nvSpPr>
          <p:cNvPr id="11" name="Tijdelijke aanduiding voor tekst 21">
            <a:extLst>
              <a:ext uri="{FF2B5EF4-FFF2-40B4-BE49-F238E27FC236}">
                <a16:creationId xmlns:a16="http://schemas.microsoft.com/office/drawing/2014/main" id="{864B06FA-CA70-4595-8439-FEB797046608}"/>
              </a:ext>
            </a:extLst>
          </p:cNvPr>
          <p:cNvSpPr>
            <a:spLocks noGrp="1"/>
          </p:cNvSpPr>
          <p:nvPr>
            <p:ph type="body" sz="quarter" idx="19" hasCustomPrompt="1"/>
          </p:nvPr>
        </p:nvSpPr>
        <p:spPr>
          <a:xfrm>
            <a:off x="662400" y="374400"/>
            <a:ext cx="1737600" cy="1046400"/>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nl-NL"/>
              <a:t>.</a:t>
            </a:r>
          </a:p>
        </p:txBody>
      </p:sp>
      <p:grpSp>
        <p:nvGrpSpPr>
          <p:cNvPr id="15" name="Groep 14">
            <a:extLst>
              <a:ext uri="{FF2B5EF4-FFF2-40B4-BE49-F238E27FC236}">
                <a16:creationId xmlns:a16="http://schemas.microsoft.com/office/drawing/2014/main" id="{5F6B2FA8-EEF3-4CDA-9FEB-7E79E95522C0}"/>
              </a:ext>
            </a:extLst>
          </p:cNvPr>
          <p:cNvGrpSpPr/>
          <p:nvPr userDrawn="1"/>
        </p:nvGrpSpPr>
        <p:grpSpPr>
          <a:xfrm>
            <a:off x="12262862" y="696656"/>
            <a:ext cx="1130143" cy="757167"/>
            <a:chOff x="9197145" y="1199569"/>
            <a:chExt cx="847607" cy="567875"/>
          </a:xfrm>
        </p:grpSpPr>
        <p:sp>
          <p:nvSpPr>
            <p:cNvPr id="16" name="Freeform 20">
              <a:extLst>
                <a:ext uri="{FF2B5EF4-FFF2-40B4-BE49-F238E27FC236}">
                  <a16:creationId xmlns:a16="http://schemas.microsoft.com/office/drawing/2014/main" id="{41362B8D-5982-495C-842A-A2FF269D0105}"/>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4244E6F1-E970-4E0A-9524-A328B2F2C147}"/>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US" sz="933" b="0"/>
                <a:t>Delete the stamps</a:t>
              </a:r>
              <a:br>
                <a:rPr lang="en-US" sz="933" b="0"/>
              </a:br>
              <a:r>
                <a:rPr lang="en-US" sz="933" b="0"/>
                <a:t>you don’t use and align the correct one on top</a:t>
              </a:r>
            </a:p>
          </p:txBody>
        </p:sp>
      </p:grpSp>
    </p:spTree>
    <p:extLst>
      <p:ext uri="{BB962C8B-B14F-4D97-AF65-F5344CB8AC3E}">
        <p14:creationId xmlns:p14="http://schemas.microsoft.com/office/powerpoint/2010/main" val="1060868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 Brand - 7">
    <p:spTree>
      <p:nvGrpSpPr>
        <p:cNvPr id="1" name=""/>
        <p:cNvGrpSpPr/>
        <p:nvPr/>
      </p:nvGrpSpPr>
      <p:grpSpPr>
        <a:xfrm>
          <a:off x="0" y="0"/>
          <a:ext cx="0" cy="0"/>
          <a:chOff x="0" y="0"/>
          <a:chExt cx="0" cy="0"/>
        </a:xfrm>
      </p:grpSpPr>
      <p:pic>
        <p:nvPicPr>
          <p:cNvPr id="9" name="Picture Placeholder 2" descr="A picture containing text&#10;&#10;Description automatically generated">
            <a:extLst>
              <a:ext uri="{FF2B5EF4-FFF2-40B4-BE49-F238E27FC236}">
                <a16:creationId xmlns:a16="http://schemas.microsoft.com/office/drawing/2014/main" id="{34E7E205-0AB1-426E-ACF0-760956D381F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0" name="Tijdelijke aanduiding voor tekst 17">
            <a:extLst>
              <a:ext uri="{FF2B5EF4-FFF2-40B4-BE49-F238E27FC236}">
                <a16:creationId xmlns:a16="http://schemas.microsoft.com/office/drawing/2014/main" id="{236EE252-1DDE-4046-BB3A-EB8A80D030F9}"/>
              </a:ext>
            </a:extLst>
          </p:cNvPr>
          <p:cNvSpPr>
            <a:spLocks noGrp="1"/>
          </p:cNvSpPr>
          <p:nvPr>
            <p:ph type="body" sz="quarter" idx="18" hasCustomPrompt="1"/>
          </p:nvPr>
        </p:nvSpPr>
        <p:spPr>
          <a:xfrm>
            <a:off x="336554" y="1"/>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2"/>
            <a:ext cx="3168651"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Subtitle</a:t>
            </a:r>
          </a:p>
        </p:txBody>
      </p:sp>
      <p:sp>
        <p:nvSpPr>
          <p:cNvPr id="22" name="Tijdelijke aanduiding voor tekst 21">
            <a:extLst>
              <a:ext uri="{FF2B5EF4-FFF2-40B4-BE49-F238E27FC236}">
                <a16:creationId xmlns:a16="http://schemas.microsoft.com/office/drawing/2014/main" id="{FB8EC1E8-CA61-4781-B9FD-8B2A398367C1}"/>
              </a:ext>
            </a:extLst>
          </p:cNvPr>
          <p:cNvSpPr>
            <a:spLocks noGrp="1"/>
          </p:cNvSpPr>
          <p:nvPr>
            <p:ph type="body" sz="quarter" idx="19" hasCustomPrompt="1"/>
          </p:nvPr>
        </p:nvSpPr>
        <p:spPr>
          <a:xfrm>
            <a:off x="662400" y="374400"/>
            <a:ext cx="1737600" cy="1046400"/>
          </a:xfrm>
          <a:blipFill>
            <a:blip r:embed="rId3" cstate="print">
              <a:extLst>
                <a:ext uri="{28A0092B-C50C-407E-A947-70E740481C1C}">
                  <a14:useLocalDpi xmlns:a14="http://schemas.microsoft.com/office/drawing/2010/main" val="0"/>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en-GB"/>
              <a:t>.</a:t>
            </a:r>
          </a:p>
        </p:txBody>
      </p:sp>
      <p:grpSp>
        <p:nvGrpSpPr>
          <p:cNvPr id="12" name="Groep 11">
            <a:extLst>
              <a:ext uri="{FF2B5EF4-FFF2-40B4-BE49-F238E27FC236}">
                <a16:creationId xmlns:a16="http://schemas.microsoft.com/office/drawing/2014/main" id="{2ADDB6F1-9239-410D-9E94-70C869EBB25E}"/>
              </a:ext>
            </a:extLst>
          </p:cNvPr>
          <p:cNvGrpSpPr/>
          <p:nvPr userDrawn="1"/>
        </p:nvGrpSpPr>
        <p:grpSpPr>
          <a:xfrm>
            <a:off x="12262862" y="575999"/>
            <a:ext cx="1130143" cy="757167"/>
            <a:chOff x="9197145" y="1199569"/>
            <a:chExt cx="847607" cy="567875"/>
          </a:xfrm>
        </p:grpSpPr>
        <p:sp>
          <p:nvSpPr>
            <p:cNvPr id="14" name="Freeform 20">
              <a:extLst>
                <a:ext uri="{FF2B5EF4-FFF2-40B4-BE49-F238E27FC236}">
                  <a16:creationId xmlns:a16="http://schemas.microsoft.com/office/drawing/2014/main" id="{C2A087DB-B328-455C-8DD9-BAC7DD1D56C2}"/>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5" name="Tekstvak 14">
              <a:extLst>
                <a:ext uri="{FF2B5EF4-FFF2-40B4-BE49-F238E27FC236}">
                  <a16:creationId xmlns:a16="http://schemas.microsoft.com/office/drawing/2014/main" id="{87E12922-FC28-4314-8FE5-B2227B8EF627}"/>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3152606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showMasterSp="0" preserve="1" userDrawn="1">
  <p:cSld name="Title slide - Medical">
    <p:spTree>
      <p:nvGrpSpPr>
        <p:cNvPr id="1" name=""/>
        <p:cNvGrpSpPr/>
        <p:nvPr/>
      </p:nvGrpSpPr>
      <p:grpSpPr>
        <a:xfrm>
          <a:off x="0" y="0"/>
          <a:ext cx="0" cy="0"/>
          <a:chOff x="0" y="0"/>
          <a:chExt cx="0" cy="0"/>
        </a:xfrm>
      </p:grpSpPr>
      <p:pic>
        <p:nvPicPr>
          <p:cNvPr id="12" name="Tijdelijke aanduiding voor afbeelding 6" descr="Afbeelding met muur, man, binnen, persoon&#10;&#10;Automatisch gegenereerde beschrijving">
            <a:extLst>
              <a:ext uri="{FF2B5EF4-FFF2-40B4-BE49-F238E27FC236}">
                <a16:creationId xmlns:a16="http://schemas.microsoft.com/office/drawing/2014/main" id="{C2651B6A-D009-4467-BAAC-9A4A04158498}"/>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US" sz="800" kern="1200">
                <a:solidFill>
                  <a:schemeClr val="tx1">
                    <a:tint val="75000"/>
                  </a:schemeClr>
                </a:solidFill>
                <a:latin typeface="+mn-lt"/>
                <a:ea typeface="+mn-ea"/>
                <a:cs typeface="+mn-cs"/>
              </a:rPr>
              <a:t>© 2019 FrieslandCampina Ingredients</a:t>
            </a:r>
          </a:p>
        </p:txBody>
      </p:sp>
      <p:sp>
        <p:nvSpPr>
          <p:cNvPr id="18" name="Tijdelijke aanduiding voor tekst 17">
            <a:extLst>
              <a:ext uri="{FF2B5EF4-FFF2-40B4-BE49-F238E27FC236}">
                <a16:creationId xmlns:a16="http://schemas.microsoft.com/office/drawing/2014/main" id="{134848E4-6B17-49A0-B7F6-34867199C050}"/>
              </a:ext>
            </a:extLst>
          </p:cNvPr>
          <p:cNvSpPr>
            <a:spLocks noGrp="1"/>
          </p:cNvSpPr>
          <p:nvPr>
            <p:ph type="body" sz="quarter" idx="18" hasCustomPrompt="1"/>
          </p:nvPr>
        </p:nvSpPr>
        <p:spPr>
          <a:xfrm>
            <a:off x="336552" y="0"/>
            <a:ext cx="5327648" cy="5596669"/>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1080000" anchor="b" anchorCtr="0">
            <a:noAutofit/>
          </a:bodyPr>
          <a:lstStyle>
            <a:lvl1pPr marL="0" indent="0">
              <a:buNone/>
              <a:defRPr sz="3200">
                <a:solidFill>
                  <a:schemeClr val="accent1"/>
                </a:solidFill>
              </a:defRPr>
            </a:lvl1pPr>
          </a:lstStyle>
          <a:p>
            <a:pPr lvl="0"/>
            <a:r>
              <a:rPr lang="nl-NL"/>
              <a:t>Title (max 2 lines)</a:t>
            </a:r>
          </a:p>
        </p:txBody>
      </p:sp>
      <p:sp>
        <p:nvSpPr>
          <p:cNvPr id="3" name="Subtitle 2"/>
          <p:cNvSpPr>
            <a:spLocks noGrp="1"/>
          </p:cNvSpPr>
          <p:nvPr>
            <p:ph type="subTitle" idx="1" hasCustomPrompt="1"/>
          </p:nvPr>
        </p:nvSpPr>
        <p:spPr>
          <a:xfrm>
            <a:off x="1007533" y="4991102"/>
            <a:ext cx="4077992"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Subtitle</a:t>
            </a:r>
          </a:p>
        </p:txBody>
      </p:sp>
      <p:sp>
        <p:nvSpPr>
          <p:cNvPr id="11" name="Tijdelijke aanduiding voor tekst 21">
            <a:extLst>
              <a:ext uri="{FF2B5EF4-FFF2-40B4-BE49-F238E27FC236}">
                <a16:creationId xmlns:a16="http://schemas.microsoft.com/office/drawing/2014/main" id="{864B06FA-CA70-4595-8439-FEB797046608}"/>
              </a:ext>
            </a:extLst>
          </p:cNvPr>
          <p:cNvSpPr>
            <a:spLocks noGrp="1"/>
          </p:cNvSpPr>
          <p:nvPr>
            <p:ph type="body" sz="quarter" idx="19" hasCustomPrompt="1"/>
          </p:nvPr>
        </p:nvSpPr>
        <p:spPr>
          <a:xfrm>
            <a:off x="662400" y="374400"/>
            <a:ext cx="1737600" cy="1046400"/>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nl-NL"/>
              <a:t>.</a:t>
            </a:r>
          </a:p>
        </p:txBody>
      </p:sp>
      <p:grpSp>
        <p:nvGrpSpPr>
          <p:cNvPr id="15" name="Groep 14">
            <a:extLst>
              <a:ext uri="{FF2B5EF4-FFF2-40B4-BE49-F238E27FC236}">
                <a16:creationId xmlns:a16="http://schemas.microsoft.com/office/drawing/2014/main" id="{BAA1BCD9-45E9-4B83-9FEE-F1CE98E92DE8}"/>
              </a:ext>
            </a:extLst>
          </p:cNvPr>
          <p:cNvGrpSpPr/>
          <p:nvPr userDrawn="1"/>
        </p:nvGrpSpPr>
        <p:grpSpPr>
          <a:xfrm>
            <a:off x="12262862" y="696656"/>
            <a:ext cx="1130143" cy="757167"/>
            <a:chOff x="9197145" y="1199569"/>
            <a:chExt cx="847607" cy="567875"/>
          </a:xfrm>
        </p:grpSpPr>
        <p:sp>
          <p:nvSpPr>
            <p:cNvPr id="16" name="Freeform 20">
              <a:extLst>
                <a:ext uri="{FF2B5EF4-FFF2-40B4-BE49-F238E27FC236}">
                  <a16:creationId xmlns:a16="http://schemas.microsoft.com/office/drawing/2014/main" id="{81354EDD-EEE1-4FF1-B136-EAA3435011DC}"/>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652A80FE-093A-4450-AE3E-50E28D0164D7}"/>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US" sz="933" b="0"/>
                <a:t>Delete the stamps</a:t>
              </a:r>
              <a:br>
                <a:rPr lang="en-US" sz="933" b="0"/>
              </a:br>
              <a:r>
                <a:rPr lang="en-US" sz="933" b="0"/>
                <a:t>you don’t use and align the correct one on top</a:t>
              </a:r>
            </a:p>
          </p:txBody>
        </p:sp>
      </p:grpSp>
    </p:spTree>
    <p:extLst>
      <p:ext uri="{BB962C8B-B14F-4D97-AF65-F5344CB8AC3E}">
        <p14:creationId xmlns:p14="http://schemas.microsoft.com/office/powerpoint/2010/main" val="3046787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preserve="1" userDrawn="1">
  <p:cSld name="Title slide - Performance 1">
    <p:spTree>
      <p:nvGrpSpPr>
        <p:cNvPr id="1" name=""/>
        <p:cNvGrpSpPr/>
        <p:nvPr/>
      </p:nvGrpSpPr>
      <p:grpSpPr>
        <a:xfrm>
          <a:off x="0" y="0"/>
          <a:ext cx="0" cy="0"/>
          <a:chOff x="0" y="0"/>
          <a:chExt cx="0" cy="0"/>
        </a:xfrm>
      </p:grpSpPr>
      <p:pic>
        <p:nvPicPr>
          <p:cNvPr id="10" name="Tijdelijke aanduiding voor afbeelding 6" descr="Afbeelding met muur, binnen&#10;&#10;Automatisch gegenereerde beschrijving">
            <a:extLst>
              <a:ext uri="{FF2B5EF4-FFF2-40B4-BE49-F238E27FC236}">
                <a16:creationId xmlns:a16="http://schemas.microsoft.com/office/drawing/2014/main" id="{2AF420C7-99B0-46B6-A8B2-C66653BD1074}"/>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US" sz="800" kern="1200">
                <a:solidFill>
                  <a:schemeClr val="tx1">
                    <a:tint val="75000"/>
                  </a:schemeClr>
                </a:solidFill>
                <a:latin typeface="+mn-lt"/>
                <a:ea typeface="+mn-ea"/>
                <a:cs typeface="+mn-cs"/>
              </a:rPr>
              <a:t>© 2019 FrieslandCampina Ingredients</a:t>
            </a:r>
          </a:p>
        </p:txBody>
      </p:sp>
      <p:sp>
        <p:nvSpPr>
          <p:cNvPr id="18" name="Tijdelijke aanduiding voor tekst 17">
            <a:extLst>
              <a:ext uri="{FF2B5EF4-FFF2-40B4-BE49-F238E27FC236}">
                <a16:creationId xmlns:a16="http://schemas.microsoft.com/office/drawing/2014/main" id="{134848E4-6B17-49A0-B7F6-34867199C050}"/>
              </a:ext>
            </a:extLst>
          </p:cNvPr>
          <p:cNvSpPr>
            <a:spLocks noGrp="1"/>
          </p:cNvSpPr>
          <p:nvPr>
            <p:ph type="body" sz="quarter" idx="18" hasCustomPrompt="1"/>
          </p:nvPr>
        </p:nvSpPr>
        <p:spPr>
          <a:xfrm>
            <a:off x="336552" y="0"/>
            <a:ext cx="5327648" cy="5596669"/>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1080000" anchor="b" anchorCtr="0">
            <a:noAutofit/>
          </a:bodyPr>
          <a:lstStyle>
            <a:lvl1pPr marL="0" indent="0">
              <a:buNone/>
              <a:defRPr sz="3200">
                <a:solidFill>
                  <a:schemeClr val="accent1"/>
                </a:solidFill>
              </a:defRPr>
            </a:lvl1pPr>
          </a:lstStyle>
          <a:p>
            <a:pPr lvl="0"/>
            <a:r>
              <a:rPr lang="nl-NL"/>
              <a:t>Title (max 2 lines)</a:t>
            </a:r>
          </a:p>
        </p:txBody>
      </p:sp>
      <p:sp>
        <p:nvSpPr>
          <p:cNvPr id="3" name="Subtitle 2"/>
          <p:cNvSpPr>
            <a:spLocks noGrp="1"/>
          </p:cNvSpPr>
          <p:nvPr>
            <p:ph type="subTitle" idx="1" hasCustomPrompt="1"/>
          </p:nvPr>
        </p:nvSpPr>
        <p:spPr>
          <a:xfrm>
            <a:off x="1007533" y="4991102"/>
            <a:ext cx="4077992"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Subtitle</a:t>
            </a:r>
          </a:p>
        </p:txBody>
      </p:sp>
      <p:sp>
        <p:nvSpPr>
          <p:cNvPr id="11" name="Tijdelijke aanduiding voor tekst 21">
            <a:extLst>
              <a:ext uri="{FF2B5EF4-FFF2-40B4-BE49-F238E27FC236}">
                <a16:creationId xmlns:a16="http://schemas.microsoft.com/office/drawing/2014/main" id="{864B06FA-CA70-4595-8439-FEB797046608}"/>
              </a:ext>
            </a:extLst>
          </p:cNvPr>
          <p:cNvSpPr>
            <a:spLocks noGrp="1"/>
          </p:cNvSpPr>
          <p:nvPr>
            <p:ph type="body" sz="quarter" idx="19" hasCustomPrompt="1"/>
          </p:nvPr>
        </p:nvSpPr>
        <p:spPr>
          <a:xfrm>
            <a:off x="662400" y="374400"/>
            <a:ext cx="1737600" cy="1046400"/>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nl-NL"/>
              <a:t>.</a:t>
            </a:r>
          </a:p>
        </p:txBody>
      </p:sp>
      <p:grpSp>
        <p:nvGrpSpPr>
          <p:cNvPr id="15" name="Groep 14">
            <a:extLst>
              <a:ext uri="{FF2B5EF4-FFF2-40B4-BE49-F238E27FC236}">
                <a16:creationId xmlns:a16="http://schemas.microsoft.com/office/drawing/2014/main" id="{5719CCBA-0A8C-4DA3-A2BF-6F4EFD7ECA57}"/>
              </a:ext>
            </a:extLst>
          </p:cNvPr>
          <p:cNvGrpSpPr/>
          <p:nvPr userDrawn="1"/>
        </p:nvGrpSpPr>
        <p:grpSpPr>
          <a:xfrm>
            <a:off x="12262862" y="696656"/>
            <a:ext cx="1130143" cy="757167"/>
            <a:chOff x="9197145" y="1199569"/>
            <a:chExt cx="847607" cy="567875"/>
          </a:xfrm>
        </p:grpSpPr>
        <p:sp>
          <p:nvSpPr>
            <p:cNvPr id="16" name="Freeform 20">
              <a:extLst>
                <a:ext uri="{FF2B5EF4-FFF2-40B4-BE49-F238E27FC236}">
                  <a16:creationId xmlns:a16="http://schemas.microsoft.com/office/drawing/2014/main" id="{E613E7A1-9EE6-403B-A778-AAEC3C3F1F2D}"/>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C3750E03-2E3B-4B06-AEBC-30BD5F6674C9}"/>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US" sz="933" b="0"/>
                <a:t>Delete the stamps</a:t>
              </a:r>
              <a:br>
                <a:rPr lang="en-US" sz="933" b="0"/>
              </a:br>
              <a:r>
                <a:rPr lang="en-US" sz="933" b="0"/>
                <a:t>you don’t use and align the correct one on top</a:t>
              </a:r>
            </a:p>
          </p:txBody>
        </p:sp>
      </p:grpSp>
    </p:spTree>
    <p:extLst>
      <p:ext uri="{BB962C8B-B14F-4D97-AF65-F5344CB8AC3E}">
        <p14:creationId xmlns:p14="http://schemas.microsoft.com/office/powerpoint/2010/main" val="3226427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showMasterSp="0" preserve="1" userDrawn="1">
  <p:cSld name="Title slide - Performance 2">
    <p:spTree>
      <p:nvGrpSpPr>
        <p:cNvPr id="1" name=""/>
        <p:cNvGrpSpPr/>
        <p:nvPr/>
      </p:nvGrpSpPr>
      <p:grpSpPr>
        <a:xfrm>
          <a:off x="0" y="0"/>
          <a:ext cx="0" cy="0"/>
          <a:chOff x="0" y="0"/>
          <a:chExt cx="0" cy="0"/>
        </a:xfrm>
      </p:grpSpPr>
      <p:pic>
        <p:nvPicPr>
          <p:cNvPr id="14" name="Tijdelijke aanduiding voor afbeelding 6" descr="Afbeelding met binnen, muur&#10;&#10;Automatisch gegenereerde beschrijving">
            <a:extLst>
              <a:ext uri="{FF2B5EF4-FFF2-40B4-BE49-F238E27FC236}">
                <a16:creationId xmlns:a16="http://schemas.microsoft.com/office/drawing/2014/main" id="{3F0055B5-4F8F-4010-8BC1-28C25208941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US" sz="800" kern="1200">
                <a:solidFill>
                  <a:schemeClr val="tx1">
                    <a:tint val="75000"/>
                  </a:schemeClr>
                </a:solidFill>
                <a:latin typeface="+mn-lt"/>
                <a:ea typeface="+mn-ea"/>
                <a:cs typeface="+mn-cs"/>
              </a:rPr>
              <a:t>© 2019 FrieslandCampina Ingredients</a:t>
            </a:r>
          </a:p>
        </p:txBody>
      </p:sp>
      <p:sp>
        <p:nvSpPr>
          <p:cNvPr id="18" name="Tijdelijke aanduiding voor tekst 17">
            <a:extLst>
              <a:ext uri="{FF2B5EF4-FFF2-40B4-BE49-F238E27FC236}">
                <a16:creationId xmlns:a16="http://schemas.microsoft.com/office/drawing/2014/main" id="{134848E4-6B17-49A0-B7F6-34867199C050}"/>
              </a:ext>
            </a:extLst>
          </p:cNvPr>
          <p:cNvSpPr>
            <a:spLocks noGrp="1"/>
          </p:cNvSpPr>
          <p:nvPr>
            <p:ph type="body" sz="quarter" idx="18" hasCustomPrompt="1"/>
          </p:nvPr>
        </p:nvSpPr>
        <p:spPr>
          <a:xfrm>
            <a:off x="336552" y="0"/>
            <a:ext cx="5327648" cy="5596669"/>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1080000" anchor="b" anchorCtr="0">
            <a:noAutofit/>
          </a:bodyPr>
          <a:lstStyle>
            <a:lvl1pPr marL="0" indent="0">
              <a:buNone/>
              <a:defRPr sz="3200">
                <a:solidFill>
                  <a:schemeClr val="accent1"/>
                </a:solidFill>
              </a:defRPr>
            </a:lvl1pPr>
          </a:lstStyle>
          <a:p>
            <a:pPr lvl="0"/>
            <a:r>
              <a:rPr lang="nl-NL"/>
              <a:t>Title (max 2 lines)</a:t>
            </a:r>
          </a:p>
        </p:txBody>
      </p:sp>
      <p:sp>
        <p:nvSpPr>
          <p:cNvPr id="3" name="Subtitle 2"/>
          <p:cNvSpPr>
            <a:spLocks noGrp="1"/>
          </p:cNvSpPr>
          <p:nvPr>
            <p:ph type="subTitle" idx="1" hasCustomPrompt="1"/>
          </p:nvPr>
        </p:nvSpPr>
        <p:spPr>
          <a:xfrm>
            <a:off x="1007533" y="4991102"/>
            <a:ext cx="4077992"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Subtitle</a:t>
            </a:r>
          </a:p>
        </p:txBody>
      </p:sp>
      <p:sp>
        <p:nvSpPr>
          <p:cNvPr id="11" name="Tijdelijke aanduiding voor tekst 21">
            <a:extLst>
              <a:ext uri="{FF2B5EF4-FFF2-40B4-BE49-F238E27FC236}">
                <a16:creationId xmlns:a16="http://schemas.microsoft.com/office/drawing/2014/main" id="{864B06FA-CA70-4595-8439-FEB797046608}"/>
              </a:ext>
            </a:extLst>
          </p:cNvPr>
          <p:cNvSpPr>
            <a:spLocks noGrp="1"/>
          </p:cNvSpPr>
          <p:nvPr>
            <p:ph type="body" sz="quarter" idx="19" hasCustomPrompt="1"/>
          </p:nvPr>
        </p:nvSpPr>
        <p:spPr>
          <a:xfrm>
            <a:off x="662400" y="374400"/>
            <a:ext cx="1737600" cy="1046400"/>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nl-NL"/>
              <a:t>.</a:t>
            </a:r>
          </a:p>
        </p:txBody>
      </p:sp>
      <p:grpSp>
        <p:nvGrpSpPr>
          <p:cNvPr id="15" name="Groep 14">
            <a:extLst>
              <a:ext uri="{FF2B5EF4-FFF2-40B4-BE49-F238E27FC236}">
                <a16:creationId xmlns:a16="http://schemas.microsoft.com/office/drawing/2014/main" id="{5719CCBA-0A8C-4DA3-A2BF-6F4EFD7ECA57}"/>
              </a:ext>
            </a:extLst>
          </p:cNvPr>
          <p:cNvGrpSpPr/>
          <p:nvPr userDrawn="1"/>
        </p:nvGrpSpPr>
        <p:grpSpPr>
          <a:xfrm>
            <a:off x="12262862" y="696656"/>
            <a:ext cx="1130143" cy="757167"/>
            <a:chOff x="9197145" y="1199569"/>
            <a:chExt cx="847607" cy="567875"/>
          </a:xfrm>
        </p:grpSpPr>
        <p:sp>
          <p:nvSpPr>
            <p:cNvPr id="16" name="Freeform 20">
              <a:extLst>
                <a:ext uri="{FF2B5EF4-FFF2-40B4-BE49-F238E27FC236}">
                  <a16:creationId xmlns:a16="http://schemas.microsoft.com/office/drawing/2014/main" id="{E613E7A1-9EE6-403B-A778-AAEC3C3F1F2D}"/>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C3750E03-2E3B-4B06-AEBC-30BD5F6674C9}"/>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US" sz="933" b="0"/>
                <a:t>Delete the stamps</a:t>
              </a:r>
              <a:br>
                <a:rPr lang="en-US" sz="933" b="0"/>
              </a:br>
              <a:r>
                <a:rPr lang="en-US" sz="933" b="0"/>
                <a:t>you don’t use and align the correct one on top</a:t>
              </a:r>
            </a:p>
          </p:txBody>
        </p:sp>
      </p:grpSp>
    </p:spTree>
    <p:extLst>
      <p:ext uri="{BB962C8B-B14F-4D97-AF65-F5344CB8AC3E}">
        <p14:creationId xmlns:p14="http://schemas.microsoft.com/office/powerpoint/2010/main" val="3628873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showMasterSp="0" preserve="1" userDrawn="1">
  <p:cSld name="Title slide - Cell">
    <p:spTree>
      <p:nvGrpSpPr>
        <p:cNvPr id="1" name=""/>
        <p:cNvGrpSpPr/>
        <p:nvPr/>
      </p:nvGrpSpPr>
      <p:grpSpPr>
        <a:xfrm>
          <a:off x="0" y="0"/>
          <a:ext cx="0" cy="0"/>
          <a:chOff x="0" y="0"/>
          <a:chExt cx="0" cy="0"/>
        </a:xfrm>
      </p:grpSpPr>
      <p:pic>
        <p:nvPicPr>
          <p:cNvPr id="12" name="Tijdelijke aanduiding voor afbeelding 6" descr="Afbeelding met muur, binnen, kast, persoon&#10;&#10;Automatisch gegenereerde beschrijving">
            <a:extLst>
              <a:ext uri="{FF2B5EF4-FFF2-40B4-BE49-F238E27FC236}">
                <a16:creationId xmlns:a16="http://schemas.microsoft.com/office/drawing/2014/main" id="{013A8E42-82FC-4EBB-A3D0-38C2FB54F434}"/>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US" sz="800" kern="1200">
                <a:solidFill>
                  <a:schemeClr val="tx1">
                    <a:tint val="75000"/>
                  </a:schemeClr>
                </a:solidFill>
                <a:latin typeface="+mn-lt"/>
                <a:ea typeface="+mn-ea"/>
                <a:cs typeface="+mn-cs"/>
              </a:rPr>
              <a:t>© 2019 FrieslandCampina Ingredients</a:t>
            </a:r>
          </a:p>
        </p:txBody>
      </p:sp>
      <p:sp>
        <p:nvSpPr>
          <p:cNvPr id="18" name="Tijdelijke aanduiding voor tekst 17">
            <a:extLst>
              <a:ext uri="{FF2B5EF4-FFF2-40B4-BE49-F238E27FC236}">
                <a16:creationId xmlns:a16="http://schemas.microsoft.com/office/drawing/2014/main" id="{134848E4-6B17-49A0-B7F6-34867199C050}"/>
              </a:ext>
            </a:extLst>
          </p:cNvPr>
          <p:cNvSpPr>
            <a:spLocks noGrp="1"/>
          </p:cNvSpPr>
          <p:nvPr>
            <p:ph type="body" sz="quarter" idx="18" hasCustomPrompt="1"/>
          </p:nvPr>
        </p:nvSpPr>
        <p:spPr>
          <a:xfrm>
            <a:off x="336552" y="0"/>
            <a:ext cx="5327648" cy="5596669"/>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1080000" anchor="b" anchorCtr="0">
            <a:noAutofit/>
          </a:bodyPr>
          <a:lstStyle>
            <a:lvl1pPr marL="0" indent="0">
              <a:buNone/>
              <a:defRPr sz="3200">
                <a:solidFill>
                  <a:schemeClr val="accent1"/>
                </a:solidFill>
              </a:defRPr>
            </a:lvl1pPr>
          </a:lstStyle>
          <a:p>
            <a:pPr lvl="0"/>
            <a:r>
              <a:rPr lang="nl-NL"/>
              <a:t>Title (max 2 lines)</a:t>
            </a:r>
          </a:p>
        </p:txBody>
      </p:sp>
      <p:sp>
        <p:nvSpPr>
          <p:cNvPr id="3" name="Subtitle 2"/>
          <p:cNvSpPr>
            <a:spLocks noGrp="1"/>
          </p:cNvSpPr>
          <p:nvPr>
            <p:ph type="subTitle" idx="1" hasCustomPrompt="1"/>
          </p:nvPr>
        </p:nvSpPr>
        <p:spPr>
          <a:xfrm>
            <a:off x="1007533" y="4991102"/>
            <a:ext cx="4077992"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Subtitle</a:t>
            </a:r>
          </a:p>
        </p:txBody>
      </p:sp>
      <p:sp>
        <p:nvSpPr>
          <p:cNvPr id="11" name="Tijdelijke aanduiding voor tekst 21">
            <a:extLst>
              <a:ext uri="{FF2B5EF4-FFF2-40B4-BE49-F238E27FC236}">
                <a16:creationId xmlns:a16="http://schemas.microsoft.com/office/drawing/2014/main" id="{864B06FA-CA70-4595-8439-FEB797046608}"/>
              </a:ext>
            </a:extLst>
          </p:cNvPr>
          <p:cNvSpPr>
            <a:spLocks noGrp="1"/>
          </p:cNvSpPr>
          <p:nvPr>
            <p:ph type="body" sz="quarter" idx="19" hasCustomPrompt="1"/>
          </p:nvPr>
        </p:nvSpPr>
        <p:spPr>
          <a:xfrm>
            <a:off x="662400" y="374400"/>
            <a:ext cx="1737600" cy="1046400"/>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nl-NL"/>
              <a:t>.</a:t>
            </a:r>
          </a:p>
        </p:txBody>
      </p:sp>
      <p:grpSp>
        <p:nvGrpSpPr>
          <p:cNvPr id="15" name="Groep 14">
            <a:extLst>
              <a:ext uri="{FF2B5EF4-FFF2-40B4-BE49-F238E27FC236}">
                <a16:creationId xmlns:a16="http://schemas.microsoft.com/office/drawing/2014/main" id="{ED4C5031-7AC8-4BE5-BE89-140AA1F475CE}"/>
              </a:ext>
            </a:extLst>
          </p:cNvPr>
          <p:cNvGrpSpPr/>
          <p:nvPr userDrawn="1"/>
        </p:nvGrpSpPr>
        <p:grpSpPr>
          <a:xfrm>
            <a:off x="12262862" y="696656"/>
            <a:ext cx="1130143" cy="757167"/>
            <a:chOff x="9197145" y="1199569"/>
            <a:chExt cx="847607" cy="567875"/>
          </a:xfrm>
        </p:grpSpPr>
        <p:sp>
          <p:nvSpPr>
            <p:cNvPr id="16" name="Freeform 20">
              <a:extLst>
                <a:ext uri="{FF2B5EF4-FFF2-40B4-BE49-F238E27FC236}">
                  <a16:creationId xmlns:a16="http://schemas.microsoft.com/office/drawing/2014/main" id="{F19F2DF6-D9C0-48E9-BED6-6107F241BAC5}"/>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8A6F57C1-1B96-437A-88E0-A356DD482312}"/>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US" sz="933" b="0"/>
                <a:t>Delete the stamps</a:t>
              </a:r>
              <a:br>
                <a:rPr lang="en-US" sz="933" b="0"/>
              </a:br>
              <a:r>
                <a:rPr lang="en-US" sz="933" b="0"/>
                <a:t>you don’t use and align the correct one on top</a:t>
              </a:r>
            </a:p>
          </p:txBody>
        </p:sp>
      </p:grpSp>
    </p:spTree>
    <p:extLst>
      <p:ext uri="{BB962C8B-B14F-4D97-AF65-F5344CB8AC3E}">
        <p14:creationId xmlns:p14="http://schemas.microsoft.com/office/powerpoint/2010/main" val="2074451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showMasterSp="0" preserve="1" userDrawn="1">
  <p:cSld name="Title slide -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007533" y="2620896"/>
            <a:ext cx="3168651" cy="2460245"/>
          </a:xfrm>
        </p:spPr>
        <p:txBody>
          <a:bodyPr wrap="square" anchor="b"/>
          <a:lstStyle>
            <a:lvl1pPr algn="l">
              <a:defRPr sz="3200"/>
            </a:lvl1pPr>
          </a:lstStyle>
          <a:p>
            <a:r>
              <a:rPr lang="en-US"/>
              <a:t>Click to edit Master title style</a:t>
            </a:r>
          </a:p>
        </p:txBody>
      </p:sp>
      <p:sp>
        <p:nvSpPr>
          <p:cNvPr id="3" name="Subtitle 2"/>
          <p:cNvSpPr>
            <a:spLocks noGrp="1"/>
          </p:cNvSpPr>
          <p:nvPr>
            <p:ph type="subTitle" idx="1" hasCustomPrompt="1"/>
          </p:nvPr>
        </p:nvSpPr>
        <p:spPr>
          <a:xfrm>
            <a:off x="1007535" y="5240497"/>
            <a:ext cx="3168676" cy="644296"/>
          </a:xfrm>
        </p:spPr>
        <p:txBody>
          <a:bodyPr wrap="square">
            <a:noAutofit/>
          </a:bodyPr>
          <a:lstStyle>
            <a:lvl1pPr marL="0" indent="0" algn="l">
              <a:buNone/>
              <a:defRPr sz="1867"/>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7535" y="6536949"/>
            <a:ext cx="1982915" cy="123111"/>
          </a:xfrm>
          <a:prstGeom prst="rect">
            <a:avLst/>
          </a:prstGeom>
          <a:noFill/>
        </p:spPr>
        <p:txBody>
          <a:bodyPr wrap="none" lIns="0" tIns="0" rIns="0" bIns="0" rtlCol="0">
            <a:spAutoFit/>
          </a:bodyPr>
          <a:lstStyle/>
          <a:p>
            <a:r>
              <a:rPr lang="en-US" sz="800" kern="1200">
                <a:solidFill>
                  <a:schemeClr val="tx1">
                    <a:tint val="75000"/>
                  </a:schemeClr>
                </a:solidFill>
                <a:latin typeface="+mn-lt"/>
                <a:ea typeface="+mn-ea"/>
                <a:cs typeface="+mn-cs"/>
              </a:rPr>
              <a:t>© 2019 FrieslandCampina Ingredients</a:t>
            </a:r>
          </a:p>
        </p:txBody>
      </p:sp>
      <p:grpSp>
        <p:nvGrpSpPr>
          <p:cNvPr id="5" name="Groep 4">
            <a:extLst>
              <a:ext uri="{FF2B5EF4-FFF2-40B4-BE49-F238E27FC236}">
                <a16:creationId xmlns:a16="http://schemas.microsoft.com/office/drawing/2014/main" id="{D5A2D930-4F05-43DA-8F93-DEAFE1096447}"/>
              </a:ext>
            </a:extLst>
          </p:cNvPr>
          <p:cNvGrpSpPr/>
          <p:nvPr userDrawn="1"/>
        </p:nvGrpSpPr>
        <p:grpSpPr>
          <a:xfrm>
            <a:off x="12262862" y="696656"/>
            <a:ext cx="1130143" cy="757167"/>
            <a:chOff x="9197145" y="1199569"/>
            <a:chExt cx="847607" cy="567875"/>
          </a:xfrm>
        </p:grpSpPr>
        <p:sp>
          <p:nvSpPr>
            <p:cNvPr id="7" name="Freeform 20">
              <a:extLst>
                <a:ext uri="{FF2B5EF4-FFF2-40B4-BE49-F238E27FC236}">
                  <a16:creationId xmlns:a16="http://schemas.microsoft.com/office/drawing/2014/main" id="{EC6D8501-6CE5-4E1D-B8D6-010E436AF741}"/>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4" name="Tekstvak 3">
              <a:extLst>
                <a:ext uri="{FF2B5EF4-FFF2-40B4-BE49-F238E27FC236}">
                  <a16:creationId xmlns:a16="http://schemas.microsoft.com/office/drawing/2014/main" id="{2565ADC4-81D8-4B71-BCBD-613626D2F4F6}"/>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US" sz="933" b="0"/>
                <a:t>Delete the stamps</a:t>
              </a:r>
              <a:br>
                <a:rPr lang="en-US" sz="933" b="0"/>
              </a:br>
              <a:r>
                <a:rPr lang="en-US" sz="933" b="0"/>
                <a:t>you don’t use and align the correct one on top</a:t>
              </a:r>
            </a:p>
          </p:txBody>
        </p:sp>
      </p:grpSp>
      <p:pic>
        <p:nvPicPr>
          <p:cNvPr id="8" name="Afbeelding 7">
            <a:extLst>
              <a:ext uri="{FF2B5EF4-FFF2-40B4-BE49-F238E27FC236}">
                <a16:creationId xmlns:a16="http://schemas.microsoft.com/office/drawing/2014/main" id="{98B43D0B-1546-47CD-A118-64DC48F2343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48002" y="374400"/>
            <a:ext cx="1727615" cy="1046400"/>
          </a:xfrm>
          <a:prstGeom prst="rect">
            <a:avLst/>
          </a:prstGeom>
        </p:spPr>
      </p:pic>
      <p:sp>
        <p:nvSpPr>
          <p:cNvPr id="18" name="Tijdelijke aanduiding voor afbeelding 17">
            <a:extLst>
              <a:ext uri="{FF2B5EF4-FFF2-40B4-BE49-F238E27FC236}">
                <a16:creationId xmlns:a16="http://schemas.microsoft.com/office/drawing/2014/main" id="{6E9B25BF-2C2A-4C2A-B366-1212A42A49B8}"/>
              </a:ext>
            </a:extLst>
          </p:cNvPr>
          <p:cNvSpPr>
            <a:spLocks noGrp="1"/>
          </p:cNvSpPr>
          <p:nvPr>
            <p:ph type="pic" sz="quarter" idx="14" hasCustomPrompt="1"/>
          </p:nvPr>
        </p:nvSpPr>
        <p:spPr>
          <a:xfrm>
            <a:off x="4526471" y="2"/>
            <a:ext cx="7665532" cy="5884793"/>
          </a:xfrm>
          <a:custGeom>
            <a:avLst/>
            <a:gdLst>
              <a:gd name="connsiteX0" fmla="*/ 0 w 5749149"/>
              <a:gd name="connsiteY0" fmla="*/ 0 h 4413595"/>
              <a:gd name="connsiteX1" fmla="*/ 5749148 w 5749149"/>
              <a:gd name="connsiteY1" fmla="*/ 0 h 4413595"/>
              <a:gd name="connsiteX2" fmla="*/ 5749148 w 5749149"/>
              <a:gd name="connsiteY2" fmla="*/ 712034 h 4413595"/>
              <a:gd name="connsiteX3" fmla="*/ 5749149 w 5749149"/>
              <a:gd name="connsiteY3" fmla="*/ 712034 h 4413595"/>
              <a:gd name="connsiteX4" fmla="*/ 5749149 w 5749149"/>
              <a:gd name="connsiteY4" fmla="*/ 4413595 h 4413595"/>
              <a:gd name="connsiteX5" fmla="*/ 616959 w 5749149"/>
              <a:gd name="connsiteY5" fmla="*/ 4413595 h 4413595"/>
              <a:gd name="connsiteX6" fmla="*/ 20 w 5749149"/>
              <a:gd name="connsiteY6" fmla="*/ 3796656 h 4413595"/>
              <a:gd name="connsiteX7" fmla="*/ 20 w 5749149"/>
              <a:gd name="connsiteY7" fmla="*/ 3452501 h 4413595"/>
              <a:gd name="connsiteX8" fmla="*/ 0 w 5749149"/>
              <a:gd name="connsiteY8" fmla="*/ 3452501 h 441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49149" h="4413595">
                <a:moveTo>
                  <a:pt x="0" y="0"/>
                </a:moveTo>
                <a:lnTo>
                  <a:pt x="5749148" y="0"/>
                </a:lnTo>
                <a:lnTo>
                  <a:pt x="5749148" y="712034"/>
                </a:lnTo>
                <a:lnTo>
                  <a:pt x="5749149" y="712034"/>
                </a:lnTo>
                <a:lnTo>
                  <a:pt x="5749149" y="4413595"/>
                </a:lnTo>
                <a:lnTo>
                  <a:pt x="616959" y="4413595"/>
                </a:lnTo>
                <a:cubicBezTo>
                  <a:pt x="276233" y="4413595"/>
                  <a:pt x="20" y="4137382"/>
                  <a:pt x="20" y="3796656"/>
                </a:cubicBezTo>
                <a:lnTo>
                  <a:pt x="20" y="3452501"/>
                </a:lnTo>
                <a:lnTo>
                  <a:pt x="0" y="3452501"/>
                </a:lnTo>
                <a:close/>
              </a:path>
            </a:pathLst>
          </a:custGeom>
          <a:solidFill>
            <a:schemeClr val="tx1">
              <a:lumMod val="20000"/>
              <a:lumOff val="80000"/>
            </a:schemeClr>
          </a:solidFill>
        </p:spPr>
        <p:txBody>
          <a:bodyPr wrap="square">
            <a:noAutofit/>
          </a:bodyPr>
          <a:lstStyle>
            <a:lvl1pPr marL="0" indent="0" algn="ctr">
              <a:buNone/>
              <a:defRPr>
                <a:solidFill>
                  <a:schemeClr val="accent1"/>
                </a:solidFill>
              </a:defRPr>
            </a:lvl1pPr>
          </a:lstStyle>
          <a:p>
            <a:r>
              <a:rPr lang="en-US"/>
              <a:t>Image</a:t>
            </a:r>
          </a:p>
        </p:txBody>
      </p:sp>
    </p:spTree>
    <p:extLst>
      <p:ext uri="{BB962C8B-B14F-4D97-AF65-F5344CB8AC3E}">
        <p14:creationId xmlns:p14="http://schemas.microsoft.com/office/powerpoint/2010/main" val="1449377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3">
          <p15:clr>
            <a:srgbClr val="5ACBF0"/>
          </p15:clr>
        </p15:guide>
        <p15:guide id="2" pos="476">
          <p15:clr>
            <a:srgbClr val="5ACBF0"/>
          </p15:clr>
        </p15:guide>
        <p15:guide id="3" orient="horz" pos="2346">
          <p15:clr>
            <a:srgbClr val="5ACBF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showMasterSp="0" preserve="1" userDrawn="1">
  <p:cSld name="Breaker">
    <p:spTree>
      <p:nvGrpSpPr>
        <p:cNvPr id="1" name=""/>
        <p:cNvGrpSpPr/>
        <p:nvPr/>
      </p:nvGrpSpPr>
      <p:grpSpPr>
        <a:xfrm>
          <a:off x="0" y="0"/>
          <a:ext cx="0" cy="0"/>
          <a:chOff x="0" y="0"/>
          <a:chExt cx="0" cy="0"/>
        </a:xfrm>
      </p:grpSpPr>
      <p:sp>
        <p:nvSpPr>
          <p:cNvPr id="10" name="Tijdelijke aanduiding voor afbeelding 7">
            <a:extLst>
              <a:ext uri="{FF2B5EF4-FFF2-40B4-BE49-F238E27FC236}">
                <a16:creationId xmlns:a16="http://schemas.microsoft.com/office/drawing/2014/main" id="{4DAEAD04-C1FD-4924-B727-1FF08B2835E8}"/>
              </a:ext>
            </a:extLst>
          </p:cNvPr>
          <p:cNvSpPr>
            <a:spLocks noGrp="1"/>
          </p:cNvSpPr>
          <p:nvPr>
            <p:ph type="pic" sz="quarter" idx="13" hasCustomPrompt="1"/>
          </p:nvPr>
        </p:nvSpPr>
        <p:spPr>
          <a:xfrm>
            <a:off x="0" y="0"/>
            <a:ext cx="12192000" cy="6858000"/>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
        <p:nvSpPr>
          <p:cNvPr id="18" name="Tijdelijke aanduiding voor tekst 17">
            <a:extLst>
              <a:ext uri="{FF2B5EF4-FFF2-40B4-BE49-F238E27FC236}">
                <a16:creationId xmlns:a16="http://schemas.microsoft.com/office/drawing/2014/main" id="{134848E4-6B17-49A0-B7F6-34867199C050}"/>
              </a:ext>
            </a:extLst>
          </p:cNvPr>
          <p:cNvSpPr>
            <a:spLocks noGrp="1"/>
          </p:cNvSpPr>
          <p:nvPr>
            <p:ph type="body" sz="quarter" idx="18" hasCustomPrompt="1"/>
          </p:nvPr>
        </p:nvSpPr>
        <p:spPr>
          <a:xfrm>
            <a:off x="336552" y="3070800"/>
            <a:ext cx="3839632" cy="3787200"/>
          </a:xfrm>
          <a:prstGeom prst="round1Rect">
            <a:avLst/>
          </a:prstGeom>
          <a:solidFill>
            <a:srgbClr val="FFFFFF">
              <a:alpha val="85098"/>
            </a:srgbClr>
          </a:solidFill>
        </p:spPr>
        <p:txBody>
          <a:bodyPr wrap="square" lIns="288000" tIns="468000" rIns="72000" bIns="252000">
            <a:noAutofit/>
          </a:bodyPr>
          <a:lstStyle>
            <a:lvl1pPr marL="0" indent="0">
              <a:buNone/>
              <a:defRPr sz="3200">
                <a:solidFill>
                  <a:schemeClr val="accent1"/>
                </a:solidFill>
              </a:defRPr>
            </a:lvl1pPr>
          </a:lstStyle>
          <a:p>
            <a:pPr lvl="0"/>
            <a:r>
              <a:rPr lang="nl-NL"/>
              <a:t>Breaker text</a:t>
            </a:r>
          </a:p>
        </p:txBody>
      </p:sp>
    </p:spTree>
    <p:extLst>
      <p:ext uri="{BB962C8B-B14F-4D97-AF65-F5344CB8AC3E}">
        <p14:creationId xmlns:p14="http://schemas.microsoft.com/office/powerpoint/2010/main" val="3533604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showMasterSp="0" preserve="1" userDrawn="1">
  <p:cSld name="Breaker - Sustainability 1">
    <p:spTree>
      <p:nvGrpSpPr>
        <p:cNvPr id="1" name=""/>
        <p:cNvGrpSpPr/>
        <p:nvPr/>
      </p:nvGrpSpPr>
      <p:grpSpPr>
        <a:xfrm>
          <a:off x="0" y="0"/>
          <a:ext cx="0" cy="0"/>
          <a:chOff x="0" y="0"/>
          <a:chExt cx="0" cy="0"/>
        </a:xfrm>
      </p:grpSpPr>
      <p:pic>
        <p:nvPicPr>
          <p:cNvPr id="6" name="Tijdelijke aanduiding voor afbeelding 4" descr="Afbeelding met man, muur, binnen, persoon&#10;&#10;Automatisch gegenereerde beschrijving">
            <a:extLst>
              <a:ext uri="{FF2B5EF4-FFF2-40B4-BE49-F238E27FC236}">
                <a16:creationId xmlns:a16="http://schemas.microsoft.com/office/drawing/2014/main" id="{5666F016-DEDE-4115-9CB0-6E425EC45CC4}"/>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Rechthoek: met één afgeronde hoek 2">
            <a:extLst>
              <a:ext uri="{FF2B5EF4-FFF2-40B4-BE49-F238E27FC236}">
                <a16:creationId xmlns:a16="http://schemas.microsoft.com/office/drawing/2014/main" id="{0F2970B3-AB62-4F48-96FA-91A92E724688}"/>
              </a:ext>
            </a:extLst>
          </p:cNvPr>
          <p:cNvSpPr/>
          <p:nvPr userDrawn="1"/>
        </p:nvSpPr>
        <p:spPr>
          <a:xfrm>
            <a:off x="336000" y="3072000"/>
            <a:ext cx="3840000" cy="3787200"/>
          </a:xfrm>
          <a:prstGeom prst="round1Rect">
            <a:avLst>
              <a:gd name="adj" fmla="val 16667"/>
            </a:avLst>
          </a:prstGeom>
          <a:solidFill>
            <a:srgbClr val="FFFFFF">
              <a:alpha val="85098"/>
            </a:srgbClr>
          </a:solidFill>
        </p:spPr>
        <p:txBody>
          <a:bodyPr vert="horz" wrap="square" lIns="384000" tIns="624000" rIns="96000" bIns="336000" rtlCol="0">
            <a:noAutofit/>
          </a:bodyPr>
          <a:lstStyle/>
          <a:p>
            <a:pPr lvl="0" indent="0" defTabSz="914354">
              <a:lnSpc>
                <a:spcPct val="113000"/>
              </a:lnSpc>
              <a:spcBef>
                <a:spcPts val="1600"/>
              </a:spcBef>
              <a:buClr>
                <a:schemeClr val="tx1"/>
              </a:buClr>
              <a:buFont typeface="Arial" panose="020B0604020202020204" pitchFamily="34" charset="0"/>
              <a:buNone/>
            </a:pPr>
            <a:endParaRPr lang="en-GB" sz="133">
              <a:solidFill>
                <a:schemeClr val="bg1"/>
              </a:solidFill>
            </a:endParaRPr>
          </a:p>
        </p:txBody>
      </p:sp>
      <p:sp>
        <p:nvSpPr>
          <p:cNvPr id="2" name="Tekstvak 1">
            <a:extLst>
              <a:ext uri="{FF2B5EF4-FFF2-40B4-BE49-F238E27FC236}">
                <a16:creationId xmlns:a16="http://schemas.microsoft.com/office/drawing/2014/main" id="{3C147804-0D75-49CF-993B-3D757915D422}"/>
              </a:ext>
            </a:extLst>
          </p:cNvPr>
          <p:cNvSpPr txBox="1"/>
          <p:nvPr userDrawn="1"/>
        </p:nvSpPr>
        <p:spPr>
          <a:xfrm>
            <a:off x="717846" y="3691784"/>
            <a:ext cx="2777620" cy="1050352"/>
          </a:xfrm>
          <a:prstGeom prst="rect">
            <a:avLst/>
          </a:prstGeom>
          <a:noFill/>
        </p:spPr>
        <p:txBody>
          <a:bodyPr wrap="none" lIns="0" tIns="0" rIns="0" bIns="0" rtlCol="0">
            <a:spAutoFit/>
          </a:bodyPr>
          <a:lstStyle/>
          <a:p>
            <a:pPr algn="l">
              <a:lnSpc>
                <a:spcPct val="112000"/>
              </a:lnSpc>
            </a:pPr>
            <a:r>
              <a:rPr lang="en-GB" sz="3200" kern="1200">
                <a:solidFill>
                  <a:schemeClr val="accent1"/>
                </a:solidFill>
                <a:latin typeface="+mn-lt"/>
                <a:ea typeface="+mn-ea"/>
                <a:cs typeface="+mn-cs"/>
              </a:rPr>
              <a:t>Sustainability</a:t>
            </a:r>
          </a:p>
          <a:p>
            <a:pPr algn="l">
              <a:lnSpc>
                <a:spcPct val="112000"/>
              </a:lnSpc>
            </a:pPr>
            <a:endParaRPr lang="en-GB" sz="3200" kern="1200">
              <a:solidFill>
                <a:schemeClr val="accent1"/>
              </a:solidFill>
              <a:latin typeface="+mn-lt"/>
              <a:ea typeface="+mn-ea"/>
              <a:cs typeface="+mn-cs"/>
            </a:endParaRPr>
          </a:p>
        </p:txBody>
      </p:sp>
    </p:spTree>
    <p:extLst>
      <p:ext uri="{BB962C8B-B14F-4D97-AF65-F5344CB8AC3E}">
        <p14:creationId xmlns:p14="http://schemas.microsoft.com/office/powerpoint/2010/main" val="806925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showMasterSp="0" preserve="1" userDrawn="1">
  <p:cSld name="Breaker - Sustainability 2">
    <p:spTree>
      <p:nvGrpSpPr>
        <p:cNvPr id="1" name=""/>
        <p:cNvGrpSpPr/>
        <p:nvPr/>
      </p:nvGrpSpPr>
      <p:grpSpPr>
        <a:xfrm>
          <a:off x="0" y="0"/>
          <a:ext cx="0" cy="0"/>
          <a:chOff x="0" y="0"/>
          <a:chExt cx="0" cy="0"/>
        </a:xfrm>
      </p:grpSpPr>
      <p:pic>
        <p:nvPicPr>
          <p:cNvPr id="8" name="Tijdelijke aanduiding voor afbeelding 4" descr="Afbeelding met muur, binnen, staand, man&#10;&#10;Automatisch gegenereerde beschrijving">
            <a:extLst>
              <a:ext uri="{FF2B5EF4-FFF2-40B4-BE49-F238E27FC236}">
                <a16:creationId xmlns:a16="http://schemas.microsoft.com/office/drawing/2014/main" id="{C2F280A5-C404-4589-B38B-35E808D5E831}"/>
              </a:ext>
            </a:extLst>
          </p:cNvPr>
          <p:cNvPicPr>
            <a:picLocks noChangeAspect="1"/>
          </p:cNvPicPr>
          <p:nvPr userDrawn="1"/>
        </p:nvPicPr>
        <p:blipFill>
          <a:blip r:embed="rId2"/>
          <a:srcRect t="7968" b="7968"/>
          <a:stretch>
            <a:fillRect/>
          </a:stretch>
        </p:blipFill>
        <p:spPr>
          <a:xfrm>
            <a:off x="0" y="0"/>
            <a:ext cx="12192000" cy="6858000"/>
          </a:xfrm>
          <a:prstGeom prst="rect">
            <a:avLst/>
          </a:prstGeom>
        </p:spPr>
      </p:pic>
      <p:sp>
        <p:nvSpPr>
          <p:cNvPr id="3" name="Rechthoek: met één afgeronde hoek 2">
            <a:extLst>
              <a:ext uri="{FF2B5EF4-FFF2-40B4-BE49-F238E27FC236}">
                <a16:creationId xmlns:a16="http://schemas.microsoft.com/office/drawing/2014/main" id="{0F2970B3-AB62-4F48-96FA-91A92E724688}"/>
              </a:ext>
            </a:extLst>
          </p:cNvPr>
          <p:cNvSpPr/>
          <p:nvPr userDrawn="1"/>
        </p:nvSpPr>
        <p:spPr>
          <a:xfrm>
            <a:off x="336000" y="3072000"/>
            <a:ext cx="3840000" cy="3787200"/>
          </a:xfrm>
          <a:prstGeom prst="round1Rect">
            <a:avLst>
              <a:gd name="adj" fmla="val 16667"/>
            </a:avLst>
          </a:prstGeom>
          <a:solidFill>
            <a:srgbClr val="FFFFFF">
              <a:alpha val="85098"/>
            </a:srgbClr>
          </a:solidFill>
        </p:spPr>
        <p:txBody>
          <a:bodyPr vert="horz" wrap="square" lIns="384000" tIns="624000" rIns="96000" bIns="336000" rtlCol="0">
            <a:noAutofit/>
          </a:bodyPr>
          <a:lstStyle/>
          <a:p>
            <a:pPr lvl="0" indent="0" defTabSz="914354">
              <a:lnSpc>
                <a:spcPct val="113000"/>
              </a:lnSpc>
              <a:spcBef>
                <a:spcPts val="1600"/>
              </a:spcBef>
              <a:buClr>
                <a:schemeClr val="tx1"/>
              </a:buClr>
              <a:buFont typeface="Arial" panose="020B0604020202020204" pitchFamily="34" charset="0"/>
              <a:buNone/>
            </a:pPr>
            <a:endParaRPr lang="en-GB" sz="133">
              <a:solidFill>
                <a:schemeClr val="bg1"/>
              </a:solidFill>
            </a:endParaRPr>
          </a:p>
        </p:txBody>
      </p:sp>
      <p:sp>
        <p:nvSpPr>
          <p:cNvPr id="2" name="Tekstvak 1">
            <a:extLst>
              <a:ext uri="{FF2B5EF4-FFF2-40B4-BE49-F238E27FC236}">
                <a16:creationId xmlns:a16="http://schemas.microsoft.com/office/drawing/2014/main" id="{3C147804-0D75-49CF-993B-3D757915D422}"/>
              </a:ext>
            </a:extLst>
          </p:cNvPr>
          <p:cNvSpPr txBox="1"/>
          <p:nvPr userDrawn="1"/>
        </p:nvSpPr>
        <p:spPr>
          <a:xfrm>
            <a:off x="717846" y="3691784"/>
            <a:ext cx="2777620" cy="1050352"/>
          </a:xfrm>
          <a:prstGeom prst="rect">
            <a:avLst/>
          </a:prstGeom>
          <a:noFill/>
        </p:spPr>
        <p:txBody>
          <a:bodyPr wrap="none" lIns="0" tIns="0" rIns="0" bIns="0" rtlCol="0">
            <a:spAutoFit/>
          </a:bodyPr>
          <a:lstStyle/>
          <a:p>
            <a:pPr algn="l">
              <a:lnSpc>
                <a:spcPct val="112000"/>
              </a:lnSpc>
            </a:pPr>
            <a:r>
              <a:rPr lang="en-GB" sz="3200" kern="1200">
                <a:solidFill>
                  <a:schemeClr val="accent1"/>
                </a:solidFill>
                <a:latin typeface="+mn-lt"/>
                <a:ea typeface="+mn-ea"/>
                <a:cs typeface="+mn-cs"/>
              </a:rPr>
              <a:t>Sustainability</a:t>
            </a:r>
          </a:p>
          <a:p>
            <a:pPr algn="l">
              <a:lnSpc>
                <a:spcPct val="112000"/>
              </a:lnSpc>
            </a:pPr>
            <a:endParaRPr lang="en-GB" sz="3200" kern="1200">
              <a:solidFill>
                <a:schemeClr val="accent1"/>
              </a:solidFill>
              <a:latin typeface="+mn-lt"/>
              <a:ea typeface="+mn-ea"/>
              <a:cs typeface="+mn-cs"/>
            </a:endParaRPr>
          </a:p>
        </p:txBody>
      </p:sp>
    </p:spTree>
    <p:extLst>
      <p:ext uri="{BB962C8B-B14F-4D97-AF65-F5344CB8AC3E}">
        <p14:creationId xmlns:p14="http://schemas.microsoft.com/office/powerpoint/2010/main" val="3659298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showMasterSp="0" preserve="1" userDrawn="1">
  <p:cSld name="Breaker - Sustainability 3">
    <p:spTree>
      <p:nvGrpSpPr>
        <p:cNvPr id="1" name=""/>
        <p:cNvGrpSpPr/>
        <p:nvPr/>
      </p:nvGrpSpPr>
      <p:grpSpPr>
        <a:xfrm>
          <a:off x="0" y="0"/>
          <a:ext cx="0" cy="0"/>
          <a:chOff x="0" y="0"/>
          <a:chExt cx="0" cy="0"/>
        </a:xfrm>
      </p:grpSpPr>
      <p:pic>
        <p:nvPicPr>
          <p:cNvPr id="5" name="Tijdelijke aanduiding voor afbeelding 4" descr="Afbeelding met man, staand, muur&#10;&#10;Automatisch gegenereerde beschrijving">
            <a:extLst>
              <a:ext uri="{FF2B5EF4-FFF2-40B4-BE49-F238E27FC236}">
                <a16:creationId xmlns:a16="http://schemas.microsoft.com/office/drawing/2014/main" id="{12A9C31A-46CF-4A95-87AF-98F54443AFAC}"/>
              </a:ext>
            </a:extLst>
          </p:cNvPr>
          <p:cNvPicPr>
            <a:picLocks noChangeAspect="1"/>
          </p:cNvPicPr>
          <p:nvPr userDrawn="1"/>
        </p:nvPicPr>
        <p:blipFill>
          <a:blip r:embed="rId2"/>
          <a:srcRect t="7968" b="7968"/>
          <a:stretch>
            <a:fillRect/>
          </a:stretch>
        </p:blipFill>
        <p:spPr>
          <a:xfrm>
            <a:off x="0" y="0"/>
            <a:ext cx="12192000" cy="6858000"/>
          </a:xfrm>
          <a:prstGeom prst="rect">
            <a:avLst/>
          </a:prstGeom>
        </p:spPr>
      </p:pic>
      <p:sp>
        <p:nvSpPr>
          <p:cNvPr id="3" name="Rechthoek: met één afgeronde hoek 2">
            <a:extLst>
              <a:ext uri="{FF2B5EF4-FFF2-40B4-BE49-F238E27FC236}">
                <a16:creationId xmlns:a16="http://schemas.microsoft.com/office/drawing/2014/main" id="{0F2970B3-AB62-4F48-96FA-91A92E724688}"/>
              </a:ext>
            </a:extLst>
          </p:cNvPr>
          <p:cNvSpPr/>
          <p:nvPr userDrawn="1"/>
        </p:nvSpPr>
        <p:spPr>
          <a:xfrm>
            <a:off x="336000" y="3072000"/>
            <a:ext cx="3840000" cy="3787200"/>
          </a:xfrm>
          <a:prstGeom prst="round1Rect">
            <a:avLst>
              <a:gd name="adj" fmla="val 16667"/>
            </a:avLst>
          </a:prstGeom>
          <a:solidFill>
            <a:srgbClr val="FFFFFF">
              <a:alpha val="85098"/>
            </a:srgbClr>
          </a:solidFill>
        </p:spPr>
        <p:txBody>
          <a:bodyPr vert="horz" wrap="square" lIns="384000" tIns="624000" rIns="96000" bIns="336000" rtlCol="0">
            <a:noAutofit/>
          </a:bodyPr>
          <a:lstStyle/>
          <a:p>
            <a:pPr lvl="0" indent="0" defTabSz="914354">
              <a:lnSpc>
                <a:spcPct val="113000"/>
              </a:lnSpc>
              <a:spcBef>
                <a:spcPts val="1600"/>
              </a:spcBef>
              <a:buClr>
                <a:schemeClr val="tx1"/>
              </a:buClr>
              <a:buFont typeface="Arial" panose="020B0604020202020204" pitchFamily="34" charset="0"/>
              <a:buNone/>
            </a:pPr>
            <a:endParaRPr lang="en-GB" sz="133">
              <a:solidFill>
                <a:schemeClr val="bg1"/>
              </a:solidFill>
            </a:endParaRPr>
          </a:p>
        </p:txBody>
      </p:sp>
      <p:sp>
        <p:nvSpPr>
          <p:cNvPr id="2" name="Tekstvak 1">
            <a:extLst>
              <a:ext uri="{FF2B5EF4-FFF2-40B4-BE49-F238E27FC236}">
                <a16:creationId xmlns:a16="http://schemas.microsoft.com/office/drawing/2014/main" id="{3C147804-0D75-49CF-993B-3D757915D422}"/>
              </a:ext>
            </a:extLst>
          </p:cNvPr>
          <p:cNvSpPr txBox="1"/>
          <p:nvPr userDrawn="1"/>
        </p:nvSpPr>
        <p:spPr>
          <a:xfrm>
            <a:off x="717846" y="3691784"/>
            <a:ext cx="2777620" cy="1050352"/>
          </a:xfrm>
          <a:prstGeom prst="rect">
            <a:avLst/>
          </a:prstGeom>
          <a:noFill/>
        </p:spPr>
        <p:txBody>
          <a:bodyPr wrap="none" lIns="0" tIns="0" rIns="0" bIns="0" rtlCol="0">
            <a:spAutoFit/>
          </a:bodyPr>
          <a:lstStyle/>
          <a:p>
            <a:pPr algn="l">
              <a:lnSpc>
                <a:spcPct val="112000"/>
              </a:lnSpc>
            </a:pPr>
            <a:r>
              <a:rPr lang="en-GB" sz="3200" kern="1200">
                <a:solidFill>
                  <a:schemeClr val="accent1"/>
                </a:solidFill>
                <a:latin typeface="+mn-lt"/>
                <a:ea typeface="+mn-ea"/>
                <a:cs typeface="+mn-cs"/>
              </a:rPr>
              <a:t>Sustainability</a:t>
            </a:r>
          </a:p>
          <a:p>
            <a:pPr algn="l">
              <a:lnSpc>
                <a:spcPct val="112000"/>
              </a:lnSpc>
            </a:pPr>
            <a:endParaRPr lang="en-GB" sz="3200" kern="1200">
              <a:solidFill>
                <a:schemeClr val="accent1"/>
              </a:solidFill>
              <a:latin typeface="+mn-lt"/>
              <a:ea typeface="+mn-ea"/>
              <a:cs typeface="+mn-cs"/>
            </a:endParaRPr>
          </a:p>
        </p:txBody>
      </p:sp>
    </p:spTree>
    <p:extLst>
      <p:ext uri="{BB962C8B-B14F-4D97-AF65-F5344CB8AC3E}">
        <p14:creationId xmlns:p14="http://schemas.microsoft.com/office/powerpoint/2010/main" val="4013131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preserve="1" userDrawn="1">
  <p:cSld name="Breaker - R&amp;D">
    <p:spTree>
      <p:nvGrpSpPr>
        <p:cNvPr id="1" name=""/>
        <p:cNvGrpSpPr/>
        <p:nvPr/>
      </p:nvGrpSpPr>
      <p:grpSpPr>
        <a:xfrm>
          <a:off x="0" y="0"/>
          <a:ext cx="0" cy="0"/>
          <a:chOff x="0" y="0"/>
          <a:chExt cx="0" cy="0"/>
        </a:xfrm>
      </p:grpSpPr>
      <p:pic>
        <p:nvPicPr>
          <p:cNvPr id="7" name="Tijdelijke aanduiding voor afbeelding 4" descr="Afbeelding met muur, binnen, man, kast&#10;&#10;Automatisch gegenereerde beschrijving">
            <a:extLst>
              <a:ext uri="{FF2B5EF4-FFF2-40B4-BE49-F238E27FC236}">
                <a16:creationId xmlns:a16="http://schemas.microsoft.com/office/drawing/2014/main" id="{6FE5F232-D9F7-4D5C-8553-EF43D6694C32}"/>
              </a:ext>
            </a:extLst>
          </p:cNvPr>
          <p:cNvPicPr>
            <a:picLocks noChangeAspect="1"/>
          </p:cNvPicPr>
          <p:nvPr userDrawn="1"/>
        </p:nvPicPr>
        <p:blipFill>
          <a:blip r:embed="rId2"/>
          <a:srcRect t="8299" b="8299"/>
          <a:stretch>
            <a:fillRect/>
          </a:stretch>
        </p:blipFill>
        <p:spPr>
          <a:xfrm>
            <a:off x="0" y="0"/>
            <a:ext cx="12192000" cy="6858000"/>
          </a:xfrm>
          <a:prstGeom prst="rect">
            <a:avLst/>
          </a:prstGeom>
        </p:spPr>
      </p:pic>
      <p:sp>
        <p:nvSpPr>
          <p:cNvPr id="6" name="Rechthoek: met één afgeronde hoek 5">
            <a:extLst>
              <a:ext uri="{FF2B5EF4-FFF2-40B4-BE49-F238E27FC236}">
                <a16:creationId xmlns:a16="http://schemas.microsoft.com/office/drawing/2014/main" id="{29F0F10D-1796-46A9-AFD4-E40C2912F402}"/>
              </a:ext>
            </a:extLst>
          </p:cNvPr>
          <p:cNvSpPr/>
          <p:nvPr userDrawn="1"/>
        </p:nvSpPr>
        <p:spPr>
          <a:xfrm>
            <a:off x="336000" y="3072000"/>
            <a:ext cx="3840000" cy="3787200"/>
          </a:xfrm>
          <a:prstGeom prst="round1Rect">
            <a:avLst>
              <a:gd name="adj" fmla="val 16667"/>
            </a:avLst>
          </a:prstGeom>
          <a:solidFill>
            <a:srgbClr val="FFFFFF">
              <a:alpha val="85098"/>
            </a:srgbClr>
          </a:solidFill>
        </p:spPr>
        <p:txBody>
          <a:bodyPr vert="horz" wrap="square" lIns="384000" tIns="624000" rIns="96000" bIns="336000" rtlCol="0">
            <a:noAutofit/>
          </a:bodyPr>
          <a:lstStyle/>
          <a:p>
            <a:pPr lvl="0" indent="0" defTabSz="914354">
              <a:lnSpc>
                <a:spcPct val="113000"/>
              </a:lnSpc>
              <a:spcBef>
                <a:spcPts val="1600"/>
              </a:spcBef>
              <a:buClr>
                <a:schemeClr val="tx1"/>
              </a:buClr>
              <a:buFont typeface="Arial" panose="020B0604020202020204" pitchFamily="34" charset="0"/>
              <a:buNone/>
            </a:pPr>
            <a:endParaRPr lang="en-GB" sz="133">
              <a:solidFill>
                <a:schemeClr val="bg1"/>
              </a:solidFill>
            </a:endParaRPr>
          </a:p>
        </p:txBody>
      </p:sp>
      <p:sp>
        <p:nvSpPr>
          <p:cNvPr id="2" name="Tekstvak 1">
            <a:extLst>
              <a:ext uri="{FF2B5EF4-FFF2-40B4-BE49-F238E27FC236}">
                <a16:creationId xmlns:a16="http://schemas.microsoft.com/office/drawing/2014/main" id="{3C147804-0D75-49CF-993B-3D757915D422}"/>
              </a:ext>
            </a:extLst>
          </p:cNvPr>
          <p:cNvSpPr txBox="1"/>
          <p:nvPr userDrawn="1"/>
        </p:nvSpPr>
        <p:spPr>
          <a:xfrm>
            <a:off x="717847" y="3691786"/>
            <a:ext cx="899285" cy="498791"/>
          </a:xfrm>
          <a:prstGeom prst="rect">
            <a:avLst/>
          </a:prstGeom>
          <a:noFill/>
        </p:spPr>
        <p:txBody>
          <a:bodyPr wrap="none" lIns="0" tIns="0" rIns="0" bIns="0" rtlCol="0">
            <a:spAutoFit/>
          </a:bodyPr>
          <a:lstStyle/>
          <a:p>
            <a:pPr algn="l">
              <a:lnSpc>
                <a:spcPct val="112000"/>
              </a:lnSpc>
            </a:pPr>
            <a:r>
              <a:rPr lang="en-GB" sz="3200" kern="1200">
                <a:solidFill>
                  <a:schemeClr val="accent1"/>
                </a:solidFill>
                <a:latin typeface="+mn-lt"/>
                <a:ea typeface="+mn-ea"/>
                <a:cs typeface="+mn-cs"/>
              </a:rPr>
              <a:t>R&amp;D</a:t>
            </a:r>
          </a:p>
        </p:txBody>
      </p:sp>
    </p:spTree>
    <p:extLst>
      <p:ext uri="{BB962C8B-B14F-4D97-AF65-F5344CB8AC3E}">
        <p14:creationId xmlns:p14="http://schemas.microsoft.com/office/powerpoint/2010/main" val="2952616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 EarlyLife - 1 ">
    <p:spTree>
      <p:nvGrpSpPr>
        <p:cNvPr id="1" name=""/>
        <p:cNvGrpSpPr/>
        <p:nvPr/>
      </p:nvGrpSpPr>
      <p:grpSpPr>
        <a:xfrm>
          <a:off x="0" y="0"/>
          <a:ext cx="0" cy="0"/>
          <a:chOff x="0" y="0"/>
          <a:chExt cx="0" cy="0"/>
        </a:xfrm>
      </p:grpSpPr>
      <p:pic>
        <p:nvPicPr>
          <p:cNvPr id="19" name="Picture Placeholder 6">
            <a:extLst>
              <a:ext uri="{FF2B5EF4-FFF2-40B4-BE49-F238E27FC236}">
                <a16:creationId xmlns:a16="http://schemas.microsoft.com/office/drawing/2014/main" id="{3224570E-3DE3-4AFB-9C8D-655FD2EAE4F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4" name="Tijdelijke aanduiding voor tekst 17">
            <a:extLst>
              <a:ext uri="{FF2B5EF4-FFF2-40B4-BE49-F238E27FC236}">
                <a16:creationId xmlns:a16="http://schemas.microsoft.com/office/drawing/2014/main" id="{401C9FF4-207E-4DD6-9F3A-FEE678AE61AE}"/>
              </a:ext>
            </a:extLst>
          </p:cNvPr>
          <p:cNvSpPr>
            <a:spLocks noGrp="1"/>
          </p:cNvSpPr>
          <p:nvPr>
            <p:ph type="body" sz="quarter" idx="18" hasCustomPrompt="1"/>
          </p:nvPr>
        </p:nvSpPr>
        <p:spPr>
          <a:xfrm>
            <a:off x="336554" y="1"/>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2"/>
            <a:ext cx="3168651"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Subtitle</a:t>
            </a:r>
          </a:p>
        </p:txBody>
      </p:sp>
      <p:sp>
        <p:nvSpPr>
          <p:cNvPr id="11" name="Tijdelijke aanduiding voor tekst 21">
            <a:extLst>
              <a:ext uri="{FF2B5EF4-FFF2-40B4-BE49-F238E27FC236}">
                <a16:creationId xmlns:a16="http://schemas.microsoft.com/office/drawing/2014/main" id="{864B06FA-CA70-4595-8439-FEB797046608}"/>
              </a:ext>
            </a:extLst>
          </p:cNvPr>
          <p:cNvSpPr>
            <a:spLocks noGrp="1"/>
          </p:cNvSpPr>
          <p:nvPr>
            <p:ph type="body" sz="quarter" idx="19" hasCustomPrompt="1"/>
          </p:nvPr>
        </p:nvSpPr>
        <p:spPr>
          <a:xfrm>
            <a:off x="662400" y="374400"/>
            <a:ext cx="1737600" cy="1046400"/>
          </a:xfrm>
          <a:blipFill>
            <a:blip r:embed="rId3" cstate="print">
              <a:extLst>
                <a:ext uri="{28A0092B-C50C-407E-A947-70E740481C1C}">
                  <a14:useLocalDpi xmlns:a14="http://schemas.microsoft.com/office/drawing/2010/main" val="0"/>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en-GB"/>
              <a:t>.</a:t>
            </a:r>
          </a:p>
        </p:txBody>
      </p:sp>
      <p:grpSp>
        <p:nvGrpSpPr>
          <p:cNvPr id="10" name="Groep 9">
            <a:extLst>
              <a:ext uri="{FF2B5EF4-FFF2-40B4-BE49-F238E27FC236}">
                <a16:creationId xmlns:a16="http://schemas.microsoft.com/office/drawing/2014/main" id="{2D3B3783-BF87-416D-8312-A253A1630159}"/>
              </a:ext>
            </a:extLst>
          </p:cNvPr>
          <p:cNvGrpSpPr/>
          <p:nvPr userDrawn="1"/>
        </p:nvGrpSpPr>
        <p:grpSpPr>
          <a:xfrm>
            <a:off x="12262862" y="575999"/>
            <a:ext cx="1130143" cy="757167"/>
            <a:chOff x="9197145" y="1199569"/>
            <a:chExt cx="847607" cy="567875"/>
          </a:xfrm>
        </p:grpSpPr>
        <p:sp>
          <p:nvSpPr>
            <p:cNvPr id="16" name="Freeform 20">
              <a:extLst>
                <a:ext uri="{FF2B5EF4-FFF2-40B4-BE49-F238E27FC236}">
                  <a16:creationId xmlns:a16="http://schemas.microsoft.com/office/drawing/2014/main" id="{B92E4F29-1E59-41AA-8B6A-AB0CE0321FCD}"/>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8F013AE7-A940-4288-807D-4C6C090D30BE}"/>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1040507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showMasterSp="0" preserve="1" userDrawn="1">
  <p:cSld name="Breaker - Collaboration">
    <p:spTree>
      <p:nvGrpSpPr>
        <p:cNvPr id="1" name=""/>
        <p:cNvGrpSpPr/>
        <p:nvPr/>
      </p:nvGrpSpPr>
      <p:grpSpPr>
        <a:xfrm>
          <a:off x="0" y="0"/>
          <a:ext cx="0" cy="0"/>
          <a:chOff x="0" y="0"/>
          <a:chExt cx="0" cy="0"/>
        </a:xfrm>
      </p:grpSpPr>
      <p:pic>
        <p:nvPicPr>
          <p:cNvPr id="7" name="Tijdelijke aanduiding voor afbeelding 4" descr="Afbeelding met muur&#10;&#10;Automatisch gegenereerde beschrijving">
            <a:extLst>
              <a:ext uri="{FF2B5EF4-FFF2-40B4-BE49-F238E27FC236}">
                <a16:creationId xmlns:a16="http://schemas.microsoft.com/office/drawing/2014/main" id="{B7C05AA1-1AB3-4A67-A102-A71347837EC4}"/>
              </a:ext>
            </a:extLst>
          </p:cNvPr>
          <p:cNvPicPr>
            <a:picLocks noChangeAspect="1"/>
          </p:cNvPicPr>
          <p:nvPr userDrawn="1"/>
        </p:nvPicPr>
        <p:blipFill>
          <a:blip r:embed="rId2"/>
          <a:srcRect t="8312" b="8312"/>
          <a:stretch>
            <a:fillRect/>
          </a:stretch>
        </p:blipFill>
        <p:spPr>
          <a:xfrm>
            <a:off x="0" y="0"/>
            <a:ext cx="12192000" cy="6858000"/>
          </a:xfrm>
          <a:prstGeom prst="rect">
            <a:avLst/>
          </a:prstGeom>
        </p:spPr>
      </p:pic>
      <p:sp>
        <p:nvSpPr>
          <p:cNvPr id="6" name="Rechthoek: met één afgeronde hoek 5">
            <a:extLst>
              <a:ext uri="{FF2B5EF4-FFF2-40B4-BE49-F238E27FC236}">
                <a16:creationId xmlns:a16="http://schemas.microsoft.com/office/drawing/2014/main" id="{D42682E2-58BE-481F-876E-36F5CAD996E9}"/>
              </a:ext>
            </a:extLst>
          </p:cNvPr>
          <p:cNvSpPr/>
          <p:nvPr userDrawn="1"/>
        </p:nvSpPr>
        <p:spPr>
          <a:xfrm>
            <a:off x="336000" y="3072000"/>
            <a:ext cx="3840000" cy="3787200"/>
          </a:xfrm>
          <a:prstGeom prst="round1Rect">
            <a:avLst>
              <a:gd name="adj" fmla="val 16667"/>
            </a:avLst>
          </a:prstGeom>
          <a:solidFill>
            <a:srgbClr val="FFFFFF">
              <a:alpha val="85098"/>
            </a:srgbClr>
          </a:solidFill>
        </p:spPr>
        <p:txBody>
          <a:bodyPr vert="horz" wrap="square" lIns="384000" tIns="624000" rIns="96000" bIns="336000" rtlCol="0">
            <a:noAutofit/>
          </a:bodyPr>
          <a:lstStyle/>
          <a:p>
            <a:pPr lvl="0" indent="0" defTabSz="914354">
              <a:lnSpc>
                <a:spcPct val="113000"/>
              </a:lnSpc>
              <a:spcBef>
                <a:spcPts val="1600"/>
              </a:spcBef>
              <a:buClr>
                <a:schemeClr val="tx1"/>
              </a:buClr>
              <a:buFont typeface="Arial" panose="020B0604020202020204" pitchFamily="34" charset="0"/>
              <a:buNone/>
            </a:pPr>
            <a:endParaRPr lang="en-GB" sz="133">
              <a:solidFill>
                <a:schemeClr val="bg1"/>
              </a:solidFill>
            </a:endParaRPr>
          </a:p>
        </p:txBody>
      </p:sp>
      <p:sp>
        <p:nvSpPr>
          <p:cNvPr id="2" name="Tekstvak 1">
            <a:extLst>
              <a:ext uri="{FF2B5EF4-FFF2-40B4-BE49-F238E27FC236}">
                <a16:creationId xmlns:a16="http://schemas.microsoft.com/office/drawing/2014/main" id="{3C147804-0D75-49CF-993B-3D757915D422}"/>
              </a:ext>
            </a:extLst>
          </p:cNvPr>
          <p:cNvSpPr txBox="1"/>
          <p:nvPr userDrawn="1"/>
        </p:nvSpPr>
        <p:spPr>
          <a:xfrm>
            <a:off x="717847" y="3691784"/>
            <a:ext cx="2708242" cy="1050352"/>
          </a:xfrm>
          <a:prstGeom prst="rect">
            <a:avLst/>
          </a:prstGeom>
          <a:noFill/>
        </p:spPr>
        <p:txBody>
          <a:bodyPr wrap="none" lIns="0" tIns="0" rIns="0" bIns="0" rtlCol="0">
            <a:spAutoFit/>
          </a:bodyPr>
          <a:lstStyle/>
          <a:p>
            <a:pPr algn="l">
              <a:lnSpc>
                <a:spcPct val="112000"/>
              </a:lnSpc>
            </a:pPr>
            <a:r>
              <a:rPr lang="en-GB" sz="3200" kern="1200">
                <a:solidFill>
                  <a:schemeClr val="accent1"/>
                </a:solidFill>
                <a:latin typeface="+mn-lt"/>
                <a:ea typeface="+mn-ea"/>
                <a:cs typeface="+mn-cs"/>
              </a:rPr>
              <a:t>Collaboration</a:t>
            </a:r>
          </a:p>
          <a:p>
            <a:pPr algn="l">
              <a:lnSpc>
                <a:spcPct val="112000"/>
              </a:lnSpc>
            </a:pPr>
            <a:endParaRPr lang="en-GB" sz="3200" kern="1200">
              <a:solidFill>
                <a:schemeClr val="accent1"/>
              </a:solidFill>
              <a:latin typeface="+mn-lt"/>
              <a:ea typeface="+mn-ea"/>
              <a:cs typeface="+mn-cs"/>
            </a:endParaRPr>
          </a:p>
        </p:txBody>
      </p:sp>
    </p:spTree>
    <p:extLst>
      <p:ext uri="{BB962C8B-B14F-4D97-AF65-F5344CB8AC3E}">
        <p14:creationId xmlns:p14="http://schemas.microsoft.com/office/powerpoint/2010/main" val="1488171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showMasterSp="0" preserve="1" userDrawn="1">
  <p:cSld name="Breaker - Production">
    <p:spTree>
      <p:nvGrpSpPr>
        <p:cNvPr id="1" name=""/>
        <p:cNvGrpSpPr/>
        <p:nvPr/>
      </p:nvGrpSpPr>
      <p:grpSpPr>
        <a:xfrm>
          <a:off x="0" y="0"/>
          <a:ext cx="0" cy="0"/>
          <a:chOff x="0" y="0"/>
          <a:chExt cx="0" cy="0"/>
        </a:xfrm>
      </p:grpSpPr>
      <p:pic>
        <p:nvPicPr>
          <p:cNvPr id="5" name="Tijdelijke aanduiding voor afbeelding 4" descr="Afbeelding met binnen, tafel, venster&#10;&#10;Automatisch gegenereerde beschrijving">
            <a:extLst>
              <a:ext uri="{FF2B5EF4-FFF2-40B4-BE49-F238E27FC236}">
                <a16:creationId xmlns:a16="http://schemas.microsoft.com/office/drawing/2014/main" id="{8260F85D-E03B-4132-A56F-5586B4FC168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sp>
        <p:nvSpPr>
          <p:cNvPr id="6" name="Rechthoek: met één afgeronde hoek 5">
            <a:extLst>
              <a:ext uri="{FF2B5EF4-FFF2-40B4-BE49-F238E27FC236}">
                <a16:creationId xmlns:a16="http://schemas.microsoft.com/office/drawing/2014/main" id="{91604D84-2647-44F4-9BD8-060F04C1F78A}"/>
              </a:ext>
            </a:extLst>
          </p:cNvPr>
          <p:cNvSpPr/>
          <p:nvPr userDrawn="1"/>
        </p:nvSpPr>
        <p:spPr>
          <a:xfrm>
            <a:off x="336000" y="3072000"/>
            <a:ext cx="3840000" cy="3787200"/>
          </a:xfrm>
          <a:prstGeom prst="round1Rect">
            <a:avLst>
              <a:gd name="adj" fmla="val 16667"/>
            </a:avLst>
          </a:prstGeom>
          <a:solidFill>
            <a:srgbClr val="FFFFFF">
              <a:alpha val="85098"/>
            </a:srgbClr>
          </a:solidFill>
        </p:spPr>
        <p:txBody>
          <a:bodyPr vert="horz" wrap="square" lIns="384000" tIns="624000" rIns="96000" bIns="336000" rtlCol="0">
            <a:noAutofit/>
          </a:bodyPr>
          <a:lstStyle/>
          <a:p>
            <a:pPr lvl="0" indent="0" defTabSz="914354">
              <a:lnSpc>
                <a:spcPct val="113000"/>
              </a:lnSpc>
              <a:spcBef>
                <a:spcPts val="1600"/>
              </a:spcBef>
              <a:buClr>
                <a:schemeClr val="tx1"/>
              </a:buClr>
              <a:buFont typeface="Arial" panose="020B0604020202020204" pitchFamily="34" charset="0"/>
              <a:buNone/>
            </a:pPr>
            <a:endParaRPr lang="en-GB" sz="133">
              <a:solidFill>
                <a:schemeClr val="bg1"/>
              </a:solidFill>
            </a:endParaRPr>
          </a:p>
        </p:txBody>
      </p:sp>
      <p:sp>
        <p:nvSpPr>
          <p:cNvPr id="2" name="Tekstvak 1">
            <a:extLst>
              <a:ext uri="{FF2B5EF4-FFF2-40B4-BE49-F238E27FC236}">
                <a16:creationId xmlns:a16="http://schemas.microsoft.com/office/drawing/2014/main" id="{3C147804-0D75-49CF-993B-3D757915D422}"/>
              </a:ext>
            </a:extLst>
          </p:cNvPr>
          <p:cNvSpPr txBox="1"/>
          <p:nvPr userDrawn="1"/>
        </p:nvSpPr>
        <p:spPr>
          <a:xfrm>
            <a:off x="717847" y="3691784"/>
            <a:ext cx="2181687" cy="1050352"/>
          </a:xfrm>
          <a:prstGeom prst="rect">
            <a:avLst/>
          </a:prstGeom>
          <a:noFill/>
        </p:spPr>
        <p:txBody>
          <a:bodyPr wrap="none" lIns="0" tIns="0" rIns="0" bIns="0" rtlCol="0">
            <a:spAutoFit/>
          </a:bodyPr>
          <a:lstStyle/>
          <a:p>
            <a:pPr algn="l">
              <a:lnSpc>
                <a:spcPct val="112000"/>
              </a:lnSpc>
            </a:pPr>
            <a:r>
              <a:rPr lang="en-GB" sz="3200" kern="1200">
                <a:solidFill>
                  <a:schemeClr val="accent1"/>
                </a:solidFill>
                <a:latin typeface="+mn-lt"/>
                <a:ea typeface="+mn-ea"/>
                <a:cs typeface="+mn-cs"/>
              </a:rPr>
              <a:t>Production</a:t>
            </a:r>
          </a:p>
          <a:p>
            <a:pPr algn="l">
              <a:lnSpc>
                <a:spcPct val="112000"/>
              </a:lnSpc>
            </a:pPr>
            <a:endParaRPr lang="en-GB" sz="3200" kern="1200">
              <a:solidFill>
                <a:schemeClr val="accent1"/>
              </a:solidFill>
              <a:latin typeface="+mn-lt"/>
              <a:ea typeface="+mn-ea"/>
              <a:cs typeface="+mn-cs"/>
            </a:endParaRPr>
          </a:p>
        </p:txBody>
      </p:sp>
    </p:spTree>
    <p:extLst>
      <p:ext uri="{BB962C8B-B14F-4D97-AF65-F5344CB8AC3E}">
        <p14:creationId xmlns:p14="http://schemas.microsoft.com/office/powerpoint/2010/main" val="535796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itle, object, image left">
    <p:spTree>
      <p:nvGrpSpPr>
        <p:cNvPr id="1" name=""/>
        <p:cNvGrpSpPr/>
        <p:nvPr/>
      </p:nvGrpSpPr>
      <p:grpSpPr>
        <a:xfrm>
          <a:off x="0" y="0"/>
          <a:ext cx="0" cy="0"/>
          <a:chOff x="0" y="0"/>
          <a:chExt cx="0" cy="0"/>
        </a:xfrm>
      </p:grpSpPr>
      <p:sp>
        <p:nvSpPr>
          <p:cNvPr id="8" name="Tijdelijke aanduiding voor afbeelding 7">
            <a:extLst>
              <a:ext uri="{FF2B5EF4-FFF2-40B4-BE49-F238E27FC236}">
                <a16:creationId xmlns:a16="http://schemas.microsoft.com/office/drawing/2014/main" id="{F720B503-17F8-4237-9A82-0CEE6CD5AC31}"/>
              </a:ext>
            </a:extLst>
          </p:cNvPr>
          <p:cNvSpPr>
            <a:spLocks noGrp="1"/>
          </p:cNvSpPr>
          <p:nvPr>
            <p:ph type="pic" sz="quarter" idx="13" hasCustomPrompt="1"/>
          </p:nvPr>
        </p:nvSpPr>
        <p:spPr>
          <a:xfrm>
            <a:off x="-1" y="0"/>
            <a:ext cx="4176185" cy="6858000"/>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
        <p:nvSpPr>
          <p:cNvPr id="2" name="Title 1"/>
          <p:cNvSpPr>
            <a:spLocks noGrp="1"/>
          </p:cNvSpPr>
          <p:nvPr>
            <p:ph type="title" hasCustomPrompt="1"/>
          </p:nvPr>
        </p:nvSpPr>
        <p:spPr>
          <a:xfrm>
            <a:off x="4512734" y="548219"/>
            <a:ext cx="7103532" cy="1036965"/>
          </a:xfrm>
        </p:spPr>
        <p:txBody>
          <a:bodyPr/>
          <a:lstStyle/>
          <a:p>
            <a:r>
              <a:rPr lang="en-US"/>
              <a:t>Click to edit Master title style</a:t>
            </a:r>
          </a:p>
        </p:txBody>
      </p:sp>
      <p:sp>
        <p:nvSpPr>
          <p:cNvPr id="3" name="Content Placeholder 2"/>
          <p:cNvSpPr>
            <a:spLocks noGrp="1"/>
          </p:cNvSpPr>
          <p:nvPr>
            <p:ph idx="1" hasCustomPrompt="1"/>
          </p:nvPr>
        </p:nvSpPr>
        <p:spPr>
          <a:xfrm>
            <a:off x="4512735" y="1701801"/>
            <a:ext cx="7103532" cy="41761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7019D63-D31E-4DAC-9522-2075CE846DEA}" type="datetime1">
              <a:rPr lang="en-US" smtClean="0"/>
              <a:t>4/18/2025</a:t>
            </a:fld>
            <a:endParaRPr lang="en-US"/>
          </a:p>
        </p:txBody>
      </p:sp>
      <p:sp>
        <p:nvSpPr>
          <p:cNvPr id="5" name="Footer Placeholder 4"/>
          <p:cNvSpPr>
            <a:spLocks noGrp="1"/>
          </p:cNvSpPr>
          <p:nvPr>
            <p:ph type="ftr" sz="quarter" idx="11"/>
          </p:nvPr>
        </p:nvSpPr>
        <p:spPr>
          <a:xfrm>
            <a:off x="4792233" y="6491432"/>
            <a:ext cx="1652163" cy="102592"/>
          </a:xfrm>
        </p:spPr>
        <p:txBody>
          <a:bodyPr/>
          <a:lstStyle/>
          <a:p>
            <a:r>
              <a:rPr lang="en-US"/>
              <a:t>Draft | Internal use only | Confidential</a:t>
            </a:r>
          </a:p>
        </p:txBody>
      </p:sp>
      <p:sp>
        <p:nvSpPr>
          <p:cNvPr id="6" name="Slide Number Placeholder 5"/>
          <p:cNvSpPr>
            <a:spLocks noGrp="1"/>
          </p:cNvSpPr>
          <p:nvPr>
            <p:ph type="sldNum" sz="quarter" idx="12"/>
          </p:nvPr>
        </p:nvSpPr>
        <p:spPr>
          <a:xfrm>
            <a:off x="4523663" y="6491401"/>
            <a:ext cx="147476" cy="102657"/>
          </a:xfrm>
        </p:spPr>
        <p:txBody>
          <a:bodyPr/>
          <a:lstStyle/>
          <a:p>
            <a:fld id="{9BE0E23E-9022-4929-B297-EB2777CDBB1F}" type="slidenum">
              <a:rPr lang="en-US" smtClean="0"/>
              <a:t>‹#›</a:t>
            </a:fld>
            <a:endParaRPr lang="en-US"/>
          </a:p>
        </p:txBody>
      </p:sp>
    </p:spTree>
    <p:extLst>
      <p:ext uri="{BB962C8B-B14F-4D97-AF65-F5344CB8AC3E}">
        <p14:creationId xmlns:p14="http://schemas.microsoft.com/office/powerpoint/2010/main" val="1047973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itle, object, image right (small)">
    <p:spTree>
      <p:nvGrpSpPr>
        <p:cNvPr id="1" name=""/>
        <p:cNvGrpSpPr/>
        <p:nvPr/>
      </p:nvGrpSpPr>
      <p:grpSpPr>
        <a:xfrm>
          <a:off x="0" y="0"/>
          <a:ext cx="0" cy="0"/>
          <a:chOff x="0" y="0"/>
          <a:chExt cx="0" cy="0"/>
        </a:xfrm>
      </p:grpSpPr>
      <p:sp>
        <p:nvSpPr>
          <p:cNvPr id="8" name="Tijdelijke aanduiding voor afbeelding 7">
            <a:extLst>
              <a:ext uri="{FF2B5EF4-FFF2-40B4-BE49-F238E27FC236}">
                <a16:creationId xmlns:a16="http://schemas.microsoft.com/office/drawing/2014/main" id="{F720B503-17F8-4237-9A82-0CEE6CD5AC31}"/>
              </a:ext>
            </a:extLst>
          </p:cNvPr>
          <p:cNvSpPr>
            <a:spLocks noGrp="1"/>
          </p:cNvSpPr>
          <p:nvPr>
            <p:ph type="pic" sz="quarter" idx="13" hasCustomPrompt="1"/>
          </p:nvPr>
        </p:nvSpPr>
        <p:spPr>
          <a:xfrm>
            <a:off x="8015818" y="0"/>
            <a:ext cx="4176183" cy="6858000"/>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
        <p:nvSpPr>
          <p:cNvPr id="2" name="Title 1"/>
          <p:cNvSpPr>
            <a:spLocks noGrp="1"/>
          </p:cNvSpPr>
          <p:nvPr>
            <p:ph type="title" hasCustomPrompt="1"/>
          </p:nvPr>
        </p:nvSpPr>
        <p:spPr>
          <a:xfrm>
            <a:off x="575735" y="548219"/>
            <a:ext cx="7096356" cy="1036965"/>
          </a:xfrm>
        </p:spPr>
        <p:txBody>
          <a:bodyPr/>
          <a:lstStyle/>
          <a:p>
            <a:r>
              <a:rPr lang="en-US"/>
              <a:t>Click to edit Master title style</a:t>
            </a:r>
          </a:p>
        </p:txBody>
      </p:sp>
      <p:sp>
        <p:nvSpPr>
          <p:cNvPr id="3" name="Content Placeholder 2"/>
          <p:cNvSpPr>
            <a:spLocks noGrp="1"/>
          </p:cNvSpPr>
          <p:nvPr>
            <p:ph idx="1" hasCustomPrompt="1"/>
          </p:nvPr>
        </p:nvSpPr>
        <p:spPr>
          <a:xfrm>
            <a:off x="580292" y="1701801"/>
            <a:ext cx="7096355" cy="41761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7163686" y="6491400"/>
            <a:ext cx="512961" cy="102657"/>
          </a:xfrm>
        </p:spPr>
        <p:txBody>
          <a:bodyPr/>
          <a:lstStyle/>
          <a:p>
            <a:fld id="{8753128B-89AC-4C97-9401-82E9A831AE5D}" type="datetime1">
              <a:rPr lang="en-US" smtClean="0"/>
              <a:t>4/18/2025</a:t>
            </a:fld>
            <a:endParaRPr lang="en-US"/>
          </a:p>
        </p:txBody>
      </p:sp>
      <p:sp>
        <p:nvSpPr>
          <p:cNvPr id="5" name="Footer Placeholder 4"/>
          <p:cNvSpPr>
            <a:spLocks noGrp="1"/>
          </p:cNvSpPr>
          <p:nvPr>
            <p:ph type="ftr" sz="quarter" idx="11"/>
          </p:nvPr>
        </p:nvSpPr>
        <p:spPr/>
        <p:txBody>
          <a:bodyPr/>
          <a:lstStyle/>
          <a:p>
            <a:r>
              <a:rPr lang="en-US"/>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spTree>
    <p:extLst>
      <p:ext uri="{BB962C8B-B14F-4D97-AF65-F5344CB8AC3E}">
        <p14:creationId xmlns:p14="http://schemas.microsoft.com/office/powerpoint/2010/main" val="2842288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object, image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5735" y="548219"/>
            <a:ext cx="5257804" cy="1036965"/>
          </a:xfrm>
        </p:spPr>
        <p:txBody>
          <a:bodyPr/>
          <a:lstStyle/>
          <a:p>
            <a:r>
              <a:rPr lang="en-US"/>
              <a:t>Click to edit Master title style</a:t>
            </a:r>
          </a:p>
        </p:txBody>
      </p:sp>
      <p:sp>
        <p:nvSpPr>
          <p:cNvPr id="3" name="Content Placeholder 2"/>
          <p:cNvSpPr>
            <a:spLocks noGrp="1"/>
          </p:cNvSpPr>
          <p:nvPr>
            <p:ph idx="1" hasCustomPrompt="1"/>
          </p:nvPr>
        </p:nvSpPr>
        <p:spPr>
          <a:xfrm>
            <a:off x="580294" y="1701802"/>
            <a:ext cx="5257804" cy="43666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325137" y="6491400"/>
            <a:ext cx="512961" cy="102657"/>
          </a:xfrm>
        </p:spPr>
        <p:txBody>
          <a:bodyPr/>
          <a:lstStyle/>
          <a:p>
            <a:fld id="{FD70B62E-A4D6-4FC0-8ADD-3D7BB8E655B3}" type="datetime1">
              <a:rPr lang="en-US" smtClean="0"/>
              <a:t>4/18/2025</a:t>
            </a:fld>
            <a:endParaRPr lang="en-US"/>
          </a:p>
        </p:txBody>
      </p:sp>
      <p:sp>
        <p:nvSpPr>
          <p:cNvPr id="5" name="Footer Placeholder 4"/>
          <p:cNvSpPr>
            <a:spLocks noGrp="1"/>
          </p:cNvSpPr>
          <p:nvPr>
            <p:ph type="ftr" sz="quarter" idx="11"/>
          </p:nvPr>
        </p:nvSpPr>
        <p:spPr/>
        <p:txBody>
          <a:bodyPr/>
          <a:lstStyle/>
          <a:p>
            <a:r>
              <a:rPr lang="en-US"/>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sp>
        <p:nvSpPr>
          <p:cNvPr id="8" name="Tijdelijke aanduiding voor afbeelding 7">
            <a:extLst>
              <a:ext uri="{FF2B5EF4-FFF2-40B4-BE49-F238E27FC236}">
                <a16:creationId xmlns:a16="http://schemas.microsoft.com/office/drawing/2014/main" id="{F720B503-17F8-4237-9A82-0CEE6CD5AC31}"/>
              </a:ext>
            </a:extLst>
          </p:cNvPr>
          <p:cNvSpPr>
            <a:spLocks noGrp="1"/>
          </p:cNvSpPr>
          <p:nvPr>
            <p:ph type="pic" sz="quarter" idx="13" hasCustomPrompt="1"/>
          </p:nvPr>
        </p:nvSpPr>
        <p:spPr>
          <a:xfrm>
            <a:off x="6096000" y="0"/>
            <a:ext cx="6096000" cy="6858000"/>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Tree>
    <p:extLst>
      <p:ext uri="{BB962C8B-B14F-4D97-AF65-F5344CB8AC3E}">
        <p14:creationId xmlns:p14="http://schemas.microsoft.com/office/powerpoint/2010/main" val="1820631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itle, object + Sustainabiliy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5735" y="548219"/>
            <a:ext cx="5257804" cy="1036965"/>
          </a:xfrm>
        </p:spPr>
        <p:txBody>
          <a:bodyPr/>
          <a:lstStyle/>
          <a:p>
            <a:r>
              <a:rPr lang="en-US"/>
              <a:t>Click to edit Master title style</a:t>
            </a:r>
          </a:p>
        </p:txBody>
      </p:sp>
      <p:sp>
        <p:nvSpPr>
          <p:cNvPr id="3" name="Content Placeholder 2"/>
          <p:cNvSpPr>
            <a:spLocks noGrp="1"/>
          </p:cNvSpPr>
          <p:nvPr>
            <p:ph idx="1" hasCustomPrompt="1"/>
          </p:nvPr>
        </p:nvSpPr>
        <p:spPr>
          <a:xfrm>
            <a:off x="580294" y="1701802"/>
            <a:ext cx="5257804" cy="43666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325137" y="6491400"/>
            <a:ext cx="512961" cy="102657"/>
          </a:xfrm>
        </p:spPr>
        <p:txBody>
          <a:bodyPr/>
          <a:lstStyle/>
          <a:p>
            <a:fld id="{FD70B62E-A4D6-4FC0-8ADD-3D7BB8E655B3}" type="datetime1">
              <a:rPr lang="en-US" smtClean="0"/>
              <a:t>4/18/2025</a:t>
            </a:fld>
            <a:endParaRPr lang="en-US"/>
          </a:p>
        </p:txBody>
      </p:sp>
      <p:sp>
        <p:nvSpPr>
          <p:cNvPr id="5" name="Footer Placeholder 4"/>
          <p:cNvSpPr>
            <a:spLocks noGrp="1"/>
          </p:cNvSpPr>
          <p:nvPr>
            <p:ph type="ftr" sz="quarter" idx="11"/>
          </p:nvPr>
        </p:nvSpPr>
        <p:spPr/>
        <p:txBody>
          <a:bodyPr/>
          <a:lstStyle/>
          <a:p>
            <a:r>
              <a:rPr lang="en-US"/>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pic>
        <p:nvPicPr>
          <p:cNvPr id="8" name="Tijdelijke aanduiding voor afbeelding 6" descr="Afbeelding met man, muur, binnen, persoon&#10;&#10;Automatisch gegenereerde beschrijving">
            <a:extLst>
              <a:ext uri="{FF2B5EF4-FFF2-40B4-BE49-F238E27FC236}">
                <a16:creationId xmlns:a16="http://schemas.microsoft.com/office/drawing/2014/main" id="{F9AF366F-3C90-404E-84C6-29A7048B573A}"/>
              </a:ext>
            </a:extLst>
          </p:cNvPr>
          <p:cNvPicPr>
            <a:picLocks noChangeAspect="1"/>
          </p:cNvPicPr>
          <p:nvPr userDrawn="1"/>
        </p:nvPicPr>
        <p:blipFill>
          <a:blip r:embed="rId2"/>
          <a:srcRect l="20297" r="20297"/>
          <a:stretch>
            <a:fillRect/>
          </a:stretch>
        </p:blipFill>
        <p:spPr>
          <a:xfrm>
            <a:off x="6096000" y="0"/>
            <a:ext cx="6096000" cy="6858000"/>
          </a:xfrm>
          <a:prstGeom prst="rect">
            <a:avLst/>
          </a:prstGeom>
        </p:spPr>
      </p:pic>
    </p:spTree>
    <p:extLst>
      <p:ext uri="{BB962C8B-B14F-4D97-AF65-F5344CB8AC3E}">
        <p14:creationId xmlns:p14="http://schemas.microsoft.com/office/powerpoint/2010/main" val="1559969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itle, object + R&amp;D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5735" y="548219"/>
            <a:ext cx="5257804" cy="1036965"/>
          </a:xfrm>
        </p:spPr>
        <p:txBody>
          <a:bodyPr/>
          <a:lstStyle/>
          <a:p>
            <a:r>
              <a:rPr lang="en-US"/>
              <a:t>Click to edit Master title style</a:t>
            </a:r>
          </a:p>
        </p:txBody>
      </p:sp>
      <p:sp>
        <p:nvSpPr>
          <p:cNvPr id="3" name="Content Placeholder 2"/>
          <p:cNvSpPr>
            <a:spLocks noGrp="1"/>
          </p:cNvSpPr>
          <p:nvPr>
            <p:ph idx="1" hasCustomPrompt="1"/>
          </p:nvPr>
        </p:nvSpPr>
        <p:spPr>
          <a:xfrm>
            <a:off x="580294" y="1701802"/>
            <a:ext cx="5257804" cy="43666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325137" y="6491400"/>
            <a:ext cx="512961" cy="102657"/>
          </a:xfrm>
        </p:spPr>
        <p:txBody>
          <a:bodyPr/>
          <a:lstStyle/>
          <a:p>
            <a:fld id="{FD70B62E-A4D6-4FC0-8ADD-3D7BB8E655B3}" type="datetime1">
              <a:rPr lang="en-US" smtClean="0"/>
              <a:t>4/18/2025</a:t>
            </a:fld>
            <a:endParaRPr lang="en-US"/>
          </a:p>
        </p:txBody>
      </p:sp>
      <p:sp>
        <p:nvSpPr>
          <p:cNvPr id="5" name="Footer Placeholder 4"/>
          <p:cNvSpPr>
            <a:spLocks noGrp="1"/>
          </p:cNvSpPr>
          <p:nvPr>
            <p:ph type="ftr" sz="quarter" idx="11"/>
          </p:nvPr>
        </p:nvSpPr>
        <p:spPr/>
        <p:txBody>
          <a:bodyPr/>
          <a:lstStyle/>
          <a:p>
            <a:r>
              <a:rPr lang="en-US"/>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pic>
        <p:nvPicPr>
          <p:cNvPr id="8" name="Tijdelijke aanduiding voor afbeelding 6" descr="Afbeelding met muur, binnen, man, kast&#10;&#10;Automatisch gegenereerde beschrijving">
            <a:extLst>
              <a:ext uri="{FF2B5EF4-FFF2-40B4-BE49-F238E27FC236}">
                <a16:creationId xmlns:a16="http://schemas.microsoft.com/office/drawing/2014/main" id="{2A8506C1-4D2B-4D7F-A996-0795412114B4}"/>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4150564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object + Collaboration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5735" y="548219"/>
            <a:ext cx="5257804" cy="1036965"/>
          </a:xfrm>
        </p:spPr>
        <p:txBody>
          <a:bodyPr/>
          <a:lstStyle/>
          <a:p>
            <a:r>
              <a:rPr lang="en-US"/>
              <a:t>Click to edit Master title style</a:t>
            </a:r>
          </a:p>
        </p:txBody>
      </p:sp>
      <p:sp>
        <p:nvSpPr>
          <p:cNvPr id="3" name="Content Placeholder 2"/>
          <p:cNvSpPr>
            <a:spLocks noGrp="1"/>
          </p:cNvSpPr>
          <p:nvPr>
            <p:ph idx="1" hasCustomPrompt="1"/>
          </p:nvPr>
        </p:nvSpPr>
        <p:spPr>
          <a:xfrm>
            <a:off x="580294" y="1701802"/>
            <a:ext cx="5257804" cy="43666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325137" y="6491400"/>
            <a:ext cx="512961" cy="102657"/>
          </a:xfrm>
        </p:spPr>
        <p:txBody>
          <a:bodyPr/>
          <a:lstStyle/>
          <a:p>
            <a:fld id="{FD70B62E-A4D6-4FC0-8ADD-3D7BB8E655B3}" type="datetime1">
              <a:rPr lang="en-US" smtClean="0"/>
              <a:t>4/18/2025</a:t>
            </a:fld>
            <a:endParaRPr lang="en-US"/>
          </a:p>
        </p:txBody>
      </p:sp>
      <p:sp>
        <p:nvSpPr>
          <p:cNvPr id="5" name="Footer Placeholder 4"/>
          <p:cNvSpPr>
            <a:spLocks noGrp="1"/>
          </p:cNvSpPr>
          <p:nvPr>
            <p:ph type="ftr" sz="quarter" idx="11"/>
          </p:nvPr>
        </p:nvSpPr>
        <p:spPr/>
        <p:txBody>
          <a:bodyPr/>
          <a:lstStyle/>
          <a:p>
            <a:r>
              <a:rPr lang="en-US"/>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pic>
        <p:nvPicPr>
          <p:cNvPr id="8" name="Tijdelijke aanduiding voor afbeelding 6" descr="Afbeelding met muur&#10;&#10;Automatisch gegenereerde beschrijving">
            <a:extLst>
              <a:ext uri="{FF2B5EF4-FFF2-40B4-BE49-F238E27FC236}">
                <a16:creationId xmlns:a16="http://schemas.microsoft.com/office/drawing/2014/main" id="{8240536E-A3AE-4149-9C7C-2F1158FAF2DD}"/>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3406624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itle, object + Production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5735" y="548219"/>
            <a:ext cx="5257804" cy="1036965"/>
          </a:xfrm>
        </p:spPr>
        <p:txBody>
          <a:bodyPr/>
          <a:lstStyle/>
          <a:p>
            <a:r>
              <a:rPr lang="en-US"/>
              <a:t>Click to edit Master title style</a:t>
            </a:r>
          </a:p>
        </p:txBody>
      </p:sp>
      <p:sp>
        <p:nvSpPr>
          <p:cNvPr id="3" name="Content Placeholder 2"/>
          <p:cNvSpPr>
            <a:spLocks noGrp="1"/>
          </p:cNvSpPr>
          <p:nvPr>
            <p:ph idx="1" hasCustomPrompt="1"/>
          </p:nvPr>
        </p:nvSpPr>
        <p:spPr>
          <a:xfrm>
            <a:off x="580294" y="1701802"/>
            <a:ext cx="5257804" cy="43666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325137" y="6491400"/>
            <a:ext cx="512961" cy="102657"/>
          </a:xfrm>
        </p:spPr>
        <p:txBody>
          <a:bodyPr/>
          <a:lstStyle/>
          <a:p>
            <a:fld id="{FD70B62E-A4D6-4FC0-8ADD-3D7BB8E655B3}" type="datetime1">
              <a:rPr lang="en-US" smtClean="0"/>
              <a:t>4/18/2025</a:t>
            </a:fld>
            <a:endParaRPr lang="en-US"/>
          </a:p>
        </p:txBody>
      </p:sp>
      <p:sp>
        <p:nvSpPr>
          <p:cNvPr id="5" name="Footer Placeholder 4"/>
          <p:cNvSpPr>
            <a:spLocks noGrp="1"/>
          </p:cNvSpPr>
          <p:nvPr>
            <p:ph type="ftr" sz="quarter" idx="11"/>
          </p:nvPr>
        </p:nvSpPr>
        <p:spPr/>
        <p:txBody>
          <a:bodyPr/>
          <a:lstStyle/>
          <a:p>
            <a:r>
              <a:rPr lang="en-US"/>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pic>
        <p:nvPicPr>
          <p:cNvPr id="9" name="Tijdelijke aanduiding voor afbeelding 6" descr="Afbeelding met binnen, tafel, venster&#10;&#10;Automatisch gegenereerde beschrijving">
            <a:extLst>
              <a:ext uri="{FF2B5EF4-FFF2-40B4-BE49-F238E27FC236}">
                <a16:creationId xmlns:a16="http://schemas.microsoft.com/office/drawing/2014/main" id="{8D074549-7CCC-4DC1-8C7E-D76EADE35B9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6096000" y="0"/>
            <a:ext cx="6096000" cy="6858000"/>
          </a:xfrm>
          <a:prstGeom prst="rect">
            <a:avLst/>
          </a:prstGeom>
        </p:spPr>
      </p:pic>
    </p:spTree>
    <p:extLst>
      <p:ext uri="{BB962C8B-B14F-4D97-AF65-F5344CB8AC3E}">
        <p14:creationId xmlns:p14="http://schemas.microsoft.com/office/powerpoint/2010/main" val="1123084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and im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650198F6-3BC0-40C0-A42F-E0AFA9D288F2}" type="datetime1">
              <a:rPr lang="en-US" smtClean="0"/>
              <a:t>4/18/2025</a:t>
            </a:fld>
            <a:endParaRPr lang="en-US"/>
          </a:p>
        </p:txBody>
      </p:sp>
      <p:sp>
        <p:nvSpPr>
          <p:cNvPr id="5" name="Footer Placeholder 4"/>
          <p:cNvSpPr>
            <a:spLocks noGrp="1"/>
          </p:cNvSpPr>
          <p:nvPr>
            <p:ph type="ftr" sz="quarter" idx="11"/>
          </p:nvPr>
        </p:nvSpPr>
        <p:spPr/>
        <p:txBody>
          <a:bodyPr/>
          <a:lstStyle/>
          <a:p>
            <a:r>
              <a:rPr lang="en-US"/>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sp>
        <p:nvSpPr>
          <p:cNvPr id="8" name="Tijdelijke aanduiding voor afbeelding 7">
            <a:extLst>
              <a:ext uri="{FF2B5EF4-FFF2-40B4-BE49-F238E27FC236}">
                <a16:creationId xmlns:a16="http://schemas.microsoft.com/office/drawing/2014/main" id="{F720B503-17F8-4237-9A82-0CEE6CD5AC31}"/>
              </a:ext>
            </a:extLst>
          </p:cNvPr>
          <p:cNvSpPr>
            <a:spLocks noGrp="1"/>
          </p:cNvSpPr>
          <p:nvPr>
            <p:ph type="pic" sz="quarter" idx="13" hasCustomPrompt="1"/>
          </p:nvPr>
        </p:nvSpPr>
        <p:spPr>
          <a:xfrm>
            <a:off x="580293" y="1701801"/>
            <a:ext cx="11035975" cy="4176184"/>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Tree>
    <p:extLst>
      <p:ext uri="{BB962C8B-B14F-4D97-AF65-F5344CB8AC3E}">
        <p14:creationId xmlns:p14="http://schemas.microsoft.com/office/powerpoint/2010/main" val="2116181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 EarlyLife - 2 ">
    <p:spTree>
      <p:nvGrpSpPr>
        <p:cNvPr id="1" name=""/>
        <p:cNvGrpSpPr/>
        <p:nvPr/>
      </p:nvGrpSpPr>
      <p:grpSpPr>
        <a:xfrm>
          <a:off x="0" y="0"/>
          <a:ext cx="0" cy="0"/>
          <a:chOff x="0" y="0"/>
          <a:chExt cx="0" cy="0"/>
        </a:xfrm>
      </p:grpSpPr>
      <p:pic>
        <p:nvPicPr>
          <p:cNvPr id="12" name="Picture Placeholder 6" descr="A picture containing outdoor&#10;&#10;Description automatically generated">
            <a:extLst>
              <a:ext uri="{FF2B5EF4-FFF2-40B4-BE49-F238E27FC236}">
                <a16:creationId xmlns:a16="http://schemas.microsoft.com/office/drawing/2014/main" id="{F917A6FA-E1F9-427E-8B31-F11188C601B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4" name="Tijdelijke aanduiding voor tekst 17">
            <a:extLst>
              <a:ext uri="{FF2B5EF4-FFF2-40B4-BE49-F238E27FC236}">
                <a16:creationId xmlns:a16="http://schemas.microsoft.com/office/drawing/2014/main" id="{3369DF5E-A601-452D-AD82-D126A0174EAF}"/>
              </a:ext>
            </a:extLst>
          </p:cNvPr>
          <p:cNvSpPr>
            <a:spLocks noGrp="1"/>
          </p:cNvSpPr>
          <p:nvPr>
            <p:ph type="body" sz="quarter" idx="18" hasCustomPrompt="1"/>
          </p:nvPr>
        </p:nvSpPr>
        <p:spPr>
          <a:xfrm>
            <a:off x="336554" y="1"/>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2"/>
            <a:ext cx="3168651"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Subtitle</a:t>
            </a:r>
          </a:p>
        </p:txBody>
      </p:sp>
      <p:sp>
        <p:nvSpPr>
          <p:cNvPr id="11" name="Tijdelijke aanduiding voor tekst 21">
            <a:extLst>
              <a:ext uri="{FF2B5EF4-FFF2-40B4-BE49-F238E27FC236}">
                <a16:creationId xmlns:a16="http://schemas.microsoft.com/office/drawing/2014/main" id="{864B06FA-CA70-4595-8439-FEB797046608}"/>
              </a:ext>
            </a:extLst>
          </p:cNvPr>
          <p:cNvSpPr>
            <a:spLocks noGrp="1"/>
          </p:cNvSpPr>
          <p:nvPr>
            <p:ph type="body" sz="quarter" idx="19" hasCustomPrompt="1"/>
          </p:nvPr>
        </p:nvSpPr>
        <p:spPr>
          <a:xfrm>
            <a:off x="662400" y="374400"/>
            <a:ext cx="1737600" cy="1046400"/>
          </a:xfrm>
          <a:blipFill>
            <a:blip r:embed="rId3" cstate="print">
              <a:extLst>
                <a:ext uri="{28A0092B-C50C-407E-A947-70E740481C1C}">
                  <a14:useLocalDpi xmlns:a14="http://schemas.microsoft.com/office/drawing/2010/main" val="0"/>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en-GB"/>
              <a:t>.</a:t>
            </a:r>
          </a:p>
        </p:txBody>
      </p:sp>
      <p:grpSp>
        <p:nvGrpSpPr>
          <p:cNvPr id="10" name="Groep 9">
            <a:extLst>
              <a:ext uri="{FF2B5EF4-FFF2-40B4-BE49-F238E27FC236}">
                <a16:creationId xmlns:a16="http://schemas.microsoft.com/office/drawing/2014/main" id="{2D3B3783-BF87-416D-8312-A253A1630159}"/>
              </a:ext>
            </a:extLst>
          </p:cNvPr>
          <p:cNvGrpSpPr/>
          <p:nvPr userDrawn="1"/>
        </p:nvGrpSpPr>
        <p:grpSpPr>
          <a:xfrm>
            <a:off x="12262862" y="575999"/>
            <a:ext cx="1130143" cy="757167"/>
            <a:chOff x="9197145" y="1199569"/>
            <a:chExt cx="847607" cy="567875"/>
          </a:xfrm>
        </p:grpSpPr>
        <p:sp>
          <p:nvSpPr>
            <p:cNvPr id="16" name="Freeform 20">
              <a:extLst>
                <a:ext uri="{FF2B5EF4-FFF2-40B4-BE49-F238E27FC236}">
                  <a16:creationId xmlns:a16="http://schemas.microsoft.com/office/drawing/2014/main" id="{B92E4F29-1E59-41AA-8B6A-AB0CE0321FCD}"/>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8F013AE7-A940-4288-807D-4C6C090D30BE}"/>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270034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type="obj" preserve="1">
  <p:cSld name="Title and objec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3" name="Content Placeholder 2"/>
          <p:cNvSpPr>
            <a:spLocks noGrp="1"/>
          </p:cNvSpPr>
          <p:nvPr>
            <p:ph idx="1" hasCustomPrompt="1"/>
          </p:nvPr>
        </p:nvSpPr>
        <p:spPr>
          <a:xfrm>
            <a:off x="580293" y="1701801"/>
            <a:ext cx="11035975" cy="41761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D9CC4E6-A4E4-4BB6-9F79-35D77AB1CC5A}" type="datetime1">
              <a:rPr lang="en-US" smtClean="0"/>
              <a:t>4/18/2025</a:t>
            </a:fld>
            <a:endParaRPr lang="en-US"/>
          </a:p>
        </p:txBody>
      </p:sp>
      <p:sp>
        <p:nvSpPr>
          <p:cNvPr id="5" name="Footer Placeholder 4"/>
          <p:cNvSpPr>
            <a:spLocks noGrp="1"/>
          </p:cNvSpPr>
          <p:nvPr>
            <p:ph type="ftr" sz="quarter" idx="11"/>
          </p:nvPr>
        </p:nvSpPr>
        <p:spPr/>
        <p:txBody>
          <a:bodyPr/>
          <a:lstStyle/>
          <a:p>
            <a:r>
              <a:rPr lang="en-US"/>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spTree>
    <p:extLst>
      <p:ext uri="{BB962C8B-B14F-4D97-AF65-F5344CB8AC3E}">
        <p14:creationId xmlns:p14="http://schemas.microsoft.com/office/powerpoint/2010/main" val="1074165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subtitle and objec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3" name="Content Placeholder 2"/>
          <p:cNvSpPr>
            <a:spLocks noGrp="1"/>
          </p:cNvSpPr>
          <p:nvPr>
            <p:ph idx="1" hasCustomPrompt="1"/>
          </p:nvPr>
        </p:nvSpPr>
        <p:spPr>
          <a:xfrm>
            <a:off x="580293" y="2077593"/>
            <a:ext cx="11035975" cy="38003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81E2944-4BA3-415C-81C0-A3717FAF72E1}" type="datetime1">
              <a:rPr lang="en-US" smtClean="0"/>
              <a:t>4/18/2025</a:t>
            </a:fld>
            <a:endParaRPr lang="en-US"/>
          </a:p>
        </p:txBody>
      </p:sp>
      <p:sp>
        <p:nvSpPr>
          <p:cNvPr id="5" name="Footer Placeholder 4"/>
          <p:cNvSpPr>
            <a:spLocks noGrp="1"/>
          </p:cNvSpPr>
          <p:nvPr>
            <p:ph type="ftr" sz="quarter" idx="11"/>
          </p:nvPr>
        </p:nvSpPr>
        <p:spPr/>
        <p:txBody>
          <a:bodyPr/>
          <a:lstStyle/>
          <a:p>
            <a:r>
              <a:rPr lang="en-US"/>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sp>
        <p:nvSpPr>
          <p:cNvPr id="8" name="Tijdelijke aanduiding voor tekst 7">
            <a:extLst>
              <a:ext uri="{FF2B5EF4-FFF2-40B4-BE49-F238E27FC236}">
                <a16:creationId xmlns:a16="http://schemas.microsoft.com/office/drawing/2014/main" id="{F7DBD289-E124-4653-9BF3-FE57FA1AC736}"/>
              </a:ext>
            </a:extLst>
          </p:cNvPr>
          <p:cNvSpPr>
            <a:spLocks noGrp="1"/>
          </p:cNvSpPr>
          <p:nvPr>
            <p:ph type="body" sz="quarter" idx="13" hasCustomPrompt="1"/>
          </p:nvPr>
        </p:nvSpPr>
        <p:spPr>
          <a:xfrm>
            <a:off x="580291" y="1701800"/>
            <a:ext cx="11035200" cy="375792"/>
          </a:xfrm>
        </p:spPr>
        <p:txBody>
          <a:bodyPr wrap="none"/>
          <a:lstStyle>
            <a:lvl1pPr marL="0" indent="0">
              <a:buNone/>
              <a:defRPr>
                <a:solidFill>
                  <a:schemeClr val="accent1"/>
                </a:solidFill>
              </a:defRPr>
            </a:lvl1pPr>
          </a:lstStyle>
          <a:p>
            <a:pPr lvl="0"/>
            <a:r>
              <a:rPr lang="en-US"/>
              <a:t>Subtitle</a:t>
            </a:r>
          </a:p>
        </p:txBody>
      </p:sp>
    </p:spTree>
    <p:extLst>
      <p:ext uri="{BB962C8B-B14F-4D97-AF65-F5344CB8AC3E}">
        <p14:creationId xmlns:p14="http://schemas.microsoft.com/office/powerpoint/2010/main" val="512874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itle and 2 objec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80800" y="1703997"/>
            <a:ext cx="5400000" cy="417398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216264" y="1703997"/>
            <a:ext cx="5400000" cy="417398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F39349C-1D89-4689-A09E-66FAF47E47B3}" type="datetime1">
              <a:rPr lang="en-US" smtClean="0"/>
              <a:t>4/18/2025</a:t>
            </a:fld>
            <a:endParaRPr lang="en-US"/>
          </a:p>
        </p:txBody>
      </p:sp>
      <p:sp>
        <p:nvSpPr>
          <p:cNvPr id="6" name="Footer Placeholder 5"/>
          <p:cNvSpPr>
            <a:spLocks noGrp="1"/>
          </p:cNvSpPr>
          <p:nvPr>
            <p:ph type="ftr" sz="quarter" idx="11"/>
          </p:nvPr>
        </p:nvSpPr>
        <p:spPr/>
        <p:txBody>
          <a:bodyPr/>
          <a:lstStyle/>
          <a:p>
            <a:r>
              <a:rPr lang="en-US"/>
              <a:t>Draft | Internal use only | Confidential</a:t>
            </a:r>
          </a:p>
        </p:txBody>
      </p:sp>
      <p:sp>
        <p:nvSpPr>
          <p:cNvPr id="7" name="Slide Number Placeholder 6"/>
          <p:cNvSpPr>
            <a:spLocks noGrp="1"/>
          </p:cNvSpPr>
          <p:nvPr>
            <p:ph type="sldNum" sz="quarter" idx="12"/>
          </p:nvPr>
        </p:nvSpPr>
        <p:spPr/>
        <p:txBody>
          <a:bodyPr/>
          <a:lstStyle/>
          <a:p>
            <a:fld id="{9BE0E23E-9022-4929-B297-EB2777CDBB1F}" type="slidenum">
              <a:rPr lang="en-US" smtClean="0"/>
              <a:t>‹#›</a:t>
            </a:fld>
            <a:endParaRPr lang="en-US"/>
          </a:p>
        </p:txBody>
      </p:sp>
      <p:sp>
        <p:nvSpPr>
          <p:cNvPr id="8" name="Titel 7">
            <a:extLst>
              <a:ext uri="{FF2B5EF4-FFF2-40B4-BE49-F238E27FC236}">
                <a16:creationId xmlns:a16="http://schemas.microsoft.com/office/drawing/2014/main" id="{26BE0271-8E9F-4D14-97DF-D828AE403B0B}"/>
              </a:ext>
            </a:extLst>
          </p:cNvPr>
          <p:cNvSpPr>
            <a:spLocks noGrp="1"/>
          </p:cNvSpPr>
          <p:nvPr>
            <p:ph type="title" hasCustomPrompt="1"/>
          </p:nvPr>
        </p:nvSpPr>
        <p:spPr/>
        <p:txBody>
          <a:bodyPr/>
          <a:lstStyle/>
          <a:p>
            <a:r>
              <a:rPr lang="en-US"/>
              <a:t>Click to edit Master title style</a:t>
            </a:r>
            <a:endParaRPr lang="nl-NL"/>
          </a:p>
        </p:txBody>
      </p:sp>
    </p:spTree>
    <p:extLst>
      <p:ext uri="{BB962C8B-B14F-4D97-AF65-F5344CB8AC3E}">
        <p14:creationId xmlns:p14="http://schemas.microsoft.com/office/powerpoint/2010/main" val="3288801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subtitle, 2 objec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80800" y="2077592"/>
            <a:ext cx="5400000" cy="38003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216265" y="2077592"/>
            <a:ext cx="5400000" cy="38003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F3E9988-4A5F-4B43-99D8-A183CF49EDB8}" type="datetime1">
              <a:rPr lang="en-US" smtClean="0"/>
              <a:t>4/18/2025</a:t>
            </a:fld>
            <a:endParaRPr lang="en-US"/>
          </a:p>
        </p:txBody>
      </p:sp>
      <p:sp>
        <p:nvSpPr>
          <p:cNvPr id="6" name="Footer Placeholder 5"/>
          <p:cNvSpPr>
            <a:spLocks noGrp="1"/>
          </p:cNvSpPr>
          <p:nvPr>
            <p:ph type="ftr" sz="quarter" idx="11"/>
          </p:nvPr>
        </p:nvSpPr>
        <p:spPr/>
        <p:txBody>
          <a:bodyPr/>
          <a:lstStyle/>
          <a:p>
            <a:r>
              <a:rPr lang="en-US"/>
              <a:t>Draft | Internal use only | Confidential</a:t>
            </a:r>
          </a:p>
        </p:txBody>
      </p:sp>
      <p:sp>
        <p:nvSpPr>
          <p:cNvPr id="7" name="Slide Number Placeholder 6"/>
          <p:cNvSpPr>
            <a:spLocks noGrp="1"/>
          </p:cNvSpPr>
          <p:nvPr>
            <p:ph type="sldNum" sz="quarter" idx="12"/>
          </p:nvPr>
        </p:nvSpPr>
        <p:spPr/>
        <p:txBody>
          <a:bodyPr/>
          <a:lstStyle/>
          <a:p>
            <a:fld id="{9BE0E23E-9022-4929-B297-EB2777CDBB1F}" type="slidenum">
              <a:rPr lang="en-US" smtClean="0"/>
              <a:t>‹#›</a:t>
            </a:fld>
            <a:endParaRPr lang="en-US"/>
          </a:p>
        </p:txBody>
      </p:sp>
      <p:sp>
        <p:nvSpPr>
          <p:cNvPr id="9" name="Tijdelijke aanduiding voor tekst 7">
            <a:extLst>
              <a:ext uri="{FF2B5EF4-FFF2-40B4-BE49-F238E27FC236}">
                <a16:creationId xmlns:a16="http://schemas.microsoft.com/office/drawing/2014/main" id="{27508BEF-285C-40D0-8A0C-EE0B84C47D52}"/>
              </a:ext>
            </a:extLst>
          </p:cNvPr>
          <p:cNvSpPr>
            <a:spLocks noGrp="1"/>
          </p:cNvSpPr>
          <p:nvPr>
            <p:ph type="body" sz="quarter" idx="13" hasCustomPrompt="1"/>
          </p:nvPr>
        </p:nvSpPr>
        <p:spPr>
          <a:xfrm>
            <a:off x="580291" y="1701800"/>
            <a:ext cx="5400000" cy="375792"/>
          </a:xfrm>
        </p:spPr>
        <p:txBody>
          <a:bodyPr wrap="none"/>
          <a:lstStyle>
            <a:lvl1pPr marL="0" indent="0">
              <a:buNone/>
              <a:defRPr>
                <a:solidFill>
                  <a:schemeClr val="accent1"/>
                </a:solidFill>
              </a:defRPr>
            </a:lvl1pPr>
          </a:lstStyle>
          <a:p>
            <a:pPr lvl="0"/>
            <a:r>
              <a:rPr lang="en-US"/>
              <a:t>Subtitle</a:t>
            </a:r>
          </a:p>
        </p:txBody>
      </p:sp>
      <p:sp>
        <p:nvSpPr>
          <p:cNvPr id="10" name="Tijdelijke aanduiding voor tekst 7">
            <a:extLst>
              <a:ext uri="{FF2B5EF4-FFF2-40B4-BE49-F238E27FC236}">
                <a16:creationId xmlns:a16="http://schemas.microsoft.com/office/drawing/2014/main" id="{9913EE84-7DEC-4A2D-AD57-9B4798154DE0}"/>
              </a:ext>
            </a:extLst>
          </p:cNvPr>
          <p:cNvSpPr>
            <a:spLocks noGrp="1"/>
          </p:cNvSpPr>
          <p:nvPr>
            <p:ph type="body" sz="quarter" idx="14" hasCustomPrompt="1"/>
          </p:nvPr>
        </p:nvSpPr>
        <p:spPr>
          <a:xfrm>
            <a:off x="6216264" y="1703997"/>
            <a:ext cx="5400000" cy="375792"/>
          </a:xfrm>
        </p:spPr>
        <p:txBody>
          <a:bodyPr wrap="none"/>
          <a:lstStyle>
            <a:lvl1pPr marL="0" indent="0">
              <a:buNone/>
              <a:defRPr>
                <a:solidFill>
                  <a:schemeClr val="accent1"/>
                </a:solidFill>
              </a:defRPr>
            </a:lvl1pPr>
          </a:lstStyle>
          <a:p>
            <a:pPr lvl="0"/>
            <a:r>
              <a:rPr lang="en-US"/>
              <a:t>Subtitel</a:t>
            </a:r>
          </a:p>
        </p:txBody>
      </p:sp>
      <p:sp>
        <p:nvSpPr>
          <p:cNvPr id="8" name="Titel 7">
            <a:extLst>
              <a:ext uri="{FF2B5EF4-FFF2-40B4-BE49-F238E27FC236}">
                <a16:creationId xmlns:a16="http://schemas.microsoft.com/office/drawing/2014/main" id="{8ABE8B1D-E1F9-4E74-945C-E81D06AF0D78}"/>
              </a:ext>
            </a:extLst>
          </p:cNvPr>
          <p:cNvSpPr>
            <a:spLocks noGrp="1"/>
          </p:cNvSpPr>
          <p:nvPr>
            <p:ph type="title" hasCustomPrompt="1"/>
          </p:nvPr>
        </p:nvSpPr>
        <p:spPr/>
        <p:txBody>
          <a:bodyPr/>
          <a:lstStyle/>
          <a:p>
            <a:r>
              <a:rPr lang="en-US"/>
              <a:t>Click to edit Master title style</a:t>
            </a:r>
            <a:endParaRPr lang="nl-NL"/>
          </a:p>
        </p:txBody>
      </p:sp>
    </p:spTree>
    <p:extLst>
      <p:ext uri="{BB962C8B-B14F-4D97-AF65-F5344CB8AC3E}">
        <p14:creationId xmlns:p14="http://schemas.microsoft.com/office/powerpoint/2010/main" val="307122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text and tab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80800" y="1703997"/>
            <a:ext cx="5400000" cy="417541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F39349C-1D89-4689-A09E-66FAF47E47B3}" type="datetime1">
              <a:rPr lang="en-US" smtClean="0"/>
              <a:t>4/18/2025</a:t>
            </a:fld>
            <a:endParaRPr lang="en-US"/>
          </a:p>
        </p:txBody>
      </p:sp>
      <p:sp>
        <p:nvSpPr>
          <p:cNvPr id="6" name="Footer Placeholder 5"/>
          <p:cNvSpPr>
            <a:spLocks noGrp="1"/>
          </p:cNvSpPr>
          <p:nvPr>
            <p:ph type="ftr" sz="quarter" idx="11"/>
          </p:nvPr>
        </p:nvSpPr>
        <p:spPr/>
        <p:txBody>
          <a:bodyPr/>
          <a:lstStyle/>
          <a:p>
            <a:r>
              <a:rPr lang="en-US"/>
              <a:t>Draft | Internal use only | Confidential</a:t>
            </a:r>
          </a:p>
        </p:txBody>
      </p:sp>
      <p:sp>
        <p:nvSpPr>
          <p:cNvPr id="7" name="Slide Number Placeholder 6"/>
          <p:cNvSpPr>
            <a:spLocks noGrp="1"/>
          </p:cNvSpPr>
          <p:nvPr>
            <p:ph type="sldNum" sz="quarter" idx="12"/>
          </p:nvPr>
        </p:nvSpPr>
        <p:spPr/>
        <p:txBody>
          <a:bodyPr/>
          <a:lstStyle/>
          <a:p>
            <a:fld id="{9BE0E23E-9022-4929-B297-EB2777CDBB1F}" type="slidenum">
              <a:rPr lang="en-US" smtClean="0"/>
              <a:t>‹#›</a:t>
            </a:fld>
            <a:endParaRPr lang="en-US"/>
          </a:p>
        </p:txBody>
      </p:sp>
      <p:sp>
        <p:nvSpPr>
          <p:cNvPr id="10" name="Tijdelijke aanduiding voor tabel 8">
            <a:extLst>
              <a:ext uri="{FF2B5EF4-FFF2-40B4-BE49-F238E27FC236}">
                <a16:creationId xmlns:a16="http://schemas.microsoft.com/office/drawing/2014/main" id="{D2E9F6DD-7E2C-4192-BBC9-125146AEF9DA}"/>
              </a:ext>
            </a:extLst>
          </p:cNvPr>
          <p:cNvSpPr>
            <a:spLocks noGrp="1"/>
          </p:cNvSpPr>
          <p:nvPr>
            <p:ph type="tbl" sz="quarter" idx="13"/>
          </p:nvPr>
        </p:nvSpPr>
        <p:spPr>
          <a:xfrm>
            <a:off x="6216652" y="1701800"/>
            <a:ext cx="5394549" cy="4176184"/>
          </a:xfrm>
        </p:spPr>
        <p:txBody>
          <a:bodyPr/>
          <a:lstStyle/>
          <a:p>
            <a:r>
              <a:rPr lang="en-US"/>
              <a:t>Click icon to add table</a:t>
            </a:r>
            <a:endParaRPr lang="nl-NL"/>
          </a:p>
        </p:txBody>
      </p:sp>
      <p:sp>
        <p:nvSpPr>
          <p:cNvPr id="4" name="Titel 3">
            <a:extLst>
              <a:ext uri="{FF2B5EF4-FFF2-40B4-BE49-F238E27FC236}">
                <a16:creationId xmlns:a16="http://schemas.microsoft.com/office/drawing/2014/main" id="{5DE9D13A-D41B-4FAB-8651-676FFDB4FE5F}"/>
              </a:ext>
            </a:extLst>
          </p:cNvPr>
          <p:cNvSpPr>
            <a:spLocks noGrp="1"/>
          </p:cNvSpPr>
          <p:nvPr>
            <p:ph type="title" hasCustomPrompt="1"/>
          </p:nvPr>
        </p:nvSpPr>
        <p:spPr/>
        <p:txBody>
          <a:bodyPr/>
          <a:lstStyle/>
          <a:p>
            <a:r>
              <a:rPr lang="en-US"/>
              <a:t>Click to edit Master title style</a:t>
            </a:r>
            <a:endParaRPr lang="nl-NL"/>
          </a:p>
        </p:txBody>
      </p:sp>
    </p:spTree>
    <p:extLst>
      <p:ext uri="{BB962C8B-B14F-4D97-AF65-F5344CB8AC3E}">
        <p14:creationId xmlns:p14="http://schemas.microsoft.com/office/powerpoint/2010/main" val="286161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D9CC4E6-A4E4-4BB6-9F79-35D77AB1CC5A}" type="datetime1">
              <a:rPr lang="en-US" smtClean="0"/>
              <a:t>4/18/2025</a:t>
            </a:fld>
            <a:endParaRPr lang="en-US"/>
          </a:p>
        </p:txBody>
      </p:sp>
      <p:sp>
        <p:nvSpPr>
          <p:cNvPr id="5" name="Footer Placeholder 4"/>
          <p:cNvSpPr>
            <a:spLocks noGrp="1"/>
          </p:cNvSpPr>
          <p:nvPr>
            <p:ph type="ftr" sz="quarter" idx="11"/>
          </p:nvPr>
        </p:nvSpPr>
        <p:spPr/>
        <p:txBody>
          <a:bodyPr/>
          <a:lstStyle/>
          <a:p>
            <a:r>
              <a:rPr lang="en-US"/>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sp>
        <p:nvSpPr>
          <p:cNvPr id="9" name="Tijdelijke aanduiding voor tabel 7">
            <a:extLst>
              <a:ext uri="{FF2B5EF4-FFF2-40B4-BE49-F238E27FC236}">
                <a16:creationId xmlns:a16="http://schemas.microsoft.com/office/drawing/2014/main" id="{DEED083B-6C6C-41E9-9AEE-A277FCC01CE9}"/>
              </a:ext>
            </a:extLst>
          </p:cNvPr>
          <p:cNvSpPr>
            <a:spLocks noGrp="1"/>
          </p:cNvSpPr>
          <p:nvPr>
            <p:ph type="tbl" sz="quarter" idx="13"/>
          </p:nvPr>
        </p:nvSpPr>
        <p:spPr>
          <a:xfrm>
            <a:off x="575735" y="1701801"/>
            <a:ext cx="11040533" cy="4176184"/>
          </a:xfrm>
        </p:spPr>
        <p:txBody>
          <a:bodyPr/>
          <a:lstStyle/>
          <a:p>
            <a:r>
              <a:rPr lang="en-US"/>
              <a:t>Click icon to add table</a:t>
            </a:r>
            <a:endParaRPr lang="nl-NL"/>
          </a:p>
        </p:txBody>
      </p:sp>
    </p:spTree>
    <p:extLst>
      <p:ext uri="{BB962C8B-B14F-4D97-AF65-F5344CB8AC3E}">
        <p14:creationId xmlns:p14="http://schemas.microsoft.com/office/powerpoint/2010/main" val="3736549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itle, 3 text boxes and text">
    <p:spTree>
      <p:nvGrpSpPr>
        <p:cNvPr id="1" name=""/>
        <p:cNvGrpSpPr/>
        <p:nvPr/>
      </p:nvGrpSpPr>
      <p:grpSpPr>
        <a:xfrm>
          <a:off x="0" y="0"/>
          <a:ext cx="0" cy="0"/>
          <a:chOff x="0" y="0"/>
          <a:chExt cx="0" cy="0"/>
        </a:xfrm>
      </p:grpSpPr>
      <p:sp>
        <p:nvSpPr>
          <p:cNvPr id="10" name="Tijdelijke aanduiding voor tekst 9">
            <a:extLst>
              <a:ext uri="{FF2B5EF4-FFF2-40B4-BE49-F238E27FC236}">
                <a16:creationId xmlns:a16="http://schemas.microsoft.com/office/drawing/2014/main" id="{6E44AC7A-399D-4447-913F-693F8257E520}"/>
              </a:ext>
            </a:extLst>
          </p:cNvPr>
          <p:cNvSpPr>
            <a:spLocks noGrp="1"/>
          </p:cNvSpPr>
          <p:nvPr>
            <p:ph type="body" sz="quarter" idx="19"/>
          </p:nvPr>
        </p:nvSpPr>
        <p:spPr>
          <a:xfrm>
            <a:off x="575735" y="2495374"/>
            <a:ext cx="3441700" cy="3382612"/>
          </a:xfrm>
          <a:ln>
            <a:solidFill>
              <a:schemeClr val="accent1"/>
            </a:solidFill>
          </a:ln>
        </p:spPr>
        <p:txBody>
          <a:bodyPr lIns="72000" tIns="288000" rIns="72000"/>
          <a:lstStyle>
            <a:lvl1pPr>
              <a:defRPr sz="1600"/>
            </a:lvl1pPr>
            <a:lvl2pPr>
              <a:defRPr sz="1600"/>
            </a:lvl2pPr>
            <a:lvl3pPr>
              <a:defRPr sz="1600"/>
            </a:lvl3pPr>
            <a:lvl4pPr>
              <a:defRPr sz="1600"/>
            </a:lvl4pPr>
            <a:lvl5pPr>
              <a:defRPr sz="16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17" name="Tijdelijke aanduiding voor tekst 9">
            <a:extLst>
              <a:ext uri="{FF2B5EF4-FFF2-40B4-BE49-F238E27FC236}">
                <a16:creationId xmlns:a16="http://schemas.microsoft.com/office/drawing/2014/main" id="{FA5263FC-52AF-4B41-B9E2-8646A7426720}"/>
              </a:ext>
            </a:extLst>
          </p:cNvPr>
          <p:cNvSpPr>
            <a:spLocks noGrp="1"/>
          </p:cNvSpPr>
          <p:nvPr>
            <p:ph type="body" sz="quarter" idx="20"/>
          </p:nvPr>
        </p:nvSpPr>
        <p:spPr>
          <a:xfrm>
            <a:off x="4375103" y="2495374"/>
            <a:ext cx="3441700" cy="3382612"/>
          </a:xfrm>
          <a:ln>
            <a:solidFill>
              <a:schemeClr val="accent1"/>
            </a:solidFill>
          </a:ln>
        </p:spPr>
        <p:txBody>
          <a:bodyPr lIns="72000" tIns="288000" rIns="72000"/>
          <a:lstStyle>
            <a:lvl1pPr>
              <a:defRPr sz="1600"/>
            </a:lvl1pPr>
            <a:lvl2pPr>
              <a:defRPr sz="1600"/>
            </a:lvl2pPr>
            <a:lvl3pPr>
              <a:defRPr sz="1600"/>
            </a:lvl3pPr>
            <a:lvl4pPr>
              <a:defRPr sz="1600"/>
            </a:lvl4pPr>
            <a:lvl5pPr>
              <a:defRPr sz="16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18" name="Tijdelijke aanduiding voor tekst 9">
            <a:extLst>
              <a:ext uri="{FF2B5EF4-FFF2-40B4-BE49-F238E27FC236}">
                <a16:creationId xmlns:a16="http://schemas.microsoft.com/office/drawing/2014/main" id="{492614B2-9824-40F5-8714-52933A386792}"/>
              </a:ext>
            </a:extLst>
          </p:cNvPr>
          <p:cNvSpPr>
            <a:spLocks noGrp="1"/>
          </p:cNvSpPr>
          <p:nvPr>
            <p:ph type="body" sz="quarter" idx="21"/>
          </p:nvPr>
        </p:nvSpPr>
        <p:spPr>
          <a:xfrm>
            <a:off x="8174571" y="2495374"/>
            <a:ext cx="3441700" cy="3382612"/>
          </a:xfrm>
          <a:ln>
            <a:solidFill>
              <a:schemeClr val="accent1"/>
            </a:solidFill>
          </a:ln>
        </p:spPr>
        <p:txBody>
          <a:bodyPr lIns="72000" tIns="288000" rIns="72000"/>
          <a:lstStyle>
            <a:lvl1pPr>
              <a:defRPr sz="1600"/>
            </a:lvl1pPr>
            <a:lvl2pPr>
              <a:defRPr sz="1600"/>
            </a:lvl2pPr>
            <a:lvl3pPr>
              <a:defRPr sz="1600"/>
            </a:lvl3pPr>
            <a:lvl4pPr>
              <a:defRPr sz="1600"/>
            </a:lvl4pPr>
            <a:lvl5pPr>
              <a:defRPr sz="16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2" name="Title 1"/>
          <p:cNvSpPr>
            <a:spLocks noGrp="1"/>
          </p:cNvSpPr>
          <p:nvPr>
            <p:ph type="title" hasCustomPrompt="1"/>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D9CC4E6-A4E4-4BB6-9F79-35D77AB1CC5A}" type="datetime1">
              <a:rPr lang="en-US" smtClean="0"/>
              <a:t>4/18/2025</a:t>
            </a:fld>
            <a:endParaRPr lang="en-US"/>
          </a:p>
        </p:txBody>
      </p:sp>
      <p:sp>
        <p:nvSpPr>
          <p:cNvPr id="5" name="Footer Placeholder 4"/>
          <p:cNvSpPr>
            <a:spLocks noGrp="1"/>
          </p:cNvSpPr>
          <p:nvPr>
            <p:ph type="ftr" sz="quarter" idx="11"/>
          </p:nvPr>
        </p:nvSpPr>
        <p:spPr/>
        <p:txBody>
          <a:bodyPr/>
          <a:lstStyle/>
          <a:p>
            <a:r>
              <a:rPr lang="en-US"/>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sp>
        <p:nvSpPr>
          <p:cNvPr id="14" name="Tijdelijke aanduiding voor tekst 13">
            <a:extLst>
              <a:ext uri="{FF2B5EF4-FFF2-40B4-BE49-F238E27FC236}">
                <a16:creationId xmlns:a16="http://schemas.microsoft.com/office/drawing/2014/main" id="{CE04E62B-DFE8-49C6-BCEC-A19BF0599890}"/>
              </a:ext>
            </a:extLst>
          </p:cNvPr>
          <p:cNvSpPr>
            <a:spLocks noGrp="1"/>
          </p:cNvSpPr>
          <p:nvPr>
            <p:ph type="body" sz="quarter" idx="16" hasCustomPrompt="1"/>
          </p:nvPr>
        </p:nvSpPr>
        <p:spPr>
          <a:xfrm>
            <a:off x="575732" y="1881239"/>
            <a:ext cx="34416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a:ln>
            <a:solidFill>
              <a:schemeClr val="accent1"/>
            </a:solidFill>
          </a:ln>
        </p:spPr>
        <p:txBody>
          <a:bodyPr wrap="square" anchor="ctr" anchorCtr="0">
            <a:noAutofit/>
          </a:bodyPr>
          <a:lstStyle>
            <a:lvl1pPr marL="0" indent="0" algn="ctr">
              <a:buNone/>
              <a:defRPr>
                <a:solidFill>
                  <a:schemeClr val="bg1"/>
                </a:solidFill>
              </a:defRPr>
            </a:lvl1pPr>
          </a:lstStyle>
          <a:p>
            <a:pPr lvl="0"/>
            <a:r>
              <a:rPr lang="nl-NL"/>
              <a:t>text</a:t>
            </a:r>
          </a:p>
        </p:txBody>
      </p:sp>
      <p:sp>
        <p:nvSpPr>
          <p:cNvPr id="15" name="Tijdelijke aanduiding voor tekst 14">
            <a:extLst>
              <a:ext uri="{FF2B5EF4-FFF2-40B4-BE49-F238E27FC236}">
                <a16:creationId xmlns:a16="http://schemas.microsoft.com/office/drawing/2014/main" id="{93339D03-BA0D-439C-9AE3-76BF835F80BC}"/>
              </a:ext>
            </a:extLst>
          </p:cNvPr>
          <p:cNvSpPr>
            <a:spLocks noGrp="1"/>
          </p:cNvSpPr>
          <p:nvPr>
            <p:ph type="body" sz="quarter" idx="17" hasCustomPrompt="1"/>
          </p:nvPr>
        </p:nvSpPr>
        <p:spPr>
          <a:xfrm>
            <a:off x="4375201" y="1881239"/>
            <a:ext cx="34416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a:ln>
            <a:solidFill>
              <a:schemeClr val="accent1"/>
            </a:solidFill>
          </a:ln>
        </p:spPr>
        <p:txBody>
          <a:bodyPr wrap="square" anchor="ctr" anchorCtr="0">
            <a:noAutofit/>
          </a:bodyPr>
          <a:lstStyle>
            <a:lvl1pPr marL="0" indent="0" algn="ctr">
              <a:buNone/>
              <a:defRPr>
                <a:solidFill>
                  <a:schemeClr val="bg1"/>
                </a:solidFill>
              </a:defRPr>
            </a:lvl1pPr>
          </a:lstStyle>
          <a:p>
            <a:pPr lvl="0"/>
            <a:r>
              <a:rPr lang="nl-NL"/>
              <a:t>text</a:t>
            </a:r>
          </a:p>
        </p:txBody>
      </p:sp>
      <p:sp>
        <p:nvSpPr>
          <p:cNvPr id="16" name="Tijdelijke aanduiding voor tekst 15">
            <a:extLst>
              <a:ext uri="{FF2B5EF4-FFF2-40B4-BE49-F238E27FC236}">
                <a16:creationId xmlns:a16="http://schemas.microsoft.com/office/drawing/2014/main" id="{93DBC742-8E58-4623-A40E-7D2DB102CDAF}"/>
              </a:ext>
            </a:extLst>
          </p:cNvPr>
          <p:cNvSpPr>
            <a:spLocks noGrp="1"/>
          </p:cNvSpPr>
          <p:nvPr>
            <p:ph type="body" sz="quarter" idx="18" hasCustomPrompt="1"/>
          </p:nvPr>
        </p:nvSpPr>
        <p:spPr>
          <a:xfrm>
            <a:off x="8174669" y="1881239"/>
            <a:ext cx="34416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a:ln>
            <a:solidFill>
              <a:schemeClr val="accent1"/>
            </a:solidFill>
          </a:ln>
        </p:spPr>
        <p:txBody>
          <a:bodyPr wrap="square" anchor="ctr" anchorCtr="0">
            <a:noAutofit/>
          </a:bodyPr>
          <a:lstStyle>
            <a:lvl1pPr marL="0" indent="0" algn="ctr">
              <a:buNone/>
              <a:defRPr>
                <a:solidFill>
                  <a:schemeClr val="bg1"/>
                </a:solidFill>
              </a:defRPr>
            </a:lvl1pPr>
          </a:lstStyle>
          <a:p>
            <a:pPr lvl="0"/>
            <a:r>
              <a:rPr lang="nl-NL"/>
              <a:t>text</a:t>
            </a:r>
          </a:p>
        </p:txBody>
      </p:sp>
    </p:spTree>
    <p:extLst>
      <p:ext uri="{BB962C8B-B14F-4D97-AF65-F5344CB8AC3E}">
        <p14:creationId xmlns:p14="http://schemas.microsoft.com/office/powerpoint/2010/main" val="1369063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itle, 4 text boxes and text">
    <p:spTree>
      <p:nvGrpSpPr>
        <p:cNvPr id="1" name=""/>
        <p:cNvGrpSpPr/>
        <p:nvPr/>
      </p:nvGrpSpPr>
      <p:grpSpPr>
        <a:xfrm>
          <a:off x="0" y="0"/>
          <a:ext cx="0" cy="0"/>
          <a:chOff x="0" y="0"/>
          <a:chExt cx="0" cy="0"/>
        </a:xfrm>
      </p:grpSpPr>
      <p:sp>
        <p:nvSpPr>
          <p:cNvPr id="18" name="Tijdelijke aanduiding voor tekst 9">
            <a:extLst>
              <a:ext uri="{FF2B5EF4-FFF2-40B4-BE49-F238E27FC236}">
                <a16:creationId xmlns:a16="http://schemas.microsoft.com/office/drawing/2014/main" id="{B1DBF5D7-C132-40CC-A85A-C82D8B39A011}"/>
              </a:ext>
            </a:extLst>
          </p:cNvPr>
          <p:cNvSpPr>
            <a:spLocks noGrp="1"/>
          </p:cNvSpPr>
          <p:nvPr>
            <p:ph type="body" sz="quarter" idx="19"/>
          </p:nvPr>
        </p:nvSpPr>
        <p:spPr>
          <a:xfrm>
            <a:off x="575733" y="2495374"/>
            <a:ext cx="2568000" cy="3382612"/>
          </a:xfrm>
          <a:ln>
            <a:solidFill>
              <a:schemeClr val="accent1"/>
            </a:solidFill>
          </a:ln>
        </p:spPr>
        <p:txBody>
          <a:bodyPr lIns="72000" tIns="288000" rIns="72000"/>
          <a:lstStyle>
            <a:lvl1pPr>
              <a:defRPr sz="1600"/>
            </a:lvl1pPr>
            <a:lvl2pPr>
              <a:defRPr sz="1600"/>
            </a:lvl2pPr>
            <a:lvl3pPr>
              <a:defRPr sz="1600"/>
            </a:lvl3pPr>
            <a:lvl4pPr>
              <a:defRPr sz="1600"/>
            </a:lvl4pPr>
            <a:lvl5pPr>
              <a:defRPr sz="16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19" name="Tijdelijke aanduiding voor tekst 9">
            <a:extLst>
              <a:ext uri="{FF2B5EF4-FFF2-40B4-BE49-F238E27FC236}">
                <a16:creationId xmlns:a16="http://schemas.microsoft.com/office/drawing/2014/main" id="{AEA49228-3077-4774-B49B-014998EF6753}"/>
              </a:ext>
            </a:extLst>
          </p:cNvPr>
          <p:cNvSpPr>
            <a:spLocks noGrp="1"/>
          </p:cNvSpPr>
          <p:nvPr>
            <p:ph type="body" sz="quarter" idx="22"/>
          </p:nvPr>
        </p:nvSpPr>
        <p:spPr>
          <a:xfrm>
            <a:off x="3399911" y="2495374"/>
            <a:ext cx="2568000" cy="3382612"/>
          </a:xfrm>
          <a:ln>
            <a:solidFill>
              <a:schemeClr val="accent1"/>
            </a:solidFill>
          </a:ln>
        </p:spPr>
        <p:txBody>
          <a:bodyPr lIns="72000" tIns="288000" rIns="72000"/>
          <a:lstStyle>
            <a:lvl1pPr>
              <a:defRPr sz="1600"/>
            </a:lvl1pPr>
            <a:lvl2pPr>
              <a:defRPr sz="1600"/>
            </a:lvl2pPr>
            <a:lvl3pPr>
              <a:defRPr sz="1600"/>
            </a:lvl3pPr>
            <a:lvl4pPr>
              <a:defRPr sz="1600"/>
            </a:lvl4pPr>
            <a:lvl5pPr>
              <a:defRPr sz="16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20" name="Tijdelijke aanduiding voor tekst 9">
            <a:extLst>
              <a:ext uri="{FF2B5EF4-FFF2-40B4-BE49-F238E27FC236}">
                <a16:creationId xmlns:a16="http://schemas.microsoft.com/office/drawing/2014/main" id="{182BA976-3733-49B5-B0A3-2E4CA89FDBE2}"/>
              </a:ext>
            </a:extLst>
          </p:cNvPr>
          <p:cNvSpPr>
            <a:spLocks noGrp="1"/>
          </p:cNvSpPr>
          <p:nvPr>
            <p:ph type="body" sz="quarter" idx="23"/>
          </p:nvPr>
        </p:nvSpPr>
        <p:spPr>
          <a:xfrm>
            <a:off x="6224088" y="2495374"/>
            <a:ext cx="2568000" cy="3382612"/>
          </a:xfrm>
          <a:ln>
            <a:solidFill>
              <a:schemeClr val="accent1"/>
            </a:solidFill>
          </a:ln>
        </p:spPr>
        <p:txBody>
          <a:bodyPr lIns="72000" tIns="288000" rIns="72000"/>
          <a:lstStyle>
            <a:lvl1pPr>
              <a:defRPr sz="1600"/>
            </a:lvl1pPr>
            <a:lvl2pPr>
              <a:defRPr sz="1600"/>
            </a:lvl2pPr>
            <a:lvl3pPr>
              <a:defRPr sz="1600"/>
            </a:lvl3pPr>
            <a:lvl4pPr>
              <a:defRPr sz="1600"/>
            </a:lvl4pPr>
            <a:lvl5pPr>
              <a:defRPr sz="16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21" name="Tijdelijke aanduiding voor tekst 9">
            <a:extLst>
              <a:ext uri="{FF2B5EF4-FFF2-40B4-BE49-F238E27FC236}">
                <a16:creationId xmlns:a16="http://schemas.microsoft.com/office/drawing/2014/main" id="{732CF53A-4EE3-4F44-B459-A6EACF01AA0E}"/>
              </a:ext>
            </a:extLst>
          </p:cNvPr>
          <p:cNvSpPr>
            <a:spLocks noGrp="1"/>
          </p:cNvSpPr>
          <p:nvPr>
            <p:ph type="body" sz="quarter" idx="24"/>
          </p:nvPr>
        </p:nvSpPr>
        <p:spPr>
          <a:xfrm>
            <a:off x="9048265" y="2495374"/>
            <a:ext cx="2568000" cy="3382612"/>
          </a:xfrm>
          <a:ln>
            <a:solidFill>
              <a:schemeClr val="accent1"/>
            </a:solidFill>
          </a:ln>
        </p:spPr>
        <p:txBody>
          <a:bodyPr lIns="72000" tIns="288000" rIns="72000"/>
          <a:lstStyle>
            <a:lvl1pPr>
              <a:defRPr sz="1600"/>
            </a:lvl1pPr>
            <a:lvl2pPr>
              <a:defRPr sz="1600"/>
            </a:lvl2pPr>
            <a:lvl3pPr>
              <a:defRPr sz="1600"/>
            </a:lvl3pPr>
            <a:lvl4pPr>
              <a:defRPr sz="1600"/>
            </a:lvl4pPr>
            <a:lvl5pPr>
              <a:defRPr sz="16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2" name="Title 1"/>
          <p:cNvSpPr>
            <a:spLocks noGrp="1"/>
          </p:cNvSpPr>
          <p:nvPr>
            <p:ph type="title" hasCustomPrompt="1"/>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D9CC4E6-A4E4-4BB6-9F79-35D77AB1CC5A}" type="datetime1">
              <a:rPr lang="en-US" smtClean="0"/>
              <a:t>4/18/2025</a:t>
            </a:fld>
            <a:endParaRPr lang="en-US"/>
          </a:p>
        </p:txBody>
      </p:sp>
      <p:sp>
        <p:nvSpPr>
          <p:cNvPr id="5" name="Footer Placeholder 4"/>
          <p:cNvSpPr>
            <a:spLocks noGrp="1"/>
          </p:cNvSpPr>
          <p:nvPr>
            <p:ph type="ftr" sz="quarter" idx="11"/>
          </p:nvPr>
        </p:nvSpPr>
        <p:spPr/>
        <p:txBody>
          <a:bodyPr/>
          <a:lstStyle/>
          <a:p>
            <a:r>
              <a:rPr lang="en-US"/>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sp>
        <p:nvSpPr>
          <p:cNvPr id="14" name="Tijdelijke aanduiding voor tekst 13">
            <a:extLst>
              <a:ext uri="{FF2B5EF4-FFF2-40B4-BE49-F238E27FC236}">
                <a16:creationId xmlns:a16="http://schemas.microsoft.com/office/drawing/2014/main" id="{CE04E62B-DFE8-49C6-BCEC-A19BF0599890}"/>
              </a:ext>
            </a:extLst>
          </p:cNvPr>
          <p:cNvSpPr>
            <a:spLocks noGrp="1"/>
          </p:cNvSpPr>
          <p:nvPr>
            <p:ph type="body" sz="quarter" idx="16" hasCustomPrompt="1"/>
          </p:nvPr>
        </p:nvSpPr>
        <p:spPr>
          <a:xfrm>
            <a:off x="575732" y="1881239"/>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a:ln>
            <a:solidFill>
              <a:schemeClr val="accent1"/>
            </a:solidFill>
          </a:ln>
        </p:spPr>
        <p:txBody>
          <a:bodyPr wrap="square" anchor="ctr" anchorCtr="0">
            <a:noAutofit/>
          </a:bodyPr>
          <a:lstStyle>
            <a:lvl1pPr marL="0" indent="0" algn="ctr">
              <a:buNone/>
              <a:defRPr>
                <a:solidFill>
                  <a:schemeClr val="bg1"/>
                </a:solidFill>
              </a:defRPr>
            </a:lvl1pPr>
          </a:lstStyle>
          <a:p>
            <a:pPr lvl="0"/>
            <a:r>
              <a:rPr lang="nl-NL"/>
              <a:t>text</a:t>
            </a:r>
          </a:p>
        </p:txBody>
      </p:sp>
      <p:sp>
        <p:nvSpPr>
          <p:cNvPr id="15" name="Tijdelijke aanduiding voor tekst 14">
            <a:extLst>
              <a:ext uri="{FF2B5EF4-FFF2-40B4-BE49-F238E27FC236}">
                <a16:creationId xmlns:a16="http://schemas.microsoft.com/office/drawing/2014/main" id="{93339D03-BA0D-439C-9AE3-76BF835F80BC}"/>
              </a:ext>
            </a:extLst>
          </p:cNvPr>
          <p:cNvSpPr>
            <a:spLocks noGrp="1"/>
          </p:cNvSpPr>
          <p:nvPr>
            <p:ph type="body" sz="quarter" idx="17" hasCustomPrompt="1"/>
          </p:nvPr>
        </p:nvSpPr>
        <p:spPr>
          <a:xfrm>
            <a:off x="3399909" y="1881239"/>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a:ln>
            <a:solidFill>
              <a:schemeClr val="accent1"/>
            </a:solidFill>
          </a:ln>
        </p:spPr>
        <p:txBody>
          <a:bodyPr wrap="square" anchor="ctr" anchorCtr="0">
            <a:noAutofit/>
          </a:bodyPr>
          <a:lstStyle>
            <a:lvl1pPr marL="0" indent="0" algn="ctr">
              <a:buNone/>
              <a:defRPr>
                <a:solidFill>
                  <a:schemeClr val="bg1"/>
                </a:solidFill>
              </a:defRPr>
            </a:lvl1pPr>
          </a:lstStyle>
          <a:p>
            <a:pPr lvl="0"/>
            <a:r>
              <a:rPr lang="nl-NL"/>
              <a:t>text</a:t>
            </a:r>
          </a:p>
        </p:txBody>
      </p:sp>
      <p:sp>
        <p:nvSpPr>
          <p:cNvPr id="16" name="Tijdelijke aanduiding voor tekst 15">
            <a:extLst>
              <a:ext uri="{FF2B5EF4-FFF2-40B4-BE49-F238E27FC236}">
                <a16:creationId xmlns:a16="http://schemas.microsoft.com/office/drawing/2014/main" id="{93DBC742-8E58-4623-A40E-7D2DB102CDAF}"/>
              </a:ext>
            </a:extLst>
          </p:cNvPr>
          <p:cNvSpPr>
            <a:spLocks noGrp="1"/>
          </p:cNvSpPr>
          <p:nvPr>
            <p:ph type="body" sz="quarter" idx="18" hasCustomPrompt="1"/>
          </p:nvPr>
        </p:nvSpPr>
        <p:spPr>
          <a:xfrm>
            <a:off x="6224087" y="1881239"/>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a:ln>
            <a:solidFill>
              <a:schemeClr val="accent1"/>
            </a:solidFill>
          </a:ln>
        </p:spPr>
        <p:txBody>
          <a:bodyPr wrap="square" anchor="ctr" anchorCtr="0">
            <a:noAutofit/>
          </a:bodyPr>
          <a:lstStyle>
            <a:lvl1pPr marL="0" indent="0" algn="ctr">
              <a:buNone/>
              <a:defRPr>
                <a:solidFill>
                  <a:schemeClr val="bg1"/>
                </a:solidFill>
              </a:defRPr>
            </a:lvl1pPr>
          </a:lstStyle>
          <a:p>
            <a:pPr lvl="0"/>
            <a:r>
              <a:rPr lang="nl-NL"/>
              <a:t>text</a:t>
            </a:r>
          </a:p>
        </p:txBody>
      </p:sp>
      <p:sp>
        <p:nvSpPr>
          <p:cNvPr id="17" name="Tijdelijke aanduiding voor tekst 16">
            <a:extLst>
              <a:ext uri="{FF2B5EF4-FFF2-40B4-BE49-F238E27FC236}">
                <a16:creationId xmlns:a16="http://schemas.microsoft.com/office/drawing/2014/main" id="{8B53FD86-423F-4F36-AC16-3D6CA052A00B}"/>
              </a:ext>
            </a:extLst>
          </p:cNvPr>
          <p:cNvSpPr>
            <a:spLocks noGrp="1"/>
          </p:cNvSpPr>
          <p:nvPr>
            <p:ph type="body" sz="quarter" idx="21" hasCustomPrompt="1"/>
          </p:nvPr>
        </p:nvSpPr>
        <p:spPr>
          <a:xfrm>
            <a:off x="9048265" y="1881239"/>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a:ln>
            <a:solidFill>
              <a:schemeClr val="accent1"/>
            </a:solidFill>
          </a:ln>
        </p:spPr>
        <p:txBody>
          <a:bodyPr wrap="square" anchor="ctr" anchorCtr="0">
            <a:noAutofit/>
          </a:bodyPr>
          <a:lstStyle>
            <a:lvl1pPr marL="0" indent="0" algn="ctr">
              <a:buNone/>
              <a:defRPr>
                <a:solidFill>
                  <a:schemeClr val="bg1"/>
                </a:solidFill>
              </a:defRPr>
            </a:lvl1pPr>
          </a:lstStyle>
          <a:p>
            <a:pPr lvl="0"/>
            <a:r>
              <a:rPr lang="nl-NL"/>
              <a:t>text</a:t>
            </a:r>
          </a:p>
        </p:txBody>
      </p:sp>
    </p:spTree>
    <p:extLst>
      <p:ext uri="{BB962C8B-B14F-4D97-AF65-F5344CB8AC3E}">
        <p14:creationId xmlns:p14="http://schemas.microsoft.com/office/powerpoint/2010/main" val="1206145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itle, 3 images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D9CC4E6-A4E4-4BB6-9F79-35D77AB1CC5A}" type="datetime1">
              <a:rPr lang="en-US" smtClean="0"/>
              <a:t>4/18/2025</a:t>
            </a:fld>
            <a:endParaRPr lang="en-US"/>
          </a:p>
        </p:txBody>
      </p:sp>
      <p:sp>
        <p:nvSpPr>
          <p:cNvPr id="5" name="Footer Placeholder 4"/>
          <p:cNvSpPr>
            <a:spLocks noGrp="1"/>
          </p:cNvSpPr>
          <p:nvPr>
            <p:ph type="ftr" sz="quarter" idx="11"/>
          </p:nvPr>
        </p:nvSpPr>
        <p:spPr/>
        <p:txBody>
          <a:bodyPr/>
          <a:lstStyle/>
          <a:p>
            <a:r>
              <a:rPr lang="en-US"/>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sp>
        <p:nvSpPr>
          <p:cNvPr id="7" name="Tijdelijke aanduiding voor afbeelding 7">
            <a:extLst>
              <a:ext uri="{FF2B5EF4-FFF2-40B4-BE49-F238E27FC236}">
                <a16:creationId xmlns:a16="http://schemas.microsoft.com/office/drawing/2014/main" id="{65B18880-82CC-4AC0-9FD4-73A347590E4A}"/>
              </a:ext>
            </a:extLst>
          </p:cNvPr>
          <p:cNvSpPr>
            <a:spLocks noGrp="1"/>
          </p:cNvSpPr>
          <p:nvPr>
            <p:ph type="pic" sz="quarter" idx="13" hasCustomPrompt="1"/>
          </p:nvPr>
        </p:nvSpPr>
        <p:spPr>
          <a:xfrm>
            <a:off x="575733" y="1881237"/>
            <a:ext cx="3441600" cy="2760000"/>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
        <p:nvSpPr>
          <p:cNvPr id="8" name="Tijdelijke aanduiding voor afbeelding 7">
            <a:extLst>
              <a:ext uri="{FF2B5EF4-FFF2-40B4-BE49-F238E27FC236}">
                <a16:creationId xmlns:a16="http://schemas.microsoft.com/office/drawing/2014/main" id="{F21877E9-C5B9-480D-8B19-E3F131AE2D94}"/>
              </a:ext>
            </a:extLst>
          </p:cNvPr>
          <p:cNvSpPr>
            <a:spLocks noGrp="1"/>
          </p:cNvSpPr>
          <p:nvPr>
            <p:ph type="pic" sz="quarter" idx="14" hasCustomPrompt="1"/>
          </p:nvPr>
        </p:nvSpPr>
        <p:spPr>
          <a:xfrm>
            <a:off x="4375201" y="1881237"/>
            <a:ext cx="3441600" cy="2760000"/>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
        <p:nvSpPr>
          <p:cNvPr id="9" name="Tijdelijke aanduiding voor afbeelding 7">
            <a:extLst>
              <a:ext uri="{FF2B5EF4-FFF2-40B4-BE49-F238E27FC236}">
                <a16:creationId xmlns:a16="http://schemas.microsoft.com/office/drawing/2014/main" id="{41A0AB49-F1DD-4324-B0FE-DC835BD3B2FB}"/>
              </a:ext>
            </a:extLst>
          </p:cNvPr>
          <p:cNvSpPr>
            <a:spLocks noGrp="1"/>
          </p:cNvSpPr>
          <p:nvPr>
            <p:ph type="pic" sz="quarter" idx="15" hasCustomPrompt="1"/>
          </p:nvPr>
        </p:nvSpPr>
        <p:spPr>
          <a:xfrm>
            <a:off x="8174669" y="1881237"/>
            <a:ext cx="3441600" cy="2760000"/>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
        <p:nvSpPr>
          <p:cNvPr id="14" name="Tijdelijke aanduiding voor tekst 13">
            <a:extLst>
              <a:ext uri="{FF2B5EF4-FFF2-40B4-BE49-F238E27FC236}">
                <a16:creationId xmlns:a16="http://schemas.microsoft.com/office/drawing/2014/main" id="{CE04E62B-DFE8-49C6-BCEC-A19BF0599890}"/>
              </a:ext>
            </a:extLst>
          </p:cNvPr>
          <p:cNvSpPr>
            <a:spLocks noGrp="1"/>
          </p:cNvSpPr>
          <p:nvPr>
            <p:ph type="body" sz="quarter" idx="16" hasCustomPrompt="1"/>
          </p:nvPr>
        </p:nvSpPr>
        <p:spPr>
          <a:xfrm>
            <a:off x="575732" y="4640556"/>
            <a:ext cx="34416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anchor="ctr" anchorCtr="0">
            <a:noAutofit/>
          </a:bodyPr>
          <a:lstStyle>
            <a:lvl1pPr marL="0" indent="0" algn="ctr">
              <a:buNone/>
              <a:defRPr>
                <a:solidFill>
                  <a:schemeClr val="bg1"/>
                </a:solidFill>
              </a:defRPr>
            </a:lvl1pPr>
          </a:lstStyle>
          <a:p>
            <a:pPr lvl="0"/>
            <a:r>
              <a:rPr lang="nl-NL"/>
              <a:t>text</a:t>
            </a:r>
          </a:p>
        </p:txBody>
      </p:sp>
      <p:sp>
        <p:nvSpPr>
          <p:cNvPr id="15" name="Tijdelijke aanduiding voor tekst 14">
            <a:extLst>
              <a:ext uri="{FF2B5EF4-FFF2-40B4-BE49-F238E27FC236}">
                <a16:creationId xmlns:a16="http://schemas.microsoft.com/office/drawing/2014/main" id="{93339D03-BA0D-439C-9AE3-76BF835F80BC}"/>
              </a:ext>
            </a:extLst>
          </p:cNvPr>
          <p:cNvSpPr>
            <a:spLocks noGrp="1"/>
          </p:cNvSpPr>
          <p:nvPr>
            <p:ph type="body" sz="quarter" idx="17" hasCustomPrompt="1"/>
          </p:nvPr>
        </p:nvSpPr>
        <p:spPr>
          <a:xfrm>
            <a:off x="4375201" y="4640556"/>
            <a:ext cx="34416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anchor="ctr" anchorCtr="0">
            <a:noAutofit/>
          </a:bodyPr>
          <a:lstStyle>
            <a:lvl1pPr marL="0" indent="0" algn="ctr">
              <a:buNone/>
              <a:defRPr>
                <a:solidFill>
                  <a:schemeClr val="bg1"/>
                </a:solidFill>
              </a:defRPr>
            </a:lvl1pPr>
          </a:lstStyle>
          <a:p>
            <a:pPr lvl="0"/>
            <a:r>
              <a:rPr lang="nl-NL"/>
              <a:t>text</a:t>
            </a:r>
          </a:p>
        </p:txBody>
      </p:sp>
      <p:sp>
        <p:nvSpPr>
          <p:cNvPr id="16" name="Tijdelijke aanduiding voor tekst 15">
            <a:extLst>
              <a:ext uri="{FF2B5EF4-FFF2-40B4-BE49-F238E27FC236}">
                <a16:creationId xmlns:a16="http://schemas.microsoft.com/office/drawing/2014/main" id="{93DBC742-8E58-4623-A40E-7D2DB102CDAF}"/>
              </a:ext>
            </a:extLst>
          </p:cNvPr>
          <p:cNvSpPr>
            <a:spLocks noGrp="1"/>
          </p:cNvSpPr>
          <p:nvPr>
            <p:ph type="body" sz="quarter" idx="18" hasCustomPrompt="1"/>
          </p:nvPr>
        </p:nvSpPr>
        <p:spPr>
          <a:xfrm>
            <a:off x="8174669" y="4640556"/>
            <a:ext cx="34416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anchor="ctr" anchorCtr="0">
            <a:noAutofit/>
          </a:bodyPr>
          <a:lstStyle>
            <a:lvl1pPr marL="0" indent="0" algn="ctr">
              <a:buNone/>
              <a:defRPr>
                <a:solidFill>
                  <a:schemeClr val="bg1"/>
                </a:solidFill>
              </a:defRPr>
            </a:lvl1pPr>
          </a:lstStyle>
          <a:p>
            <a:pPr lvl="0"/>
            <a:r>
              <a:rPr lang="nl-NL"/>
              <a:t>text</a:t>
            </a:r>
          </a:p>
        </p:txBody>
      </p:sp>
    </p:spTree>
    <p:extLst>
      <p:ext uri="{BB962C8B-B14F-4D97-AF65-F5344CB8AC3E}">
        <p14:creationId xmlns:p14="http://schemas.microsoft.com/office/powerpoint/2010/main" val="182497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itle, 4 images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D9CC4E6-A4E4-4BB6-9F79-35D77AB1CC5A}" type="datetime1">
              <a:rPr lang="en-US" smtClean="0"/>
              <a:t>4/18/2025</a:t>
            </a:fld>
            <a:endParaRPr lang="en-US"/>
          </a:p>
        </p:txBody>
      </p:sp>
      <p:sp>
        <p:nvSpPr>
          <p:cNvPr id="5" name="Footer Placeholder 4"/>
          <p:cNvSpPr>
            <a:spLocks noGrp="1"/>
          </p:cNvSpPr>
          <p:nvPr>
            <p:ph type="ftr" sz="quarter" idx="11"/>
          </p:nvPr>
        </p:nvSpPr>
        <p:spPr/>
        <p:txBody>
          <a:bodyPr/>
          <a:lstStyle/>
          <a:p>
            <a:r>
              <a:rPr lang="en-US"/>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sp>
        <p:nvSpPr>
          <p:cNvPr id="7" name="Tijdelijke aanduiding voor afbeelding 7">
            <a:extLst>
              <a:ext uri="{FF2B5EF4-FFF2-40B4-BE49-F238E27FC236}">
                <a16:creationId xmlns:a16="http://schemas.microsoft.com/office/drawing/2014/main" id="{65B18880-82CC-4AC0-9FD4-73A347590E4A}"/>
              </a:ext>
            </a:extLst>
          </p:cNvPr>
          <p:cNvSpPr>
            <a:spLocks noGrp="1"/>
          </p:cNvSpPr>
          <p:nvPr>
            <p:ph type="pic" sz="quarter" idx="13" hasCustomPrompt="1"/>
          </p:nvPr>
        </p:nvSpPr>
        <p:spPr>
          <a:xfrm>
            <a:off x="575733" y="1881237"/>
            <a:ext cx="2568000" cy="2760000"/>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
        <p:nvSpPr>
          <p:cNvPr id="8" name="Tijdelijke aanduiding voor afbeelding 7">
            <a:extLst>
              <a:ext uri="{FF2B5EF4-FFF2-40B4-BE49-F238E27FC236}">
                <a16:creationId xmlns:a16="http://schemas.microsoft.com/office/drawing/2014/main" id="{F21877E9-C5B9-480D-8B19-E3F131AE2D94}"/>
              </a:ext>
            </a:extLst>
          </p:cNvPr>
          <p:cNvSpPr>
            <a:spLocks noGrp="1"/>
          </p:cNvSpPr>
          <p:nvPr>
            <p:ph type="pic" sz="quarter" idx="14" hasCustomPrompt="1"/>
          </p:nvPr>
        </p:nvSpPr>
        <p:spPr>
          <a:xfrm>
            <a:off x="3399911" y="1881237"/>
            <a:ext cx="2568000" cy="2760000"/>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
        <p:nvSpPr>
          <p:cNvPr id="9" name="Tijdelijke aanduiding voor afbeelding 7">
            <a:extLst>
              <a:ext uri="{FF2B5EF4-FFF2-40B4-BE49-F238E27FC236}">
                <a16:creationId xmlns:a16="http://schemas.microsoft.com/office/drawing/2014/main" id="{41A0AB49-F1DD-4324-B0FE-DC835BD3B2FB}"/>
              </a:ext>
            </a:extLst>
          </p:cNvPr>
          <p:cNvSpPr>
            <a:spLocks noGrp="1"/>
          </p:cNvSpPr>
          <p:nvPr>
            <p:ph type="pic" sz="quarter" idx="15" hasCustomPrompt="1"/>
          </p:nvPr>
        </p:nvSpPr>
        <p:spPr>
          <a:xfrm>
            <a:off x="6224088" y="1881237"/>
            <a:ext cx="2568000" cy="2760000"/>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
        <p:nvSpPr>
          <p:cNvPr id="14" name="Tijdelijke aanduiding voor tekst 13">
            <a:extLst>
              <a:ext uri="{FF2B5EF4-FFF2-40B4-BE49-F238E27FC236}">
                <a16:creationId xmlns:a16="http://schemas.microsoft.com/office/drawing/2014/main" id="{CE04E62B-DFE8-49C6-BCEC-A19BF0599890}"/>
              </a:ext>
            </a:extLst>
          </p:cNvPr>
          <p:cNvSpPr>
            <a:spLocks noGrp="1"/>
          </p:cNvSpPr>
          <p:nvPr>
            <p:ph type="body" sz="quarter" idx="16" hasCustomPrompt="1"/>
          </p:nvPr>
        </p:nvSpPr>
        <p:spPr>
          <a:xfrm>
            <a:off x="575732" y="4640556"/>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anchor="ctr" anchorCtr="0">
            <a:noAutofit/>
          </a:bodyPr>
          <a:lstStyle>
            <a:lvl1pPr marL="0" indent="0" algn="ctr">
              <a:buNone/>
              <a:defRPr>
                <a:solidFill>
                  <a:schemeClr val="bg1"/>
                </a:solidFill>
              </a:defRPr>
            </a:lvl1pPr>
          </a:lstStyle>
          <a:p>
            <a:pPr lvl="0"/>
            <a:r>
              <a:rPr lang="nl-NL"/>
              <a:t>text</a:t>
            </a:r>
          </a:p>
        </p:txBody>
      </p:sp>
      <p:sp>
        <p:nvSpPr>
          <p:cNvPr id="15" name="Tijdelijke aanduiding voor tekst 14">
            <a:extLst>
              <a:ext uri="{FF2B5EF4-FFF2-40B4-BE49-F238E27FC236}">
                <a16:creationId xmlns:a16="http://schemas.microsoft.com/office/drawing/2014/main" id="{93339D03-BA0D-439C-9AE3-76BF835F80BC}"/>
              </a:ext>
            </a:extLst>
          </p:cNvPr>
          <p:cNvSpPr>
            <a:spLocks noGrp="1"/>
          </p:cNvSpPr>
          <p:nvPr>
            <p:ph type="body" sz="quarter" idx="17" hasCustomPrompt="1"/>
          </p:nvPr>
        </p:nvSpPr>
        <p:spPr>
          <a:xfrm>
            <a:off x="3399909" y="4640556"/>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anchor="ctr" anchorCtr="0">
            <a:noAutofit/>
          </a:bodyPr>
          <a:lstStyle>
            <a:lvl1pPr marL="0" indent="0" algn="ctr">
              <a:buNone/>
              <a:defRPr>
                <a:solidFill>
                  <a:schemeClr val="bg1"/>
                </a:solidFill>
              </a:defRPr>
            </a:lvl1pPr>
          </a:lstStyle>
          <a:p>
            <a:pPr lvl="0"/>
            <a:r>
              <a:rPr lang="nl-NL"/>
              <a:t>text</a:t>
            </a:r>
          </a:p>
        </p:txBody>
      </p:sp>
      <p:sp>
        <p:nvSpPr>
          <p:cNvPr id="16" name="Tijdelijke aanduiding voor tekst 15">
            <a:extLst>
              <a:ext uri="{FF2B5EF4-FFF2-40B4-BE49-F238E27FC236}">
                <a16:creationId xmlns:a16="http://schemas.microsoft.com/office/drawing/2014/main" id="{93DBC742-8E58-4623-A40E-7D2DB102CDAF}"/>
              </a:ext>
            </a:extLst>
          </p:cNvPr>
          <p:cNvSpPr>
            <a:spLocks noGrp="1"/>
          </p:cNvSpPr>
          <p:nvPr>
            <p:ph type="body" sz="quarter" idx="18" hasCustomPrompt="1"/>
          </p:nvPr>
        </p:nvSpPr>
        <p:spPr>
          <a:xfrm>
            <a:off x="6224087" y="4640556"/>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anchor="ctr" anchorCtr="0">
            <a:noAutofit/>
          </a:bodyPr>
          <a:lstStyle>
            <a:lvl1pPr marL="0" indent="0" algn="ctr">
              <a:buNone/>
              <a:defRPr>
                <a:solidFill>
                  <a:schemeClr val="bg1"/>
                </a:solidFill>
              </a:defRPr>
            </a:lvl1pPr>
          </a:lstStyle>
          <a:p>
            <a:pPr lvl="0"/>
            <a:r>
              <a:rPr lang="nl-NL"/>
              <a:t>text</a:t>
            </a:r>
          </a:p>
        </p:txBody>
      </p:sp>
      <p:sp>
        <p:nvSpPr>
          <p:cNvPr id="13" name="Tijdelijke aanduiding voor afbeelding 7">
            <a:extLst>
              <a:ext uri="{FF2B5EF4-FFF2-40B4-BE49-F238E27FC236}">
                <a16:creationId xmlns:a16="http://schemas.microsoft.com/office/drawing/2014/main" id="{9014C87B-4A9B-46A5-92E7-D035D3B01B50}"/>
              </a:ext>
            </a:extLst>
          </p:cNvPr>
          <p:cNvSpPr>
            <a:spLocks noGrp="1"/>
          </p:cNvSpPr>
          <p:nvPr>
            <p:ph type="pic" sz="quarter" idx="20" hasCustomPrompt="1"/>
          </p:nvPr>
        </p:nvSpPr>
        <p:spPr>
          <a:xfrm>
            <a:off x="9048265" y="1881237"/>
            <a:ext cx="2568000" cy="2760000"/>
          </a:xfrm>
          <a:solidFill>
            <a:schemeClr val="tx1">
              <a:lumMod val="20000"/>
              <a:lumOff val="80000"/>
            </a:schemeClr>
          </a:solidFill>
        </p:spPr>
        <p:txBody>
          <a:bodyPr/>
          <a:lstStyle>
            <a:lvl1pPr marL="0" indent="0" algn="ctr">
              <a:buNone/>
              <a:defRPr>
                <a:solidFill>
                  <a:schemeClr val="accent1"/>
                </a:solidFill>
              </a:defRPr>
            </a:lvl1pPr>
          </a:lstStyle>
          <a:p>
            <a:r>
              <a:rPr lang="en-US"/>
              <a:t>Image</a:t>
            </a:r>
          </a:p>
        </p:txBody>
      </p:sp>
      <p:sp>
        <p:nvSpPr>
          <p:cNvPr id="17" name="Tijdelijke aanduiding voor tekst 16">
            <a:extLst>
              <a:ext uri="{FF2B5EF4-FFF2-40B4-BE49-F238E27FC236}">
                <a16:creationId xmlns:a16="http://schemas.microsoft.com/office/drawing/2014/main" id="{8B53FD86-423F-4F36-AC16-3D6CA052A00B}"/>
              </a:ext>
            </a:extLst>
          </p:cNvPr>
          <p:cNvSpPr>
            <a:spLocks noGrp="1"/>
          </p:cNvSpPr>
          <p:nvPr>
            <p:ph type="body" sz="quarter" idx="21" hasCustomPrompt="1"/>
          </p:nvPr>
        </p:nvSpPr>
        <p:spPr>
          <a:xfrm>
            <a:off x="9048265" y="4640556"/>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anchor="ctr" anchorCtr="0">
            <a:noAutofit/>
          </a:bodyPr>
          <a:lstStyle>
            <a:lvl1pPr marL="0" indent="0" algn="ctr">
              <a:buNone/>
              <a:defRPr>
                <a:solidFill>
                  <a:schemeClr val="bg1"/>
                </a:solidFill>
              </a:defRPr>
            </a:lvl1pPr>
          </a:lstStyle>
          <a:p>
            <a:pPr lvl="0"/>
            <a:r>
              <a:rPr lang="nl-NL"/>
              <a:t>text</a:t>
            </a:r>
          </a:p>
        </p:txBody>
      </p:sp>
    </p:spTree>
    <p:extLst>
      <p:ext uri="{BB962C8B-B14F-4D97-AF65-F5344CB8AC3E}">
        <p14:creationId xmlns:p14="http://schemas.microsoft.com/office/powerpoint/2010/main" val="2588778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 EarlyLife - 3 ">
    <p:spTree>
      <p:nvGrpSpPr>
        <p:cNvPr id="1" name=""/>
        <p:cNvGrpSpPr/>
        <p:nvPr/>
      </p:nvGrpSpPr>
      <p:grpSpPr>
        <a:xfrm>
          <a:off x="0" y="0"/>
          <a:ext cx="0" cy="0"/>
          <a:chOff x="0" y="0"/>
          <a:chExt cx="0" cy="0"/>
        </a:xfrm>
      </p:grpSpPr>
      <p:pic>
        <p:nvPicPr>
          <p:cNvPr id="12" name="Picture Placeholder 12" descr="A picture containing graphical user interface&#10;&#10;Description automatically generated">
            <a:extLst>
              <a:ext uri="{FF2B5EF4-FFF2-40B4-BE49-F238E27FC236}">
                <a16:creationId xmlns:a16="http://schemas.microsoft.com/office/drawing/2014/main" id="{27C3A090-2F8D-454E-82E3-B8C823F27A2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4" name="Tijdelijke aanduiding voor tekst 17">
            <a:extLst>
              <a:ext uri="{FF2B5EF4-FFF2-40B4-BE49-F238E27FC236}">
                <a16:creationId xmlns:a16="http://schemas.microsoft.com/office/drawing/2014/main" id="{9ADBB5D2-3CBD-4936-A104-1503029A591F}"/>
              </a:ext>
            </a:extLst>
          </p:cNvPr>
          <p:cNvSpPr>
            <a:spLocks noGrp="1"/>
          </p:cNvSpPr>
          <p:nvPr>
            <p:ph type="body" sz="quarter" idx="18" hasCustomPrompt="1"/>
          </p:nvPr>
        </p:nvSpPr>
        <p:spPr>
          <a:xfrm>
            <a:off x="336554" y="1"/>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8002"/>
            <a:ext cx="3168000"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Subtitle</a:t>
            </a:r>
          </a:p>
        </p:txBody>
      </p:sp>
      <p:sp>
        <p:nvSpPr>
          <p:cNvPr id="11" name="Tijdelijke aanduiding voor tekst 21">
            <a:extLst>
              <a:ext uri="{FF2B5EF4-FFF2-40B4-BE49-F238E27FC236}">
                <a16:creationId xmlns:a16="http://schemas.microsoft.com/office/drawing/2014/main" id="{864B06FA-CA70-4595-8439-FEB797046608}"/>
              </a:ext>
            </a:extLst>
          </p:cNvPr>
          <p:cNvSpPr>
            <a:spLocks noGrp="1"/>
          </p:cNvSpPr>
          <p:nvPr>
            <p:ph type="body" sz="quarter" idx="19" hasCustomPrompt="1"/>
          </p:nvPr>
        </p:nvSpPr>
        <p:spPr>
          <a:xfrm>
            <a:off x="662400" y="374400"/>
            <a:ext cx="1737600" cy="1046400"/>
          </a:xfrm>
          <a:blipFill>
            <a:blip r:embed="rId3" cstate="print">
              <a:extLst>
                <a:ext uri="{28A0092B-C50C-407E-A947-70E740481C1C}">
                  <a14:useLocalDpi xmlns:a14="http://schemas.microsoft.com/office/drawing/2010/main" val="0"/>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en-GB"/>
              <a:t>.</a:t>
            </a:r>
          </a:p>
        </p:txBody>
      </p:sp>
      <p:grpSp>
        <p:nvGrpSpPr>
          <p:cNvPr id="10" name="Groep 9">
            <a:extLst>
              <a:ext uri="{FF2B5EF4-FFF2-40B4-BE49-F238E27FC236}">
                <a16:creationId xmlns:a16="http://schemas.microsoft.com/office/drawing/2014/main" id="{2D3B3783-BF87-416D-8312-A253A1630159}"/>
              </a:ext>
            </a:extLst>
          </p:cNvPr>
          <p:cNvGrpSpPr/>
          <p:nvPr userDrawn="1"/>
        </p:nvGrpSpPr>
        <p:grpSpPr>
          <a:xfrm>
            <a:off x="12262862" y="575999"/>
            <a:ext cx="1130143" cy="757167"/>
            <a:chOff x="9197145" y="1199569"/>
            <a:chExt cx="847607" cy="567875"/>
          </a:xfrm>
        </p:grpSpPr>
        <p:sp>
          <p:nvSpPr>
            <p:cNvPr id="16" name="Freeform 20">
              <a:extLst>
                <a:ext uri="{FF2B5EF4-FFF2-40B4-BE49-F238E27FC236}">
                  <a16:creationId xmlns:a16="http://schemas.microsoft.com/office/drawing/2014/main" id="{B92E4F29-1E59-41AA-8B6A-AB0CE0321FCD}"/>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8F013AE7-A940-4288-807D-4C6C090D30BE}"/>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1816002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showMasterSp="0" userDrawn="1">
  <p:cSld name="Title slide - EarlyLife - 2 ">
    <p:spTree>
      <p:nvGrpSpPr>
        <p:cNvPr id="1" name=""/>
        <p:cNvGrpSpPr/>
        <p:nvPr/>
      </p:nvGrpSpPr>
      <p:grpSpPr>
        <a:xfrm>
          <a:off x="0" y="0"/>
          <a:ext cx="0" cy="0"/>
          <a:chOff x="0" y="0"/>
          <a:chExt cx="0" cy="0"/>
        </a:xfrm>
      </p:grpSpPr>
      <p:pic>
        <p:nvPicPr>
          <p:cNvPr id="12" name="Picture Placeholder 6" descr="A picture containing outdoor&#10;&#10;Description automatically generated">
            <a:extLst>
              <a:ext uri="{FF2B5EF4-FFF2-40B4-BE49-F238E27FC236}">
                <a16:creationId xmlns:a16="http://schemas.microsoft.com/office/drawing/2014/main" id="{F917A6FA-E1F9-427E-8B31-F11188C601B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4" name="Tijdelijke aanduiding voor tekst 17">
            <a:extLst>
              <a:ext uri="{FF2B5EF4-FFF2-40B4-BE49-F238E27FC236}">
                <a16:creationId xmlns:a16="http://schemas.microsoft.com/office/drawing/2014/main" id="{3369DF5E-A601-452D-AD82-D126A0174EAF}"/>
              </a:ext>
            </a:extLst>
          </p:cNvPr>
          <p:cNvSpPr>
            <a:spLocks noGrp="1"/>
          </p:cNvSpPr>
          <p:nvPr>
            <p:ph type="body" sz="quarter" idx="18" hasCustomPrompt="1"/>
          </p:nvPr>
        </p:nvSpPr>
        <p:spPr>
          <a:xfrm>
            <a:off x="336553" y="0"/>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3" y="6536947"/>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3 FrieslandCampina Ingredients</a:t>
            </a:r>
          </a:p>
        </p:txBody>
      </p:sp>
      <p:sp>
        <p:nvSpPr>
          <p:cNvPr id="3" name="Subtitle 2"/>
          <p:cNvSpPr>
            <a:spLocks noGrp="1"/>
          </p:cNvSpPr>
          <p:nvPr>
            <p:ph type="subTitle" idx="1" hasCustomPrompt="1"/>
          </p:nvPr>
        </p:nvSpPr>
        <p:spPr>
          <a:xfrm>
            <a:off x="1007533" y="3885841"/>
            <a:ext cx="3168651" cy="429684"/>
          </a:xfrm>
        </p:spPr>
        <p:txBody>
          <a:bodyPr wrap="none" lIns="0">
            <a:noAutofit/>
          </a:bodyPr>
          <a:lstStyle>
            <a:lvl1pPr marL="0" indent="0" algn="l">
              <a:buNone/>
              <a:defRPr sz="1333"/>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Subtitle</a:t>
            </a:r>
          </a:p>
        </p:txBody>
      </p:sp>
      <p:sp>
        <p:nvSpPr>
          <p:cNvPr id="11" name="Tijdelijke aanduiding voor tekst 21">
            <a:extLst>
              <a:ext uri="{FF2B5EF4-FFF2-40B4-BE49-F238E27FC236}">
                <a16:creationId xmlns:a16="http://schemas.microsoft.com/office/drawing/2014/main" id="{864B06FA-CA70-4595-8439-FEB797046608}"/>
              </a:ext>
            </a:extLst>
          </p:cNvPr>
          <p:cNvSpPr>
            <a:spLocks noGrp="1"/>
          </p:cNvSpPr>
          <p:nvPr>
            <p:ph type="body" sz="quarter" idx="19" hasCustomPrompt="1"/>
          </p:nvPr>
        </p:nvSpPr>
        <p:spPr>
          <a:xfrm>
            <a:off x="662400" y="374400"/>
            <a:ext cx="1737600" cy="1046400"/>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33">
                <a:solidFill>
                  <a:schemeClr val="bg1">
                    <a:alpha val="80000"/>
                  </a:schemeClr>
                </a:solidFill>
              </a:defRPr>
            </a:lvl1pPr>
            <a:lvl2pPr marL="251878" indent="0">
              <a:buNone/>
              <a:defRPr/>
            </a:lvl2pPr>
            <a:lvl3pPr marL="486821" indent="0">
              <a:buNone/>
              <a:defRPr/>
            </a:lvl3pPr>
            <a:lvl4pPr marL="732348" indent="0">
              <a:buNone/>
              <a:defRPr/>
            </a:lvl4pPr>
            <a:lvl5pPr marL="967293" indent="0">
              <a:buNone/>
              <a:defRPr/>
            </a:lvl5pPr>
          </a:lstStyle>
          <a:p>
            <a:pPr lvl="0"/>
            <a:r>
              <a:rPr lang="en-GB"/>
              <a:t>.</a:t>
            </a:r>
          </a:p>
        </p:txBody>
      </p:sp>
      <p:grpSp>
        <p:nvGrpSpPr>
          <p:cNvPr id="10" name="Groep 9">
            <a:extLst>
              <a:ext uri="{FF2B5EF4-FFF2-40B4-BE49-F238E27FC236}">
                <a16:creationId xmlns:a16="http://schemas.microsoft.com/office/drawing/2014/main" id="{2D3B3783-BF87-416D-8312-A253A1630159}"/>
              </a:ext>
            </a:extLst>
          </p:cNvPr>
          <p:cNvGrpSpPr/>
          <p:nvPr userDrawn="1"/>
        </p:nvGrpSpPr>
        <p:grpSpPr>
          <a:xfrm>
            <a:off x="12262861" y="576000"/>
            <a:ext cx="1130143" cy="757167"/>
            <a:chOff x="9197145" y="1199569"/>
            <a:chExt cx="847607" cy="567875"/>
          </a:xfrm>
        </p:grpSpPr>
        <p:sp>
          <p:nvSpPr>
            <p:cNvPr id="16" name="Freeform 20">
              <a:extLst>
                <a:ext uri="{FF2B5EF4-FFF2-40B4-BE49-F238E27FC236}">
                  <a16:creationId xmlns:a16="http://schemas.microsoft.com/office/drawing/2014/main" id="{B92E4F29-1E59-41AA-8B6A-AB0CE0321FCD}"/>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8F013AE7-A940-4288-807D-4C6C090D30BE}"/>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1418139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 EarlyLife - 4">
    <p:spTree>
      <p:nvGrpSpPr>
        <p:cNvPr id="1" name=""/>
        <p:cNvGrpSpPr/>
        <p:nvPr/>
      </p:nvGrpSpPr>
      <p:grpSpPr>
        <a:xfrm>
          <a:off x="0" y="0"/>
          <a:ext cx="0" cy="0"/>
          <a:chOff x="0" y="0"/>
          <a:chExt cx="0" cy="0"/>
        </a:xfrm>
      </p:grpSpPr>
      <p:pic>
        <p:nvPicPr>
          <p:cNvPr id="14" name="Tijdelijke aanduiding voor afbeelding 6" descr="Afbeelding met vrouw&#10;&#10;Automatisch gegenereerde beschrijving">
            <a:extLst>
              <a:ext uri="{FF2B5EF4-FFF2-40B4-BE49-F238E27FC236}">
                <a16:creationId xmlns:a16="http://schemas.microsoft.com/office/drawing/2014/main" id="{6EBB7A92-5C59-47C2-8570-E6B780A6502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2" name="Tijdelijke aanduiding voor tekst 17">
            <a:extLst>
              <a:ext uri="{FF2B5EF4-FFF2-40B4-BE49-F238E27FC236}">
                <a16:creationId xmlns:a16="http://schemas.microsoft.com/office/drawing/2014/main" id="{E79216D0-F90F-40EA-829C-6188DE98A9A3}"/>
              </a:ext>
            </a:extLst>
          </p:cNvPr>
          <p:cNvSpPr>
            <a:spLocks noGrp="1"/>
          </p:cNvSpPr>
          <p:nvPr>
            <p:ph type="body" sz="quarter" idx="18" hasCustomPrompt="1"/>
          </p:nvPr>
        </p:nvSpPr>
        <p:spPr>
          <a:xfrm>
            <a:off x="336554" y="1"/>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2"/>
            <a:ext cx="3168651"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Subtitle</a:t>
            </a:r>
          </a:p>
        </p:txBody>
      </p:sp>
      <p:sp>
        <p:nvSpPr>
          <p:cNvPr id="11" name="Tijdelijke aanduiding voor tekst 21">
            <a:extLst>
              <a:ext uri="{FF2B5EF4-FFF2-40B4-BE49-F238E27FC236}">
                <a16:creationId xmlns:a16="http://schemas.microsoft.com/office/drawing/2014/main" id="{864B06FA-CA70-4595-8439-FEB797046608}"/>
              </a:ext>
            </a:extLst>
          </p:cNvPr>
          <p:cNvSpPr>
            <a:spLocks noGrp="1"/>
          </p:cNvSpPr>
          <p:nvPr>
            <p:ph type="body" sz="quarter" idx="19" hasCustomPrompt="1"/>
          </p:nvPr>
        </p:nvSpPr>
        <p:spPr>
          <a:xfrm>
            <a:off x="662400" y="374400"/>
            <a:ext cx="1737600" cy="1046400"/>
          </a:xfrm>
          <a:blipFill>
            <a:blip r:embed="rId3" cstate="print">
              <a:extLst>
                <a:ext uri="{28A0092B-C50C-407E-A947-70E740481C1C}">
                  <a14:useLocalDpi xmlns:a14="http://schemas.microsoft.com/office/drawing/2010/main" val="0"/>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en-GB"/>
              <a:t>.</a:t>
            </a:r>
          </a:p>
        </p:txBody>
      </p:sp>
      <p:grpSp>
        <p:nvGrpSpPr>
          <p:cNvPr id="10" name="Groep 9">
            <a:extLst>
              <a:ext uri="{FF2B5EF4-FFF2-40B4-BE49-F238E27FC236}">
                <a16:creationId xmlns:a16="http://schemas.microsoft.com/office/drawing/2014/main" id="{2D3B3783-BF87-416D-8312-A253A1630159}"/>
              </a:ext>
            </a:extLst>
          </p:cNvPr>
          <p:cNvGrpSpPr/>
          <p:nvPr userDrawn="1"/>
        </p:nvGrpSpPr>
        <p:grpSpPr>
          <a:xfrm>
            <a:off x="12262862" y="575999"/>
            <a:ext cx="1130143" cy="757167"/>
            <a:chOff x="9197145" y="1199569"/>
            <a:chExt cx="847607" cy="567875"/>
          </a:xfrm>
        </p:grpSpPr>
        <p:sp>
          <p:nvSpPr>
            <p:cNvPr id="16" name="Freeform 20">
              <a:extLst>
                <a:ext uri="{FF2B5EF4-FFF2-40B4-BE49-F238E27FC236}">
                  <a16:creationId xmlns:a16="http://schemas.microsoft.com/office/drawing/2014/main" id="{B92E4F29-1E59-41AA-8B6A-AB0CE0321FCD}"/>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8F013AE7-A940-4288-807D-4C6C090D30BE}"/>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559117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 EarlyLife - 5">
    <p:spTree>
      <p:nvGrpSpPr>
        <p:cNvPr id="1" name=""/>
        <p:cNvGrpSpPr/>
        <p:nvPr/>
      </p:nvGrpSpPr>
      <p:grpSpPr>
        <a:xfrm>
          <a:off x="0" y="0"/>
          <a:ext cx="0" cy="0"/>
          <a:chOff x="0" y="0"/>
          <a:chExt cx="0" cy="0"/>
        </a:xfrm>
      </p:grpSpPr>
      <p:pic>
        <p:nvPicPr>
          <p:cNvPr id="12" name="Tijdelijke aanduiding voor afbeelding 6">
            <a:extLst>
              <a:ext uri="{FF2B5EF4-FFF2-40B4-BE49-F238E27FC236}">
                <a16:creationId xmlns:a16="http://schemas.microsoft.com/office/drawing/2014/main" id="{62C5A7AF-EB24-4D48-AE42-4F1FB5B44225}"/>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a:fillRect/>
          </a:stretch>
        </p:blipFill>
        <p:spPr>
          <a:xfrm flipH="1">
            <a:off x="0" y="0"/>
            <a:ext cx="12192000" cy="6858000"/>
          </a:xfrm>
          <a:prstGeom prst="rect">
            <a:avLst/>
          </a:prstGeom>
        </p:spPr>
      </p:pic>
      <p:sp>
        <p:nvSpPr>
          <p:cNvPr id="14" name="Tijdelijke aanduiding voor tekst 17">
            <a:extLst>
              <a:ext uri="{FF2B5EF4-FFF2-40B4-BE49-F238E27FC236}">
                <a16:creationId xmlns:a16="http://schemas.microsoft.com/office/drawing/2014/main" id="{653624E7-643B-4F10-A014-6C20C5F24A7A}"/>
              </a:ext>
            </a:extLst>
          </p:cNvPr>
          <p:cNvSpPr>
            <a:spLocks noGrp="1"/>
          </p:cNvSpPr>
          <p:nvPr>
            <p:ph type="body" sz="quarter" idx="18" hasCustomPrompt="1"/>
          </p:nvPr>
        </p:nvSpPr>
        <p:spPr>
          <a:xfrm>
            <a:off x="336554" y="1"/>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2"/>
            <a:ext cx="3168651"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Subtitle</a:t>
            </a:r>
          </a:p>
        </p:txBody>
      </p:sp>
      <p:sp>
        <p:nvSpPr>
          <p:cNvPr id="11" name="Tijdelijke aanduiding voor tekst 21">
            <a:extLst>
              <a:ext uri="{FF2B5EF4-FFF2-40B4-BE49-F238E27FC236}">
                <a16:creationId xmlns:a16="http://schemas.microsoft.com/office/drawing/2014/main" id="{864B06FA-CA70-4595-8439-FEB797046608}"/>
              </a:ext>
            </a:extLst>
          </p:cNvPr>
          <p:cNvSpPr>
            <a:spLocks noGrp="1"/>
          </p:cNvSpPr>
          <p:nvPr>
            <p:ph type="body" sz="quarter" idx="19" hasCustomPrompt="1"/>
          </p:nvPr>
        </p:nvSpPr>
        <p:spPr>
          <a:xfrm>
            <a:off x="662400" y="374400"/>
            <a:ext cx="1737600" cy="1046400"/>
          </a:xfrm>
          <a:blipFill>
            <a:blip r:embed="rId3" cstate="print">
              <a:extLst>
                <a:ext uri="{28A0092B-C50C-407E-A947-70E740481C1C}">
                  <a14:useLocalDpi xmlns:a14="http://schemas.microsoft.com/office/drawing/2010/main" val="0"/>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en-GB"/>
              <a:t>.</a:t>
            </a:r>
          </a:p>
        </p:txBody>
      </p:sp>
      <p:grpSp>
        <p:nvGrpSpPr>
          <p:cNvPr id="10" name="Groep 9">
            <a:extLst>
              <a:ext uri="{FF2B5EF4-FFF2-40B4-BE49-F238E27FC236}">
                <a16:creationId xmlns:a16="http://schemas.microsoft.com/office/drawing/2014/main" id="{2D3B3783-BF87-416D-8312-A253A1630159}"/>
              </a:ext>
            </a:extLst>
          </p:cNvPr>
          <p:cNvGrpSpPr/>
          <p:nvPr userDrawn="1"/>
        </p:nvGrpSpPr>
        <p:grpSpPr>
          <a:xfrm>
            <a:off x="12262862" y="575999"/>
            <a:ext cx="1130143" cy="757167"/>
            <a:chOff x="9197145" y="1199569"/>
            <a:chExt cx="847607" cy="567875"/>
          </a:xfrm>
        </p:grpSpPr>
        <p:sp>
          <p:nvSpPr>
            <p:cNvPr id="16" name="Freeform 20">
              <a:extLst>
                <a:ext uri="{FF2B5EF4-FFF2-40B4-BE49-F238E27FC236}">
                  <a16:creationId xmlns:a16="http://schemas.microsoft.com/office/drawing/2014/main" id="{B92E4F29-1E59-41AA-8B6A-AB0CE0321FCD}"/>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8F013AE7-A940-4288-807D-4C6C090D30BE}"/>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2790055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 Active - 1 ">
    <p:spTree>
      <p:nvGrpSpPr>
        <p:cNvPr id="1" name=""/>
        <p:cNvGrpSpPr/>
        <p:nvPr/>
      </p:nvGrpSpPr>
      <p:grpSpPr>
        <a:xfrm>
          <a:off x="0" y="0"/>
          <a:ext cx="0" cy="0"/>
          <a:chOff x="0" y="0"/>
          <a:chExt cx="0" cy="0"/>
        </a:xfrm>
      </p:grpSpPr>
      <p:pic>
        <p:nvPicPr>
          <p:cNvPr id="14" name="Tijdelijke aanduiding voor afbeelding 6" descr="Afbeelding met binnen, muur&#10;&#10;Automatisch gegenereerde beschrijving">
            <a:extLst>
              <a:ext uri="{FF2B5EF4-FFF2-40B4-BE49-F238E27FC236}">
                <a16:creationId xmlns:a16="http://schemas.microsoft.com/office/drawing/2014/main" id="{3F0055B5-4F8F-4010-8BC1-28C25208941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1" name="Tijdelijke aanduiding voor tekst 17">
            <a:extLst>
              <a:ext uri="{FF2B5EF4-FFF2-40B4-BE49-F238E27FC236}">
                <a16:creationId xmlns:a16="http://schemas.microsoft.com/office/drawing/2014/main" id="{F2987DBE-F20D-4E14-8FBE-B884FFEC2C9F}"/>
              </a:ext>
            </a:extLst>
          </p:cNvPr>
          <p:cNvSpPr>
            <a:spLocks noGrp="1"/>
          </p:cNvSpPr>
          <p:nvPr>
            <p:ph type="body" sz="quarter" idx="18" hasCustomPrompt="1"/>
          </p:nvPr>
        </p:nvSpPr>
        <p:spPr>
          <a:xfrm>
            <a:off x="336554" y="1"/>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2"/>
            <a:ext cx="3168651"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Subtitle</a:t>
            </a:r>
          </a:p>
        </p:txBody>
      </p:sp>
      <p:grpSp>
        <p:nvGrpSpPr>
          <p:cNvPr id="15" name="Groep 14">
            <a:extLst>
              <a:ext uri="{FF2B5EF4-FFF2-40B4-BE49-F238E27FC236}">
                <a16:creationId xmlns:a16="http://schemas.microsoft.com/office/drawing/2014/main" id="{5719CCBA-0A8C-4DA3-A2BF-6F4EFD7ECA57}"/>
              </a:ext>
            </a:extLst>
          </p:cNvPr>
          <p:cNvGrpSpPr/>
          <p:nvPr userDrawn="1"/>
        </p:nvGrpSpPr>
        <p:grpSpPr>
          <a:xfrm>
            <a:off x="12262862" y="575999"/>
            <a:ext cx="1130143" cy="757167"/>
            <a:chOff x="9197145" y="1199569"/>
            <a:chExt cx="847607" cy="567875"/>
          </a:xfrm>
        </p:grpSpPr>
        <p:sp>
          <p:nvSpPr>
            <p:cNvPr id="16" name="Freeform 20">
              <a:extLst>
                <a:ext uri="{FF2B5EF4-FFF2-40B4-BE49-F238E27FC236}">
                  <a16:creationId xmlns:a16="http://schemas.microsoft.com/office/drawing/2014/main" id="{E613E7A1-9EE6-403B-A778-AAEC3C3F1F2D}"/>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C3750E03-2E3B-4B06-AEBC-30BD5F6674C9}"/>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
        <p:nvSpPr>
          <p:cNvPr id="10" name="Tijdelijke aanduiding voor tekst nw">
            <a:extLst>
              <a:ext uri="{FF2B5EF4-FFF2-40B4-BE49-F238E27FC236}">
                <a16:creationId xmlns:a16="http://schemas.microsoft.com/office/drawing/2014/main" id="{E435EC13-FDF2-4EC6-B669-C547E72F5F9C}"/>
              </a:ext>
            </a:extLst>
          </p:cNvPr>
          <p:cNvSpPr>
            <a:spLocks noGrp="1"/>
          </p:cNvSpPr>
          <p:nvPr>
            <p:ph type="body" sz="quarter" idx="19" hasCustomPrompt="1"/>
          </p:nvPr>
        </p:nvSpPr>
        <p:spPr>
          <a:xfrm>
            <a:off x="662400" y="374400"/>
            <a:ext cx="1737600" cy="1046400"/>
          </a:xfrm>
          <a:blipFill>
            <a:blip r:embed="rId3" cstate="print">
              <a:extLst>
                <a:ext uri="{28A0092B-C50C-407E-A947-70E740481C1C}">
                  <a14:useLocalDpi xmlns:a14="http://schemas.microsoft.com/office/drawing/2010/main" val="0"/>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en-GB"/>
              <a:t>.</a:t>
            </a:r>
          </a:p>
        </p:txBody>
      </p:sp>
    </p:spTree>
    <p:extLst>
      <p:ext uri="{BB962C8B-B14F-4D97-AF65-F5344CB8AC3E}">
        <p14:creationId xmlns:p14="http://schemas.microsoft.com/office/powerpoint/2010/main" val="1083868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 Active - 2">
    <p:spTree>
      <p:nvGrpSpPr>
        <p:cNvPr id="1" name=""/>
        <p:cNvGrpSpPr/>
        <p:nvPr/>
      </p:nvGrpSpPr>
      <p:grpSpPr>
        <a:xfrm>
          <a:off x="0" y="0"/>
          <a:ext cx="0" cy="0"/>
          <a:chOff x="0" y="0"/>
          <a:chExt cx="0" cy="0"/>
        </a:xfrm>
      </p:grpSpPr>
      <p:pic>
        <p:nvPicPr>
          <p:cNvPr id="10" name="Picture Placeholder 6" descr="A person and person sitting on a bench&#10;&#10;Description automatically generated with low confidence">
            <a:extLst>
              <a:ext uri="{FF2B5EF4-FFF2-40B4-BE49-F238E27FC236}">
                <a16:creationId xmlns:a16="http://schemas.microsoft.com/office/drawing/2014/main" id="{A13B8CCE-C87F-42F4-8FA1-028F5EEACA0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2" name="Tijdelijke aanduiding voor tekst 17">
            <a:extLst>
              <a:ext uri="{FF2B5EF4-FFF2-40B4-BE49-F238E27FC236}">
                <a16:creationId xmlns:a16="http://schemas.microsoft.com/office/drawing/2014/main" id="{A9DFDAC0-C70A-483A-A0B7-254638501253}"/>
              </a:ext>
            </a:extLst>
          </p:cNvPr>
          <p:cNvSpPr>
            <a:spLocks noGrp="1"/>
          </p:cNvSpPr>
          <p:nvPr>
            <p:ph type="body" sz="quarter" idx="18" hasCustomPrompt="1"/>
          </p:nvPr>
        </p:nvSpPr>
        <p:spPr>
          <a:xfrm>
            <a:off x="336554" y="1"/>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2"/>
            <a:ext cx="3168651"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Subtitle</a:t>
            </a:r>
          </a:p>
        </p:txBody>
      </p:sp>
      <p:sp>
        <p:nvSpPr>
          <p:cNvPr id="11" name="Tijdelijke aanduiding voor tekst 21">
            <a:extLst>
              <a:ext uri="{FF2B5EF4-FFF2-40B4-BE49-F238E27FC236}">
                <a16:creationId xmlns:a16="http://schemas.microsoft.com/office/drawing/2014/main" id="{864B06FA-CA70-4595-8439-FEB797046608}"/>
              </a:ext>
            </a:extLst>
          </p:cNvPr>
          <p:cNvSpPr>
            <a:spLocks noGrp="1"/>
          </p:cNvSpPr>
          <p:nvPr>
            <p:ph type="body" sz="quarter" idx="19" hasCustomPrompt="1"/>
          </p:nvPr>
        </p:nvSpPr>
        <p:spPr>
          <a:xfrm>
            <a:off x="662400" y="374400"/>
            <a:ext cx="1737600" cy="1046400"/>
          </a:xfrm>
          <a:blipFill>
            <a:blip r:embed="rId3" cstate="print">
              <a:extLst>
                <a:ext uri="{28A0092B-C50C-407E-A947-70E740481C1C}">
                  <a14:useLocalDpi xmlns:a14="http://schemas.microsoft.com/office/drawing/2010/main" val="0"/>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en-GB"/>
              <a:t>.</a:t>
            </a:r>
          </a:p>
        </p:txBody>
      </p:sp>
      <p:grpSp>
        <p:nvGrpSpPr>
          <p:cNvPr id="15" name="Groep 14">
            <a:extLst>
              <a:ext uri="{FF2B5EF4-FFF2-40B4-BE49-F238E27FC236}">
                <a16:creationId xmlns:a16="http://schemas.microsoft.com/office/drawing/2014/main" id="{26B582DD-85D3-4396-A1BD-1FE9E211CE2B}"/>
              </a:ext>
            </a:extLst>
          </p:cNvPr>
          <p:cNvGrpSpPr/>
          <p:nvPr userDrawn="1"/>
        </p:nvGrpSpPr>
        <p:grpSpPr>
          <a:xfrm>
            <a:off x="12262862" y="575999"/>
            <a:ext cx="1130143" cy="757167"/>
            <a:chOff x="9197145" y="1199569"/>
            <a:chExt cx="847607" cy="567875"/>
          </a:xfrm>
        </p:grpSpPr>
        <p:sp>
          <p:nvSpPr>
            <p:cNvPr id="16" name="Freeform 20">
              <a:extLst>
                <a:ext uri="{FF2B5EF4-FFF2-40B4-BE49-F238E27FC236}">
                  <a16:creationId xmlns:a16="http://schemas.microsoft.com/office/drawing/2014/main" id="{040EC359-9BDD-4775-A957-4137B57732A5}"/>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6F63FEC7-0371-4FD8-952D-795EC110286B}"/>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3084327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bject, image left - 2">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0F3BB73-0084-8DDE-2F79-82C947E633D0}"/>
              </a:ext>
            </a:extLst>
          </p:cNvPr>
          <p:cNvSpPr>
            <a:spLocks noGrp="1"/>
          </p:cNvSpPr>
          <p:nvPr>
            <p:ph type="pic" sz="quarter" idx="14"/>
          </p:nvPr>
        </p:nvSpPr>
        <p:spPr>
          <a:xfrm>
            <a:off x="580291" y="1701801"/>
            <a:ext cx="5515708" cy="4366684"/>
          </a:xfrm>
          <a:prstGeom prst="roundRect">
            <a:avLst>
              <a:gd name="adj" fmla="val 5981"/>
            </a:avLst>
          </a:prstGeom>
          <a:solidFill>
            <a:schemeClr val="tx1">
              <a:lumMod val="20000"/>
              <a:lumOff val="80000"/>
            </a:schemeClr>
          </a:solidFill>
        </p:spPr>
        <p:txBody>
          <a:bodyPr wrap="square" tIns="396000">
            <a:noAutofit/>
          </a:bodyPr>
          <a:lstStyle>
            <a:lvl1pPr marL="0" indent="0" algn="ctr">
              <a:buNone/>
              <a:defRPr/>
            </a:lvl1pPr>
          </a:lstStyle>
          <a:p>
            <a:r>
              <a:rPr lang="en-US"/>
              <a:t>Click icon to add picture</a:t>
            </a:r>
            <a:endParaRPr lang="en-GB"/>
          </a:p>
        </p:txBody>
      </p:sp>
      <p:sp>
        <p:nvSpPr>
          <p:cNvPr id="2" name="Title 1"/>
          <p:cNvSpPr>
            <a:spLocks noGrp="1"/>
          </p:cNvSpPr>
          <p:nvPr>
            <p:ph type="title" hasCustomPrompt="1"/>
          </p:nvPr>
        </p:nvSpPr>
        <p:spPr>
          <a:xfrm>
            <a:off x="580291" y="548218"/>
            <a:ext cx="11035975" cy="1036965"/>
          </a:xfrm>
        </p:spPr>
        <p:txBody>
          <a:bodyPr/>
          <a:lstStyle/>
          <a:p>
            <a:r>
              <a:rPr lang="en-GB"/>
              <a:t>Click to add title</a:t>
            </a:r>
          </a:p>
        </p:txBody>
      </p:sp>
      <p:sp>
        <p:nvSpPr>
          <p:cNvPr id="3" name="Content Placeholder 2"/>
          <p:cNvSpPr>
            <a:spLocks noGrp="1"/>
          </p:cNvSpPr>
          <p:nvPr>
            <p:ph idx="1" hasCustomPrompt="1"/>
          </p:nvPr>
        </p:nvSpPr>
        <p:spPr>
          <a:xfrm>
            <a:off x="6358462" y="1701801"/>
            <a:ext cx="5257804" cy="4366684"/>
          </a:xfrm>
        </p:spPr>
        <p:txBody>
          <a:bodyPr/>
          <a:lstStyle/>
          <a:p>
            <a:pPr lvl="0"/>
            <a:r>
              <a:rPr lang="en-GB"/>
              <a:t>Click to add text or object</a:t>
            </a:r>
          </a:p>
          <a:p>
            <a:pPr lvl="1"/>
            <a:r>
              <a:rPr lang="en-GB"/>
              <a:t>Text level 2</a:t>
            </a:r>
          </a:p>
          <a:p>
            <a:pPr lvl="2"/>
            <a:r>
              <a:rPr lang="en-GB"/>
              <a:t>Text level 3</a:t>
            </a:r>
          </a:p>
          <a:p>
            <a:pPr lvl="3"/>
            <a:r>
              <a:rPr lang="en-GB"/>
              <a:t>Text level 4</a:t>
            </a:r>
          </a:p>
          <a:p>
            <a:pPr lvl="4"/>
            <a:r>
              <a:rPr lang="en-GB"/>
              <a:t>Text level 5</a:t>
            </a:r>
          </a:p>
        </p:txBody>
      </p:sp>
      <p:sp>
        <p:nvSpPr>
          <p:cNvPr id="4" name="Date Placeholder 3"/>
          <p:cNvSpPr>
            <a:spLocks noGrp="1"/>
          </p:cNvSpPr>
          <p:nvPr>
            <p:ph type="dt" sz="half" idx="10"/>
          </p:nvPr>
        </p:nvSpPr>
        <p:spPr/>
        <p:txBody>
          <a:bodyPr/>
          <a:lstStyle/>
          <a:p>
            <a:fld id="{8FFB140B-E5D8-4629-A618-BAD679CF2652}" type="datetime1">
              <a:rPr lang="en-GB" smtClean="0"/>
              <a:t>18/04/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Tree>
    <p:extLst>
      <p:ext uri="{BB962C8B-B14F-4D97-AF65-F5344CB8AC3E}">
        <p14:creationId xmlns:p14="http://schemas.microsoft.com/office/powerpoint/2010/main" val="4157676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 Performance - 1 ">
    <p:spTree>
      <p:nvGrpSpPr>
        <p:cNvPr id="1" name=""/>
        <p:cNvGrpSpPr/>
        <p:nvPr/>
      </p:nvGrpSpPr>
      <p:grpSpPr>
        <a:xfrm>
          <a:off x="0" y="0"/>
          <a:ext cx="0" cy="0"/>
          <a:chOff x="0" y="0"/>
          <a:chExt cx="0" cy="0"/>
        </a:xfrm>
      </p:grpSpPr>
      <p:pic>
        <p:nvPicPr>
          <p:cNvPr id="14" name="Tijdelijke aanduiding voor afbeelding 6">
            <a:extLst>
              <a:ext uri="{FF2B5EF4-FFF2-40B4-BE49-F238E27FC236}">
                <a16:creationId xmlns:a16="http://schemas.microsoft.com/office/drawing/2014/main" id="{3F0055B5-4F8F-4010-8BC1-28C25208941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192000" cy="6858000"/>
          </a:xfrm>
          <a:prstGeom prst="rect">
            <a:avLst/>
          </a:prstGeom>
        </p:spPr>
      </p:pic>
      <p:sp>
        <p:nvSpPr>
          <p:cNvPr id="10" name="Tijdelijke aanduiding voor tekst 17">
            <a:extLst>
              <a:ext uri="{FF2B5EF4-FFF2-40B4-BE49-F238E27FC236}">
                <a16:creationId xmlns:a16="http://schemas.microsoft.com/office/drawing/2014/main" id="{9910016A-8BEF-4B94-83A2-63DB595320AD}"/>
              </a:ext>
            </a:extLst>
          </p:cNvPr>
          <p:cNvSpPr>
            <a:spLocks noGrp="1"/>
          </p:cNvSpPr>
          <p:nvPr>
            <p:ph type="body" sz="quarter" idx="18" hasCustomPrompt="1"/>
          </p:nvPr>
        </p:nvSpPr>
        <p:spPr>
          <a:xfrm>
            <a:off x="336554" y="1"/>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2"/>
            <a:ext cx="3168651"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Subtitle</a:t>
            </a:r>
          </a:p>
        </p:txBody>
      </p:sp>
      <p:grpSp>
        <p:nvGrpSpPr>
          <p:cNvPr id="15" name="Groep 14">
            <a:extLst>
              <a:ext uri="{FF2B5EF4-FFF2-40B4-BE49-F238E27FC236}">
                <a16:creationId xmlns:a16="http://schemas.microsoft.com/office/drawing/2014/main" id="{5719CCBA-0A8C-4DA3-A2BF-6F4EFD7ECA57}"/>
              </a:ext>
            </a:extLst>
          </p:cNvPr>
          <p:cNvGrpSpPr/>
          <p:nvPr userDrawn="1"/>
        </p:nvGrpSpPr>
        <p:grpSpPr>
          <a:xfrm>
            <a:off x="12262862" y="575999"/>
            <a:ext cx="1130143" cy="757167"/>
            <a:chOff x="9197145" y="1199569"/>
            <a:chExt cx="847607" cy="567875"/>
          </a:xfrm>
        </p:grpSpPr>
        <p:sp>
          <p:nvSpPr>
            <p:cNvPr id="16" name="Freeform 20">
              <a:extLst>
                <a:ext uri="{FF2B5EF4-FFF2-40B4-BE49-F238E27FC236}">
                  <a16:creationId xmlns:a16="http://schemas.microsoft.com/office/drawing/2014/main" id="{E613E7A1-9EE6-403B-A778-AAEC3C3F1F2D}"/>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C3750E03-2E3B-4B06-AEBC-30BD5F6674C9}"/>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
        <p:nvSpPr>
          <p:cNvPr id="11" name="Tijdelijke aanduiding voor tekst nw1">
            <a:extLst>
              <a:ext uri="{FF2B5EF4-FFF2-40B4-BE49-F238E27FC236}">
                <a16:creationId xmlns:a16="http://schemas.microsoft.com/office/drawing/2014/main" id="{8AB4CD50-3116-41B0-A75A-9CB826D08176}"/>
              </a:ext>
            </a:extLst>
          </p:cNvPr>
          <p:cNvSpPr>
            <a:spLocks noGrp="1"/>
          </p:cNvSpPr>
          <p:nvPr>
            <p:ph type="body" sz="quarter" idx="19" hasCustomPrompt="1"/>
          </p:nvPr>
        </p:nvSpPr>
        <p:spPr>
          <a:xfrm>
            <a:off x="662400" y="374400"/>
            <a:ext cx="1737600" cy="1046400"/>
          </a:xfrm>
          <a:blipFill>
            <a:blip r:embed="rId3" cstate="print">
              <a:extLst>
                <a:ext uri="{28A0092B-C50C-407E-A947-70E740481C1C}">
                  <a14:useLocalDpi xmlns:a14="http://schemas.microsoft.com/office/drawing/2010/main" val="0"/>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en-GB"/>
              <a:t>.</a:t>
            </a:r>
          </a:p>
        </p:txBody>
      </p:sp>
    </p:spTree>
    <p:extLst>
      <p:ext uri="{BB962C8B-B14F-4D97-AF65-F5344CB8AC3E}">
        <p14:creationId xmlns:p14="http://schemas.microsoft.com/office/powerpoint/2010/main" val="4223380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 Performance - 2">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BF0DDFC9-0860-48BA-A78B-BE14E8D6017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192000" cy="6858000"/>
          </a:xfrm>
          <a:prstGeom prst="rect">
            <a:avLst/>
          </a:prstGeom>
        </p:spPr>
      </p:pic>
      <p:sp>
        <p:nvSpPr>
          <p:cNvPr id="10" name="Tijdelijke aanduiding voor tekst 17">
            <a:extLst>
              <a:ext uri="{FF2B5EF4-FFF2-40B4-BE49-F238E27FC236}">
                <a16:creationId xmlns:a16="http://schemas.microsoft.com/office/drawing/2014/main" id="{68440ABF-9560-47F3-A588-3084E1DC61D7}"/>
              </a:ext>
            </a:extLst>
          </p:cNvPr>
          <p:cNvSpPr>
            <a:spLocks noGrp="1"/>
          </p:cNvSpPr>
          <p:nvPr>
            <p:ph type="body" sz="quarter" idx="18" hasCustomPrompt="1"/>
          </p:nvPr>
        </p:nvSpPr>
        <p:spPr>
          <a:xfrm>
            <a:off x="336554" y="1"/>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2"/>
            <a:ext cx="3168651"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Subtitle</a:t>
            </a:r>
          </a:p>
        </p:txBody>
      </p:sp>
      <p:grpSp>
        <p:nvGrpSpPr>
          <p:cNvPr id="15" name="Groep 14">
            <a:extLst>
              <a:ext uri="{FF2B5EF4-FFF2-40B4-BE49-F238E27FC236}">
                <a16:creationId xmlns:a16="http://schemas.microsoft.com/office/drawing/2014/main" id="{5719CCBA-0A8C-4DA3-A2BF-6F4EFD7ECA57}"/>
              </a:ext>
            </a:extLst>
          </p:cNvPr>
          <p:cNvGrpSpPr/>
          <p:nvPr userDrawn="1"/>
        </p:nvGrpSpPr>
        <p:grpSpPr>
          <a:xfrm>
            <a:off x="12262862" y="575999"/>
            <a:ext cx="1130143" cy="757167"/>
            <a:chOff x="9197145" y="1199569"/>
            <a:chExt cx="847607" cy="567875"/>
          </a:xfrm>
        </p:grpSpPr>
        <p:sp>
          <p:nvSpPr>
            <p:cNvPr id="16" name="Freeform 20">
              <a:extLst>
                <a:ext uri="{FF2B5EF4-FFF2-40B4-BE49-F238E27FC236}">
                  <a16:creationId xmlns:a16="http://schemas.microsoft.com/office/drawing/2014/main" id="{E613E7A1-9EE6-403B-A778-AAEC3C3F1F2D}"/>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C3750E03-2E3B-4B06-AEBC-30BD5F6674C9}"/>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
        <p:nvSpPr>
          <p:cNvPr id="11" name="Tijdelijke aanduiding voor tekst nw1">
            <a:extLst>
              <a:ext uri="{FF2B5EF4-FFF2-40B4-BE49-F238E27FC236}">
                <a16:creationId xmlns:a16="http://schemas.microsoft.com/office/drawing/2014/main" id="{8AB4CD50-3116-41B0-A75A-9CB826D08176}"/>
              </a:ext>
            </a:extLst>
          </p:cNvPr>
          <p:cNvSpPr>
            <a:spLocks noGrp="1"/>
          </p:cNvSpPr>
          <p:nvPr>
            <p:ph type="body" sz="quarter" idx="19" hasCustomPrompt="1"/>
          </p:nvPr>
        </p:nvSpPr>
        <p:spPr>
          <a:xfrm>
            <a:off x="662400" y="374400"/>
            <a:ext cx="1737600" cy="1046400"/>
          </a:xfrm>
          <a:blipFill>
            <a:blip r:embed="rId3" cstate="print">
              <a:extLst>
                <a:ext uri="{28A0092B-C50C-407E-A947-70E740481C1C}">
                  <a14:useLocalDpi xmlns:a14="http://schemas.microsoft.com/office/drawing/2010/main" val="0"/>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en-GB"/>
              <a:t>.</a:t>
            </a:r>
          </a:p>
        </p:txBody>
      </p:sp>
    </p:spTree>
    <p:extLst>
      <p:ext uri="{BB962C8B-B14F-4D97-AF65-F5344CB8AC3E}">
        <p14:creationId xmlns:p14="http://schemas.microsoft.com/office/powerpoint/2010/main" val="123195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 Performance - 3">
    <p:spTree>
      <p:nvGrpSpPr>
        <p:cNvPr id="1" name=""/>
        <p:cNvGrpSpPr/>
        <p:nvPr/>
      </p:nvGrpSpPr>
      <p:grpSpPr>
        <a:xfrm>
          <a:off x="0" y="0"/>
          <a:ext cx="0" cy="0"/>
          <a:chOff x="0" y="0"/>
          <a:chExt cx="0" cy="0"/>
        </a:xfrm>
      </p:grpSpPr>
      <p:pic>
        <p:nvPicPr>
          <p:cNvPr id="12" name="Picture Placeholder 6" descr="A skier going down a slope&#10;&#10;Description automatically generated with low confidence">
            <a:extLst>
              <a:ext uri="{FF2B5EF4-FFF2-40B4-BE49-F238E27FC236}">
                <a16:creationId xmlns:a16="http://schemas.microsoft.com/office/drawing/2014/main" id="{559323DD-AA67-40D2-B826-185626C1C23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4" name="Tijdelijke aanduiding voor tekst 17">
            <a:extLst>
              <a:ext uri="{FF2B5EF4-FFF2-40B4-BE49-F238E27FC236}">
                <a16:creationId xmlns:a16="http://schemas.microsoft.com/office/drawing/2014/main" id="{5F101D7A-90DD-406F-903A-337FCC62749F}"/>
              </a:ext>
            </a:extLst>
          </p:cNvPr>
          <p:cNvSpPr>
            <a:spLocks noGrp="1"/>
          </p:cNvSpPr>
          <p:nvPr>
            <p:ph type="body" sz="quarter" idx="18" hasCustomPrompt="1"/>
          </p:nvPr>
        </p:nvSpPr>
        <p:spPr>
          <a:xfrm>
            <a:off x="336554" y="1"/>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2"/>
            <a:ext cx="3168651"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Subtitle</a:t>
            </a:r>
          </a:p>
        </p:txBody>
      </p:sp>
      <p:grpSp>
        <p:nvGrpSpPr>
          <p:cNvPr id="15" name="Groep 14">
            <a:extLst>
              <a:ext uri="{FF2B5EF4-FFF2-40B4-BE49-F238E27FC236}">
                <a16:creationId xmlns:a16="http://schemas.microsoft.com/office/drawing/2014/main" id="{5719CCBA-0A8C-4DA3-A2BF-6F4EFD7ECA57}"/>
              </a:ext>
            </a:extLst>
          </p:cNvPr>
          <p:cNvGrpSpPr/>
          <p:nvPr userDrawn="1"/>
        </p:nvGrpSpPr>
        <p:grpSpPr>
          <a:xfrm>
            <a:off x="12262862" y="575999"/>
            <a:ext cx="1130143" cy="757167"/>
            <a:chOff x="9197145" y="1199569"/>
            <a:chExt cx="847607" cy="567875"/>
          </a:xfrm>
        </p:grpSpPr>
        <p:sp>
          <p:nvSpPr>
            <p:cNvPr id="16" name="Freeform 20">
              <a:extLst>
                <a:ext uri="{FF2B5EF4-FFF2-40B4-BE49-F238E27FC236}">
                  <a16:creationId xmlns:a16="http://schemas.microsoft.com/office/drawing/2014/main" id="{E613E7A1-9EE6-403B-A778-AAEC3C3F1F2D}"/>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C3750E03-2E3B-4B06-AEBC-30BD5F6674C9}"/>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
        <p:nvSpPr>
          <p:cNvPr id="11" name="Tijdelijke aanduiding voor tekst nw1">
            <a:extLst>
              <a:ext uri="{FF2B5EF4-FFF2-40B4-BE49-F238E27FC236}">
                <a16:creationId xmlns:a16="http://schemas.microsoft.com/office/drawing/2014/main" id="{8AB4CD50-3116-41B0-A75A-9CB826D08176}"/>
              </a:ext>
            </a:extLst>
          </p:cNvPr>
          <p:cNvSpPr>
            <a:spLocks noGrp="1"/>
          </p:cNvSpPr>
          <p:nvPr>
            <p:ph type="body" sz="quarter" idx="19" hasCustomPrompt="1"/>
          </p:nvPr>
        </p:nvSpPr>
        <p:spPr>
          <a:xfrm>
            <a:off x="662400" y="374400"/>
            <a:ext cx="1737600" cy="1046400"/>
          </a:xfrm>
          <a:blipFill>
            <a:blip r:embed="rId3" cstate="print">
              <a:extLst>
                <a:ext uri="{28A0092B-C50C-407E-A947-70E740481C1C}">
                  <a14:useLocalDpi xmlns:a14="http://schemas.microsoft.com/office/drawing/2010/main" val="0"/>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en-GB"/>
              <a:t>.</a:t>
            </a:r>
          </a:p>
        </p:txBody>
      </p:sp>
    </p:spTree>
    <p:extLst>
      <p:ext uri="{BB962C8B-B14F-4D97-AF65-F5344CB8AC3E}">
        <p14:creationId xmlns:p14="http://schemas.microsoft.com/office/powerpoint/2010/main" val="607098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 Performance - 4">
    <p:spTree>
      <p:nvGrpSpPr>
        <p:cNvPr id="1" name=""/>
        <p:cNvGrpSpPr/>
        <p:nvPr/>
      </p:nvGrpSpPr>
      <p:grpSpPr>
        <a:xfrm>
          <a:off x="0" y="0"/>
          <a:ext cx="0" cy="0"/>
          <a:chOff x="0" y="0"/>
          <a:chExt cx="0" cy="0"/>
        </a:xfrm>
      </p:grpSpPr>
      <p:pic>
        <p:nvPicPr>
          <p:cNvPr id="4" name="Picture 3" descr="A person skiing down a mountain&#10;&#10;Description automatically generated with low confidence">
            <a:extLst>
              <a:ext uri="{FF2B5EF4-FFF2-40B4-BE49-F238E27FC236}">
                <a16:creationId xmlns:a16="http://schemas.microsoft.com/office/drawing/2014/main" id="{72788981-1A3C-41F7-848A-67B12D9AE3F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0"/>
            <a:ext cx="12192001" cy="6858000"/>
          </a:xfrm>
          <a:prstGeom prst="rect">
            <a:avLst/>
          </a:prstGeom>
        </p:spPr>
      </p:pic>
      <p:sp>
        <p:nvSpPr>
          <p:cNvPr id="10" name="Tijdelijke aanduiding voor tekst 17">
            <a:extLst>
              <a:ext uri="{FF2B5EF4-FFF2-40B4-BE49-F238E27FC236}">
                <a16:creationId xmlns:a16="http://schemas.microsoft.com/office/drawing/2014/main" id="{5736CF6D-A5D6-4CEB-9FF5-2AAB68EE2CDD}"/>
              </a:ext>
            </a:extLst>
          </p:cNvPr>
          <p:cNvSpPr>
            <a:spLocks noGrp="1"/>
          </p:cNvSpPr>
          <p:nvPr>
            <p:ph type="body" sz="quarter" idx="18" hasCustomPrompt="1"/>
          </p:nvPr>
        </p:nvSpPr>
        <p:spPr>
          <a:xfrm>
            <a:off x="336554" y="1"/>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2"/>
            <a:ext cx="3168651"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Subtitle</a:t>
            </a:r>
          </a:p>
        </p:txBody>
      </p:sp>
      <p:grpSp>
        <p:nvGrpSpPr>
          <p:cNvPr id="15" name="Groep 14">
            <a:extLst>
              <a:ext uri="{FF2B5EF4-FFF2-40B4-BE49-F238E27FC236}">
                <a16:creationId xmlns:a16="http://schemas.microsoft.com/office/drawing/2014/main" id="{5719CCBA-0A8C-4DA3-A2BF-6F4EFD7ECA57}"/>
              </a:ext>
            </a:extLst>
          </p:cNvPr>
          <p:cNvGrpSpPr/>
          <p:nvPr userDrawn="1"/>
        </p:nvGrpSpPr>
        <p:grpSpPr>
          <a:xfrm>
            <a:off x="12262862" y="575999"/>
            <a:ext cx="1130143" cy="757167"/>
            <a:chOff x="9197145" y="1199569"/>
            <a:chExt cx="847607" cy="567875"/>
          </a:xfrm>
        </p:grpSpPr>
        <p:sp>
          <p:nvSpPr>
            <p:cNvPr id="16" name="Freeform 20">
              <a:extLst>
                <a:ext uri="{FF2B5EF4-FFF2-40B4-BE49-F238E27FC236}">
                  <a16:creationId xmlns:a16="http://schemas.microsoft.com/office/drawing/2014/main" id="{E613E7A1-9EE6-403B-A778-AAEC3C3F1F2D}"/>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C3750E03-2E3B-4B06-AEBC-30BD5F6674C9}"/>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
        <p:nvSpPr>
          <p:cNvPr id="11" name="Tijdelijke aanduiding voor tekst nw1">
            <a:extLst>
              <a:ext uri="{FF2B5EF4-FFF2-40B4-BE49-F238E27FC236}">
                <a16:creationId xmlns:a16="http://schemas.microsoft.com/office/drawing/2014/main" id="{8AB4CD50-3116-41B0-A75A-9CB826D08176}"/>
              </a:ext>
            </a:extLst>
          </p:cNvPr>
          <p:cNvSpPr>
            <a:spLocks noGrp="1"/>
          </p:cNvSpPr>
          <p:nvPr>
            <p:ph type="body" sz="quarter" idx="19" hasCustomPrompt="1"/>
          </p:nvPr>
        </p:nvSpPr>
        <p:spPr>
          <a:xfrm>
            <a:off x="662400" y="374400"/>
            <a:ext cx="1737600" cy="1046400"/>
          </a:xfrm>
          <a:blipFill>
            <a:blip r:embed="rId3" cstate="print">
              <a:extLst>
                <a:ext uri="{28A0092B-C50C-407E-A947-70E740481C1C}">
                  <a14:useLocalDpi xmlns:a14="http://schemas.microsoft.com/office/drawing/2010/main" val="0"/>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en-GB"/>
              <a:t>.</a:t>
            </a:r>
          </a:p>
        </p:txBody>
      </p:sp>
    </p:spTree>
    <p:extLst>
      <p:ext uri="{BB962C8B-B14F-4D97-AF65-F5344CB8AC3E}">
        <p14:creationId xmlns:p14="http://schemas.microsoft.com/office/powerpoint/2010/main" val="3232111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 Performance - 5">
    <p:spTree>
      <p:nvGrpSpPr>
        <p:cNvPr id="1" name=""/>
        <p:cNvGrpSpPr/>
        <p:nvPr/>
      </p:nvGrpSpPr>
      <p:grpSpPr>
        <a:xfrm>
          <a:off x="0" y="0"/>
          <a:ext cx="0" cy="0"/>
          <a:chOff x="0" y="0"/>
          <a:chExt cx="0" cy="0"/>
        </a:xfrm>
      </p:grpSpPr>
      <p:pic>
        <p:nvPicPr>
          <p:cNvPr id="12" name="Picture Placeholder 2">
            <a:extLst>
              <a:ext uri="{FF2B5EF4-FFF2-40B4-BE49-F238E27FC236}">
                <a16:creationId xmlns:a16="http://schemas.microsoft.com/office/drawing/2014/main" id="{76DAE823-89C2-40ED-8D69-348F7A5A727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0" name="Tijdelijke aanduiding voor tekst 17">
            <a:extLst>
              <a:ext uri="{FF2B5EF4-FFF2-40B4-BE49-F238E27FC236}">
                <a16:creationId xmlns:a16="http://schemas.microsoft.com/office/drawing/2014/main" id="{06322AB3-A7DD-4C99-A0C0-E8D3A2051DBD}"/>
              </a:ext>
            </a:extLst>
          </p:cNvPr>
          <p:cNvSpPr>
            <a:spLocks noGrp="1"/>
          </p:cNvSpPr>
          <p:nvPr>
            <p:ph type="body" sz="quarter" idx="18" hasCustomPrompt="1"/>
          </p:nvPr>
        </p:nvSpPr>
        <p:spPr>
          <a:xfrm>
            <a:off x="336554" y="1"/>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2"/>
            <a:ext cx="3168651"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Subtitle</a:t>
            </a:r>
          </a:p>
        </p:txBody>
      </p:sp>
      <p:sp>
        <p:nvSpPr>
          <p:cNvPr id="11" name="Tijdelijke aanduiding voor tekst 21">
            <a:extLst>
              <a:ext uri="{FF2B5EF4-FFF2-40B4-BE49-F238E27FC236}">
                <a16:creationId xmlns:a16="http://schemas.microsoft.com/office/drawing/2014/main" id="{864B06FA-CA70-4595-8439-FEB797046608}"/>
              </a:ext>
            </a:extLst>
          </p:cNvPr>
          <p:cNvSpPr>
            <a:spLocks noGrp="1"/>
          </p:cNvSpPr>
          <p:nvPr>
            <p:ph type="body" sz="quarter" idx="19" hasCustomPrompt="1"/>
          </p:nvPr>
        </p:nvSpPr>
        <p:spPr>
          <a:xfrm>
            <a:off x="662400" y="374400"/>
            <a:ext cx="1737600" cy="1046400"/>
          </a:xfrm>
          <a:blipFill>
            <a:blip r:embed="rId3" cstate="print">
              <a:extLst>
                <a:ext uri="{28A0092B-C50C-407E-A947-70E740481C1C}">
                  <a14:useLocalDpi xmlns:a14="http://schemas.microsoft.com/office/drawing/2010/main" val="0"/>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en-GB"/>
              <a:t>.</a:t>
            </a:r>
          </a:p>
        </p:txBody>
      </p:sp>
      <p:grpSp>
        <p:nvGrpSpPr>
          <p:cNvPr id="15" name="Groep 14">
            <a:extLst>
              <a:ext uri="{FF2B5EF4-FFF2-40B4-BE49-F238E27FC236}">
                <a16:creationId xmlns:a16="http://schemas.microsoft.com/office/drawing/2014/main" id="{5719CCBA-0A8C-4DA3-A2BF-6F4EFD7ECA57}"/>
              </a:ext>
            </a:extLst>
          </p:cNvPr>
          <p:cNvGrpSpPr/>
          <p:nvPr userDrawn="1"/>
        </p:nvGrpSpPr>
        <p:grpSpPr>
          <a:xfrm>
            <a:off x="12262862" y="575999"/>
            <a:ext cx="1130143" cy="757167"/>
            <a:chOff x="9197145" y="1199569"/>
            <a:chExt cx="847607" cy="567875"/>
          </a:xfrm>
        </p:grpSpPr>
        <p:sp>
          <p:nvSpPr>
            <p:cNvPr id="16" name="Freeform 20">
              <a:extLst>
                <a:ext uri="{FF2B5EF4-FFF2-40B4-BE49-F238E27FC236}">
                  <a16:creationId xmlns:a16="http://schemas.microsoft.com/office/drawing/2014/main" id="{E613E7A1-9EE6-403B-A778-AAEC3C3F1F2D}"/>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C3750E03-2E3B-4B06-AEBC-30BD5F6674C9}"/>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1799991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 Medical">
    <p:spTree>
      <p:nvGrpSpPr>
        <p:cNvPr id="1" name=""/>
        <p:cNvGrpSpPr/>
        <p:nvPr/>
      </p:nvGrpSpPr>
      <p:grpSpPr>
        <a:xfrm>
          <a:off x="0" y="0"/>
          <a:ext cx="0" cy="0"/>
          <a:chOff x="0" y="0"/>
          <a:chExt cx="0" cy="0"/>
        </a:xfrm>
      </p:grpSpPr>
      <p:pic>
        <p:nvPicPr>
          <p:cNvPr id="10" name="Picture Placeholder 6" descr="A person and person sitting on a pink chair&#10;&#10;Description automatically generated with low confidence">
            <a:extLst>
              <a:ext uri="{FF2B5EF4-FFF2-40B4-BE49-F238E27FC236}">
                <a16:creationId xmlns:a16="http://schemas.microsoft.com/office/drawing/2014/main" id="{B9369420-5C99-49AF-B3BD-721BD79A1AA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2" name="Tijdelijke aanduiding voor tekst 17">
            <a:extLst>
              <a:ext uri="{FF2B5EF4-FFF2-40B4-BE49-F238E27FC236}">
                <a16:creationId xmlns:a16="http://schemas.microsoft.com/office/drawing/2014/main" id="{0A94012A-1853-4898-91AB-00F634F8E600}"/>
              </a:ext>
            </a:extLst>
          </p:cNvPr>
          <p:cNvSpPr>
            <a:spLocks noGrp="1"/>
          </p:cNvSpPr>
          <p:nvPr>
            <p:ph type="body" sz="quarter" idx="18" hasCustomPrompt="1"/>
          </p:nvPr>
        </p:nvSpPr>
        <p:spPr>
          <a:xfrm>
            <a:off x="336554" y="1"/>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2"/>
            <a:ext cx="3168651"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Subtitle</a:t>
            </a:r>
          </a:p>
        </p:txBody>
      </p:sp>
      <p:sp>
        <p:nvSpPr>
          <p:cNvPr id="11" name="Tijdelijke aanduiding voor tekst 21">
            <a:extLst>
              <a:ext uri="{FF2B5EF4-FFF2-40B4-BE49-F238E27FC236}">
                <a16:creationId xmlns:a16="http://schemas.microsoft.com/office/drawing/2014/main" id="{864B06FA-CA70-4595-8439-FEB797046608}"/>
              </a:ext>
            </a:extLst>
          </p:cNvPr>
          <p:cNvSpPr>
            <a:spLocks noGrp="1"/>
          </p:cNvSpPr>
          <p:nvPr>
            <p:ph type="body" sz="quarter" idx="19" hasCustomPrompt="1"/>
          </p:nvPr>
        </p:nvSpPr>
        <p:spPr>
          <a:xfrm>
            <a:off x="662400" y="374400"/>
            <a:ext cx="1737600" cy="1046400"/>
          </a:xfrm>
          <a:blipFill>
            <a:blip r:embed="rId3" cstate="print">
              <a:extLst>
                <a:ext uri="{28A0092B-C50C-407E-A947-70E740481C1C}">
                  <a14:useLocalDpi xmlns:a14="http://schemas.microsoft.com/office/drawing/2010/main" val="0"/>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en-GB"/>
              <a:t>.</a:t>
            </a:r>
          </a:p>
        </p:txBody>
      </p:sp>
      <p:grpSp>
        <p:nvGrpSpPr>
          <p:cNvPr id="15" name="Groep 14">
            <a:extLst>
              <a:ext uri="{FF2B5EF4-FFF2-40B4-BE49-F238E27FC236}">
                <a16:creationId xmlns:a16="http://schemas.microsoft.com/office/drawing/2014/main" id="{BAA1BCD9-45E9-4B83-9FEE-F1CE98E92DE8}"/>
              </a:ext>
            </a:extLst>
          </p:cNvPr>
          <p:cNvGrpSpPr/>
          <p:nvPr userDrawn="1"/>
        </p:nvGrpSpPr>
        <p:grpSpPr>
          <a:xfrm>
            <a:off x="12262862" y="575999"/>
            <a:ext cx="1130143" cy="757167"/>
            <a:chOff x="9197145" y="1199569"/>
            <a:chExt cx="847607" cy="567875"/>
          </a:xfrm>
        </p:grpSpPr>
        <p:sp>
          <p:nvSpPr>
            <p:cNvPr id="16" name="Freeform 20">
              <a:extLst>
                <a:ext uri="{FF2B5EF4-FFF2-40B4-BE49-F238E27FC236}">
                  <a16:creationId xmlns:a16="http://schemas.microsoft.com/office/drawing/2014/main" id="{81354EDD-EEE1-4FF1-B136-EAA3435011DC}"/>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652A80FE-093A-4450-AE3E-50E28D0164D7}"/>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338112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 Cell">
    <p:spTree>
      <p:nvGrpSpPr>
        <p:cNvPr id="1" name=""/>
        <p:cNvGrpSpPr/>
        <p:nvPr/>
      </p:nvGrpSpPr>
      <p:grpSpPr>
        <a:xfrm>
          <a:off x="0" y="0"/>
          <a:ext cx="0" cy="0"/>
          <a:chOff x="0" y="0"/>
          <a:chExt cx="0" cy="0"/>
        </a:xfrm>
      </p:grpSpPr>
      <p:pic>
        <p:nvPicPr>
          <p:cNvPr id="12" name="Tijdelijke aanduiding voor afbeelding 6" descr="Afbeelding met muur, binnen, kast, persoon&#10;&#10;Automatisch gegenereerde beschrijving">
            <a:extLst>
              <a:ext uri="{FF2B5EF4-FFF2-40B4-BE49-F238E27FC236}">
                <a16:creationId xmlns:a16="http://schemas.microsoft.com/office/drawing/2014/main" id="{013A8E42-82FC-4EBB-A3D0-38C2FB54F43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0" name="Tijdelijke aanduiding voor tekst 17">
            <a:extLst>
              <a:ext uri="{FF2B5EF4-FFF2-40B4-BE49-F238E27FC236}">
                <a16:creationId xmlns:a16="http://schemas.microsoft.com/office/drawing/2014/main" id="{A9DD9BC4-EB8A-49DE-8A79-E9C776578677}"/>
              </a:ext>
            </a:extLst>
          </p:cNvPr>
          <p:cNvSpPr>
            <a:spLocks noGrp="1"/>
          </p:cNvSpPr>
          <p:nvPr>
            <p:ph type="body" sz="quarter" idx="18" hasCustomPrompt="1"/>
          </p:nvPr>
        </p:nvSpPr>
        <p:spPr>
          <a:xfrm>
            <a:off x="336554" y="1"/>
            <a:ext cx="4429753" cy="4653435"/>
          </a:xfrm>
          <a:custGeom>
            <a:avLst/>
            <a:gdLst>
              <a:gd name="connsiteX0" fmla="*/ 0 w 3995736"/>
              <a:gd name="connsiteY0" fmla="*/ 0 h 4197502"/>
              <a:gd name="connsiteX1" fmla="*/ 3995736 w 3995736"/>
              <a:gd name="connsiteY1" fmla="*/ 0 h 4197502"/>
              <a:gd name="connsiteX2" fmla="*/ 3995736 w 3995736"/>
              <a:gd name="connsiteY2" fmla="*/ 3531533 h 4197502"/>
              <a:gd name="connsiteX3" fmla="*/ 3329767 w 3995736"/>
              <a:gd name="connsiteY3" fmla="*/ 4197502 h 4197502"/>
              <a:gd name="connsiteX4" fmla="*/ 0 w 3995736"/>
              <a:gd name="connsiteY4" fmla="*/ 4197502 h 4197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6" h="4197502">
                <a:moveTo>
                  <a:pt x="0" y="0"/>
                </a:moveTo>
                <a:lnTo>
                  <a:pt x="3995736" y="0"/>
                </a:lnTo>
                <a:lnTo>
                  <a:pt x="3995736" y="3531533"/>
                </a:lnTo>
                <a:cubicBezTo>
                  <a:pt x="3995736" y="3899338"/>
                  <a:pt x="3697572" y="4197502"/>
                  <a:pt x="3329767" y="4197502"/>
                </a:cubicBezTo>
                <a:lnTo>
                  <a:pt x="0" y="4197502"/>
                </a:lnTo>
                <a:close/>
              </a:path>
            </a:pathLst>
          </a:custGeom>
          <a:solidFill>
            <a:srgbClr val="FFFFFF">
              <a:alpha val="85098"/>
            </a:srgbClr>
          </a:solidFill>
        </p:spPr>
        <p:txBody>
          <a:bodyPr wrap="square" lIns="504000" tIns="1440000" rIns="180000" bIns="756000" anchor="b" anchorCtr="0">
            <a:noAutofit/>
          </a:bodyPr>
          <a:lstStyle>
            <a:lvl1pPr marL="0" indent="0">
              <a:spcBef>
                <a:spcPts val="0"/>
              </a:spcBef>
              <a:buNone/>
              <a:defRPr sz="3200">
                <a:solidFill>
                  <a:schemeClr val="accent1"/>
                </a:solidFill>
              </a:defRPr>
            </a:lvl1pPr>
          </a:lstStyle>
          <a:p>
            <a:pPr lvl="0"/>
            <a:r>
              <a:rPr lang="en-GB"/>
              <a:t>Title (max 3 lines)</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9654" y="6536949"/>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sp>
        <p:nvSpPr>
          <p:cNvPr id="3" name="Subtitle 2"/>
          <p:cNvSpPr>
            <a:spLocks noGrp="1"/>
          </p:cNvSpPr>
          <p:nvPr>
            <p:ph type="subTitle" idx="1" hasCustomPrompt="1"/>
          </p:nvPr>
        </p:nvSpPr>
        <p:spPr>
          <a:xfrm>
            <a:off x="1007533" y="3885842"/>
            <a:ext cx="3168651" cy="429684"/>
          </a:xfrm>
        </p:spPr>
        <p:txBody>
          <a:bodyPr wrap="none" lIns="0">
            <a:noAutofit/>
          </a:bodyPr>
          <a:lstStyle>
            <a:lvl1pPr marL="0" indent="0" algn="l">
              <a:buNone/>
              <a:defRPr sz="1333"/>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Subtitle</a:t>
            </a:r>
          </a:p>
        </p:txBody>
      </p:sp>
      <p:sp>
        <p:nvSpPr>
          <p:cNvPr id="11" name="Tijdelijke aanduiding voor tekst 21">
            <a:extLst>
              <a:ext uri="{FF2B5EF4-FFF2-40B4-BE49-F238E27FC236}">
                <a16:creationId xmlns:a16="http://schemas.microsoft.com/office/drawing/2014/main" id="{864B06FA-CA70-4595-8439-FEB797046608}"/>
              </a:ext>
            </a:extLst>
          </p:cNvPr>
          <p:cNvSpPr>
            <a:spLocks noGrp="1"/>
          </p:cNvSpPr>
          <p:nvPr>
            <p:ph type="body" sz="quarter" idx="19" hasCustomPrompt="1"/>
          </p:nvPr>
        </p:nvSpPr>
        <p:spPr>
          <a:xfrm>
            <a:off x="662400" y="374400"/>
            <a:ext cx="1737600" cy="1046400"/>
          </a:xfrm>
          <a:blipFill>
            <a:blip r:embed="rId3" cstate="print">
              <a:extLst>
                <a:ext uri="{28A0092B-C50C-407E-A947-70E740481C1C}">
                  <a14:useLocalDpi xmlns:a14="http://schemas.microsoft.com/office/drawing/2010/main" val="0"/>
                </a:ext>
              </a:extLst>
            </a:blip>
            <a:stretch>
              <a:fillRect/>
            </a:stretch>
          </a:blipFill>
        </p:spPr>
        <p:txBody>
          <a:bodyPr/>
          <a:lstStyle>
            <a:lvl1pPr marL="0" indent="0">
              <a:buNone/>
              <a:defRPr sz="133">
                <a:solidFill>
                  <a:schemeClr val="bg1">
                    <a:alpha val="80000"/>
                  </a:schemeClr>
                </a:solidFill>
              </a:defRPr>
            </a:lvl1pPr>
            <a:lvl2pPr marL="251872" indent="0">
              <a:buNone/>
              <a:defRPr/>
            </a:lvl2pPr>
            <a:lvl3pPr marL="486809" indent="0">
              <a:buNone/>
              <a:defRPr/>
            </a:lvl3pPr>
            <a:lvl4pPr marL="732330" indent="0">
              <a:buNone/>
              <a:defRPr/>
            </a:lvl4pPr>
            <a:lvl5pPr marL="967269" indent="0">
              <a:buNone/>
              <a:defRPr/>
            </a:lvl5pPr>
          </a:lstStyle>
          <a:p>
            <a:pPr lvl="0"/>
            <a:r>
              <a:rPr lang="en-GB"/>
              <a:t>.</a:t>
            </a:r>
          </a:p>
        </p:txBody>
      </p:sp>
      <p:grpSp>
        <p:nvGrpSpPr>
          <p:cNvPr id="15" name="Groep 14">
            <a:extLst>
              <a:ext uri="{FF2B5EF4-FFF2-40B4-BE49-F238E27FC236}">
                <a16:creationId xmlns:a16="http://schemas.microsoft.com/office/drawing/2014/main" id="{ED4C5031-7AC8-4BE5-BE89-140AA1F475CE}"/>
              </a:ext>
            </a:extLst>
          </p:cNvPr>
          <p:cNvGrpSpPr/>
          <p:nvPr userDrawn="1"/>
        </p:nvGrpSpPr>
        <p:grpSpPr>
          <a:xfrm>
            <a:off x="12262862" y="575999"/>
            <a:ext cx="1130143" cy="757167"/>
            <a:chOff x="9197145" y="1199569"/>
            <a:chExt cx="847607" cy="567875"/>
          </a:xfrm>
        </p:grpSpPr>
        <p:sp>
          <p:nvSpPr>
            <p:cNvPr id="16" name="Freeform 20">
              <a:extLst>
                <a:ext uri="{FF2B5EF4-FFF2-40B4-BE49-F238E27FC236}">
                  <a16:creationId xmlns:a16="http://schemas.microsoft.com/office/drawing/2014/main" id="{F19F2DF6-D9C0-48E9-BED6-6107F241BAC5}"/>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7" name="Tekstvak 16">
              <a:extLst>
                <a:ext uri="{FF2B5EF4-FFF2-40B4-BE49-F238E27FC236}">
                  <a16:creationId xmlns:a16="http://schemas.microsoft.com/office/drawing/2014/main" id="{8A6F57C1-1B96-437A-88E0-A356DD482312}"/>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4086045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76">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2" name="Title 1"/>
          <p:cNvSpPr>
            <a:spLocks noGrp="1"/>
          </p:cNvSpPr>
          <p:nvPr>
            <p:ph type="ctrTitle"/>
          </p:nvPr>
        </p:nvSpPr>
        <p:spPr>
          <a:xfrm>
            <a:off x="1007533" y="1701803"/>
            <a:ext cx="3168651" cy="3366069"/>
          </a:xfrm>
        </p:spPr>
        <p:txBody>
          <a:bodyPr wrap="square" anchor="b"/>
          <a:lstStyle>
            <a:lvl1pPr algn="l">
              <a:lnSpc>
                <a:spcPct val="112000"/>
              </a:lnSpc>
              <a:defRPr sz="3200"/>
            </a:lvl1pPr>
          </a:lstStyle>
          <a:p>
            <a:r>
              <a:rPr lang="en-GB"/>
              <a:t>Click to edit Master title style</a:t>
            </a:r>
          </a:p>
        </p:txBody>
      </p:sp>
      <p:sp>
        <p:nvSpPr>
          <p:cNvPr id="3" name="Subtitle 2"/>
          <p:cNvSpPr>
            <a:spLocks noGrp="1"/>
          </p:cNvSpPr>
          <p:nvPr>
            <p:ph type="subTitle" idx="1"/>
          </p:nvPr>
        </p:nvSpPr>
        <p:spPr>
          <a:xfrm>
            <a:off x="1007535" y="5240497"/>
            <a:ext cx="3168676" cy="644296"/>
          </a:xfrm>
        </p:spPr>
        <p:txBody>
          <a:bodyPr wrap="square">
            <a:noAutofit/>
          </a:bodyPr>
          <a:lstStyle>
            <a:lvl1pPr marL="0" indent="0" algn="l">
              <a:buNone/>
              <a:defRPr sz="1867"/>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1007535" y="6536949"/>
            <a:ext cx="1982915"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1 </a:t>
            </a:r>
            <a:r>
              <a:rPr lang="en-GB" sz="800" kern="1200" err="1">
                <a:solidFill>
                  <a:schemeClr val="tx1">
                    <a:tint val="75000"/>
                  </a:schemeClr>
                </a:solidFill>
                <a:latin typeface="+mn-lt"/>
                <a:ea typeface="+mn-ea"/>
                <a:cs typeface="+mn-cs"/>
              </a:rPr>
              <a:t>FrieslandCampina</a:t>
            </a:r>
            <a:r>
              <a:rPr lang="en-GB" sz="800" kern="1200">
                <a:solidFill>
                  <a:schemeClr val="tx1">
                    <a:tint val="75000"/>
                  </a:schemeClr>
                </a:solidFill>
                <a:latin typeface="+mn-lt"/>
                <a:ea typeface="+mn-ea"/>
                <a:cs typeface="+mn-cs"/>
              </a:rPr>
              <a:t> Ingredients</a:t>
            </a:r>
          </a:p>
        </p:txBody>
      </p:sp>
      <p:grpSp>
        <p:nvGrpSpPr>
          <p:cNvPr id="5" name="Groep 4">
            <a:extLst>
              <a:ext uri="{FF2B5EF4-FFF2-40B4-BE49-F238E27FC236}">
                <a16:creationId xmlns:a16="http://schemas.microsoft.com/office/drawing/2014/main" id="{D5A2D930-4F05-43DA-8F93-DEAFE1096447}"/>
              </a:ext>
            </a:extLst>
          </p:cNvPr>
          <p:cNvGrpSpPr/>
          <p:nvPr userDrawn="1"/>
        </p:nvGrpSpPr>
        <p:grpSpPr>
          <a:xfrm>
            <a:off x="12262862" y="575999"/>
            <a:ext cx="1130143" cy="757167"/>
            <a:chOff x="9197145" y="1199569"/>
            <a:chExt cx="847607" cy="567875"/>
          </a:xfrm>
        </p:grpSpPr>
        <p:sp>
          <p:nvSpPr>
            <p:cNvPr id="7" name="Freeform 20">
              <a:extLst>
                <a:ext uri="{FF2B5EF4-FFF2-40B4-BE49-F238E27FC236}">
                  <a16:creationId xmlns:a16="http://schemas.microsoft.com/office/drawing/2014/main" id="{EC6D8501-6CE5-4E1D-B8D6-010E436AF741}"/>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4" name="Tekstvak 3">
              <a:extLst>
                <a:ext uri="{FF2B5EF4-FFF2-40B4-BE49-F238E27FC236}">
                  <a16:creationId xmlns:a16="http://schemas.microsoft.com/office/drawing/2014/main" id="{2565ADC4-81D8-4B71-BCBD-613626D2F4F6}"/>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pic>
        <p:nvPicPr>
          <p:cNvPr id="8" name="Afbeelding 7">
            <a:extLst>
              <a:ext uri="{FF2B5EF4-FFF2-40B4-BE49-F238E27FC236}">
                <a16:creationId xmlns:a16="http://schemas.microsoft.com/office/drawing/2014/main" id="{98B43D0B-1546-47CD-A118-64DC48F2343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48002" y="374400"/>
            <a:ext cx="1727615" cy="1046400"/>
          </a:xfrm>
          <a:prstGeom prst="rect">
            <a:avLst/>
          </a:prstGeom>
        </p:spPr>
      </p:pic>
      <p:sp>
        <p:nvSpPr>
          <p:cNvPr id="18" name="Tijdelijke aanduiding voor afbeelding 17">
            <a:extLst>
              <a:ext uri="{FF2B5EF4-FFF2-40B4-BE49-F238E27FC236}">
                <a16:creationId xmlns:a16="http://schemas.microsoft.com/office/drawing/2014/main" id="{6E9B25BF-2C2A-4C2A-B366-1212A42A49B8}"/>
              </a:ext>
            </a:extLst>
          </p:cNvPr>
          <p:cNvSpPr>
            <a:spLocks noGrp="1"/>
          </p:cNvSpPr>
          <p:nvPr>
            <p:ph type="pic" sz="quarter" idx="14" hasCustomPrompt="1"/>
          </p:nvPr>
        </p:nvSpPr>
        <p:spPr>
          <a:xfrm>
            <a:off x="4526471" y="2"/>
            <a:ext cx="7665532" cy="5884793"/>
          </a:xfrm>
          <a:custGeom>
            <a:avLst/>
            <a:gdLst>
              <a:gd name="connsiteX0" fmla="*/ 0 w 5749149"/>
              <a:gd name="connsiteY0" fmla="*/ 0 h 4413595"/>
              <a:gd name="connsiteX1" fmla="*/ 5749148 w 5749149"/>
              <a:gd name="connsiteY1" fmla="*/ 0 h 4413595"/>
              <a:gd name="connsiteX2" fmla="*/ 5749148 w 5749149"/>
              <a:gd name="connsiteY2" fmla="*/ 712034 h 4413595"/>
              <a:gd name="connsiteX3" fmla="*/ 5749149 w 5749149"/>
              <a:gd name="connsiteY3" fmla="*/ 712034 h 4413595"/>
              <a:gd name="connsiteX4" fmla="*/ 5749149 w 5749149"/>
              <a:gd name="connsiteY4" fmla="*/ 4413595 h 4413595"/>
              <a:gd name="connsiteX5" fmla="*/ 616959 w 5749149"/>
              <a:gd name="connsiteY5" fmla="*/ 4413595 h 4413595"/>
              <a:gd name="connsiteX6" fmla="*/ 20 w 5749149"/>
              <a:gd name="connsiteY6" fmla="*/ 3796656 h 4413595"/>
              <a:gd name="connsiteX7" fmla="*/ 20 w 5749149"/>
              <a:gd name="connsiteY7" fmla="*/ 3452501 h 4413595"/>
              <a:gd name="connsiteX8" fmla="*/ 0 w 5749149"/>
              <a:gd name="connsiteY8" fmla="*/ 3452501 h 441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49149" h="4413595">
                <a:moveTo>
                  <a:pt x="0" y="0"/>
                </a:moveTo>
                <a:lnTo>
                  <a:pt x="5749148" y="0"/>
                </a:lnTo>
                <a:lnTo>
                  <a:pt x="5749148" y="712034"/>
                </a:lnTo>
                <a:lnTo>
                  <a:pt x="5749149" y="712034"/>
                </a:lnTo>
                <a:lnTo>
                  <a:pt x="5749149" y="4413595"/>
                </a:lnTo>
                <a:lnTo>
                  <a:pt x="616959" y="4413595"/>
                </a:lnTo>
                <a:cubicBezTo>
                  <a:pt x="276233" y="4413595"/>
                  <a:pt x="20" y="4137382"/>
                  <a:pt x="20" y="3796656"/>
                </a:cubicBezTo>
                <a:lnTo>
                  <a:pt x="20" y="3452501"/>
                </a:lnTo>
                <a:lnTo>
                  <a:pt x="0" y="3452501"/>
                </a:lnTo>
                <a:close/>
              </a:path>
            </a:pathLst>
          </a:custGeom>
          <a:solidFill>
            <a:schemeClr val="tx1">
              <a:lumMod val="20000"/>
              <a:lumOff val="80000"/>
            </a:schemeClr>
          </a:solidFill>
        </p:spPr>
        <p:txBody>
          <a:bodyPr wrap="square">
            <a:noAutofit/>
          </a:bodyPr>
          <a:lstStyle>
            <a:lvl1pPr marL="0" indent="0" algn="ctr">
              <a:buNone/>
              <a:defRPr>
                <a:solidFill>
                  <a:schemeClr val="accent1"/>
                </a:solidFill>
              </a:defRPr>
            </a:lvl1pPr>
          </a:lstStyle>
          <a:p>
            <a:r>
              <a:rPr lang="en-GB"/>
              <a:t>Image</a:t>
            </a:r>
          </a:p>
        </p:txBody>
      </p:sp>
    </p:spTree>
    <p:extLst>
      <p:ext uri="{BB962C8B-B14F-4D97-AF65-F5344CB8AC3E}">
        <p14:creationId xmlns:p14="http://schemas.microsoft.com/office/powerpoint/2010/main" val="4019316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3">
          <p15:clr>
            <a:srgbClr val="5ACBF0"/>
          </p15:clr>
        </p15:guide>
        <p15:guide id="2" pos="476">
          <p15:clr>
            <a:srgbClr val="5ACBF0"/>
          </p15:clr>
        </p15:guide>
        <p15:guide id="3" orient="horz" pos="2346">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reaker">
    <p:spTree>
      <p:nvGrpSpPr>
        <p:cNvPr id="1" name=""/>
        <p:cNvGrpSpPr/>
        <p:nvPr/>
      </p:nvGrpSpPr>
      <p:grpSpPr>
        <a:xfrm>
          <a:off x="0" y="0"/>
          <a:ext cx="0" cy="0"/>
          <a:chOff x="0" y="0"/>
          <a:chExt cx="0" cy="0"/>
        </a:xfrm>
      </p:grpSpPr>
      <p:sp>
        <p:nvSpPr>
          <p:cNvPr id="10" name="Tijdelijke aanduiding voor afbeelding 7">
            <a:extLst>
              <a:ext uri="{FF2B5EF4-FFF2-40B4-BE49-F238E27FC236}">
                <a16:creationId xmlns:a16="http://schemas.microsoft.com/office/drawing/2014/main" id="{4DAEAD04-C1FD-4924-B727-1FF08B2835E8}"/>
              </a:ext>
            </a:extLst>
          </p:cNvPr>
          <p:cNvSpPr>
            <a:spLocks noGrp="1"/>
          </p:cNvSpPr>
          <p:nvPr>
            <p:ph type="pic" sz="quarter" idx="13" hasCustomPrompt="1"/>
          </p:nvPr>
        </p:nvSpPr>
        <p:spPr>
          <a:xfrm>
            <a:off x="0" y="0"/>
            <a:ext cx="12192000" cy="6858000"/>
          </a:xfrm>
          <a:solidFill>
            <a:schemeClr val="tx1">
              <a:lumMod val="20000"/>
              <a:lumOff val="80000"/>
            </a:schemeClr>
          </a:solidFill>
        </p:spPr>
        <p:txBody>
          <a:bodyPr/>
          <a:lstStyle>
            <a:lvl1pPr marL="0" indent="0" algn="ctr">
              <a:buNone/>
              <a:defRPr>
                <a:solidFill>
                  <a:schemeClr val="accent1"/>
                </a:solidFill>
              </a:defRPr>
            </a:lvl1pPr>
          </a:lstStyle>
          <a:p>
            <a:r>
              <a:rPr lang="en-GB"/>
              <a:t>Image</a:t>
            </a:r>
          </a:p>
        </p:txBody>
      </p:sp>
      <p:sp>
        <p:nvSpPr>
          <p:cNvPr id="18" name="Tijdelijke aanduiding voor tekst 17">
            <a:extLst>
              <a:ext uri="{FF2B5EF4-FFF2-40B4-BE49-F238E27FC236}">
                <a16:creationId xmlns:a16="http://schemas.microsoft.com/office/drawing/2014/main" id="{134848E4-6B17-49A0-B7F6-34867199C050}"/>
              </a:ext>
            </a:extLst>
          </p:cNvPr>
          <p:cNvSpPr>
            <a:spLocks noGrp="1"/>
          </p:cNvSpPr>
          <p:nvPr>
            <p:ph type="body" sz="quarter" idx="18" hasCustomPrompt="1"/>
          </p:nvPr>
        </p:nvSpPr>
        <p:spPr>
          <a:xfrm>
            <a:off x="336552" y="3070800"/>
            <a:ext cx="3839632" cy="3787200"/>
          </a:xfrm>
          <a:prstGeom prst="round1Rect">
            <a:avLst/>
          </a:prstGeom>
          <a:solidFill>
            <a:srgbClr val="FFFFFF">
              <a:alpha val="85098"/>
            </a:srgbClr>
          </a:solidFill>
        </p:spPr>
        <p:txBody>
          <a:bodyPr wrap="square" lIns="288000" tIns="468000" rIns="72000" bIns="252000">
            <a:noAutofit/>
          </a:bodyPr>
          <a:lstStyle>
            <a:lvl1pPr marL="0" indent="0">
              <a:spcBef>
                <a:spcPts val="0"/>
              </a:spcBef>
              <a:buNone/>
              <a:defRPr sz="3200">
                <a:solidFill>
                  <a:schemeClr val="accent1"/>
                </a:solidFill>
              </a:defRPr>
            </a:lvl1pPr>
          </a:lstStyle>
          <a:p>
            <a:pPr lvl="0"/>
            <a:r>
              <a:rPr lang="en-GB"/>
              <a:t>Breaker text</a:t>
            </a:r>
          </a:p>
        </p:txBody>
      </p:sp>
    </p:spTree>
    <p:extLst>
      <p:ext uri="{BB962C8B-B14F-4D97-AF65-F5344CB8AC3E}">
        <p14:creationId xmlns:p14="http://schemas.microsoft.com/office/powerpoint/2010/main" val="1324257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reaker - Sustainability - 1">
    <p:spTree>
      <p:nvGrpSpPr>
        <p:cNvPr id="1" name=""/>
        <p:cNvGrpSpPr/>
        <p:nvPr/>
      </p:nvGrpSpPr>
      <p:grpSpPr>
        <a:xfrm>
          <a:off x="0" y="0"/>
          <a:ext cx="0" cy="0"/>
          <a:chOff x="0" y="0"/>
          <a:chExt cx="0" cy="0"/>
        </a:xfrm>
      </p:grpSpPr>
      <p:pic>
        <p:nvPicPr>
          <p:cNvPr id="6" name="Tijdelijke aanduiding voor afbeelding 4" descr="Afbeelding met man, muur, binnen, persoon&#10;&#10;Automatisch gegenereerde beschrijving">
            <a:extLst>
              <a:ext uri="{FF2B5EF4-FFF2-40B4-BE49-F238E27FC236}">
                <a16:creationId xmlns:a16="http://schemas.microsoft.com/office/drawing/2014/main" id="{5666F016-DEDE-4115-9CB0-6E425EC45CC4}"/>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Tijdelijke aanduiding voor tekst 17">
            <a:extLst>
              <a:ext uri="{FF2B5EF4-FFF2-40B4-BE49-F238E27FC236}">
                <a16:creationId xmlns:a16="http://schemas.microsoft.com/office/drawing/2014/main" id="{34B2F4B7-36EA-417A-B12D-F6CDC6FD31B7}"/>
              </a:ext>
            </a:extLst>
          </p:cNvPr>
          <p:cNvSpPr>
            <a:spLocks noGrp="1"/>
          </p:cNvSpPr>
          <p:nvPr>
            <p:ph type="body" sz="quarter" idx="18" hasCustomPrompt="1"/>
          </p:nvPr>
        </p:nvSpPr>
        <p:spPr>
          <a:xfrm>
            <a:off x="336552" y="3070800"/>
            <a:ext cx="3839632" cy="3787200"/>
          </a:xfrm>
          <a:prstGeom prst="round1Rect">
            <a:avLst/>
          </a:prstGeom>
          <a:solidFill>
            <a:srgbClr val="FFFFFF">
              <a:alpha val="85098"/>
            </a:srgbClr>
          </a:solidFill>
        </p:spPr>
        <p:txBody>
          <a:bodyPr wrap="square" lIns="288000" tIns="468000" rIns="72000" bIns="252000">
            <a:noAutofit/>
          </a:bodyPr>
          <a:lstStyle>
            <a:lvl1pPr marL="0" indent="0">
              <a:spcBef>
                <a:spcPts val="0"/>
              </a:spcBef>
              <a:buNone/>
              <a:defRPr sz="3200">
                <a:solidFill>
                  <a:schemeClr val="accent1"/>
                </a:solidFill>
              </a:defRPr>
            </a:lvl1pPr>
          </a:lstStyle>
          <a:p>
            <a:pPr lvl="0"/>
            <a:r>
              <a:rPr lang="en-GB"/>
              <a:t>Breaker text</a:t>
            </a:r>
          </a:p>
        </p:txBody>
      </p:sp>
    </p:spTree>
    <p:extLst>
      <p:ext uri="{BB962C8B-B14F-4D97-AF65-F5344CB8AC3E}">
        <p14:creationId xmlns:p14="http://schemas.microsoft.com/office/powerpoint/2010/main" val="3181114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bject, image left - 3">
    <p:bg>
      <p:bgPr>
        <a:solidFill>
          <a:schemeClr val="bg1"/>
        </a:solidFill>
        <a:effectLst/>
      </p:bgPr>
    </p:bg>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865AA58E-D40A-0313-6154-7A140A71FE56}"/>
              </a:ext>
            </a:extLst>
          </p:cNvPr>
          <p:cNvSpPr>
            <a:spLocks noGrp="1" noChangeAspect="1"/>
          </p:cNvSpPr>
          <p:nvPr>
            <p:ph type="pic" sz="quarter" idx="14"/>
          </p:nvPr>
        </p:nvSpPr>
        <p:spPr>
          <a:xfrm>
            <a:off x="580291" y="1725060"/>
            <a:ext cx="4447451" cy="4343424"/>
          </a:xfrm>
          <a:custGeom>
            <a:avLst/>
            <a:gdLst>
              <a:gd name="connsiteX0" fmla="*/ 1678918 w 3335588"/>
              <a:gd name="connsiteY0" fmla="*/ 0 h 3257568"/>
              <a:gd name="connsiteX1" fmla="*/ 2848595 w 3335588"/>
              <a:gd name="connsiteY1" fmla="*/ 461675 h 3257568"/>
              <a:gd name="connsiteX2" fmla="*/ 3335505 w 3335588"/>
              <a:gd name="connsiteY2" fmla="*/ 1629238 h 3257568"/>
              <a:gd name="connsiteX3" fmla="*/ 3335588 w 3335588"/>
              <a:gd name="connsiteY3" fmla="*/ 1629321 h 3257568"/>
              <a:gd name="connsiteX4" fmla="*/ 2837015 w 3335588"/>
              <a:gd name="connsiteY4" fmla="*/ 2785325 h 3257568"/>
              <a:gd name="connsiteX5" fmla="*/ 1678918 w 3335588"/>
              <a:gd name="connsiteY5" fmla="*/ 3257568 h 3257568"/>
              <a:gd name="connsiteX6" fmla="*/ 519580 w 3335588"/>
              <a:gd name="connsiteY6" fmla="*/ 2786563 h 3257568"/>
              <a:gd name="connsiteX7" fmla="*/ 0 w 3335588"/>
              <a:gd name="connsiteY7" fmla="*/ 1629321 h 3257568"/>
              <a:gd name="connsiteX8" fmla="*/ 528596 w 3335588"/>
              <a:gd name="connsiteY8" fmla="*/ 481077 h 3257568"/>
              <a:gd name="connsiteX9" fmla="*/ 1678918 w 3335588"/>
              <a:gd name="connsiteY9" fmla="*/ 0 h 325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35588" h="3257568">
                <a:moveTo>
                  <a:pt x="1678918" y="0"/>
                </a:moveTo>
                <a:cubicBezTo>
                  <a:pt x="2135722" y="0"/>
                  <a:pt x="2549269" y="162891"/>
                  <a:pt x="2848595" y="461675"/>
                </a:cubicBezTo>
                <a:cubicBezTo>
                  <a:pt x="3147920" y="760460"/>
                  <a:pt x="3335505" y="1173342"/>
                  <a:pt x="3335505" y="1629238"/>
                </a:cubicBezTo>
                <a:lnTo>
                  <a:pt x="3335588" y="1629321"/>
                </a:lnTo>
                <a:cubicBezTo>
                  <a:pt x="3335588" y="2085299"/>
                  <a:pt x="3136423" y="2486541"/>
                  <a:pt x="2837015" y="2785325"/>
                </a:cubicBezTo>
                <a:cubicBezTo>
                  <a:pt x="2537690" y="3084110"/>
                  <a:pt x="2135722" y="3257568"/>
                  <a:pt x="1678918" y="3257568"/>
                </a:cubicBezTo>
                <a:cubicBezTo>
                  <a:pt x="1222114" y="3257568"/>
                  <a:pt x="818906" y="3085348"/>
                  <a:pt x="519580" y="2786563"/>
                </a:cubicBezTo>
                <a:cubicBezTo>
                  <a:pt x="220255" y="2487697"/>
                  <a:pt x="0" y="2085299"/>
                  <a:pt x="0" y="1629321"/>
                </a:cubicBezTo>
                <a:cubicBezTo>
                  <a:pt x="0" y="1173342"/>
                  <a:pt x="229270" y="779861"/>
                  <a:pt x="528596" y="481077"/>
                </a:cubicBezTo>
                <a:cubicBezTo>
                  <a:pt x="827921" y="182292"/>
                  <a:pt x="1222114" y="0"/>
                  <a:pt x="1678918" y="0"/>
                </a:cubicBezTo>
                <a:close/>
              </a:path>
            </a:pathLst>
          </a:custGeom>
          <a:solidFill>
            <a:schemeClr val="tx1">
              <a:lumMod val="20000"/>
              <a:lumOff val="80000"/>
            </a:schemeClr>
          </a:solidFill>
        </p:spPr>
        <p:txBody>
          <a:bodyPr wrap="square" tIns="396000">
            <a:noAutofit/>
          </a:bodyPr>
          <a:lstStyle>
            <a:lvl1pPr marL="0" indent="0" algn="ctr">
              <a:buNone/>
              <a:defRPr/>
            </a:lvl1pPr>
          </a:lstStyle>
          <a:p>
            <a:r>
              <a:rPr lang="en-US"/>
              <a:t>Click icon to add picture</a:t>
            </a:r>
            <a:endParaRPr lang="en-GB"/>
          </a:p>
        </p:txBody>
      </p:sp>
      <p:sp>
        <p:nvSpPr>
          <p:cNvPr id="2" name="Title 1"/>
          <p:cNvSpPr>
            <a:spLocks noGrp="1"/>
          </p:cNvSpPr>
          <p:nvPr>
            <p:ph type="title" hasCustomPrompt="1"/>
          </p:nvPr>
        </p:nvSpPr>
        <p:spPr>
          <a:xfrm>
            <a:off x="580291" y="548218"/>
            <a:ext cx="11035975" cy="1036965"/>
          </a:xfrm>
        </p:spPr>
        <p:txBody>
          <a:bodyPr/>
          <a:lstStyle/>
          <a:p>
            <a:r>
              <a:rPr lang="en-GB"/>
              <a:t>Click to add title</a:t>
            </a:r>
          </a:p>
        </p:txBody>
      </p:sp>
      <p:sp>
        <p:nvSpPr>
          <p:cNvPr id="3" name="Content Placeholder 2"/>
          <p:cNvSpPr>
            <a:spLocks noGrp="1"/>
          </p:cNvSpPr>
          <p:nvPr>
            <p:ph idx="1" hasCustomPrompt="1"/>
          </p:nvPr>
        </p:nvSpPr>
        <p:spPr>
          <a:xfrm>
            <a:off x="5277694" y="1701801"/>
            <a:ext cx="6338572" cy="4366684"/>
          </a:xfrm>
        </p:spPr>
        <p:txBody>
          <a:bodyPr/>
          <a:lstStyle>
            <a:lvl1pPr>
              <a:defRPr/>
            </a:lvl1pPr>
          </a:lstStyle>
          <a:p>
            <a:pPr lvl="0"/>
            <a:r>
              <a:rPr lang="en-GB"/>
              <a:t>Click to add text or object</a:t>
            </a:r>
          </a:p>
          <a:p>
            <a:pPr lvl="1"/>
            <a:r>
              <a:rPr lang="en-GB"/>
              <a:t>Text level 2</a:t>
            </a:r>
          </a:p>
          <a:p>
            <a:pPr lvl="2"/>
            <a:r>
              <a:rPr lang="en-GB"/>
              <a:t>Text level 3</a:t>
            </a:r>
          </a:p>
          <a:p>
            <a:pPr lvl="3"/>
            <a:r>
              <a:rPr lang="en-GB"/>
              <a:t>Text level 4</a:t>
            </a:r>
          </a:p>
          <a:p>
            <a:pPr lvl="4"/>
            <a:r>
              <a:rPr lang="en-GB"/>
              <a:t>Text level 5</a:t>
            </a:r>
          </a:p>
        </p:txBody>
      </p:sp>
      <p:sp>
        <p:nvSpPr>
          <p:cNvPr id="4" name="Date Placeholder 3"/>
          <p:cNvSpPr>
            <a:spLocks noGrp="1"/>
          </p:cNvSpPr>
          <p:nvPr>
            <p:ph type="dt" sz="half" idx="10"/>
          </p:nvPr>
        </p:nvSpPr>
        <p:spPr/>
        <p:txBody>
          <a:bodyPr/>
          <a:lstStyle/>
          <a:p>
            <a:fld id="{763B6CFB-38FF-46D0-9FAE-208D593911E0}" type="datetime1">
              <a:rPr lang="en-GB" smtClean="0"/>
              <a:t>18/04/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Tree>
    <p:extLst>
      <p:ext uri="{BB962C8B-B14F-4D97-AF65-F5344CB8AC3E}">
        <p14:creationId xmlns:p14="http://schemas.microsoft.com/office/powerpoint/2010/main" val="3410599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reaker - Sustainability - 2">
    <p:spTree>
      <p:nvGrpSpPr>
        <p:cNvPr id="1" name=""/>
        <p:cNvGrpSpPr/>
        <p:nvPr/>
      </p:nvGrpSpPr>
      <p:grpSpPr>
        <a:xfrm>
          <a:off x="0" y="0"/>
          <a:ext cx="0" cy="0"/>
          <a:chOff x="0" y="0"/>
          <a:chExt cx="0" cy="0"/>
        </a:xfrm>
      </p:grpSpPr>
      <p:pic>
        <p:nvPicPr>
          <p:cNvPr id="8" name="Tijdelijke aanduiding voor afbeelding 4" descr="Afbeelding met muur, binnen, staand, man&#10;&#10;Automatisch gegenereerde beschrijving">
            <a:extLst>
              <a:ext uri="{FF2B5EF4-FFF2-40B4-BE49-F238E27FC236}">
                <a16:creationId xmlns:a16="http://schemas.microsoft.com/office/drawing/2014/main" id="{C2F280A5-C404-4589-B38B-35E808D5E831}"/>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a:fillRect/>
          </a:stretch>
        </p:blipFill>
        <p:spPr>
          <a:xfrm>
            <a:off x="0" y="0"/>
            <a:ext cx="12192000" cy="6858000"/>
          </a:xfrm>
          <a:prstGeom prst="rect">
            <a:avLst/>
          </a:prstGeom>
        </p:spPr>
      </p:pic>
      <p:sp>
        <p:nvSpPr>
          <p:cNvPr id="5" name="Tijdelijke aanduiding voor tekst 17">
            <a:extLst>
              <a:ext uri="{FF2B5EF4-FFF2-40B4-BE49-F238E27FC236}">
                <a16:creationId xmlns:a16="http://schemas.microsoft.com/office/drawing/2014/main" id="{934913D2-2BD7-4D5C-9A52-9D6706141DD8}"/>
              </a:ext>
            </a:extLst>
          </p:cNvPr>
          <p:cNvSpPr>
            <a:spLocks noGrp="1"/>
          </p:cNvSpPr>
          <p:nvPr>
            <p:ph type="body" sz="quarter" idx="18" hasCustomPrompt="1"/>
          </p:nvPr>
        </p:nvSpPr>
        <p:spPr>
          <a:xfrm>
            <a:off x="336552" y="3070800"/>
            <a:ext cx="3839632" cy="3787200"/>
          </a:xfrm>
          <a:prstGeom prst="round1Rect">
            <a:avLst/>
          </a:prstGeom>
          <a:solidFill>
            <a:srgbClr val="FFFFFF">
              <a:alpha val="85098"/>
            </a:srgbClr>
          </a:solidFill>
        </p:spPr>
        <p:txBody>
          <a:bodyPr wrap="square" lIns="288000" tIns="468000" rIns="72000" bIns="252000">
            <a:noAutofit/>
          </a:bodyPr>
          <a:lstStyle>
            <a:lvl1pPr marL="0" indent="0">
              <a:spcBef>
                <a:spcPts val="0"/>
              </a:spcBef>
              <a:buNone/>
              <a:defRPr sz="3200">
                <a:solidFill>
                  <a:schemeClr val="accent1"/>
                </a:solidFill>
              </a:defRPr>
            </a:lvl1pPr>
          </a:lstStyle>
          <a:p>
            <a:pPr lvl="0"/>
            <a:r>
              <a:rPr lang="en-GB"/>
              <a:t>Breaker text</a:t>
            </a:r>
          </a:p>
        </p:txBody>
      </p:sp>
    </p:spTree>
    <p:extLst>
      <p:ext uri="{BB962C8B-B14F-4D97-AF65-F5344CB8AC3E}">
        <p14:creationId xmlns:p14="http://schemas.microsoft.com/office/powerpoint/2010/main" val="2080558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reaker - Sustainability 3">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69C679A2-B3B6-4430-9CDA-E92B50EAFBF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6" name="Tijdelijke aanduiding voor tekst 17">
            <a:extLst>
              <a:ext uri="{FF2B5EF4-FFF2-40B4-BE49-F238E27FC236}">
                <a16:creationId xmlns:a16="http://schemas.microsoft.com/office/drawing/2014/main" id="{845C6ED4-5203-474D-B0E3-EE3169CF37C7}"/>
              </a:ext>
            </a:extLst>
          </p:cNvPr>
          <p:cNvSpPr>
            <a:spLocks noGrp="1"/>
          </p:cNvSpPr>
          <p:nvPr>
            <p:ph type="body" sz="quarter" idx="18" hasCustomPrompt="1"/>
          </p:nvPr>
        </p:nvSpPr>
        <p:spPr>
          <a:xfrm>
            <a:off x="336552" y="3070800"/>
            <a:ext cx="3839632" cy="3787200"/>
          </a:xfrm>
          <a:prstGeom prst="round1Rect">
            <a:avLst/>
          </a:prstGeom>
          <a:solidFill>
            <a:srgbClr val="FFFFFF">
              <a:alpha val="85098"/>
            </a:srgbClr>
          </a:solidFill>
        </p:spPr>
        <p:txBody>
          <a:bodyPr wrap="square" lIns="288000" tIns="468000" rIns="72000" bIns="252000">
            <a:noAutofit/>
          </a:bodyPr>
          <a:lstStyle>
            <a:lvl1pPr marL="0" indent="0">
              <a:spcBef>
                <a:spcPts val="0"/>
              </a:spcBef>
              <a:buNone/>
              <a:defRPr sz="3200">
                <a:solidFill>
                  <a:schemeClr val="accent1"/>
                </a:solidFill>
              </a:defRPr>
            </a:lvl1pPr>
          </a:lstStyle>
          <a:p>
            <a:pPr lvl="0"/>
            <a:r>
              <a:rPr lang="en-GB"/>
              <a:t>Breaker text</a:t>
            </a:r>
          </a:p>
        </p:txBody>
      </p:sp>
    </p:spTree>
    <p:extLst>
      <p:ext uri="{BB962C8B-B14F-4D97-AF65-F5344CB8AC3E}">
        <p14:creationId xmlns:p14="http://schemas.microsoft.com/office/powerpoint/2010/main" val="1151958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reaker - R&amp;D">
    <p:spTree>
      <p:nvGrpSpPr>
        <p:cNvPr id="1" name=""/>
        <p:cNvGrpSpPr/>
        <p:nvPr/>
      </p:nvGrpSpPr>
      <p:grpSpPr>
        <a:xfrm>
          <a:off x="0" y="0"/>
          <a:ext cx="0" cy="0"/>
          <a:chOff x="0" y="0"/>
          <a:chExt cx="0" cy="0"/>
        </a:xfrm>
      </p:grpSpPr>
      <p:pic>
        <p:nvPicPr>
          <p:cNvPr id="7" name="Tijdelijke aanduiding voor afbeelding 4" descr="Afbeelding met muur, binnen, man, kast&#10;&#10;Automatisch gegenereerde beschrijving">
            <a:extLst>
              <a:ext uri="{FF2B5EF4-FFF2-40B4-BE49-F238E27FC236}">
                <a16:creationId xmlns:a16="http://schemas.microsoft.com/office/drawing/2014/main" id="{6FE5F232-D9F7-4D5C-8553-EF43D6694C32}"/>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a:fillRect/>
          </a:stretch>
        </p:blipFill>
        <p:spPr>
          <a:xfrm>
            <a:off x="0" y="0"/>
            <a:ext cx="12192000" cy="6858000"/>
          </a:xfrm>
          <a:prstGeom prst="rect">
            <a:avLst/>
          </a:prstGeom>
        </p:spPr>
      </p:pic>
      <p:sp>
        <p:nvSpPr>
          <p:cNvPr id="5" name="Tijdelijke aanduiding voor tekst 17">
            <a:extLst>
              <a:ext uri="{FF2B5EF4-FFF2-40B4-BE49-F238E27FC236}">
                <a16:creationId xmlns:a16="http://schemas.microsoft.com/office/drawing/2014/main" id="{A5260415-F4F8-491F-A12A-E8E28553D8D3}"/>
              </a:ext>
            </a:extLst>
          </p:cNvPr>
          <p:cNvSpPr>
            <a:spLocks noGrp="1"/>
          </p:cNvSpPr>
          <p:nvPr>
            <p:ph type="body" sz="quarter" idx="18" hasCustomPrompt="1"/>
          </p:nvPr>
        </p:nvSpPr>
        <p:spPr>
          <a:xfrm>
            <a:off x="336552" y="3070800"/>
            <a:ext cx="3839632" cy="3787200"/>
          </a:xfrm>
          <a:prstGeom prst="round1Rect">
            <a:avLst/>
          </a:prstGeom>
          <a:solidFill>
            <a:srgbClr val="FFFFFF">
              <a:alpha val="85098"/>
            </a:srgbClr>
          </a:solidFill>
        </p:spPr>
        <p:txBody>
          <a:bodyPr wrap="square" lIns="288000" tIns="468000" rIns="72000" bIns="252000">
            <a:noAutofit/>
          </a:bodyPr>
          <a:lstStyle>
            <a:lvl1pPr marL="0" indent="0">
              <a:spcBef>
                <a:spcPts val="0"/>
              </a:spcBef>
              <a:buNone/>
              <a:defRPr sz="3200">
                <a:solidFill>
                  <a:schemeClr val="accent1"/>
                </a:solidFill>
              </a:defRPr>
            </a:lvl1pPr>
          </a:lstStyle>
          <a:p>
            <a:pPr lvl="0"/>
            <a:r>
              <a:rPr lang="en-GB"/>
              <a:t>Breaker text</a:t>
            </a:r>
          </a:p>
        </p:txBody>
      </p:sp>
    </p:spTree>
    <p:extLst>
      <p:ext uri="{BB962C8B-B14F-4D97-AF65-F5344CB8AC3E}">
        <p14:creationId xmlns:p14="http://schemas.microsoft.com/office/powerpoint/2010/main" val="715356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reaker - Collaboration - 1">
    <p:spTree>
      <p:nvGrpSpPr>
        <p:cNvPr id="1" name=""/>
        <p:cNvGrpSpPr/>
        <p:nvPr/>
      </p:nvGrpSpPr>
      <p:grpSpPr>
        <a:xfrm>
          <a:off x="0" y="0"/>
          <a:ext cx="0" cy="0"/>
          <a:chOff x="0" y="0"/>
          <a:chExt cx="0" cy="0"/>
        </a:xfrm>
      </p:grpSpPr>
      <p:pic>
        <p:nvPicPr>
          <p:cNvPr id="7" name="Tijdelijke aanduiding voor afbeelding 4" descr="Afbeelding met muur&#10;&#10;Automatisch gegenereerde beschrijving">
            <a:extLst>
              <a:ext uri="{FF2B5EF4-FFF2-40B4-BE49-F238E27FC236}">
                <a16:creationId xmlns:a16="http://schemas.microsoft.com/office/drawing/2014/main" id="{B7C05AA1-1AB3-4A67-A102-A71347837EC4}"/>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a:fillRect/>
          </a:stretch>
        </p:blipFill>
        <p:spPr>
          <a:xfrm>
            <a:off x="0" y="0"/>
            <a:ext cx="12192000" cy="6858000"/>
          </a:xfrm>
          <a:prstGeom prst="rect">
            <a:avLst/>
          </a:prstGeom>
        </p:spPr>
      </p:pic>
      <p:sp>
        <p:nvSpPr>
          <p:cNvPr id="5" name="Tijdelijke aanduiding voor tekst 17">
            <a:extLst>
              <a:ext uri="{FF2B5EF4-FFF2-40B4-BE49-F238E27FC236}">
                <a16:creationId xmlns:a16="http://schemas.microsoft.com/office/drawing/2014/main" id="{DFB2AE59-8362-4C8B-A8BB-641B82F8AD46}"/>
              </a:ext>
            </a:extLst>
          </p:cNvPr>
          <p:cNvSpPr>
            <a:spLocks noGrp="1"/>
          </p:cNvSpPr>
          <p:nvPr>
            <p:ph type="body" sz="quarter" idx="18" hasCustomPrompt="1"/>
          </p:nvPr>
        </p:nvSpPr>
        <p:spPr>
          <a:xfrm>
            <a:off x="336552" y="3070800"/>
            <a:ext cx="3839632" cy="3787200"/>
          </a:xfrm>
          <a:prstGeom prst="round1Rect">
            <a:avLst/>
          </a:prstGeom>
          <a:solidFill>
            <a:srgbClr val="FFFFFF">
              <a:alpha val="85098"/>
            </a:srgbClr>
          </a:solidFill>
        </p:spPr>
        <p:txBody>
          <a:bodyPr wrap="square" lIns="288000" tIns="468000" rIns="72000" bIns="252000">
            <a:noAutofit/>
          </a:bodyPr>
          <a:lstStyle>
            <a:lvl1pPr marL="0" indent="0">
              <a:spcBef>
                <a:spcPts val="0"/>
              </a:spcBef>
              <a:buNone/>
              <a:defRPr sz="3200">
                <a:solidFill>
                  <a:schemeClr val="accent1"/>
                </a:solidFill>
              </a:defRPr>
            </a:lvl1pPr>
          </a:lstStyle>
          <a:p>
            <a:pPr lvl="0"/>
            <a:r>
              <a:rPr lang="en-GB"/>
              <a:t>Breaker text</a:t>
            </a:r>
          </a:p>
        </p:txBody>
      </p:sp>
    </p:spTree>
    <p:extLst>
      <p:ext uri="{BB962C8B-B14F-4D97-AF65-F5344CB8AC3E}">
        <p14:creationId xmlns:p14="http://schemas.microsoft.com/office/powerpoint/2010/main" val="2461990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reaker - Collaboration - 2">
    <p:spTree>
      <p:nvGrpSpPr>
        <p:cNvPr id="1" name=""/>
        <p:cNvGrpSpPr/>
        <p:nvPr/>
      </p:nvGrpSpPr>
      <p:grpSpPr>
        <a:xfrm>
          <a:off x="0" y="0"/>
          <a:ext cx="0" cy="0"/>
          <a:chOff x="0" y="0"/>
          <a:chExt cx="0" cy="0"/>
        </a:xfrm>
      </p:grpSpPr>
      <p:pic>
        <p:nvPicPr>
          <p:cNvPr id="7" name="Tijdelijke aanduiding voor afbeelding 4">
            <a:extLst>
              <a:ext uri="{FF2B5EF4-FFF2-40B4-BE49-F238E27FC236}">
                <a16:creationId xmlns:a16="http://schemas.microsoft.com/office/drawing/2014/main" id="{B7C05AA1-1AB3-4A67-A102-A71347837EC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Tijdelijke aanduiding voor tekst 17">
            <a:extLst>
              <a:ext uri="{FF2B5EF4-FFF2-40B4-BE49-F238E27FC236}">
                <a16:creationId xmlns:a16="http://schemas.microsoft.com/office/drawing/2014/main" id="{834A538F-AFC5-4D9D-91DC-5D03FE955860}"/>
              </a:ext>
            </a:extLst>
          </p:cNvPr>
          <p:cNvSpPr>
            <a:spLocks noGrp="1"/>
          </p:cNvSpPr>
          <p:nvPr>
            <p:ph type="body" sz="quarter" idx="18" hasCustomPrompt="1"/>
          </p:nvPr>
        </p:nvSpPr>
        <p:spPr>
          <a:xfrm>
            <a:off x="336552" y="3070800"/>
            <a:ext cx="3839632" cy="3787200"/>
          </a:xfrm>
          <a:prstGeom prst="round1Rect">
            <a:avLst/>
          </a:prstGeom>
          <a:solidFill>
            <a:srgbClr val="FFFFFF">
              <a:alpha val="85098"/>
            </a:srgbClr>
          </a:solidFill>
        </p:spPr>
        <p:txBody>
          <a:bodyPr wrap="square" lIns="288000" tIns="468000" rIns="72000" bIns="252000">
            <a:noAutofit/>
          </a:bodyPr>
          <a:lstStyle>
            <a:lvl1pPr marL="0" indent="0">
              <a:spcBef>
                <a:spcPts val="0"/>
              </a:spcBef>
              <a:buNone/>
              <a:defRPr sz="3200">
                <a:solidFill>
                  <a:schemeClr val="accent1"/>
                </a:solidFill>
              </a:defRPr>
            </a:lvl1pPr>
          </a:lstStyle>
          <a:p>
            <a:pPr lvl="0"/>
            <a:r>
              <a:rPr lang="en-GB"/>
              <a:t>Breaker text</a:t>
            </a:r>
          </a:p>
        </p:txBody>
      </p:sp>
    </p:spTree>
    <p:extLst>
      <p:ext uri="{BB962C8B-B14F-4D97-AF65-F5344CB8AC3E}">
        <p14:creationId xmlns:p14="http://schemas.microsoft.com/office/powerpoint/2010/main" val="3627117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reaker - Supply Chain - 1">
    <p:spTree>
      <p:nvGrpSpPr>
        <p:cNvPr id="1" name=""/>
        <p:cNvGrpSpPr/>
        <p:nvPr/>
      </p:nvGrpSpPr>
      <p:grpSpPr>
        <a:xfrm>
          <a:off x="0" y="0"/>
          <a:ext cx="0" cy="0"/>
          <a:chOff x="0" y="0"/>
          <a:chExt cx="0" cy="0"/>
        </a:xfrm>
      </p:grpSpPr>
      <p:pic>
        <p:nvPicPr>
          <p:cNvPr id="4" name="Picture Placeholder 4" descr="A close-up of a factory&#10;&#10;Description automatically generated with low confidence">
            <a:extLst>
              <a:ext uri="{FF2B5EF4-FFF2-40B4-BE49-F238E27FC236}">
                <a16:creationId xmlns:a16="http://schemas.microsoft.com/office/drawing/2014/main" id="{02C78875-50CD-457D-BE8F-ACE1B867F28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0"/>
            <a:ext cx="12192000" cy="6858000"/>
          </a:xfrm>
          <a:prstGeom prst="rect">
            <a:avLst/>
          </a:prstGeom>
        </p:spPr>
      </p:pic>
      <p:sp>
        <p:nvSpPr>
          <p:cNvPr id="7" name="Tijdelijke aanduiding voor tekst 17">
            <a:extLst>
              <a:ext uri="{FF2B5EF4-FFF2-40B4-BE49-F238E27FC236}">
                <a16:creationId xmlns:a16="http://schemas.microsoft.com/office/drawing/2014/main" id="{EB178381-191C-4711-99D2-2EBC5481F9E3}"/>
              </a:ext>
            </a:extLst>
          </p:cNvPr>
          <p:cNvSpPr>
            <a:spLocks noGrp="1"/>
          </p:cNvSpPr>
          <p:nvPr>
            <p:ph type="body" sz="quarter" idx="18" hasCustomPrompt="1"/>
          </p:nvPr>
        </p:nvSpPr>
        <p:spPr>
          <a:xfrm>
            <a:off x="336552" y="3070800"/>
            <a:ext cx="3839632" cy="3787200"/>
          </a:xfrm>
          <a:prstGeom prst="round1Rect">
            <a:avLst/>
          </a:prstGeom>
          <a:solidFill>
            <a:srgbClr val="FFFFFF">
              <a:alpha val="85098"/>
            </a:srgbClr>
          </a:solidFill>
        </p:spPr>
        <p:txBody>
          <a:bodyPr wrap="square" lIns="288000" tIns="468000" rIns="72000" bIns="252000">
            <a:noAutofit/>
          </a:bodyPr>
          <a:lstStyle>
            <a:lvl1pPr marL="0" indent="0">
              <a:spcBef>
                <a:spcPts val="0"/>
              </a:spcBef>
              <a:buNone/>
              <a:defRPr sz="3200">
                <a:solidFill>
                  <a:schemeClr val="accent1"/>
                </a:solidFill>
              </a:defRPr>
            </a:lvl1pPr>
          </a:lstStyle>
          <a:p>
            <a:pPr lvl="0"/>
            <a:r>
              <a:rPr lang="en-GB"/>
              <a:t>Breaker text</a:t>
            </a:r>
          </a:p>
        </p:txBody>
      </p:sp>
    </p:spTree>
    <p:extLst>
      <p:ext uri="{BB962C8B-B14F-4D97-AF65-F5344CB8AC3E}">
        <p14:creationId xmlns:p14="http://schemas.microsoft.com/office/powerpoint/2010/main" val="4005758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reaker - Supply Chain - 2">
    <p:spTree>
      <p:nvGrpSpPr>
        <p:cNvPr id="1" name=""/>
        <p:cNvGrpSpPr/>
        <p:nvPr/>
      </p:nvGrpSpPr>
      <p:grpSpPr>
        <a:xfrm>
          <a:off x="0" y="0"/>
          <a:ext cx="0" cy="0"/>
          <a:chOff x="0" y="0"/>
          <a:chExt cx="0" cy="0"/>
        </a:xfrm>
      </p:grpSpPr>
      <p:pic>
        <p:nvPicPr>
          <p:cNvPr id="5" name="Picture Placeholder 8" descr="A picture containing sky, outdoor, parked&#10;&#10;Description automatically generated">
            <a:extLst>
              <a:ext uri="{FF2B5EF4-FFF2-40B4-BE49-F238E27FC236}">
                <a16:creationId xmlns:a16="http://schemas.microsoft.com/office/drawing/2014/main" id="{E75D20D3-E820-4BAF-800F-09FA2E751FC8}"/>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0"/>
            <a:ext cx="12192000" cy="6858000"/>
          </a:xfrm>
          <a:prstGeom prst="rect">
            <a:avLst/>
          </a:prstGeom>
        </p:spPr>
      </p:pic>
      <p:sp>
        <p:nvSpPr>
          <p:cNvPr id="7" name="Tijdelijke aanduiding voor tekst 17">
            <a:extLst>
              <a:ext uri="{FF2B5EF4-FFF2-40B4-BE49-F238E27FC236}">
                <a16:creationId xmlns:a16="http://schemas.microsoft.com/office/drawing/2014/main" id="{EB178381-191C-4711-99D2-2EBC5481F9E3}"/>
              </a:ext>
            </a:extLst>
          </p:cNvPr>
          <p:cNvSpPr>
            <a:spLocks noGrp="1"/>
          </p:cNvSpPr>
          <p:nvPr>
            <p:ph type="body" sz="quarter" idx="18" hasCustomPrompt="1"/>
          </p:nvPr>
        </p:nvSpPr>
        <p:spPr>
          <a:xfrm>
            <a:off x="336552" y="3070800"/>
            <a:ext cx="3839632" cy="3787200"/>
          </a:xfrm>
          <a:prstGeom prst="round1Rect">
            <a:avLst/>
          </a:prstGeom>
          <a:solidFill>
            <a:srgbClr val="FFFFFF">
              <a:alpha val="85098"/>
            </a:srgbClr>
          </a:solidFill>
        </p:spPr>
        <p:txBody>
          <a:bodyPr wrap="square" lIns="288000" tIns="468000" rIns="72000" bIns="252000">
            <a:noAutofit/>
          </a:bodyPr>
          <a:lstStyle>
            <a:lvl1pPr marL="0" indent="0">
              <a:spcBef>
                <a:spcPts val="0"/>
              </a:spcBef>
              <a:buNone/>
              <a:defRPr sz="3200">
                <a:solidFill>
                  <a:schemeClr val="accent1"/>
                </a:solidFill>
              </a:defRPr>
            </a:lvl1pPr>
          </a:lstStyle>
          <a:p>
            <a:pPr lvl="0"/>
            <a:r>
              <a:rPr lang="en-GB"/>
              <a:t>Breaker text</a:t>
            </a:r>
          </a:p>
        </p:txBody>
      </p:sp>
    </p:spTree>
    <p:extLst>
      <p:ext uri="{BB962C8B-B14F-4D97-AF65-F5344CB8AC3E}">
        <p14:creationId xmlns:p14="http://schemas.microsoft.com/office/powerpoint/2010/main" val="3769152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reaker - Supply Chain - 3">
    <p:spTree>
      <p:nvGrpSpPr>
        <p:cNvPr id="1" name=""/>
        <p:cNvGrpSpPr/>
        <p:nvPr/>
      </p:nvGrpSpPr>
      <p:grpSpPr>
        <a:xfrm>
          <a:off x="0" y="0"/>
          <a:ext cx="0" cy="0"/>
          <a:chOff x="0" y="0"/>
          <a:chExt cx="0" cy="0"/>
        </a:xfrm>
      </p:grpSpPr>
      <p:pic>
        <p:nvPicPr>
          <p:cNvPr id="5" name="Picture Placeholder 12">
            <a:extLst>
              <a:ext uri="{FF2B5EF4-FFF2-40B4-BE49-F238E27FC236}">
                <a16:creationId xmlns:a16="http://schemas.microsoft.com/office/drawing/2014/main" id="{664633FB-AF1B-49E6-8F9E-E9F809C4538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0"/>
            <a:ext cx="12192000" cy="6858000"/>
          </a:xfrm>
          <a:prstGeom prst="rect">
            <a:avLst/>
          </a:prstGeom>
        </p:spPr>
      </p:pic>
      <p:sp>
        <p:nvSpPr>
          <p:cNvPr id="7" name="Tijdelijke aanduiding voor tekst 17">
            <a:extLst>
              <a:ext uri="{FF2B5EF4-FFF2-40B4-BE49-F238E27FC236}">
                <a16:creationId xmlns:a16="http://schemas.microsoft.com/office/drawing/2014/main" id="{EB178381-191C-4711-99D2-2EBC5481F9E3}"/>
              </a:ext>
            </a:extLst>
          </p:cNvPr>
          <p:cNvSpPr>
            <a:spLocks noGrp="1"/>
          </p:cNvSpPr>
          <p:nvPr>
            <p:ph type="body" sz="quarter" idx="18" hasCustomPrompt="1"/>
          </p:nvPr>
        </p:nvSpPr>
        <p:spPr>
          <a:xfrm>
            <a:off x="336552" y="3070800"/>
            <a:ext cx="3839632" cy="3787200"/>
          </a:xfrm>
          <a:prstGeom prst="round1Rect">
            <a:avLst/>
          </a:prstGeom>
          <a:solidFill>
            <a:srgbClr val="FFFFFF">
              <a:alpha val="85098"/>
            </a:srgbClr>
          </a:solidFill>
        </p:spPr>
        <p:txBody>
          <a:bodyPr wrap="square" lIns="288000" tIns="468000" rIns="72000" bIns="252000">
            <a:noAutofit/>
          </a:bodyPr>
          <a:lstStyle>
            <a:lvl1pPr marL="0" indent="0">
              <a:spcBef>
                <a:spcPts val="0"/>
              </a:spcBef>
              <a:buNone/>
              <a:defRPr sz="3200">
                <a:solidFill>
                  <a:schemeClr val="accent1"/>
                </a:solidFill>
              </a:defRPr>
            </a:lvl1pPr>
          </a:lstStyle>
          <a:p>
            <a:pPr lvl="0"/>
            <a:r>
              <a:rPr lang="en-GB"/>
              <a:t>Breaker text</a:t>
            </a:r>
          </a:p>
        </p:txBody>
      </p:sp>
    </p:spTree>
    <p:extLst>
      <p:ext uri="{BB962C8B-B14F-4D97-AF65-F5344CB8AC3E}">
        <p14:creationId xmlns:p14="http://schemas.microsoft.com/office/powerpoint/2010/main" val="1423901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reaker - Supply Chain - 5">
    <p:spTree>
      <p:nvGrpSpPr>
        <p:cNvPr id="1" name=""/>
        <p:cNvGrpSpPr/>
        <p:nvPr/>
      </p:nvGrpSpPr>
      <p:grpSpPr>
        <a:xfrm>
          <a:off x="0" y="0"/>
          <a:ext cx="0" cy="0"/>
          <a:chOff x="0" y="0"/>
          <a:chExt cx="0" cy="0"/>
        </a:xfrm>
      </p:grpSpPr>
      <p:pic>
        <p:nvPicPr>
          <p:cNvPr id="3" name="Picture 2" descr="A picture containing text, building, metal&#10;&#10;Description automatically generated">
            <a:extLst>
              <a:ext uri="{FF2B5EF4-FFF2-40B4-BE49-F238E27FC236}">
                <a16:creationId xmlns:a16="http://schemas.microsoft.com/office/drawing/2014/main" id="{666F5477-C8C2-4EDB-887B-F024B1CD5F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ijdelijke aanduiding voor tekst 17">
            <a:extLst>
              <a:ext uri="{FF2B5EF4-FFF2-40B4-BE49-F238E27FC236}">
                <a16:creationId xmlns:a16="http://schemas.microsoft.com/office/drawing/2014/main" id="{EB178381-191C-4711-99D2-2EBC5481F9E3}"/>
              </a:ext>
            </a:extLst>
          </p:cNvPr>
          <p:cNvSpPr>
            <a:spLocks noGrp="1"/>
          </p:cNvSpPr>
          <p:nvPr>
            <p:ph type="body" sz="quarter" idx="18" hasCustomPrompt="1"/>
          </p:nvPr>
        </p:nvSpPr>
        <p:spPr>
          <a:xfrm>
            <a:off x="336552" y="3070800"/>
            <a:ext cx="3839632" cy="3787200"/>
          </a:xfrm>
          <a:prstGeom prst="round1Rect">
            <a:avLst/>
          </a:prstGeom>
          <a:solidFill>
            <a:srgbClr val="FFFFFF">
              <a:alpha val="85098"/>
            </a:srgbClr>
          </a:solidFill>
        </p:spPr>
        <p:txBody>
          <a:bodyPr wrap="square" lIns="288000" tIns="468000" rIns="72000" bIns="252000">
            <a:noAutofit/>
          </a:bodyPr>
          <a:lstStyle>
            <a:lvl1pPr marL="0" indent="0">
              <a:spcBef>
                <a:spcPts val="0"/>
              </a:spcBef>
              <a:buNone/>
              <a:defRPr sz="3200">
                <a:solidFill>
                  <a:schemeClr val="accent1"/>
                </a:solidFill>
              </a:defRPr>
            </a:lvl1pPr>
          </a:lstStyle>
          <a:p>
            <a:pPr lvl="0"/>
            <a:r>
              <a:rPr lang="en-GB"/>
              <a:t>Breaker text</a:t>
            </a:r>
          </a:p>
        </p:txBody>
      </p:sp>
    </p:spTree>
    <p:extLst>
      <p:ext uri="{BB962C8B-B14F-4D97-AF65-F5344CB8AC3E}">
        <p14:creationId xmlns:p14="http://schemas.microsoft.com/office/powerpoint/2010/main" val="3614372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object, image left - 1">
    <p:spTree>
      <p:nvGrpSpPr>
        <p:cNvPr id="1" name=""/>
        <p:cNvGrpSpPr/>
        <p:nvPr/>
      </p:nvGrpSpPr>
      <p:grpSpPr>
        <a:xfrm>
          <a:off x="0" y="0"/>
          <a:ext cx="0" cy="0"/>
          <a:chOff x="0" y="0"/>
          <a:chExt cx="0" cy="0"/>
        </a:xfrm>
      </p:grpSpPr>
      <p:sp>
        <p:nvSpPr>
          <p:cNvPr id="8" name="Tijdelijke aanduiding voor afbeelding 7">
            <a:extLst>
              <a:ext uri="{FF2B5EF4-FFF2-40B4-BE49-F238E27FC236}">
                <a16:creationId xmlns:a16="http://schemas.microsoft.com/office/drawing/2014/main" id="{F720B503-17F8-4237-9A82-0CEE6CD5AC31}"/>
              </a:ext>
            </a:extLst>
          </p:cNvPr>
          <p:cNvSpPr>
            <a:spLocks noGrp="1"/>
          </p:cNvSpPr>
          <p:nvPr>
            <p:ph type="pic" sz="quarter" idx="13" hasCustomPrompt="1"/>
          </p:nvPr>
        </p:nvSpPr>
        <p:spPr>
          <a:xfrm>
            <a:off x="-1" y="0"/>
            <a:ext cx="4176185" cy="6858000"/>
          </a:xfrm>
          <a:solidFill>
            <a:schemeClr val="tx1">
              <a:lumMod val="20000"/>
              <a:lumOff val="80000"/>
            </a:schemeClr>
          </a:solidFill>
        </p:spPr>
        <p:txBody>
          <a:bodyPr/>
          <a:lstStyle>
            <a:lvl1pPr marL="0" indent="0" algn="ctr">
              <a:buNone/>
              <a:defRPr>
                <a:solidFill>
                  <a:schemeClr val="accent1"/>
                </a:solidFill>
              </a:defRPr>
            </a:lvl1pPr>
          </a:lstStyle>
          <a:p>
            <a:r>
              <a:rPr lang="en-GB"/>
              <a:t>Image</a:t>
            </a:r>
          </a:p>
        </p:txBody>
      </p:sp>
      <p:sp>
        <p:nvSpPr>
          <p:cNvPr id="2" name="Title 1"/>
          <p:cNvSpPr>
            <a:spLocks noGrp="1"/>
          </p:cNvSpPr>
          <p:nvPr>
            <p:ph type="title"/>
          </p:nvPr>
        </p:nvSpPr>
        <p:spPr>
          <a:xfrm>
            <a:off x="4512734" y="548219"/>
            <a:ext cx="7103532" cy="1036965"/>
          </a:xfrm>
        </p:spPr>
        <p:txBody>
          <a:bodyPr/>
          <a:lstStyle/>
          <a:p>
            <a:r>
              <a:rPr lang="en-GB"/>
              <a:t>Click to edit Master title style</a:t>
            </a:r>
          </a:p>
        </p:txBody>
      </p:sp>
      <p:sp>
        <p:nvSpPr>
          <p:cNvPr id="3" name="Content Placeholder 2"/>
          <p:cNvSpPr>
            <a:spLocks noGrp="1"/>
          </p:cNvSpPr>
          <p:nvPr>
            <p:ph idx="1" hasCustomPrompt="1"/>
          </p:nvPr>
        </p:nvSpPr>
        <p:spPr>
          <a:xfrm>
            <a:off x="4512735" y="1701801"/>
            <a:ext cx="7103532" cy="417618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10"/>
          </p:nvPr>
        </p:nvSpPr>
        <p:spPr/>
        <p:txBody>
          <a:bodyPr/>
          <a:lstStyle/>
          <a:p>
            <a:fld id="{8912D90C-7F07-496F-8438-9C31B190423B}" type="datetime1">
              <a:rPr lang="en-US" smtClean="0"/>
              <a:t>4/18/2025</a:t>
            </a:fld>
            <a:endParaRPr lang="en-GB"/>
          </a:p>
        </p:txBody>
      </p:sp>
      <p:sp>
        <p:nvSpPr>
          <p:cNvPr id="5" name="Footer Placeholder 4"/>
          <p:cNvSpPr>
            <a:spLocks noGrp="1"/>
          </p:cNvSpPr>
          <p:nvPr>
            <p:ph type="ftr" sz="quarter" idx="11"/>
          </p:nvPr>
        </p:nvSpPr>
        <p:spPr>
          <a:xfrm>
            <a:off x="4792233" y="6491432"/>
            <a:ext cx="1652163" cy="102592"/>
          </a:xfrm>
        </p:spPr>
        <p:txBody>
          <a:bodyPr/>
          <a:lstStyle/>
          <a:p>
            <a:r>
              <a:rPr lang="en-GB"/>
              <a:t>Draft | Internal use only | Confidential</a:t>
            </a:r>
          </a:p>
        </p:txBody>
      </p:sp>
      <p:sp>
        <p:nvSpPr>
          <p:cNvPr id="6" name="Slide Number Placeholder 5"/>
          <p:cNvSpPr>
            <a:spLocks noGrp="1"/>
          </p:cNvSpPr>
          <p:nvPr>
            <p:ph type="sldNum" sz="quarter" idx="12"/>
          </p:nvPr>
        </p:nvSpPr>
        <p:spPr>
          <a:xfrm>
            <a:off x="4523663" y="6491432"/>
            <a:ext cx="147477" cy="102592"/>
          </a:xfrm>
        </p:spPr>
        <p:txBody>
          <a:bodyPr/>
          <a:lstStyle/>
          <a:p>
            <a:fld id="{9BE0E23E-9022-4929-B297-EB2777CDBB1F}" type="slidenum">
              <a:rPr lang="en-GB" smtClean="0"/>
              <a:t>‹#›</a:t>
            </a:fld>
            <a:endParaRPr lang="en-GB"/>
          </a:p>
        </p:txBody>
      </p:sp>
    </p:spTree>
    <p:extLst>
      <p:ext uri="{BB962C8B-B14F-4D97-AF65-F5344CB8AC3E}">
        <p14:creationId xmlns:p14="http://schemas.microsoft.com/office/powerpoint/2010/main" val="2072887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bject, image left - 4">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C3F007B-22A5-FE4A-0521-0AF0B1BD41B2}"/>
              </a:ext>
            </a:extLst>
          </p:cNvPr>
          <p:cNvSpPr/>
          <p:nvPr userDrawn="1"/>
        </p:nvSpPr>
        <p:spPr>
          <a:xfrm>
            <a:off x="0" y="1"/>
            <a:ext cx="12192000" cy="6068484"/>
          </a:xfrm>
          <a:prstGeom prst="rect">
            <a:avLst/>
          </a:prstGeom>
          <a:solidFill>
            <a:srgbClr val="EEF3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2000"/>
              </a:lnSpc>
            </a:pPr>
            <a:endParaRPr lang="en-GB" sz="1867"/>
          </a:p>
        </p:txBody>
      </p:sp>
      <p:pic>
        <p:nvPicPr>
          <p:cNvPr id="15" name="Graphic 14">
            <a:extLst>
              <a:ext uri="{FF2B5EF4-FFF2-40B4-BE49-F238E27FC236}">
                <a16:creationId xmlns:a16="http://schemas.microsoft.com/office/drawing/2014/main" id="{B499055B-F162-13F2-1FDB-A6B57233D6A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0291" y="1723200"/>
            <a:ext cx="4205069" cy="4106712"/>
          </a:xfrm>
          <a:prstGeom prst="rect">
            <a:avLst/>
          </a:prstGeom>
        </p:spPr>
      </p:pic>
      <p:sp>
        <p:nvSpPr>
          <p:cNvPr id="2" name="Title 1"/>
          <p:cNvSpPr>
            <a:spLocks noGrp="1"/>
          </p:cNvSpPr>
          <p:nvPr>
            <p:ph type="title" hasCustomPrompt="1"/>
          </p:nvPr>
        </p:nvSpPr>
        <p:spPr>
          <a:xfrm>
            <a:off x="580291" y="548218"/>
            <a:ext cx="11035975" cy="1036965"/>
          </a:xfrm>
        </p:spPr>
        <p:txBody>
          <a:bodyPr/>
          <a:lstStyle/>
          <a:p>
            <a:r>
              <a:rPr lang="en-GB"/>
              <a:t>Click to add title</a:t>
            </a:r>
          </a:p>
        </p:txBody>
      </p:sp>
      <p:sp>
        <p:nvSpPr>
          <p:cNvPr id="3" name="Content Placeholder 2"/>
          <p:cNvSpPr>
            <a:spLocks noGrp="1"/>
          </p:cNvSpPr>
          <p:nvPr>
            <p:ph idx="1" hasCustomPrompt="1"/>
          </p:nvPr>
        </p:nvSpPr>
        <p:spPr>
          <a:xfrm>
            <a:off x="5277694" y="1701801"/>
            <a:ext cx="6338572" cy="4366684"/>
          </a:xfrm>
        </p:spPr>
        <p:txBody>
          <a:bodyPr/>
          <a:lstStyle>
            <a:lvl1pPr>
              <a:defRPr/>
            </a:lvl1pPr>
          </a:lstStyle>
          <a:p>
            <a:pPr lvl="0"/>
            <a:r>
              <a:rPr lang="en-GB"/>
              <a:t>Click to add text or object</a:t>
            </a:r>
          </a:p>
          <a:p>
            <a:pPr lvl="1"/>
            <a:r>
              <a:rPr lang="en-GB"/>
              <a:t>Text level 2</a:t>
            </a:r>
          </a:p>
          <a:p>
            <a:pPr lvl="2"/>
            <a:r>
              <a:rPr lang="en-GB"/>
              <a:t>Text level 3</a:t>
            </a:r>
          </a:p>
          <a:p>
            <a:pPr lvl="3"/>
            <a:r>
              <a:rPr lang="en-GB"/>
              <a:t>Text level 4</a:t>
            </a:r>
          </a:p>
          <a:p>
            <a:pPr lvl="4"/>
            <a:r>
              <a:rPr lang="en-GB"/>
              <a:t>Text level 5</a:t>
            </a:r>
          </a:p>
        </p:txBody>
      </p:sp>
      <p:sp>
        <p:nvSpPr>
          <p:cNvPr id="4" name="Date Placeholder 3"/>
          <p:cNvSpPr>
            <a:spLocks noGrp="1"/>
          </p:cNvSpPr>
          <p:nvPr>
            <p:ph type="dt" sz="half" idx="10"/>
          </p:nvPr>
        </p:nvSpPr>
        <p:spPr/>
        <p:txBody>
          <a:bodyPr/>
          <a:lstStyle/>
          <a:p>
            <a:fld id="{24ED49A8-BFFB-4223-B58B-C17F3546F460}" type="datetime1">
              <a:rPr lang="en-GB" smtClean="0"/>
              <a:t>18/04/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16" name="Picture Placeholder 15">
            <a:extLst>
              <a:ext uri="{FF2B5EF4-FFF2-40B4-BE49-F238E27FC236}">
                <a16:creationId xmlns:a16="http://schemas.microsoft.com/office/drawing/2014/main" id="{865AA58E-D40A-0313-6154-7A140A71FE56}"/>
              </a:ext>
            </a:extLst>
          </p:cNvPr>
          <p:cNvSpPr>
            <a:spLocks noGrp="1" noChangeAspect="1"/>
          </p:cNvSpPr>
          <p:nvPr>
            <p:ph type="pic" sz="quarter" idx="14"/>
          </p:nvPr>
        </p:nvSpPr>
        <p:spPr>
          <a:xfrm>
            <a:off x="754279" y="1893119"/>
            <a:ext cx="3857095" cy="3766876"/>
          </a:xfrm>
          <a:custGeom>
            <a:avLst/>
            <a:gdLst>
              <a:gd name="connsiteX0" fmla="*/ 1678918 w 3335588"/>
              <a:gd name="connsiteY0" fmla="*/ 0 h 3257568"/>
              <a:gd name="connsiteX1" fmla="*/ 2848595 w 3335588"/>
              <a:gd name="connsiteY1" fmla="*/ 461675 h 3257568"/>
              <a:gd name="connsiteX2" fmla="*/ 3335505 w 3335588"/>
              <a:gd name="connsiteY2" fmla="*/ 1629238 h 3257568"/>
              <a:gd name="connsiteX3" fmla="*/ 3335588 w 3335588"/>
              <a:gd name="connsiteY3" fmla="*/ 1629321 h 3257568"/>
              <a:gd name="connsiteX4" fmla="*/ 2837015 w 3335588"/>
              <a:gd name="connsiteY4" fmla="*/ 2785325 h 3257568"/>
              <a:gd name="connsiteX5" fmla="*/ 1678918 w 3335588"/>
              <a:gd name="connsiteY5" fmla="*/ 3257568 h 3257568"/>
              <a:gd name="connsiteX6" fmla="*/ 519580 w 3335588"/>
              <a:gd name="connsiteY6" fmla="*/ 2786563 h 3257568"/>
              <a:gd name="connsiteX7" fmla="*/ 0 w 3335588"/>
              <a:gd name="connsiteY7" fmla="*/ 1629321 h 3257568"/>
              <a:gd name="connsiteX8" fmla="*/ 528596 w 3335588"/>
              <a:gd name="connsiteY8" fmla="*/ 481077 h 3257568"/>
              <a:gd name="connsiteX9" fmla="*/ 1678918 w 3335588"/>
              <a:gd name="connsiteY9" fmla="*/ 0 h 325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35588" h="3257568">
                <a:moveTo>
                  <a:pt x="1678918" y="0"/>
                </a:moveTo>
                <a:cubicBezTo>
                  <a:pt x="2135722" y="0"/>
                  <a:pt x="2549269" y="162891"/>
                  <a:pt x="2848595" y="461675"/>
                </a:cubicBezTo>
                <a:cubicBezTo>
                  <a:pt x="3147920" y="760460"/>
                  <a:pt x="3335505" y="1173342"/>
                  <a:pt x="3335505" y="1629238"/>
                </a:cubicBezTo>
                <a:lnTo>
                  <a:pt x="3335588" y="1629321"/>
                </a:lnTo>
                <a:cubicBezTo>
                  <a:pt x="3335588" y="2085299"/>
                  <a:pt x="3136423" y="2486541"/>
                  <a:pt x="2837015" y="2785325"/>
                </a:cubicBezTo>
                <a:cubicBezTo>
                  <a:pt x="2537690" y="3084110"/>
                  <a:pt x="2135722" y="3257568"/>
                  <a:pt x="1678918" y="3257568"/>
                </a:cubicBezTo>
                <a:cubicBezTo>
                  <a:pt x="1222114" y="3257568"/>
                  <a:pt x="818906" y="3085348"/>
                  <a:pt x="519580" y="2786563"/>
                </a:cubicBezTo>
                <a:cubicBezTo>
                  <a:pt x="220255" y="2487697"/>
                  <a:pt x="0" y="2085299"/>
                  <a:pt x="0" y="1629321"/>
                </a:cubicBezTo>
                <a:cubicBezTo>
                  <a:pt x="0" y="1173342"/>
                  <a:pt x="229270" y="779861"/>
                  <a:pt x="528596" y="481077"/>
                </a:cubicBezTo>
                <a:cubicBezTo>
                  <a:pt x="827921" y="182292"/>
                  <a:pt x="1222114" y="0"/>
                  <a:pt x="1678918" y="0"/>
                </a:cubicBezTo>
                <a:close/>
              </a:path>
            </a:pathLst>
          </a:custGeom>
          <a:solidFill>
            <a:schemeClr val="tx1">
              <a:lumMod val="20000"/>
              <a:lumOff val="80000"/>
            </a:schemeClr>
          </a:solidFill>
        </p:spPr>
        <p:txBody>
          <a:bodyPr wrap="square" tIns="396000">
            <a:noAutofit/>
          </a:bodyPr>
          <a:lstStyle>
            <a:lvl1pPr marL="0" indent="0" algn="ctr">
              <a:buNone/>
              <a:defRPr/>
            </a:lvl1pPr>
          </a:lstStyle>
          <a:p>
            <a:r>
              <a:rPr lang="en-US"/>
              <a:t>Click icon to add picture</a:t>
            </a:r>
            <a:endParaRPr lang="en-GB"/>
          </a:p>
        </p:txBody>
      </p:sp>
    </p:spTree>
    <p:extLst>
      <p:ext uri="{BB962C8B-B14F-4D97-AF65-F5344CB8AC3E}">
        <p14:creationId xmlns:p14="http://schemas.microsoft.com/office/powerpoint/2010/main" val="2471598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bject, image left - 2">
    <p:spTree>
      <p:nvGrpSpPr>
        <p:cNvPr id="1" name=""/>
        <p:cNvGrpSpPr/>
        <p:nvPr/>
      </p:nvGrpSpPr>
      <p:grpSpPr>
        <a:xfrm>
          <a:off x="0" y="0"/>
          <a:ext cx="0" cy="0"/>
          <a:chOff x="0" y="0"/>
          <a:chExt cx="0" cy="0"/>
        </a:xfrm>
      </p:grpSpPr>
      <p:sp>
        <p:nvSpPr>
          <p:cNvPr id="2" name="Title 1"/>
          <p:cNvSpPr>
            <a:spLocks noGrp="1"/>
          </p:cNvSpPr>
          <p:nvPr>
            <p:ph type="title"/>
          </p:nvPr>
        </p:nvSpPr>
        <p:spPr>
          <a:xfrm>
            <a:off x="4512734" y="548219"/>
            <a:ext cx="7103532" cy="1036965"/>
          </a:xfrm>
        </p:spPr>
        <p:txBody>
          <a:bodyPr/>
          <a:lstStyle/>
          <a:p>
            <a:r>
              <a:rPr lang="en-GB"/>
              <a:t>Click to edit Master title style</a:t>
            </a:r>
          </a:p>
        </p:txBody>
      </p:sp>
      <p:sp>
        <p:nvSpPr>
          <p:cNvPr id="3" name="Content Placeholder 2"/>
          <p:cNvSpPr>
            <a:spLocks noGrp="1"/>
          </p:cNvSpPr>
          <p:nvPr>
            <p:ph idx="1" hasCustomPrompt="1"/>
          </p:nvPr>
        </p:nvSpPr>
        <p:spPr>
          <a:xfrm>
            <a:off x="4512735" y="1701801"/>
            <a:ext cx="7103532" cy="417618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Tijdelijke aanduiding voor afbeelding 12">
            <a:extLst>
              <a:ext uri="{FF2B5EF4-FFF2-40B4-BE49-F238E27FC236}">
                <a16:creationId xmlns:a16="http://schemas.microsoft.com/office/drawing/2014/main" id="{C9C4C5E8-F340-46D4-A2A8-4A34C5C580DB}"/>
              </a:ext>
            </a:extLst>
          </p:cNvPr>
          <p:cNvSpPr>
            <a:spLocks noGrp="1"/>
          </p:cNvSpPr>
          <p:nvPr>
            <p:ph type="pic" sz="quarter" idx="15" hasCustomPrompt="1"/>
          </p:nvPr>
        </p:nvSpPr>
        <p:spPr>
          <a:xfrm>
            <a:off x="2" y="-1"/>
            <a:ext cx="4176183" cy="5877984"/>
          </a:xfrm>
          <a:custGeom>
            <a:avLst/>
            <a:gdLst>
              <a:gd name="connsiteX0" fmla="*/ 0 w 3132137"/>
              <a:gd name="connsiteY0" fmla="*/ 0 h 4408488"/>
              <a:gd name="connsiteX1" fmla="*/ 3132137 w 3132137"/>
              <a:gd name="connsiteY1" fmla="*/ 0 h 4408488"/>
              <a:gd name="connsiteX2" fmla="*/ 3132137 w 3132137"/>
              <a:gd name="connsiteY2" fmla="*/ 3886455 h 4408488"/>
              <a:gd name="connsiteX3" fmla="*/ 2610104 w 3132137"/>
              <a:gd name="connsiteY3" fmla="*/ 4408488 h 4408488"/>
              <a:gd name="connsiteX4" fmla="*/ 0 w 3132137"/>
              <a:gd name="connsiteY4" fmla="*/ 4408488 h 4408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2137" h="4408488">
                <a:moveTo>
                  <a:pt x="0" y="0"/>
                </a:moveTo>
                <a:lnTo>
                  <a:pt x="3132137" y="0"/>
                </a:lnTo>
                <a:lnTo>
                  <a:pt x="3132137" y="3886455"/>
                </a:lnTo>
                <a:cubicBezTo>
                  <a:pt x="3132137" y="4174766"/>
                  <a:pt x="2898415" y="4408488"/>
                  <a:pt x="2610104" y="4408488"/>
                </a:cubicBezTo>
                <a:lnTo>
                  <a:pt x="0" y="4408488"/>
                </a:lnTo>
                <a:close/>
              </a:path>
            </a:pathLst>
          </a:custGeom>
          <a:solidFill>
            <a:schemeClr val="tx1">
              <a:lumMod val="20000"/>
              <a:lumOff val="80000"/>
            </a:schemeClr>
          </a:solidFill>
        </p:spPr>
        <p:txBody>
          <a:bodyPr wrap="square">
            <a:noAutofit/>
          </a:bodyPr>
          <a:lstStyle>
            <a:lvl1pPr marL="0" indent="0" algn="ctr">
              <a:buNone/>
              <a:defRPr>
                <a:solidFill>
                  <a:schemeClr val="accent1"/>
                </a:solidFill>
              </a:defRPr>
            </a:lvl1pPr>
          </a:lstStyle>
          <a:p>
            <a:r>
              <a:rPr lang="en-GB"/>
              <a:t>Image</a:t>
            </a:r>
          </a:p>
        </p:txBody>
      </p:sp>
      <p:sp>
        <p:nvSpPr>
          <p:cNvPr id="7" name="Date Placeholder 6">
            <a:extLst>
              <a:ext uri="{FF2B5EF4-FFF2-40B4-BE49-F238E27FC236}">
                <a16:creationId xmlns:a16="http://schemas.microsoft.com/office/drawing/2014/main" id="{79F1B4CB-680A-489C-BD69-19B6EDFF4BD9}"/>
              </a:ext>
            </a:extLst>
          </p:cNvPr>
          <p:cNvSpPr>
            <a:spLocks noGrp="1"/>
          </p:cNvSpPr>
          <p:nvPr>
            <p:ph type="dt" sz="half" idx="16"/>
          </p:nvPr>
        </p:nvSpPr>
        <p:spPr/>
        <p:txBody>
          <a:bodyPr/>
          <a:lstStyle/>
          <a:p>
            <a:fld id="{BB8C6EE3-856A-401F-B5FA-805F544109EB}" type="datetime1">
              <a:rPr lang="en-US" smtClean="0"/>
              <a:t>4/18/2025</a:t>
            </a:fld>
            <a:endParaRPr lang="en-GB"/>
          </a:p>
        </p:txBody>
      </p:sp>
      <p:sp>
        <p:nvSpPr>
          <p:cNvPr id="8" name="Footer Placeholder 7">
            <a:extLst>
              <a:ext uri="{FF2B5EF4-FFF2-40B4-BE49-F238E27FC236}">
                <a16:creationId xmlns:a16="http://schemas.microsoft.com/office/drawing/2014/main" id="{01831E48-6544-4001-B45E-82A7AF5CCD81}"/>
              </a:ext>
            </a:extLst>
          </p:cNvPr>
          <p:cNvSpPr>
            <a:spLocks noGrp="1"/>
          </p:cNvSpPr>
          <p:nvPr>
            <p:ph type="ftr" sz="quarter" idx="17"/>
          </p:nvPr>
        </p:nvSpPr>
        <p:spPr/>
        <p:txBody>
          <a:bodyPr/>
          <a:lstStyle/>
          <a:p>
            <a:r>
              <a:rPr lang="en-GB"/>
              <a:t>Draft | Internal use only | Confidential</a:t>
            </a:r>
          </a:p>
        </p:txBody>
      </p:sp>
      <p:sp>
        <p:nvSpPr>
          <p:cNvPr id="9" name="Slide Number Placeholder 8">
            <a:extLst>
              <a:ext uri="{FF2B5EF4-FFF2-40B4-BE49-F238E27FC236}">
                <a16:creationId xmlns:a16="http://schemas.microsoft.com/office/drawing/2014/main" id="{CE133AC7-8800-4EE2-902B-26DE58D4D622}"/>
              </a:ext>
            </a:extLst>
          </p:cNvPr>
          <p:cNvSpPr>
            <a:spLocks noGrp="1"/>
          </p:cNvSpPr>
          <p:nvPr>
            <p:ph type="sldNum" sz="quarter" idx="18"/>
          </p:nvPr>
        </p:nvSpPr>
        <p:spPr/>
        <p:txBody>
          <a:bodyPr/>
          <a:lstStyle/>
          <a:p>
            <a:fld id="{9BE0E23E-9022-4929-B297-EB2777CDBB1F}" type="slidenum">
              <a:rPr lang="en-GB" smtClean="0"/>
              <a:pPr/>
              <a:t>‹#›</a:t>
            </a:fld>
            <a:endParaRPr lang="en-GB"/>
          </a:p>
        </p:txBody>
      </p:sp>
    </p:spTree>
    <p:extLst>
      <p:ext uri="{BB962C8B-B14F-4D97-AF65-F5344CB8AC3E}">
        <p14:creationId xmlns:p14="http://schemas.microsoft.com/office/powerpoint/2010/main" val="2087963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bject, image left - 3">
    <p:spTree>
      <p:nvGrpSpPr>
        <p:cNvPr id="1" name=""/>
        <p:cNvGrpSpPr/>
        <p:nvPr/>
      </p:nvGrpSpPr>
      <p:grpSpPr>
        <a:xfrm>
          <a:off x="0" y="0"/>
          <a:ext cx="0" cy="0"/>
          <a:chOff x="0" y="0"/>
          <a:chExt cx="0" cy="0"/>
        </a:xfrm>
      </p:grpSpPr>
      <p:sp>
        <p:nvSpPr>
          <p:cNvPr id="8" name="Tijdelijke aanduiding voor afbeelding 7">
            <a:extLst>
              <a:ext uri="{FF2B5EF4-FFF2-40B4-BE49-F238E27FC236}">
                <a16:creationId xmlns:a16="http://schemas.microsoft.com/office/drawing/2014/main" id="{F720B503-17F8-4237-9A82-0CEE6CD5AC31}"/>
              </a:ext>
            </a:extLst>
          </p:cNvPr>
          <p:cNvSpPr>
            <a:spLocks noGrp="1"/>
          </p:cNvSpPr>
          <p:nvPr>
            <p:ph type="pic" sz="quarter" idx="13" hasCustomPrompt="1"/>
          </p:nvPr>
        </p:nvSpPr>
        <p:spPr>
          <a:xfrm>
            <a:off x="0" y="0"/>
            <a:ext cx="6096000" cy="6858000"/>
          </a:xfrm>
          <a:solidFill>
            <a:schemeClr val="tx1">
              <a:lumMod val="20000"/>
              <a:lumOff val="80000"/>
            </a:schemeClr>
          </a:solidFill>
        </p:spPr>
        <p:txBody>
          <a:bodyPr/>
          <a:lstStyle>
            <a:lvl1pPr marL="0" indent="0" algn="ctr">
              <a:buNone/>
              <a:defRPr>
                <a:solidFill>
                  <a:schemeClr val="accent1"/>
                </a:solidFill>
              </a:defRPr>
            </a:lvl1pPr>
          </a:lstStyle>
          <a:p>
            <a:r>
              <a:rPr lang="en-GB"/>
              <a:t>Image</a:t>
            </a:r>
          </a:p>
        </p:txBody>
      </p:sp>
      <p:sp>
        <p:nvSpPr>
          <p:cNvPr id="2" name="Title 1"/>
          <p:cNvSpPr>
            <a:spLocks noGrp="1"/>
          </p:cNvSpPr>
          <p:nvPr>
            <p:ph type="title"/>
          </p:nvPr>
        </p:nvSpPr>
        <p:spPr>
          <a:xfrm>
            <a:off x="6356683" y="548219"/>
            <a:ext cx="5257804" cy="1036965"/>
          </a:xfrm>
        </p:spPr>
        <p:txBody>
          <a:bodyPr/>
          <a:lstStyle/>
          <a:p>
            <a:r>
              <a:rPr lang="en-GB"/>
              <a:t>Click to edit Master title style</a:t>
            </a:r>
          </a:p>
        </p:txBody>
      </p:sp>
      <p:sp>
        <p:nvSpPr>
          <p:cNvPr id="3" name="Content Placeholder 2"/>
          <p:cNvSpPr>
            <a:spLocks noGrp="1"/>
          </p:cNvSpPr>
          <p:nvPr>
            <p:ph idx="1" hasCustomPrompt="1"/>
          </p:nvPr>
        </p:nvSpPr>
        <p:spPr>
          <a:xfrm>
            <a:off x="6361242" y="1701801"/>
            <a:ext cx="5257804" cy="417618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CC2C5BB5-310F-42D7-BCEC-775E6B1386D6}"/>
              </a:ext>
            </a:extLst>
          </p:cNvPr>
          <p:cNvSpPr>
            <a:spLocks noGrp="1"/>
          </p:cNvSpPr>
          <p:nvPr>
            <p:ph type="dt" sz="half" idx="14"/>
          </p:nvPr>
        </p:nvSpPr>
        <p:spPr/>
        <p:txBody>
          <a:bodyPr/>
          <a:lstStyle/>
          <a:p>
            <a:fld id="{2D72BB2F-C97F-42E6-BAF6-CFE1CBCEC36A}" type="datetime1">
              <a:rPr lang="en-US" smtClean="0"/>
              <a:t>4/18/2025</a:t>
            </a:fld>
            <a:endParaRPr lang="en-GB"/>
          </a:p>
        </p:txBody>
      </p:sp>
      <p:sp>
        <p:nvSpPr>
          <p:cNvPr id="9" name="Footer Placeholder 8">
            <a:extLst>
              <a:ext uri="{FF2B5EF4-FFF2-40B4-BE49-F238E27FC236}">
                <a16:creationId xmlns:a16="http://schemas.microsoft.com/office/drawing/2014/main" id="{B2EEFD6A-40FF-4329-86FD-ADEF6B391865}"/>
              </a:ext>
            </a:extLst>
          </p:cNvPr>
          <p:cNvSpPr>
            <a:spLocks noGrp="1"/>
          </p:cNvSpPr>
          <p:nvPr>
            <p:ph type="ftr" sz="quarter" idx="15"/>
          </p:nvPr>
        </p:nvSpPr>
        <p:spPr/>
        <p:txBody>
          <a:bodyPr/>
          <a:lstStyle/>
          <a:p>
            <a:r>
              <a:rPr lang="en-GB"/>
              <a:t>Draft | Internal use only | Confidential</a:t>
            </a:r>
          </a:p>
        </p:txBody>
      </p:sp>
      <p:sp>
        <p:nvSpPr>
          <p:cNvPr id="10" name="Slide Number Placeholder 9">
            <a:extLst>
              <a:ext uri="{FF2B5EF4-FFF2-40B4-BE49-F238E27FC236}">
                <a16:creationId xmlns:a16="http://schemas.microsoft.com/office/drawing/2014/main" id="{C5182FC2-EAAE-4086-BE94-154B6502E857}"/>
              </a:ext>
            </a:extLst>
          </p:cNvPr>
          <p:cNvSpPr>
            <a:spLocks noGrp="1"/>
          </p:cNvSpPr>
          <p:nvPr>
            <p:ph type="sldNum" sz="quarter" idx="16"/>
          </p:nvPr>
        </p:nvSpPr>
        <p:spPr/>
        <p:txBody>
          <a:bodyPr/>
          <a:lstStyle/>
          <a:p>
            <a:fld id="{9BE0E23E-9022-4929-B297-EB2777CDBB1F}" type="slidenum">
              <a:rPr lang="en-GB" smtClean="0"/>
              <a:pPr/>
              <a:t>‹#›</a:t>
            </a:fld>
            <a:endParaRPr lang="en-GB"/>
          </a:p>
        </p:txBody>
      </p:sp>
    </p:spTree>
    <p:extLst>
      <p:ext uri="{BB962C8B-B14F-4D97-AF65-F5344CB8AC3E}">
        <p14:creationId xmlns:p14="http://schemas.microsoft.com/office/powerpoint/2010/main" val="3078855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bject, image left - 4">
    <p:spTree>
      <p:nvGrpSpPr>
        <p:cNvPr id="1" name=""/>
        <p:cNvGrpSpPr/>
        <p:nvPr/>
      </p:nvGrpSpPr>
      <p:grpSpPr>
        <a:xfrm>
          <a:off x="0" y="0"/>
          <a:ext cx="0" cy="0"/>
          <a:chOff x="0" y="0"/>
          <a:chExt cx="0" cy="0"/>
        </a:xfrm>
      </p:grpSpPr>
      <p:sp>
        <p:nvSpPr>
          <p:cNvPr id="10" name="Tijdelijke aanduiding voor afbeelding 9">
            <a:extLst>
              <a:ext uri="{FF2B5EF4-FFF2-40B4-BE49-F238E27FC236}">
                <a16:creationId xmlns:a16="http://schemas.microsoft.com/office/drawing/2014/main" id="{DFCEA526-81FA-4002-B45C-BC3F7FFAF64E}"/>
              </a:ext>
            </a:extLst>
          </p:cNvPr>
          <p:cNvSpPr>
            <a:spLocks noGrp="1"/>
          </p:cNvSpPr>
          <p:nvPr>
            <p:ph type="pic" sz="quarter" idx="14" hasCustomPrompt="1"/>
          </p:nvPr>
        </p:nvSpPr>
        <p:spPr>
          <a:xfrm flipH="1">
            <a:off x="0" y="0"/>
            <a:ext cx="6096000" cy="5877984"/>
          </a:xfrm>
          <a:custGeom>
            <a:avLst/>
            <a:gdLst>
              <a:gd name="connsiteX0" fmla="*/ 0 w 4572000"/>
              <a:gd name="connsiteY0" fmla="*/ 0 h 4408488"/>
              <a:gd name="connsiteX1" fmla="*/ 4572000 w 4572000"/>
              <a:gd name="connsiteY1" fmla="*/ 0 h 4408488"/>
              <a:gd name="connsiteX2" fmla="*/ 4572000 w 4572000"/>
              <a:gd name="connsiteY2" fmla="*/ 4408488 h 4408488"/>
              <a:gd name="connsiteX3" fmla="*/ 734763 w 4572000"/>
              <a:gd name="connsiteY3" fmla="*/ 4408488 h 4408488"/>
              <a:gd name="connsiteX4" fmla="*/ 0 w 4572000"/>
              <a:gd name="connsiteY4" fmla="*/ 3673725 h 4408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0" h="4408488">
                <a:moveTo>
                  <a:pt x="0" y="0"/>
                </a:moveTo>
                <a:lnTo>
                  <a:pt x="4572000" y="0"/>
                </a:lnTo>
                <a:lnTo>
                  <a:pt x="4572000" y="4408488"/>
                </a:lnTo>
                <a:lnTo>
                  <a:pt x="734763" y="4408488"/>
                </a:lnTo>
                <a:cubicBezTo>
                  <a:pt x="328965" y="4408488"/>
                  <a:pt x="0" y="4079523"/>
                  <a:pt x="0" y="3673725"/>
                </a:cubicBezTo>
                <a:close/>
              </a:path>
            </a:pathLst>
          </a:custGeom>
          <a:solidFill>
            <a:schemeClr val="tx1">
              <a:lumMod val="20000"/>
              <a:lumOff val="80000"/>
            </a:schemeClr>
          </a:solidFill>
        </p:spPr>
        <p:txBody>
          <a:bodyPr wrap="square">
            <a:noAutofit/>
          </a:bodyPr>
          <a:lstStyle>
            <a:lvl1pPr marL="0" indent="0" algn="ctr">
              <a:buNone/>
              <a:defRPr>
                <a:solidFill>
                  <a:schemeClr val="accent1"/>
                </a:solidFill>
              </a:defRPr>
            </a:lvl1pPr>
          </a:lstStyle>
          <a:p>
            <a:r>
              <a:rPr lang="en-GB"/>
              <a:t>Image</a:t>
            </a:r>
          </a:p>
        </p:txBody>
      </p:sp>
      <p:sp>
        <p:nvSpPr>
          <p:cNvPr id="2" name="Title 1"/>
          <p:cNvSpPr>
            <a:spLocks noGrp="1"/>
          </p:cNvSpPr>
          <p:nvPr>
            <p:ph type="title"/>
          </p:nvPr>
        </p:nvSpPr>
        <p:spPr>
          <a:xfrm>
            <a:off x="6355335" y="548219"/>
            <a:ext cx="5257804" cy="1036965"/>
          </a:xfrm>
        </p:spPr>
        <p:txBody>
          <a:bodyPr/>
          <a:lstStyle/>
          <a:p>
            <a:r>
              <a:rPr lang="en-GB"/>
              <a:t>Click to edit Master title style</a:t>
            </a:r>
          </a:p>
        </p:txBody>
      </p:sp>
      <p:sp>
        <p:nvSpPr>
          <p:cNvPr id="3" name="Content Placeholder 2"/>
          <p:cNvSpPr>
            <a:spLocks noGrp="1"/>
          </p:cNvSpPr>
          <p:nvPr>
            <p:ph idx="1" hasCustomPrompt="1"/>
          </p:nvPr>
        </p:nvSpPr>
        <p:spPr>
          <a:xfrm>
            <a:off x="6359894" y="1701801"/>
            <a:ext cx="5257804" cy="417618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078C19A8-BD80-47FC-9B2A-4C688EF5E8F3}"/>
              </a:ext>
            </a:extLst>
          </p:cNvPr>
          <p:cNvSpPr>
            <a:spLocks noGrp="1"/>
          </p:cNvSpPr>
          <p:nvPr>
            <p:ph type="dt" sz="half" idx="15"/>
          </p:nvPr>
        </p:nvSpPr>
        <p:spPr/>
        <p:txBody>
          <a:bodyPr/>
          <a:lstStyle/>
          <a:p>
            <a:fld id="{A71189E2-36D0-4A47-8C76-1EEA23D5A6DD}" type="datetime1">
              <a:rPr lang="en-US" smtClean="0"/>
              <a:t>4/18/2025</a:t>
            </a:fld>
            <a:endParaRPr lang="en-GB"/>
          </a:p>
        </p:txBody>
      </p:sp>
      <p:sp>
        <p:nvSpPr>
          <p:cNvPr id="8" name="Footer Placeholder 7">
            <a:extLst>
              <a:ext uri="{FF2B5EF4-FFF2-40B4-BE49-F238E27FC236}">
                <a16:creationId xmlns:a16="http://schemas.microsoft.com/office/drawing/2014/main" id="{76085339-6207-4265-AF28-D7E1ED9B5A45}"/>
              </a:ext>
            </a:extLst>
          </p:cNvPr>
          <p:cNvSpPr>
            <a:spLocks noGrp="1"/>
          </p:cNvSpPr>
          <p:nvPr>
            <p:ph type="ftr" sz="quarter" idx="16"/>
          </p:nvPr>
        </p:nvSpPr>
        <p:spPr/>
        <p:txBody>
          <a:bodyPr/>
          <a:lstStyle/>
          <a:p>
            <a:r>
              <a:rPr lang="en-GB"/>
              <a:t>Draft | Internal use only | Confidential</a:t>
            </a:r>
          </a:p>
        </p:txBody>
      </p:sp>
      <p:sp>
        <p:nvSpPr>
          <p:cNvPr id="9" name="Slide Number Placeholder 8">
            <a:extLst>
              <a:ext uri="{FF2B5EF4-FFF2-40B4-BE49-F238E27FC236}">
                <a16:creationId xmlns:a16="http://schemas.microsoft.com/office/drawing/2014/main" id="{20645EF5-7369-471D-9DFE-F382AB83D164}"/>
              </a:ext>
            </a:extLst>
          </p:cNvPr>
          <p:cNvSpPr>
            <a:spLocks noGrp="1"/>
          </p:cNvSpPr>
          <p:nvPr>
            <p:ph type="sldNum" sz="quarter" idx="17"/>
          </p:nvPr>
        </p:nvSpPr>
        <p:spPr/>
        <p:txBody>
          <a:bodyPr/>
          <a:lstStyle/>
          <a:p>
            <a:fld id="{9BE0E23E-9022-4929-B297-EB2777CDBB1F}" type="slidenum">
              <a:rPr lang="en-GB" smtClean="0"/>
              <a:pPr/>
              <a:t>‹#›</a:t>
            </a:fld>
            <a:endParaRPr lang="en-GB"/>
          </a:p>
        </p:txBody>
      </p:sp>
    </p:spTree>
    <p:extLst>
      <p:ext uri="{BB962C8B-B14F-4D97-AF65-F5344CB8AC3E}">
        <p14:creationId xmlns:p14="http://schemas.microsoft.com/office/powerpoint/2010/main" val="1467855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bject, image right - 1">
    <p:spTree>
      <p:nvGrpSpPr>
        <p:cNvPr id="1" name=""/>
        <p:cNvGrpSpPr/>
        <p:nvPr/>
      </p:nvGrpSpPr>
      <p:grpSpPr>
        <a:xfrm>
          <a:off x="0" y="0"/>
          <a:ext cx="0" cy="0"/>
          <a:chOff x="0" y="0"/>
          <a:chExt cx="0" cy="0"/>
        </a:xfrm>
      </p:grpSpPr>
      <p:sp>
        <p:nvSpPr>
          <p:cNvPr id="8" name="Tijdelijke aanduiding voor afbeelding 7">
            <a:extLst>
              <a:ext uri="{FF2B5EF4-FFF2-40B4-BE49-F238E27FC236}">
                <a16:creationId xmlns:a16="http://schemas.microsoft.com/office/drawing/2014/main" id="{F720B503-17F8-4237-9A82-0CEE6CD5AC31}"/>
              </a:ext>
            </a:extLst>
          </p:cNvPr>
          <p:cNvSpPr>
            <a:spLocks noGrp="1"/>
          </p:cNvSpPr>
          <p:nvPr>
            <p:ph type="pic" sz="quarter" idx="13" hasCustomPrompt="1"/>
          </p:nvPr>
        </p:nvSpPr>
        <p:spPr>
          <a:xfrm>
            <a:off x="8015818" y="0"/>
            <a:ext cx="4176183" cy="6858000"/>
          </a:xfrm>
          <a:solidFill>
            <a:schemeClr val="tx1">
              <a:lumMod val="20000"/>
              <a:lumOff val="80000"/>
            </a:schemeClr>
          </a:solidFill>
        </p:spPr>
        <p:txBody>
          <a:bodyPr/>
          <a:lstStyle>
            <a:lvl1pPr marL="0" indent="0" algn="ctr">
              <a:buNone/>
              <a:defRPr>
                <a:solidFill>
                  <a:schemeClr val="accent1"/>
                </a:solidFill>
              </a:defRPr>
            </a:lvl1pPr>
          </a:lstStyle>
          <a:p>
            <a:r>
              <a:rPr lang="en-GB"/>
              <a:t>Image</a:t>
            </a:r>
          </a:p>
        </p:txBody>
      </p:sp>
      <p:sp>
        <p:nvSpPr>
          <p:cNvPr id="2" name="Title 1"/>
          <p:cNvSpPr>
            <a:spLocks noGrp="1"/>
          </p:cNvSpPr>
          <p:nvPr>
            <p:ph type="title"/>
          </p:nvPr>
        </p:nvSpPr>
        <p:spPr>
          <a:xfrm>
            <a:off x="575735" y="548219"/>
            <a:ext cx="7096356" cy="1036965"/>
          </a:xfrm>
        </p:spPr>
        <p:txBody>
          <a:bodyPr/>
          <a:lstStyle/>
          <a:p>
            <a:r>
              <a:rPr lang="en-GB"/>
              <a:t>Click to edit Master title style</a:t>
            </a:r>
          </a:p>
        </p:txBody>
      </p:sp>
      <p:sp>
        <p:nvSpPr>
          <p:cNvPr id="3" name="Content Placeholder 2"/>
          <p:cNvSpPr>
            <a:spLocks noGrp="1"/>
          </p:cNvSpPr>
          <p:nvPr>
            <p:ph idx="1" hasCustomPrompt="1"/>
          </p:nvPr>
        </p:nvSpPr>
        <p:spPr>
          <a:xfrm>
            <a:off x="580292" y="1701801"/>
            <a:ext cx="7096355" cy="417618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10"/>
          </p:nvPr>
        </p:nvSpPr>
        <p:spPr>
          <a:xfrm>
            <a:off x="7218188" y="6491400"/>
            <a:ext cx="458459" cy="102657"/>
          </a:xfrm>
        </p:spPr>
        <p:txBody>
          <a:bodyPr/>
          <a:lstStyle/>
          <a:p>
            <a:fld id="{FFD483BE-85CA-464D-8841-B8449164D215}" type="datetime1">
              <a:rPr lang="en-US" smtClean="0"/>
              <a:t>4/18/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Tree>
    <p:extLst>
      <p:ext uri="{BB962C8B-B14F-4D97-AF65-F5344CB8AC3E}">
        <p14:creationId xmlns:p14="http://schemas.microsoft.com/office/powerpoint/2010/main" val="2934045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bject, image right - 2">
    <p:spTree>
      <p:nvGrpSpPr>
        <p:cNvPr id="1" name=""/>
        <p:cNvGrpSpPr/>
        <p:nvPr/>
      </p:nvGrpSpPr>
      <p:grpSpPr>
        <a:xfrm>
          <a:off x="0" y="0"/>
          <a:ext cx="0" cy="0"/>
          <a:chOff x="0" y="0"/>
          <a:chExt cx="0" cy="0"/>
        </a:xfrm>
      </p:grpSpPr>
      <p:sp>
        <p:nvSpPr>
          <p:cNvPr id="2" name="Title 1"/>
          <p:cNvSpPr>
            <a:spLocks noGrp="1"/>
          </p:cNvSpPr>
          <p:nvPr>
            <p:ph type="title"/>
          </p:nvPr>
        </p:nvSpPr>
        <p:spPr>
          <a:xfrm>
            <a:off x="575735" y="548219"/>
            <a:ext cx="7096356" cy="1036965"/>
          </a:xfrm>
        </p:spPr>
        <p:txBody>
          <a:bodyPr/>
          <a:lstStyle/>
          <a:p>
            <a:r>
              <a:rPr lang="en-GB"/>
              <a:t>Click to edit Master title style</a:t>
            </a:r>
          </a:p>
        </p:txBody>
      </p:sp>
      <p:sp>
        <p:nvSpPr>
          <p:cNvPr id="3" name="Content Placeholder 2"/>
          <p:cNvSpPr>
            <a:spLocks noGrp="1"/>
          </p:cNvSpPr>
          <p:nvPr>
            <p:ph idx="1" hasCustomPrompt="1"/>
          </p:nvPr>
        </p:nvSpPr>
        <p:spPr>
          <a:xfrm>
            <a:off x="580292" y="1701801"/>
            <a:ext cx="7096355" cy="417618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CD0681F5-EDA1-4026-910A-363A595F1D41}"/>
              </a:ext>
            </a:extLst>
          </p:cNvPr>
          <p:cNvSpPr>
            <a:spLocks noGrp="1"/>
          </p:cNvSpPr>
          <p:nvPr>
            <p:ph type="dt" sz="half" idx="15"/>
          </p:nvPr>
        </p:nvSpPr>
        <p:spPr/>
        <p:txBody>
          <a:bodyPr/>
          <a:lstStyle/>
          <a:p>
            <a:fld id="{BA8FDAC3-2749-4CF2-87C3-0E757C54CB04}" type="datetime1">
              <a:rPr lang="en-US" smtClean="0"/>
              <a:t>4/18/2025</a:t>
            </a:fld>
            <a:endParaRPr lang="en-GB"/>
          </a:p>
        </p:txBody>
      </p:sp>
      <p:sp>
        <p:nvSpPr>
          <p:cNvPr id="8" name="Footer Placeholder 7">
            <a:extLst>
              <a:ext uri="{FF2B5EF4-FFF2-40B4-BE49-F238E27FC236}">
                <a16:creationId xmlns:a16="http://schemas.microsoft.com/office/drawing/2014/main" id="{57242038-6053-470C-BB99-293A4CF25213}"/>
              </a:ext>
            </a:extLst>
          </p:cNvPr>
          <p:cNvSpPr>
            <a:spLocks noGrp="1"/>
          </p:cNvSpPr>
          <p:nvPr>
            <p:ph type="ftr" sz="quarter" idx="16"/>
          </p:nvPr>
        </p:nvSpPr>
        <p:spPr/>
        <p:txBody>
          <a:bodyPr/>
          <a:lstStyle/>
          <a:p>
            <a:r>
              <a:rPr lang="en-GB"/>
              <a:t>Draft | Internal use only | Confidential</a:t>
            </a:r>
          </a:p>
        </p:txBody>
      </p:sp>
      <p:sp>
        <p:nvSpPr>
          <p:cNvPr id="9" name="Slide Number Placeholder 8">
            <a:extLst>
              <a:ext uri="{FF2B5EF4-FFF2-40B4-BE49-F238E27FC236}">
                <a16:creationId xmlns:a16="http://schemas.microsoft.com/office/drawing/2014/main" id="{304EA08E-FB46-4B48-968F-705BEF45349A}"/>
              </a:ext>
            </a:extLst>
          </p:cNvPr>
          <p:cNvSpPr>
            <a:spLocks noGrp="1"/>
          </p:cNvSpPr>
          <p:nvPr>
            <p:ph type="sldNum" sz="quarter" idx="17"/>
          </p:nvPr>
        </p:nvSpPr>
        <p:spPr/>
        <p:txBody>
          <a:bodyPr/>
          <a:lstStyle/>
          <a:p>
            <a:fld id="{9BE0E23E-9022-4929-B297-EB2777CDBB1F}" type="slidenum">
              <a:rPr lang="en-GB" smtClean="0"/>
              <a:pPr/>
              <a:t>‹#›</a:t>
            </a:fld>
            <a:endParaRPr lang="en-GB"/>
          </a:p>
        </p:txBody>
      </p:sp>
      <p:sp>
        <p:nvSpPr>
          <p:cNvPr id="12" name="Picture Placeholder 11">
            <a:extLst>
              <a:ext uri="{FF2B5EF4-FFF2-40B4-BE49-F238E27FC236}">
                <a16:creationId xmlns:a16="http://schemas.microsoft.com/office/drawing/2014/main" id="{882D5BAD-2FA6-4711-A473-BE9F6C23627A}"/>
              </a:ext>
            </a:extLst>
          </p:cNvPr>
          <p:cNvSpPr>
            <a:spLocks noGrp="1"/>
          </p:cNvSpPr>
          <p:nvPr>
            <p:ph type="pic" sz="quarter" idx="13" hasCustomPrompt="1"/>
          </p:nvPr>
        </p:nvSpPr>
        <p:spPr>
          <a:xfrm>
            <a:off x="8015818" y="-1"/>
            <a:ext cx="4176183" cy="5877984"/>
          </a:xfrm>
          <a:custGeom>
            <a:avLst/>
            <a:gdLst>
              <a:gd name="connsiteX0" fmla="*/ 0 w 3132137"/>
              <a:gd name="connsiteY0" fmla="*/ 0 h 4408488"/>
              <a:gd name="connsiteX1" fmla="*/ 3132137 w 3132137"/>
              <a:gd name="connsiteY1" fmla="*/ 0 h 4408488"/>
              <a:gd name="connsiteX2" fmla="*/ 3132137 w 3132137"/>
              <a:gd name="connsiteY2" fmla="*/ 1 h 4408488"/>
              <a:gd name="connsiteX3" fmla="*/ 3132137 w 3132137"/>
              <a:gd name="connsiteY3" fmla="*/ 2356339 h 4408488"/>
              <a:gd name="connsiteX4" fmla="*/ 3132137 w 3132137"/>
              <a:gd name="connsiteY4" fmla="*/ 4408488 h 4408488"/>
              <a:gd name="connsiteX5" fmla="*/ 522033 w 3132137"/>
              <a:gd name="connsiteY5" fmla="*/ 4408488 h 4408488"/>
              <a:gd name="connsiteX6" fmla="*/ 0 w 3132137"/>
              <a:gd name="connsiteY6" fmla="*/ 3886455 h 4408488"/>
              <a:gd name="connsiteX7" fmla="*/ 0 w 3132137"/>
              <a:gd name="connsiteY7" fmla="*/ 2356339 h 4408488"/>
              <a:gd name="connsiteX8" fmla="*/ 0 w 3132137"/>
              <a:gd name="connsiteY8" fmla="*/ 1 h 4408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2137" h="4408488">
                <a:moveTo>
                  <a:pt x="0" y="0"/>
                </a:moveTo>
                <a:lnTo>
                  <a:pt x="3132137" y="0"/>
                </a:lnTo>
                <a:lnTo>
                  <a:pt x="3132137" y="1"/>
                </a:lnTo>
                <a:lnTo>
                  <a:pt x="3132137" y="2356339"/>
                </a:lnTo>
                <a:lnTo>
                  <a:pt x="3132137" y="4408488"/>
                </a:lnTo>
                <a:lnTo>
                  <a:pt x="522033" y="4408488"/>
                </a:lnTo>
                <a:cubicBezTo>
                  <a:pt x="233722" y="4408488"/>
                  <a:pt x="0" y="4174766"/>
                  <a:pt x="0" y="3886455"/>
                </a:cubicBezTo>
                <a:lnTo>
                  <a:pt x="0" y="2356339"/>
                </a:lnTo>
                <a:lnTo>
                  <a:pt x="0" y="1"/>
                </a:lnTo>
                <a:close/>
              </a:path>
            </a:pathLst>
          </a:custGeom>
          <a:solidFill>
            <a:schemeClr val="tx1">
              <a:lumMod val="20000"/>
              <a:lumOff val="80000"/>
            </a:schemeClr>
          </a:solidFill>
        </p:spPr>
        <p:txBody>
          <a:bodyPr wrap="square">
            <a:noAutofit/>
          </a:bodyPr>
          <a:lstStyle>
            <a:lvl1pPr marL="0" indent="0" algn="ctr">
              <a:buNone/>
              <a:defRPr>
                <a:solidFill>
                  <a:schemeClr val="accent1"/>
                </a:solidFill>
              </a:defRPr>
            </a:lvl1pPr>
          </a:lstStyle>
          <a:p>
            <a:r>
              <a:rPr lang="en-GB"/>
              <a:t>Image</a:t>
            </a:r>
          </a:p>
        </p:txBody>
      </p:sp>
    </p:spTree>
    <p:extLst>
      <p:ext uri="{BB962C8B-B14F-4D97-AF65-F5344CB8AC3E}">
        <p14:creationId xmlns:p14="http://schemas.microsoft.com/office/powerpoint/2010/main" val="3171684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bject, image right - 3">
    <p:spTree>
      <p:nvGrpSpPr>
        <p:cNvPr id="1" name=""/>
        <p:cNvGrpSpPr/>
        <p:nvPr/>
      </p:nvGrpSpPr>
      <p:grpSpPr>
        <a:xfrm>
          <a:off x="0" y="0"/>
          <a:ext cx="0" cy="0"/>
          <a:chOff x="0" y="0"/>
          <a:chExt cx="0" cy="0"/>
        </a:xfrm>
      </p:grpSpPr>
      <p:sp>
        <p:nvSpPr>
          <p:cNvPr id="2" name="Title 1"/>
          <p:cNvSpPr>
            <a:spLocks noGrp="1"/>
          </p:cNvSpPr>
          <p:nvPr>
            <p:ph type="title"/>
          </p:nvPr>
        </p:nvSpPr>
        <p:spPr>
          <a:xfrm>
            <a:off x="575735" y="548219"/>
            <a:ext cx="5257804" cy="1036965"/>
          </a:xfrm>
        </p:spPr>
        <p:txBody>
          <a:bodyPr/>
          <a:lstStyle/>
          <a:p>
            <a:r>
              <a:rPr lang="en-GB"/>
              <a:t>Click to edit Master title style</a:t>
            </a:r>
          </a:p>
        </p:txBody>
      </p:sp>
      <p:sp>
        <p:nvSpPr>
          <p:cNvPr id="3" name="Content Placeholder 2"/>
          <p:cNvSpPr>
            <a:spLocks noGrp="1"/>
          </p:cNvSpPr>
          <p:nvPr>
            <p:ph idx="1" hasCustomPrompt="1"/>
          </p:nvPr>
        </p:nvSpPr>
        <p:spPr>
          <a:xfrm>
            <a:off x="580294" y="1701801"/>
            <a:ext cx="5257804" cy="417618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10"/>
          </p:nvPr>
        </p:nvSpPr>
        <p:spPr>
          <a:xfrm>
            <a:off x="5379639" y="6491400"/>
            <a:ext cx="458459" cy="102657"/>
          </a:xfrm>
        </p:spPr>
        <p:txBody>
          <a:bodyPr/>
          <a:lstStyle/>
          <a:p>
            <a:fld id="{B6163461-CF87-4EE2-8B9C-020C6C29DDA0}" type="datetime1">
              <a:rPr lang="en-US" smtClean="0"/>
              <a:t>4/18/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8" name="Tijdelijke aanduiding voor afbeelding 7">
            <a:extLst>
              <a:ext uri="{FF2B5EF4-FFF2-40B4-BE49-F238E27FC236}">
                <a16:creationId xmlns:a16="http://schemas.microsoft.com/office/drawing/2014/main" id="{F720B503-17F8-4237-9A82-0CEE6CD5AC31}"/>
              </a:ext>
            </a:extLst>
          </p:cNvPr>
          <p:cNvSpPr>
            <a:spLocks noGrp="1"/>
          </p:cNvSpPr>
          <p:nvPr>
            <p:ph type="pic" sz="quarter" idx="13" hasCustomPrompt="1"/>
          </p:nvPr>
        </p:nvSpPr>
        <p:spPr>
          <a:xfrm>
            <a:off x="6096000" y="0"/>
            <a:ext cx="6096000" cy="6858000"/>
          </a:xfrm>
          <a:solidFill>
            <a:schemeClr val="tx1">
              <a:lumMod val="20000"/>
              <a:lumOff val="80000"/>
            </a:schemeClr>
          </a:solidFill>
        </p:spPr>
        <p:txBody>
          <a:bodyPr/>
          <a:lstStyle>
            <a:lvl1pPr marL="0" indent="0" algn="ctr">
              <a:buNone/>
              <a:defRPr>
                <a:solidFill>
                  <a:schemeClr val="accent1"/>
                </a:solidFill>
              </a:defRPr>
            </a:lvl1pPr>
          </a:lstStyle>
          <a:p>
            <a:r>
              <a:rPr lang="en-GB"/>
              <a:t>Image</a:t>
            </a:r>
          </a:p>
        </p:txBody>
      </p:sp>
    </p:spTree>
    <p:extLst>
      <p:ext uri="{BB962C8B-B14F-4D97-AF65-F5344CB8AC3E}">
        <p14:creationId xmlns:p14="http://schemas.microsoft.com/office/powerpoint/2010/main" val="2781118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bject, image right - 4">
    <p:spTree>
      <p:nvGrpSpPr>
        <p:cNvPr id="1" name=""/>
        <p:cNvGrpSpPr/>
        <p:nvPr/>
      </p:nvGrpSpPr>
      <p:grpSpPr>
        <a:xfrm>
          <a:off x="0" y="0"/>
          <a:ext cx="0" cy="0"/>
          <a:chOff x="0" y="0"/>
          <a:chExt cx="0" cy="0"/>
        </a:xfrm>
      </p:grpSpPr>
      <p:sp>
        <p:nvSpPr>
          <p:cNvPr id="2" name="Title 1"/>
          <p:cNvSpPr>
            <a:spLocks noGrp="1"/>
          </p:cNvSpPr>
          <p:nvPr>
            <p:ph type="title"/>
          </p:nvPr>
        </p:nvSpPr>
        <p:spPr>
          <a:xfrm>
            <a:off x="575735" y="548219"/>
            <a:ext cx="5257804" cy="1036965"/>
          </a:xfrm>
        </p:spPr>
        <p:txBody>
          <a:bodyPr/>
          <a:lstStyle/>
          <a:p>
            <a:r>
              <a:rPr lang="en-GB"/>
              <a:t>Click to edit Master title style</a:t>
            </a:r>
          </a:p>
        </p:txBody>
      </p:sp>
      <p:sp>
        <p:nvSpPr>
          <p:cNvPr id="3" name="Content Placeholder 2"/>
          <p:cNvSpPr>
            <a:spLocks noGrp="1"/>
          </p:cNvSpPr>
          <p:nvPr>
            <p:ph idx="1" hasCustomPrompt="1"/>
          </p:nvPr>
        </p:nvSpPr>
        <p:spPr>
          <a:xfrm>
            <a:off x="580294" y="1701801"/>
            <a:ext cx="5257804" cy="417618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52EA21D7-1005-4EDE-841E-88045C88545D}"/>
              </a:ext>
            </a:extLst>
          </p:cNvPr>
          <p:cNvSpPr>
            <a:spLocks noGrp="1"/>
          </p:cNvSpPr>
          <p:nvPr>
            <p:ph type="dt" sz="half" idx="15"/>
          </p:nvPr>
        </p:nvSpPr>
        <p:spPr/>
        <p:txBody>
          <a:bodyPr/>
          <a:lstStyle/>
          <a:p>
            <a:fld id="{4C7E45B1-66E3-40CD-B158-DC9062931BE7}" type="datetime1">
              <a:rPr lang="en-US" smtClean="0"/>
              <a:t>4/18/2025</a:t>
            </a:fld>
            <a:endParaRPr lang="en-GB"/>
          </a:p>
        </p:txBody>
      </p:sp>
      <p:sp>
        <p:nvSpPr>
          <p:cNvPr id="8" name="Footer Placeholder 7">
            <a:extLst>
              <a:ext uri="{FF2B5EF4-FFF2-40B4-BE49-F238E27FC236}">
                <a16:creationId xmlns:a16="http://schemas.microsoft.com/office/drawing/2014/main" id="{C2778027-0E63-4A63-883B-42853C952A7D}"/>
              </a:ext>
            </a:extLst>
          </p:cNvPr>
          <p:cNvSpPr>
            <a:spLocks noGrp="1"/>
          </p:cNvSpPr>
          <p:nvPr>
            <p:ph type="ftr" sz="quarter" idx="16"/>
          </p:nvPr>
        </p:nvSpPr>
        <p:spPr/>
        <p:txBody>
          <a:bodyPr/>
          <a:lstStyle/>
          <a:p>
            <a:r>
              <a:rPr lang="en-GB"/>
              <a:t>Draft | Internal use only | Confidential</a:t>
            </a:r>
          </a:p>
        </p:txBody>
      </p:sp>
      <p:sp>
        <p:nvSpPr>
          <p:cNvPr id="9" name="Slide Number Placeholder 8">
            <a:extLst>
              <a:ext uri="{FF2B5EF4-FFF2-40B4-BE49-F238E27FC236}">
                <a16:creationId xmlns:a16="http://schemas.microsoft.com/office/drawing/2014/main" id="{1B0E8294-B9BA-4A85-9AF3-814ECE43C083}"/>
              </a:ext>
            </a:extLst>
          </p:cNvPr>
          <p:cNvSpPr>
            <a:spLocks noGrp="1"/>
          </p:cNvSpPr>
          <p:nvPr>
            <p:ph type="sldNum" sz="quarter" idx="17"/>
          </p:nvPr>
        </p:nvSpPr>
        <p:spPr/>
        <p:txBody>
          <a:bodyPr/>
          <a:lstStyle/>
          <a:p>
            <a:fld id="{9BE0E23E-9022-4929-B297-EB2777CDBB1F}" type="slidenum">
              <a:rPr lang="en-GB" smtClean="0"/>
              <a:pPr/>
              <a:t>‹#›</a:t>
            </a:fld>
            <a:endParaRPr lang="en-GB"/>
          </a:p>
        </p:txBody>
      </p:sp>
      <p:sp>
        <p:nvSpPr>
          <p:cNvPr id="12" name="Picture Placeholder 11">
            <a:extLst>
              <a:ext uri="{FF2B5EF4-FFF2-40B4-BE49-F238E27FC236}">
                <a16:creationId xmlns:a16="http://schemas.microsoft.com/office/drawing/2014/main" id="{37B97ABC-BA74-4B06-AE01-DA83D0C01F86}"/>
              </a:ext>
            </a:extLst>
          </p:cNvPr>
          <p:cNvSpPr>
            <a:spLocks noGrp="1"/>
          </p:cNvSpPr>
          <p:nvPr>
            <p:ph type="pic" sz="quarter" idx="13" hasCustomPrompt="1"/>
          </p:nvPr>
        </p:nvSpPr>
        <p:spPr>
          <a:xfrm>
            <a:off x="6095997" y="-1"/>
            <a:ext cx="6096000" cy="5877984"/>
          </a:xfrm>
          <a:custGeom>
            <a:avLst/>
            <a:gdLst>
              <a:gd name="connsiteX0" fmla="*/ 0 w 4572000"/>
              <a:gd name="connsiteY0" fmla="*/ 0 h 4408488"/>
              <a:gd name="connsiteX1" fmla="*/ 1439863 w 4572000"/>
              <a:gd name="connsiteY1" fmla="*/ 0 h 4408488"/>
              <a:gd name="connsiteX2" fmla="*/ 4572000 w 4572000"/>
              <a:gd name="connsiteY2" fmla="*/ 0 h 4408488"/>
              <a:gd name="connsiteX3" fmla="*/ 4572000 w 4572000"/>
              <a:gd name="connsiteY3" fmla="*/ 1505243 h 4408488"/>
              <a:gd name="connsiteX4" fmla="*/ 4572000 w 4572000"/>
              <a:gd name="connsiteY4" fmla="*/ 4408488 h 4408488"/>
              <a:gd name="connsiteX5" fmla="*/ 734763 w 4572000"/>
              <a:gd name="connsiteY5" fmla="*/ 4408488 h 4408488"/>
              <a:gd name="connsiteX6" fmla="*/ 0 w 4572000"/>
              <a:gd name="connsiteY6" fmla="*/ 3673725 h 4408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2000" h="4408488">
                <a:moveTo>
                  <a:pt x="0" y="0"/>
                </a:moveTo>
                <a:lnTo>
                  <a:pt x="1439863" y="0"/>
                </a:lnTo>
                <a:lnTo>
                  <a:pt x="4572000" y="0"/>
                </a:lnTo>
                <a:lnTo>
                  <a:pt x="4572000" y="1505243"/>
                </a:lnTo>
                <a:lnTo>
                  <a:pt x="4572000" y="4408488"/>
                </a:lnTo>
                <a:lnTo>
                  <a:pt x="734763" y="4408488"/>
                </a:lnTo>
                <a:cubicBezTo>
                  <a:pt x="328965" y="4408488"/>
                  <a:pt x="0" y="4079523"/>
                  <a:pt x="0" y="3673725"/>
                </a:cubicBezTo>
                <a:close/>
              </a:path>
            </a:pathLst>
          </a:custGeom>
          <a:solidFill>
            <a:schemeClr val="tx1">
              <a:lumMod val="20000"/>
              <a:lumOff val="80000"/>
            </a:schemeClr>
          </a:solidFill>
        </p:spPr>
        <p:txBody>
          <a:bodyPr wrap="square">
            <a:noAutofit/>
          </a:bodyPr>
          <a:lstStyle>
            <a:lvl1pPr marL="0" indent="0" algn="ctr">
              <a:buNone/>
              <a:defRPr>
                <a:solidFill>
                  <a:schemeClr val="accent1"/>
                </a:solidFill>
              </a:defRPr>
            </a:lvl1pPr>
          </a:lstStyle>
          <a:p>
            <a:r>
              <a:rPr lang="en-GB"/>
              <a:t>Image</a:t>
            </a:r>
          </a:p>
        </p:txBody>
      </p:sp>
    </p:spTree>
    <p:extLst>
      <p:ext uri="{BB962C8B-B14F-4D97-AF65-F5344CB8AC3E}">
        <p14:creationId xmlns:p14="http://schemas.microsoft.com/office/powerpoint/2010/main" val="1952854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bject + Performance image">
    <p:spTree>
      <p:nvGrpSpPr>
        <p:cNvPr id="1" name=""/>
        <p:cNvGrpSpPr/>
        <p:nvPr/>
      </p:nvGrpSpPr>
      <p:grpSpPr>
        <a:xfrm>
          <a:off x="0" y="0"/>
          <a:ext cx="0" cy="0"/>
          <a:chOff x="0" y="0"/>
          <a:chExt cx="0" cy="0"/>
        </a:xfrm>
      </p:grpSpPr>
      <p:sp>
        <p:nvSpPr>
          <p:cNvPr id="2" name="Title 1"/>
          <p:cNvSpPr>
            <a:spLocks noGrp="1"/>
          </p:cNvSpPr>
          <p:nvPr>
            <p:ph type="title"/>
          </p:nvPr>
        </p:nvSpPr>
        <p:spPr>
          <a:xfrm>
            <a:off x="4521865" y="548219"/>
            <a:ext cx="7094400" cy="1036965"/>
          </a:xfrm>
        </p:spPr>
        <p:txBody>
          <a:bodyPr/>
          <a:lstStyle/>
          <a:p>
            <a:r>
              <a:rPr lang="en-GB"/>
              <a:t>Click to edit Master title style</a:t>
            </a:r>
          </a:p>
        </p:txBody>
      </p:sp>
      <p:sp>
        <p:nvSpPr>
          <p:cNvPr id="4" name="Date Placeholder 3"/>
          <p:cNvSpPr>
            <a:spLocks noGrp="1"/>
          </p:cNvSpPr>
          <p:nvPr>
            <p:ph type="dt" sz="half" idx="10"/>
          </p:nvPr>
        </p:nvSpPr>
        <p:spPr>
          <a:xfrm>
            <a:off x="7216520" y="6491400"/>
            <a:ext cx="458459" cy="102657"/>
          </a:xfrm>
        </p:spPr>
        <p:txBody>
          <a:bodyPr/>
          <a:lstStyle/>
          <a:p>
            <a:fld id="{B102196D-C3BC-4649-8A23-D385836B4205}" type="datetime1">
              <a:rPr lang="en-US" smtClean="0"/>
              <a:t>4/18/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pic>
        <p:nvPicPr>
          <p:cNvPr id="10" name="Picture Placeholder 6" descr="A picture containing wall, indoor, room&#10;&#10;Description automatically generated">
            <a:extLst>
              <a:ext uri="{FF2B5EF4-FFF2-40B4-BE49-F238E27FC236}">
                <a16:creationId xmlns:a16="http://schemas.microsoft.com/office/drawing/2014/main" id="{ADA701CE-DA74-411B-AC05-5C868C27EFC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a:fillRect/>
          </a:stretch>
        </p:blipFill>
        <p:spPr>
          <a:xfrm>
            <a:off x="-1" y="0"/>
            <a:ext cx="4176185" cy="6858000"/>
          </a:xfrm>
          <a:prstGeom prst="rect">
            <a:avLst/>
          </a:prstGeom>
        </p:spPr>
      </p:pic>
      <p:sp>
        <p:nvSpPr>
          <p:cNvPr id="11" name="Content Placeholder 2">
            <a:extLst>
              <a:ext uri="{FF2B5EF4-FFF2-40B4-BE49-F238E27FC236}">
                <a16:creationId xmlns:a16="http://schemas.microsoft.com/office/drawing/2014/main" id="{C8FC07B1-6062-451E-972E-548690A18E37}"/>
              </a:ext>
            </a:extLst>
          </p:cNvPr>
          <p:cNvSpPr>
            <a:spLocks noGrp="1"/>
          </p:cNvSpPr>
          <p:nvPr>
            <p:ph idx="1" hasCustomPrompt="1"/>
          </p:nvPr>
        </p:nvSpPr>
        <p:spPr>
          <a:xfrm>
            <a:off x="4512735" y="1701801"/>
            <a:ext cx="7103532" cy="417618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423498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object + Medical image">
    <p:spTree>
      <p:nvGrpSpPr>
        <p:cNvPr id="1" name=""/>
        <p:cNvGrpSpPr/>
        <p:nvPr/>
      </p:nvGrpSpPr>
      <p:grpSpPr>
        <a:xfrm>
          <a:off x="0" y="0"/>
          <a:ext cx="0" cy="0"/>
          <a:chOff x="0" y="0"/>
          <a:chExt cx="0" cy="0"/>
        </a:xfrm>
      </p:grpSpPr>
      <p:sp>
        <p:nvSpPr>
          <p:cNvPr id="2" name="Title 1"/>
          <p:cNvSpPr>
            <a:spLocks noGrp="1"/>
          </p:cNvSpPr>
          <p:nvPr>
            <p:ph type="title"/>
          </p:nvPr>
        </p:nvSpPr>
        <p:spPr>
          <a:xfrm>
            <a:off x="575732" y="548219"/>
            <a:ext cx="7094400" cy="1036965"/>
          </a:xfrm>
        </p:spPr>
        <p:txBody>
          <a:bodyPr/>
          <a:lstStyle/>
          <a:p>
            <a:r>
              <a:rPr lang="en-GB"/>
              <a:t>Click to edit Master title style</a:t>
            </a:r>
          </a:p>
        </p:txBody>
      </p:sp>
      <p:sp>
        <p:nvSpPr>
          <p:cNvPr id="3" name="Content Placeholder 2"/>
          <p:cNvSpPr>
            <a:spLocks noGrp="1"/>
          </p:cNvSpPr>
          <p:nvPr>
            <p:ph idx="1" hasCustomPrompt="1"/>
          </p:nvPr>
        </p:nvSpPr>
        <p:spPr>
          <a:xfrm>
            <a:off x="580291" y="1701801"/>
            <a:ext cx="7094400" cy="417618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10"/>
          </p:nvPr>
        </p:nvSpPr>
        <p:spPr>
          <a:xfrm>
            <a:off x="7216520" y="6491400"/>
            <a:ext cx="458459" cy="102657"/>
          </a:xfrm>
        </p:spPr>
        <p:txBody>
          <a:bodyPr/>
          <a:lstStyle/>
          <a:p>
            <a:fld id="{E983F77B-F89F-4B8C-948F-B0C5195D6F29}" type="datetime1">
              <a:rPr lang="en-US" smtClean="0"/>
              <a:t>4/18/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pic>
        <p:nvPicPr>
          <p:cNvPr id="10" name="Picture Placeholder 6" descr="A person and person sitting on a pink chair&#10;&#10;Description automatically generated with low confidence">
            <a:extLst>
              <a:ext uri="{FF2B5EF4-FFF2-40B4-BE49-F238E27FC236}">
                <a16:creationId xmlns:a16="http://schemas.microsoft.com/office/drawing/2014/main" id="{28D39303-1151-453C-9552-7D460EC5ADB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8015819" y="0"/>
            <a:ext cx="4176183" cy="6858000"/>
          </a:xfrm>
          <a:prstGeom prst="rect">
            <a:avLst/>
          </a:prstGeom>
        </p:spPr>
      </p:pic>
    </p:spTree>
    <p:extLst>
      <p:ext uri="{BB962C8B-B14F-4D97-AF65-F5344CB8AC3E}">
        <p14:creationId xmlns:p14="http://schemas.microsoft.com/office/powerpoint/2010/main" val="3161128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bject + Active image">
    <p:spTree>
      <p:nvGrpSpPr>
        <p:cNvPr id="1" name=""/>
        <p:cNvGrpSpPr/>
        <p:nvPr/>
      </p:nvGrpSpPr>
      <p:grpSpPr>
        <a:xfrm>
          <a:off x="0" y="0"/>
          <a:ext cx="0" cy="0"/>
          <a:chOff x="0" y="0"/>
          <a:chExt cx="0" cy="0"/>
        </a:xfrm>
      </p:grpSpPr>
      <p:sp>
        <p:nvSpPr>
          <p:cNvPr id="2" name="Title 1"/>
          <p:cNvSpPr>
            <a:spLocks noGrp="1"/>
          </p:cNvSpPr>
          <p:nvPr>
            <p:ph type="title"/>
          </p:nvPr>
        </p:nvSpPr>
        <p:spPr>
          <a:xfrm>
            <a:off x="4521865" y="548219"/>
            <a:ext cx="7094400" cy="1036965"/>
          </a:xfrm>
        </p:spPr>
        <p:txBody>
          <a:bodyPr/>
          <a:lstStyle/>
          <a:p>
            <a:r>
              <a:rPr lang="en-GB"/>
              <a:t>Click to edit Master title style</a:t>
            </a:r>
          </a:p>
        </p:txBody>
      </p:sp>
      <p:sp>
        <p:nvSpPr>
          <p:cNvPr id="4" name="Date Placeholder 3"/>
          <p:cNvSpPr>
            <a:spLocks noGrp="1"/>
          </p:cNvSpPr>
          <p:nvPr>
            <p:ph type="dt" sz="half" idx="10"/>
          </p:nvPr>
        </p:nvSpPr>
        <p:spPr>
          <a:xfrm>
            <a:off x="7216520" y="6491400"/>
            <a:ext cx="458459" cy="102657"/>
          </a:xfrm>
        </p:spPr>
        <p:txBody>
          <a:bodyPr/>
          <a:lstStyle/>
          <a:p>
            <a:fld id="{B102196D-C3BC-4649-8A23-D385836B4205}" type="datetime1">
              <a:rPr lang="en-US" smtClean="0"/>
              <a:t>4/18/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11" name="Content Placeholder 2">
            <a:extLst>
              <a:ext uri="{FF2B5EF4-FFF2-40B4-BE49-F238E27FC236}">
                <a16:creationId xmlns:a16="http://schemas.microsoft.com/office/drawing/2014/main" id="{C8FC07B1-6062-451E-972E-548690A18E37}"/>
              </a:ext>
            </a:extLst>
          </p:cNvPr>
          <p:cNvSpPr>
            <a:spLocks noGrp="1"/>
          </p:cNvSpPr>
          <p:nvPr>
            <p:ph idx="1" hasCustomPrompt="1"/>
          </p:nvPr>
        </p:nvSpPr>
        <p:spPr>
          <a:xfrm>
            <a:off x="4512735" y="1701801"/>
            <a:ext cx="7103532" cy="417618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Tijdelijke aanduiding voor afbeelding 6" descr="Afbeelding met binnen, muur&#10;&#10;Automatisch gegenereerde beschrijving">
            <a:extLst>
              <a:ext uri="{FF2B5EF4-FFF2-40B4-BE49-F238E27FC236}">
                <a16:creationId xmlns:a16="http://schemas.microsoft.com/office/drawing/2014/main" id="{13BD5D15-A5A8-4DD9-9726-84F34FCE141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4176184" cy="6858000"/>
          </a:xfrm>
          <a:prstGeom prst="rect">
            <a:avLst/>
          </a:prstGeom>
        </p:spPr>
      </p:pic>
    </p:spTree>
    <p:extLst>
      <p:ext uri="{BB962C8B-B14F-4D97-AF65-F5344CB8AC3E}">
        <p14:creationId xmlns:p14="http://schemas.microsoft.com/office/powerpoint/2010/main" val="140082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bject, image left - 5">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19C60E4-499D-5846-DA17-B2DCF1100A93}"/>
              </a:ext>
            </a:extLst>
          </p:cNvPr>
          <p:cNvSpPr>
            <a:spLocks noGrp="1"/>
          </p:cNvSpPr>
          <p:nvPr>
            <p:ph type="pic" sz="quarter" idx="14"/>
          </p:nvPr>
        </p:nvSpPr>
        <p:spPr>
          <a:xfrm>
            <a:off x="580291" y="1701801"/>
            <a:ext cx="4368000" cy="4366684"/>
          </a:xfrm>
          <a:prstGeom prst="roundRect">
            <a:avLst>
              <a:gd name="adj" fmla="val 5981"/>
            </a:avLst>
          </a:prstGeom>
          <a:solidFill>
            <a:schemeClr val="tx1">
              <a:lumMod val="20000"/>
              <a:lumOff val="80000"/>
            </a:schemeClr>
          </a:solidFill>
        </p:spPr>
        <p:txBody>
          <a:bodyPr wrap="square" tIns="396000">
            <a:noAutofit/>
          </a:bodyPr>
          <a:lstStyle>
            <a:lvl1pPr marL="0" indent="0" algn="ctr">
              <a:buNone/>
              <a:defRPr/>
            </a:lvl1pPr>
          </a:lstStyle>
          <a:p>
            <a:r>
              <a:rPr lang="en-US"/>
              <a:t>Click icon to add picture</a:t>
            </a:r>
            <a:endParaRPr lang="en-GB"/>
          </a:p>
        </p:txBody>
      </p:sp>
      <p:sp>
        <p:nvSpPr>
          <p:cNvPr id="7" name="Text Placeholder 6">
            <a:extLst>
              <a:ext uri="{FF2B5EF4-FFF2-40B4-BE49-F238E27FC236}">
                <a16:creationId xmlns:a16="http://schemas.microsoft.com/office/drawing/2014/main" id="{8D6A2074-4B23-FA44-8A54-9A181E3C48B2}"/>
              </a:ext>
            </a:extLst>
          </p:cNvPr>
          <p:cNvSpPr>
            <a:spLocks noGrp="1"/>
          </p:cNvSpPr>
          <p:nvPr>
            <p:ph type="body" sz="quarter" idx="15"/>
          </p:nvPr>
        </p:nvSpPr>
        <p:spPr>
          <a:xfrm>
            <a:off x="4459705" y="2321917"/>
            <a:ext cx="7156560" cy="3536897"/>
          </a:xfrm>
          <a:prstGeom prst="roundRect">
            <a:avLst>
              <a:gd name="adj" fmla="val 7384"/>
            </a:avLst>
          </a:prstGeom>
          <a:solidFill>
            <a:srgbClr val="74BDE9"/>
          </a:solidFill>
        </p:spPr>
        <p:txBody>
          <a:bodyPr vert="horz" lIns="180000" tIns="288000" rIns="180000" bIns="180000" rtlCol="0">
            <a:noAutofit/>
          </a:bodyPr>
          <a:lstStyle>
            <a:lvl1pPr>
              <a:buClrTx/>
              <a:defRPr lang="en-US" dirty="0" smtClean="0">
                <a:solidFill>
                  <a:schemeClr val="bg1"/>
                </a:solidFill>
              </a:defRPr>
            </a:lvl1pPr>
            <a:lvl2pPr>
              <a:buClrTx/>
              <a:defRPr lang="en-US" dirty="0" smtClean="0">
                <a:solidFill>
                  <a:schemeClr val="bg1"/>
                </a:solidFill>
              </a:defRPr>
            </a:lvl2pPr>
            <a:lvl3pPr>
              <a:buClrTx/>
              <a:defRPr lang="en-US" dirty="0" smtClean="0">
                <a:solidFill>
                  <a:schemeClr val="bg1"/>
                </a:solidFill>
              </a:defRPr>
            </a:lvl3pPr>
            <a:lvl4pPr>
              <a:buClrTx/>
              <a:defRPr lang="en-US" dirty="0" smtClean="0">
                <a:solidFill>
                  <a:schemeClr val="bg1"/>
                </a:solidFill>
              </a:defRPr>
            </a:lvl4pPr>
            <a:lvl5pPr>
              <a:buClrTx/>
              <a:defRPr lang="en-GB" dirty="0">
                <a:solidFill>
                  <a:schemeClr val="bg1"/>
                </a:solidFill>
              </a:defRPr>
            </a:lvl5pPr>
          </a:lstStyle>
          <a:p>
            <a:pPr lvl="0">
              <a:buClr>
                <a:schemeClr val="bg1"/>
              </a:buClr>
            </a:pPr>
            <a:r>
              <a:rPr lang="en-US"/>
              <a:t>Click to edit Master text styles</a:t>
            </a:r>
          </a:p>
          <a:p>
            <a:pPr lvl="1">
              <a:buClr>
                <a:schemeClr val="bg1"/>
              </a:buClr>
            </a:pPr>
            <a:r>
              <a:rPr lang="en-US"/>
              <a:t>Second level</a:t>
            </a:r>
          </a:p>
          <a:p>
            <a:pPr lvl="2">
              <a:buClr>
                <a:schemeClr val="bg1"/>
              </a:buClr>
            </a:pPr>
            <a:r>
              <a:rPr lang="en-US"/>
              <a:t>Third level</a:t>
            </a:r>
          </a:p>
          <a:p>
            <a:pPr lvl="3">
              <a:buClr>
                <a:schemeClr val="bg1"/>
              </a:buClr>
            </a:pPr>
            <a:r>
              <a:rPr lang="en-US"/>
              <a:t>Fourth level</a:t>
            </a:r>
          </a:p>
          <a:p>
            <a:pPr lvl="4">
              <a:buClr>
                <a:schemeClr val="bg1"/>
              </a:buClr>
            </a:pPr>
            <a:r>
              <a:rPr lang="en-US"/>
              <a:t>Fifth level</a:t>
            </a:r>
            <a:endParaRPr lang="en-GB"/>
          </a:p>
        </p:txBody>
      </p:sp>
      <p:sp>
        <p:nvSpPr>
          <p:cNvPr id="2" name="Title 1"/>
          <p:cNvSpPr>
            <a:spLocks noGrp="1"/>
          </p:cNvSpPr>
          <p:nvPr>
            <p:ph type="title" hasCustomPrompt="1"/>
          </p:nvPr>
        </p:nvSpPr>
        <p:spPr>
          <a:xfrm>
            <a:off x="580291" y="548218"/>
            <a:ext cx="11035975" cy="1036965"/>
          </a:xfrm>
        </p:spPr>
        <p:txBody>
          <a:bodyPr/>
          <a:lstStyle/>
          <a:p>
            <a:r>
              <a:rPr lang="en-GB"/>
              <a:t>Click to add title</a:t>
            </a:r>
          </a:p>
        </p:txBody>
      </p:sp>
      <p:sp>
        <p:nvSpPr>
          <p:cNvPr id="4" name="Date Placeholder 3"/>
          <p:cNvSpPr>
            <a:spLocks noGrp="1"/>
          </p:cNvSpPr>
          <p:nvPr>
            <p:ph type="dt" sz="half" idx="10"/>
          </p:nvPr>
        </p:nvSpPr>
        <p:spPr/>
        <p:txBody>
          <a:bodyPr/>
          <a:lstStyle/>
          <a:p>
            <a:fld id="{348E600B-2374-4B93-98BF-D5F15DD1994E}" type="datetime1">
              <a:rPr lang="en-GB" smtClean="0"/>
              <a:t>18/04/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Tree>
    <p:extLst>
      <p:ext uri="{BB962C8B-B14F-4D97-AF65-F5344CB8AC3E}">
        <p14:creationId xmlns:p14="http://schemas.microsoft.com/office/powerpoint/2010/main" val="3227366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bject + Early Life image">
    <p:spTree>
      <p:nvGrpSpPr>
        <p:cNvPr id="1" name=""/>
        <p:cNvGrpSpPr/>
        <p:nvPr/>
      </p:nvGrpSpPr>
      <p:grpSpPr>
        <a:xfrm>
          <a:off x="0" y="0"/>
          <a:ext cx="0" cy="0"/>
          <a:chOff x="0" y="0"/>
          <a:chExt cx="0" cy="0"/>
        </a:xfrm>
      </p:grpSpPr>
      <p:sp>
        <p:nvSpPr>
          <p:cNvPr id="2" name="Title 1"/>
          <p:cNvSpPr>
            <a:spLocks noGrp="1"/>
          </p:cNvSpPr>
          <p:nvPr>
            <p:ph type="title"/>
          </p:nvPr>
        </p:nvSpPr>
        <p:spPr>
          <a:xfrm>
            <a:off x="575732" y="548219"/>
            <a:ext cx="7094400" cy="1036965"/>
          </a:xfrm>
        </p:spPr>
        <p:txBody>
          <a:bodyPr/>
          <a:lstStyle/>
          <a:p>
            <a:r>
              <a:rPr lang="en-GB"/>
              <a:t>Click to edit Master title style</a:t>
            </a:r>
          </a:p>
        </p:txBody>
      </p:sp>
      <p:sp>
        <p:nvSpPr>
          <p:cNvPr id="3" name="Content Placeholder 2"/>
          <p:cNvSpPr>
            <a:spLocks noGrp="1"/>
          </p:cNvSpPr>
          <p:nvPr>
            <p:ph idx="1" hasCustomPrompt="1"/>
          </p:nvPr>
        </p:nvSpPr>
        <p:spPr>
          <a:xfrm>
            <a:off x="580291" y="1701801"/>
            <a:ext cx="7094400" cy="417618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10"/>
          </p:nvPr>
        </p:nvSpPr>
        <p:spPr>
          <a:xfrm>
            <a:off x="7216520" y="6491400"/>
            <a:ext cx="458459" cy="102657"/>
          </a:xfrm>
        </p:spPr>
        <p:txBody>
          <a:bodyPr/>
          <a:lstStyle/>
          <a:p>
            <a:fld id="{9FE6E10E-997E-41D1-BD07-3A866904EC3F}" type="datetime1">
              <a:rPr lang="en-US" smtClean="0"/>
              <a:t>4/18/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pic>
        <p:nvPicPr>
          <p:cNvPr id="11" name="Tijdelijke aanduiding voor afbeelding 6">
            <a:extLst>
              <a:ext uri="{FF2B5EF4-FFF2-40B4-BE49-F238E27FC236}">
                <a16:creationId xmlns:a16="http://schemas.microsoft.com/office/drawing/2014/main" id="{FF66C79B-FF1B-4315-8EDC-39D7B83D9FE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H="1">
            <a:off x="8015819" y="0"/>
            <a:ext cx="4176183" cy="6858000"/>
          </a:xfrm>
          <a:prstGeom prst="rect">
            <a:avLst/>
          </a:prstGeom>
        </p:spPr>
      </p:pic>
    </p:spTree>
    <p:extLst>
      <p:ext uri="{BB962C8B-B14F-4D97-AF65-F5344CB8AC3E}">
        <p14:creationId xmlns:p14="http://schemas.microsoft.com/office/powerpoint/2010/main" val="2943792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bject + Cell image">
    <p:spTree>
      <p:nvGrpSpPr>
        <p:cNvPr id="1" name=""/>
        <p:cNvGrpSpPr/>
        <p:nvPr/>
      </p:nvGrpSpPr>
      <p:grpSpPr>
        <a:xfrm>
          <a:off x="0" y="0"/>
          <a:ext cx="0" cy="0"/>
          <a:chOff x="0" y="0"/>
          <a:chExt cx="0" cy="0"/>
        </a:xfrm>
      </p:grpSpPr>
      <p:sp>
        <p:nvSpPr>
          <p:cNvPr id="2" name="Title 1"/>
          <p:cNvSpPr>
            <a:spLocks noGrp="1"/>
          </p:cNvSpPr>
          <p:nvPr>
            <p:ph type="title"/>
          </p:nvPr>
        </p:nvSpPr>
        <p:spPr>
          <a:xfrm>
            <a:off x="4521865" y="548219"/>
            <a:ext cx="7094400" cy="1036965"/>
          </a:xfrm>
        </p:spPr>
        <p:txBody>
          <a:bodyPr/>
          <a:lstStyle/>
          <a:p>
            <a:r>
              <a:rPr lang="en-GB"/>
              <a:t>Click to edit Master title style</a:t>
            </a:r>
          </a:p>
        </p:txBody>
      </p:sp>
      <p:sp>
        <p:nvSpPr>
          <p:cNvPr id="4" name="Date Placeholder 3"/>
          <p:cNvSpPr>
            <a:spLocks noGrp="1"/>
          </p:cNvSpPr>
          <p:nvPr>
            <p:ph type="dt" sz="half" idx="10"/>
          </p:nvPr>
        </p:nvSpPr>
        <p:spPr>
          <a:xfrm>
            <a:off x="7216520" y="6491400"/>
            <a:ext cx="458459" cy="102657"/>
          </a:xfrm>
        </p:spPr>
        <p:txBody>
          <a:bodyPr/>
          <a:lstStyle/>
          <a:p>
            <a:fld id="{B102196D-C3BC-4649-8A23-D385836B4205}" type="datetime1">
              <a:rPr lang="en-US" smtClean="0"/>
              <a:t>4/18/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11" name="Content Placeholder 2">
            <a:extLst>
              <a:ext uri="{FF2B5EF4-FFF2-40B4-BE49-F238E27FC236}">
                <a16:creationId xmlns:a16="http://schemas.microsoft.com/office/drawing/2014/main" id="{C8FC07B1-6062-451E-972E-548690A18E37}"/>
              </a:ext>
            </a:extLst>
          </p:cNvPr>
          <p:cNvSpPr>
            <a:spLocks noGrp="1"/>
          </p:cNvSpPr>
          <p:nvPr>
            <p:ph idx="1" hasCustomPrompt="1"/>
          </p:nvPr>
        </p:nvSpPr>
        <p:spPr>
          <a:xfrm>
            <a:off x="4512735" y="1701801"/>
            <a:ext cx="7103532" cy="417618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pic>
        <p:nvPicPr>
          <p:cNvPr id="9" name="Tijdelijke aanduiding voor afbeelding 6" descr="Afbeelding met muur, binnen, kast, persoon&#10;&#10;Automatisch gegenereerde beschrijving">
            <a:extLst>
              <a:ext uri="{FF2B5EF4-FFF2-40B4-BE49-F238E27FC236}">
                <a16:creationId xmlns:a16="http://schemas.microsoft.com/office/drawing/2014/main" id="{31406208-2EE4-4A82-9467-09D3A8BB78C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4176184" cy="6858000"/>
          </a:xfrm>
          <a:prstGeom prst="rect">
            <a:avLst/>
          </a:prstGeom>
        </p:spPr>
      </p:pic>
    </p:spTree>
    <p:extLst>
      <p:ext uri="{BB962C8B-B14F-4D97-AF65-F5344CB8AC3E}">
        <p14:creationId xmlns:p14="http://schemas.microsoft.com/office/powerpoint/2010/main" val="3546320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bject + Supply Chain image - 1">
    <p:spTree>
      <p:nvGrpSpPr>
        <p:cNvPr id="1" name=""/>
        <p:cNvGrpSpPr/>
        <p:nvPr/>
      </p:nvGrpSpPr>
      <p:grpSpPr>
        <a:xfrm>
          <a:off x="0" y="0"/>
          <a:ext cx="0" cy="0"/>
          <a:chOff x="0" y="0"/>
          <a:chExt cx="0" cy="0"/>
        </a:xfrm>
      </p:grpSpPr>
      <p:sp>
        <p:nvSpPr>
          <p:cNvPr id="2" name="Title 1"/>
          <p:cNvSpPr>
            <a:spLocks noGrp="1"/>
          </p:cNvSpPr>
          <p:nvPr>
            <p:ph type="title"/>
          </p:nvPr>
        </p:nvSpPr>
        <p:spPr>
          <a:xfrm>
            <a:off x="575732" y="548219"/>
            <a:ext cx="7094400" cy="1036965"/>
          </a:xfrm>
        </p:spPr>
        <p:txBody>
          <a:bodyPr/>
          <a:lstStyle/>
          <a:p>
            <a:r>
              <a:rPr lang="en-GB"/>
              <a:t>Click to edit Master title style</a:t>
            </a:r>
          </a:p>
        </p:txBody>
      </p:sp>
      <p:sp>
        <p:nvSpPr>
          <p:cNvPr id="3" name="Content Placeholder 2"/>
          <p:cNvSpPr>
            <a:spLocks noGrp="1"/>
          </p:cNvSpPr>
          <p:nvPr>
            <p:ph idx="1" hasCustomPrompt="1"/>
          </p:nvPr>
        </p:nvSpPr>
        <p:spPr>
          <a:xfrm>
            <a:off x="580291" y="1701801"/>
            <a:ext cx="7094400" cy="417618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10"/>
          </p:nvPr>
        </p:nvSpPr>
        <p:spPr>
          <a:xfrm>
            <a:off x="7216520" y="6491400"/>
            <a:ext cx="458459" cy="102657"/>
          </a:xfrm>
        </p:spPr>
        <p:txBody>
          <a:bodyPr/>
          <a:lstStyle/>
          <a:p>
            <a:fld id="{53C08380-FE5B-42C7-B7E2-85008338F84B}" type="datetime1">
              <a:rPr lang="en-US" smtClean="0"/>
              <a:t>4/18/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pic>
        <p:nvPicPr>
          <p:cNvPr id="9" name="Picture Placeholder 12" descr="A close-up of a factory&#10;&#10;Description automatically generated with low confidence">
            <a:extLst>
              <a:ext uri="{FF2B5EF4-FFF2-40B4-BE49-F238E27FC236}">
                <a16:creationId xmlns:a16="http://schemas.microsoft.com/office/drawing/2014/main" id="{3E9BB979-DC36-45C0-A028-9AC7780BB7E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8015818" y="0"/>
            <a:ext cx="4176183" cy="6858000"/>
          </a:xfrm>
          <a:prstGeom prst="rect">
            <a:avLst/>
          </a:prstGeom>
        </p:spPr>
      </p:pic>
    </p:spTree>
    <p:extLst>
      <p:ext uri="{BB962C8B-B14F-4D97-AF65-F5344CB8AC3E}">
        <p14:creationId xmlns:p14="http://schemas.microsoft.com/office/powerpoint/2010/main" val="3440565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object + Supply Chain image - 3">
    <p:spTree>
      <p:nvGrpSpPr>
        <p:cNvPr id="1" name=""/>
        <p:cNvGrpSpPr/>
        <p:nvPr/>
      </p:nvGrpSpPr>
      <p:grpSpPr>
        <a:xfrm>
          <a:off x="0" y="0"/>
          <a:ext cx="0" cy="0"/>
          <a:chOff x="0" y="0"/>
          <a:chExt cx="0" cy="0"/>
        </a:xfrm>
      </p:grpSpPr>
      <p:pic>
        <p:nvPicPr>
          <p:cNvPr id="9" name="Picture Placeholder 8" descr="A picture containing sky, outdoor, parked&#10;&#10;Description automatically generated">
            <a:extLst>
              <a:ext uri="{FF2B5EF4-FFF2-40B4-BE49-F238E27FC236}">
                <a16:creationId xmlns:a16="http://schemas.microsoft.com/office/drawing/2014/main" id="{FA4C905D-6654-4E17-9204-3ABBEE9CB9C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8015818" y="0"/>
            <a:ext cx="4176183" cy="6858000"/>
          </a:xfrm>
          <a:prstGeom prst="rect">
            <a:avLst/>
          </a:prstGeom>
        </p:spPr>
      </p:pic>
      <p:sp>
        <p:nvSpPr>
          <p:cNvPr id="2" name="Title 1"/>
          <p:cNvSpPr>
            <a:spLocks noGrp="1"/>
          </p:cNvSpPr>
          <p:nvPr>
            <p:ph type="title"/>
          </p:nvPr>
        </p:nvSpPr>
        <p:spPr>
          <a:xfrm>
            <a:off x="575732" y="548219"/>
            <a:ext cx="7094400" cy="1036965"/>
          </a:xfrm>
        </p:spPr>
        <p:txBody>
          <a:bodyPr/>
          <a:lstStyle/>
          <a:p>
            <a:r>
              <a:rPr lang="en-GB"/>
              <a:t>Click to edit Master title style</a:t>
            </a:r>
          </a:p>
        </p:txBody>
      </p:sp>
      <p:sp>
        <p:nvSpPr>
          <p:cNvPr id="3" name="Content Placeholder 2"/>
          <p:cNvSpPr>
            <a:spLocks noGrp="1"/>
          </p:cNvSpPr>
          <p:nvPr>
            <p:ph idx="1" hasCustomPrompt="1"/>
          </p:nvPr>
        </p:nvSpPr>
        <p:spPr>
          <a:xfrm>
            <a:off x="580291" y="1701801"/>
            <a:ext cx="7094400" cy="417618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10"/>
          </p:nvPr>
        </p:nvSpPr>
        <p:spPr>
          <a:xfrm>
            <a:off x="7216520" y="6491400"/>
            <a:ext cx="458459" cy="102657"/>
          </a:xfrm>
        </p:spPr>
        <p:txBody>
          <a:bodyPr/>
          <a:lstStyle/>
          <a:p>
            <a:fld id="{47C90B47-9EA5-409E-A2BB-CB816B10CFA1}" type="datetime1">
              <a:rPr lang="en-US" smtClean="0"/>
              <a:t>4/18/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Tree>
    <p:extLst>
      <p:ext uri="{BB962C8B-B14F-4D97-AF65-F5344CB8AC3E}">
        <p14:creationId xmlns:p14="http://schemas.microsoft.com/office/powerpoint/2010/main" val="4272305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4" name="Date Placeholder 3"/>
          <p:cNvSpPr>
            <a:spLocks noGrp="1"/>
          </p:cNvSpPr>
          <p:nvPr>
            <p:ph type="dt" sz="half" idx="10"/>
          </p:nvPr>
        </p:nvSpPr>
        <p:spPr/>
        <p:txBody>
          <a:bodyPr/>
          <a:lstStyle/>
          <a:p>
            <a:fld id="{29DD7507-29C0-4477-A1D2-8516AD242F3E}" type="datetime1">
              <a:rPr lang="en-US" smtClean="0"/>
              <a:t>4/18/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8" name="Tijdelijke aanduiding voor afbeelding 7">
            <a:extLst>
              <a:ext uri="{FF2B5EF4-FFF2-40B4-BE49-F238E27FC236}">
                <a16:creationId xmlns:a16="http://schemas.microsoft.com/office/drawing/2014/main" id="{F720B503-17F8-4237-9A82-0CEE6CD5AC31}"/>
              </a:ext>
            </a:extLst>
          </p:cNvPr>
          <p:cNvSpPr>
            <a:spLocks noGrp="1"/>
          </p:cNvSpPr>
          <p:nvPr>
            <p:ph type="pic" sz="quarter" idx="13" hasCustomPrompt="1"/>
          </p:nvPr>
        </p:nvSpPr>
        <p:spPr>
          <a:xfrm>
            <a:off x="580293" y="1701801"/>
            <a:ext cx="11035975" cy="4176184"/>
          </a:xfrm>
          <a:solidFill>
            <a:schemeClr val="tx1">
              <a:lumMod val="20000"/>
              <a:lumOff val="80000"/>
            </a:schemeClr>
          </a:solidFill>
        </p:spPr>
        <p:txBody>
          <a:bodyPr/>
          <a:lstStyle>
            <a:lvl1pPr marL="0" indent="0" algn="ctr">
              <a:buNone/>
              <a:defRPr>
                <a:solidFill>
                  <a:schemeClr val="accent1"/>
                </a:solidFill>
              </a:defRPr>
            </a:lvl1pPr>
          </a:lstStyle>
          <a:p>
            <a:r>
              <a:rPr lang="en-GB"/>
              <a:t>Image</a:t>
            </a:r>
          </a:p>
        </p:txBody>
      </p:sp>
    </p:spTree>
    <p:extLst>
      <p:ext uri="{BB962C8B-B14F-4D97-AF65-F5344CB8AC3E}">
        <p14:creationId xmlns:p14="http://schemas.microsoft.com/office/powerpoint/2010/main" val="2341841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Title and objec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Content Placeholder 2"/>
          <p:cNvSpPr>
            <a:spLocks noGrp="1"/>
          </p:cNvSpPr>
          <p:nvPr>
            <p:ph idx="1" hasCustomPrompt="1"/>
          </p:nvPr>
        </p:nvSpPr>
        <p:spPr>
          <a:xfrm>
            <a:off x="580293" y="1701801"/>
            <a:ext cx="11035975" cy="417618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10"/>
          </p:nvPr>
        </p:nvSpPr>
        <p:spPr/>
        <p:txBody>
          <a:bodyPr/>
          <a:lstStyle/>
          <a:p>
            <a:fld id="{AC55B695-F47F-4B98-A9EF-D11F6C207422}" type="datetime1">
              <a:rPr lang="en-US" smtClean="0"/>
              <a:t>4/18/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Tree>
    <p:extLst>
      <p:ext uri="{BB962C8B-B14F-4D97-AF65-F5344CB8AC3E}">
        <p14:creationId xmlns:p14="http://schemas.microsoft.com/office/powerpoint/2010/main" val="3190335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ubtitle and objec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Content Placeholder 2"/>
          <p:cNvSpPr>
            <a:spLocks noGrp="1"/>
          </p:cNvSpPr>
          <p:nvPr>
            <p:ph idx="1" hasCustomPrompt="1"/>
          </p:nvPr>
        </p:nvSpPr>
        <p:spPr>
          <a:xfrm>
            <a:off x="580293" y="2077593"/>
            <a:ext cx="11035975" cy="3800392"/>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10"/>
          </p:nvPr>
        </p:nvSpPr>
        <p:spPr/>
        <p:txBody>
          <a:bodyPr/>
          <a:lstStyle/>
          <a:p>
            <a:fld id="{288EB5AA-DE56-4BC0-8CAB-DC3DA8ACE7B7}" type="datetime1">
              <a:rPr lang="en-US" smtClean="0"/>
              <a:t>4/18/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8" name="Tijdelijke aanduiding voor tekst 7">
            <a:extLst>
              <a:ext uri="{FF2B5EF4-FFF2-40B4-BE49-F238E27FC236}">
                <a16:creationId xmlns:a16="http://schemas.microsoft.com/office/drawing/2014/main" id="{F7DBD289-E124-4653-9BF3-FE57FA1AC736}"/>
              </a:ext>
            </a:extLst>
          </p:cNvPr>
          <p:cNvSpPr>
            <a:spLocks noGrp="1"/>
          </p:cNvSpPr>
          <p:nvPr>
            <p:ph type="body" sz="quarter" idx="13" hasCustomPrompt="1"/>
          </p:nvPr>
        </p:nvSpPr>
        <p:spPr>
          <a:xfrm>
            <a:off x="580291" y="1701800"/>
            <a:ext cx="11035200" cy="375792"/>
          </a:xfrm>
        </p:spPr>
        <p:txBody>
          <a:bodyPr wrap="none"/>
          <a:lstStyle>
            <a:lvl1pPr marL="0" indent="0">
              <a:buNone/>
              <a:defRPr>
                <a:solidFill>
                  <a:schemeClr val="accent1"/>
                </a:solidFill>
              </a:defRPr>
            </a:lvl1pPr>
          </a:lstStyle>
          <a:p>
            <a:pPr lvl="0"/>
            <a:r>
              <a:rPr lang="en-GB"/>
              <a:t>Subtitle</a:t>
            </a:r>
          </a:p>
        </p:txBody>
      </p:sp>
    </p:spTree>
    <p:extLst>
      <p:ext uri="{BB962C8B-B14F-4D97-AF65-F5344CB8AC3E}">
        <p14:creationId xmlns:p14="http://schemas.microsoft.com/office/powerpoint/2010/main" val="1521790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2 objec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80800" y="1703997"/>
            <a:ext cx="5400000" cy="4173987"/>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hasCustomPrompt="1"/>
          </p:nvPr>
        </p:nvSpPr>
        <p:spPr>
          <a:xfrm>
            <a:off x="6216264" y="1703997"/>
            <a:ext cx="5400000" cy="4173987"/>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p:cNvSpPr>
            <a:spLocks noGrp="1"/>
          </p:cNvSpPr>
          <p:nvPr>
            <p:ph type="dt" sz="half" idx="10"/>
          </p:nvPr>
        </p:nvSpPr>
        <p:spPr/>
        <p:txBody>
          <a:bodyPr/>
          <a:lstStyle/>
          <a:p>
            <a:fld id="{885277F6-D943-4ED4-85EC-5DFE576AD33D}" type="datetime1">
              <a:rPr lang="en-US" smtClean="0"/>
              <a:t>4/18/2025</a:t>
            </a:fld>
            <a:endParaRPr lang="en-GB"/>
          </a:p>
        </p:txBody>
      </p:sp>
      <p:sp>
        <p:nvSpPr>
          <p:cNvPr id="6" name="Footer Placeholder 5"/>
          <p:cNvSpPr>
            <a:spLocks noGrp="1"/>
          </p:cNvSpPr>
          <p:nvPr>
            <p:ph type="ftr" sz="quarter" idx="11"/>
          </p:nvPr>
        </p:nvSpPr>
        <p:spPr/>
        <p:txBody>
          <a:bodyPr/>
          <a:lstStyle/>
          <a:p>
            <a:r>
              <a:rPr lang="en-GB"/>
              <a:t>Draft | Internal use only | Confidential</a:t>
            </a:r>
          </a:p>
        </p:txBody>
      </p:sp>
      <p:sp>
        <p:nvSpPr>
          <p:cNvPr id="7" name="Slide Number Placeholder 6"/>
          <p:cNvSpPr>
            <a:spLocks noGrp="1"/>
          </p:cNvSpPr>
          <p:nvPr>
            <p:ph type="sldNum" sz="quarter" idx="12"/>
          </p:nvPr>
        </p:nvSpPr>
        <p:spPr/>
        <p:txBody>
          <a:bodyPr/>
          <a:lstStyle/>
          <a:p>
            <a:fld id="{9BE0E23E-9022-4929-B297-EB2777CDBB1F}" type="slidenum">
              <a:rPr lang="en-GB" smtClean="0"/>
              <a:t>‹#›</a:t>
            </a:fld>
            <a:endParaRPr lang="en-GB"/>
          </a:p>
        </p:txBody>
      </p:sp>
      <p:sp>
        <p:nvSpPr>
          <p:cNvPr id="8" name="Titel 7">
            <a:extLst>
              <a:ext uri="{FF2B5EF4-FFF2-40B4-BE49-F238E27FC236}">
                <a16:creationId xmlns:a16="http://schemas.microsoft.com/office/drawing/2014/main" id="{26BE0271-8E9F-4D14-97DF-D828AE403B0B}"/>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3831586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ubtitle, 2 objec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80800" y="2077592"/>
            <a:ext cx="5400000" cy="3800392"/>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hasCustomPrompt="1"/>
          </p:nvPr>
        </p:nvSpPr>
        <p:spPr>
          <a:xfrm>
            <a:off x="6216265" y="2077592"/>
            <a:ext cx="5400000" cy="3800392"/>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p:cNvSpPr>
            <a:spLocks noGrp="1"/>
          </p:cNvSpPr>
          <p:nvPr>
            <p:ph type="dt" sz="half" idx="10"/>
          </p:nvPr>
        </p:nvSpPr>
        <p:spPr/>
        <p:txBody>
          <a:bodyPr/>
          <a:lstStyle/>
          <a:p>
            <a:fld id="{36A0620C-1A8F-457E-9523-560E7B108EB5}" type="datetime1">
              <a:rPr lang="en-US" smtClean="0"/>
              <a:t>4/18/2025</a:t>
            </a:fld>
            <a:endParaRPr lang="en-GB"/>
          </a:p>
        </p:txBody>
      </p:sp>
      <p:sp>
        <p:nvSpPr>
          <p:cNvPr id="6" name="Footer Placeholder 5"/>
          <p:cNvSpPr>
            <a:spLocks noGrp="1"/>
          </p:cNvSpPr>
          <p:nvPr>
            <p:ph type="ftr" sz="quarter" idx="11"/>
          </p:nvPr>
        </p:nvSpPr>
        <p:spPr/>
        <p:txBody>
          <a:bodyPr/>
          <a:lstStyle/>
          <a:p>
            <a:r>
              <a:rPr lang="en-GB"/>
              <a:t>Draft | Internal use only | Confidential</a:t>
            </a:r>
          </a:p>
        </p:txBody>
      </p:sp>
      <p:sp>
        <p:nvSpPr>
          <p:cNvPr id="7" name="Slide Number Placeholder 6"/>
          <p:cNvSpPr>
            <a:spLocks noGrp="1"/>
          </p:cNvSpPr>
          <p:nvPr>
            <p:ph type="sldNum" sz="quarter" idx="12"/>
          </p:nvPr>
        </p:nvSpPr>
        <p:spPr/>
        <p:txBody>
          <a:bodyPr/>
          <a:lstStyle/>
          <a:p>
            <a:fld id="{9BE0E23E-9022-4929-B297-EB2777CDBB1F}" type="slidenum">
              <a:rPr lang="en-GB" smtClean="0"/>
              <a:t>‹#›</a:t>
            </a:fld>
            <a:endParaRPr lang="en-GB"/>
          </a:p>
        </p:txBody>
      </p:sp>
      <p:sp>
        <p:nvSpPr>
          <p:cNvPr id="9" name="Tijdelijke aanduiding voor tekst 7">
            <a:extLst>
              <a:ext uri="{FF2B5EF4-FFF2-40B4-BE49-F238E27FC236}">
                <a16:creationId xmlns:a16="http://schemas.microsoft.com/office/drawing/2014/main" id="{27508BEF-285C-40D0-8A0C-EE0B84C47D52}"/>
              </a:ext>
            </a:extLst>
          </p:cNvPr>
          <p:cNvSpPr>
            <a:spLocks noGrp="1"/>
          </p:cNvSpPr>
          <p:nvPr>
            <p:ph type="body" sz="quarter" idx="13" hasCustomPrompt="1"/>
          </p:nvPr>
        </p:nvSpPr>
        <p:spPr>
          <a:xfrm>
            <a:off x="580291" y="1701800"/>
            <a:ext cx="5400000" cy="375792"/>
          </a:xfrm>
        </p:spPr>
        <p:txBody>
          <a:bodyPr wrap="none"/>
          <a:lstStyle>
            <a:lvl1pPr marL="0" indent="0">
              <a:buNone/>
              <a:defRPr>
                <a:solidFill>
                  <a:schemeClr val="accent1"/>
                </a:solidFill>
              </a:defRPr>
            </a:lvl1pPr>
          </a:lstStyle>
          <a:p>
            <a:pPr lvl="0"/>
            <a:r>
              <a:rPr lang="en-GB"/>
              <a:t>Subtitle</a:t>
            </a:r>
          </a:p>
        </p:txBody>
      </p:sp>
      <p:sp>
        <p:nvSpPr>
          <p:cNvPr id="10" name="Tijdelijke aanduiding voor tekst 7">
            <a:extLst>
              <a:ext uri="{FF2B5EF4-FFF2-40B4-BE49-F238E27FC236}">
                <a16:creationId xmlns:a16="http://schemas.microsoft.com/office/drawing/2014/main" id="{9913EE84-7DEC-4A2D-AD57-9B4798154DE0}"/>
              </a:ext>
            </a:extLst>
          </p:cNvPr>
          <p:cNvSpPr>
            <a:spLocks noGrp="1"/>
          </p:cNvSpPr>
          <p:nvPr>
            <p:ph type="body" sz="quarter" idx="14" hasCustomPrompt="1"/>
          </p:nvPr>
        </p:nvSpPr>
        <p:spPr>
          <a:xfrm>
            <a:off x="6216264" y="1703997"/>
            <a:ext cx="5400000" cy="375792"/>
          </a:xfrm>
        </p:spPr>
        <p:txBody>
          <a:bodyPr wrap="none"/>
          <a:lstStyle>
            <a:lvl1pPr marL="0" indent="0">
              <a:buNone/>
              <a:defRPr>
                <a:solidFill>
                  <a:schemeClr val="accent1"/>
                </a:solidFill>
              </a:defRPr>
            </a:lvl1pPr>
          </a:lstStyle>
          <a:p>
            <a:pPr lvl="0"/>
            <a:r>
              <a:rPr lang="en-GB" err="1"/>
              <a:t>Subtitel</a:t>
            </a:r>
            <a:endParaRPr lang="en-GB"/>
          </a:p>
        </p:txBody>
      </p:sp>
      <p:sp>
        <p:nvSpPr>
          <p:cNvPr id="8" name="Titel 7">
            <a:extLst>
              <a:ext uri="{FF2B5EF4-FFF2-40B4-BE49-F238E27FC236}">
                <a16:creationId xmlns:a16="http://schemas.microsoft.com/office/drawing/2014/main" id="{8ABE8B1D-E1F9-4E74-945C-E81D06AF0D78}"/>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3144238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text and tab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80800" y="1703997"/>
            <a:ext cx="5400000" cy="4175419"/>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p:cNvSpPr>
            <a:spLocks noGrp="1"/>
          </p:cNvSpPr>
          <p:nvPr>
            <p:ph type="dt" sz="half" idx="10"/>
          </p:nvPr>
        </p:nvSpPr>
        <p:spPr/>
        <p:txBody>
          <a:bodyPr/>
          <a:lstStyle/>
          <a:p>
            <a:fld id="{E8700949-0BFD-40C5-B0D0-9914F337CB32}" type="datetime1">
              <a:rPr lang="en-US" smtClean="0"/>
              <a:t>4/18/2025</a:t>
            </a:fld>
            <a:endParaRPr lang="en-GB"/>
          </a:p>
        </p:txBody>
      </p:sp>
      <p:sp>
        <p:nvSpPr>
          <p:cNvPr id="6" name="Footer Placeholder 5"/>
          <p:cNvSpPr>
            <a:spLocks noGrp="1"/>
          </p:cNvSpPr>
          <p:nvPr>
            <p:ph type="ftr" sz="quarter" idx="11"/>
          </p:nvPr>
        </p:nvSpPr>
        <p:spPr/>
        <p:txBody>
          <a:bodyPr/>
          <a:lstStyle/>
          <a:p>
            <a:r>
              <a:rPr lang="en-GB"/>
              <a:t>Draft | Internal use only | Confidential</a:t>
            </a:r>
          </a:p>
        </p:txBody>
      </p:sp>
      <p:sp>
        <p:nvSpPr>
          <p:cNvPr id="7" name="Slide Number Placeholder 6"/>
          <p:cNvSpPr>
            <a:spLocks noGrp="1"/>
          </p:cNvSpPr>
          <p:nvPr>
            <p:ph type="sldNum" sz="quarter" idx="12"/>
          </p:nvPr>
        </p:nvSpPr>
        <p:spPr/>
        <p:txBody>
          <a:bodyPr/>
          <a:lstStyle/>
          <a:p>
            <a:fld id="{9BE0E23E-9022-4929-B297-EB2777CDBB1F}" type="slidenum">
              <a:rPr lang="en-GB" smtClean="0"/>
              <a:t>‹#›</a:t>
            </a:fld>
            <a:endParaRPr lang="en-GB"/>
          </a:p>
        </p:txBody>
      </p:sp>
      <p:sp>
        <p:nvSpPr>
          <p:cNvPr id="10" name="Tijdelijke aanduiding voor tabel 8">
            <a:extLst>
              <a:ext uri="{FF2B5EF4-FFF2-40B4-BE49-F238E27FC236}">
                <a16:creationId xmlns:a16="http://schemas.microsoft.com/office/drawing/2014/main" id="{D2E9F6DD-7E2C-4192-BBC9-125146AEF9DA}"/>
              </a:ext>
            </a:extLst>
          </p:cNvPr>
          <p:cNvSpPr>
            <a:spLocks noGrp="1"/>
          </p:cNvSpPr>
          <p:nvPr>
            <p:ph type="tbl" sz="quarter" idx="13"/>
          </p:nvPr>
        </p:nvSpPr>
        <p:spPr>
          <a:xfrm>
            <a:off x="6216652" y="1701800"/>
            <a:ext cx="5394549" cy="4176184"/>
          </a:xfrm>
        </p:spPr>
        <p:txBody>
          <a:bodyPr/>
          <a:lstStyle/>
          <a:p>
            <a:r>
              <a:rPr lang="en-GB"/>
              <a:t>Click icon to add table</a:t>
            </a:r>
          </a:p>
        </p:txBody>
      </p:sp>
      <p:sp>
        <p:nvSpPr>
          <p:cNvPr id="4" name="Titel 3">
            <a:extLst>
              <a:ext uri="{FF2B5EF4-FFF2-40B4-BE49-F238E27FC236}">
                <a16:creationId xmlns:a16="http://schemas.microsoft.com/office/drawing/2014/main" id="{5DE9D13A-D41B-4FAB-8651-676FFDB4FE5F}"/>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1694904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bject, image right -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0291" y="548218"/>
            <a:ext cx="11035975" cy="1036965"/>
          </a:xfrm>
        </p:spPr>
        <p:txBody>
          <a:bodyPr/>
          <a:lstStyle/>
          <a:p>
            <a:r>
              <a:rPr lang="en-GB"/>
              <a:t>Click to add title</a:t>
            </a:r>
          </a:p>
        </p:txBody>
      </p:sp>
      <p:sp>
        <p:nvSpPr>
          <p:cNvPr id="3" name="Content Placeholder 2"/>
          <p:cNvSpPr>
            <a:spLocks noGrp="1"/>
          </p:cNvSpPr>
          <p:nvPr>
            <p:ph idx="1" hasCustomPrompt="1"/>
          </p:nvPr>
        </p:nvSpPr>
        <p:spPr>
          <a:xfrm>
            <a:off x="580291" y="1701801"/>
            <a:ext cx="7898035" cy="4366684"/>
          </a:xfrm>
        </p:spPr>
        <p:txBody>
          <a:bodyPr/>
          <a:lstStyle/>
          <a:p>
            <a:pPr lvl="0"/>
            <a:r>
              <a:rPr lang="en-GB"/>
              <a:t>Click to add text or object</a:t>
            </a:r>
          </a:p>
          <a:p>
            <a:pPr lvl="1"/>
            <a:r>
              <a:rPr lang="en-GB"/>
              <a:t>Text level 2</a:t>
            </a:r>
          </a:p>
          <a:p>
            <a:pPr lvl="2"/>
            <a:r>
              <a:rPr lang="en-GB"/>
              <a:t>Text level 3</a:t>
            </a:r>
          </a:p>
          <a:p>
            <a:pPr lvl="3"/>
            <a:r>
              <a:rPr lang="en-GB"/>
              <a:t>Text level 4</a:t>
            </a:r>
          </a:p>
          <a:p>
            <a:pPr lvl="4"/>
            <a:r>
              <a:rPr lang="en-GB"/>
              <a:t>Text level 5</a:t>
            </a:r>
          </a:p>
        </p:txBody>
      </p:sp>
      <p:sp>
        <p:nvSpPr>
          <p:cNvPr id="4" name="Date Placeholder 3"/>
          <p:cNvSpPr>
            <a:spLocks noGrp="1"/>
          </p:cNvSpPr>
          <p:nvPr>
            <p:ph type="dt" sz="half" idx="10"/>
          </p:nvPr>
        </p:nvSpPr>
        <p:spPr/>
        <p:txBody>
          <a:bodyPr/>
          <a:lstStyle/>
          <a:p>
            <a:fld id="{C516CCF9-51F3-4C42-9BC5-6997D8D40BB8}" type="datetime1">
              <a:rPr lang="en-GB" smtClean="0"/>
              <a:t>18/04/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7" name="Picture Placeholder 6">
            <a:extLst>
              <a:ext uri="{FF2B5EF4-FFF2-40B4-BE49-F238E27FC236}">
                <a16:creationId xmlns:a16="http://schemas.microsoft.com/office/drawing/2014/main" id="{154D7718-D424-9E6A-7A6F-CBF6DF55AD33}"/>
              </a:ext>
            </a:extLst>
          </p:cNvPr>
          <p:cNvSpPr>
            <a:spLocks noGrp="1"/>
          </p:cNvSpPr>
          <p:nvPr>
            <p:ph type="pic" sz="quarter" idx="14"/>
          </p:nvPr>
        </p:nvSpPr>
        <p:spPr>
          <a:xfrm>
            <a:off x="8726527" y="1701801"/>
            <a:ext cx="2889739" cy="4366684"/>
          </a:xfrm>
          <a:prstGeom prst="roundRect">
            <a:avLst>
              <a:gd name="adj" fmla="val 9038"/>
            </a:avLst>
          </a:prstGeom>
          <a:solidFill>
            <a:schemeClr val="tx1">
              <a:lumMod val="20000"/>
              <a:lumOff val="80000"/>
            </a:schemeClr>
          </a:solidFill>
        </p:spPr>
        <p:txBody>
          <a:bodyPr wrap="square" tIns="396000">
            <a:noAutofit/>
          </a:bodyPr>
          <a:lstStyle>
            <a:lvl1pPr marL="0" indent="0" algn="ctr">
              <a:buNone/>
              <a:defRPr/>
            </a:lvl1pPr>
          </a:lstStyle>
          <a:p>
            <a:r>
              <a:rPr lang="en-US"/>
              <a:t>Click icon to add picture</a:t>
            </a:r>
            <a:endParaRPr lang="en-GB"/>
          </a:p>
        </p:txBody>
      </p:sp>
    </p:spTree>
    <p:extLst>
      <p:ext uri="{BB962C8B-B14F-4D97-AF65-F5344CB8AC3E}">
        <p14:creationId xmlns:p14="http://schemas.microsoft.com/office/powerpoint/2010/main" val="2992606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4" name="Date Placeholder 3"/>
          <p:cNvSpPr>
            <a:spLocks noGrp="1"/>
          </p:cNvSpPr>
          <p:nvPr>
            <p:ph type="dt" sz="half" idx="10"/>
          </p:nvPr>
        </p:nvSpPr>
        <p:spPr/>
        <p:txBody>
          <a:bodyPr/>
          <a:lstStyle/>
          <a:p>
            <a:fld id="{798EF3E8-7EAE-4FEB-A564-301997680182}" type="datetime1">
              <a:rPr lang="en-US" smtClean="0"/>
              <a:t>4/18/2025</a:t>
            </a:fld>
            <a:endParaRPr lang="en-GB"/>
          </a:p>
        </p:txBody>
      </p:sp>
      <p:sp>
        <p:nvSpPr>
          <p:cNvPr id="5" name="Footer Placeholder 4"/>
          <p:cNvSpPr>
            <a:spLocks noGrp="1"/>
          </p:cNvSpPr>
          <p:nvPr>
            <p:ph type="ftr" sz="quarter" idx="11"/>
          </p:nvPr>
        </p:nvSpPr>
        <p:spPr>
          <a:xfrm>
            <a:off x="848861" y="6491401"/>
            <a:ext cx="153888" cy="102657"/>
          </a:xfrm>
        </p:spPr>
        <p:txBody>
          <a:bodyPr/>
          <a:lstStyle/>
          <a:p>
            <a:r>
              <a:rPr lang="en-GB"/>
              <a:t>xxx</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9" name="Tijdelijke aanduiding voor tabel 7">
            <a:extLst>
              <a:ext uri="{FF2B5EF4-FFF2-40B4-BE49-F238E27FC236}">
                <a16:creationId xmlns:a16="http://schemas.microsoft.com/office/drawing/2014/main" id="{DEED083B-6C6C-41E9-9AEE-A277FCC01CE9}"/>
              </a:ext>
            </a:extLst>
          </p:cNvPr>
          <p:cNvSpPr>
            <a:spLocks noGrp="1"/>
          </p:cNvSpPr>
          <p:nvPr>
            <p:ph type="tbl" sz="quarter" idx="13"/>
          </p:nvPr>
        </p:nvSpPr>
        <p:spPr>
          <a:xfrm>
            <a:off x="575735" y="1701801"/>
            <a:ext cx="11040533" cy="4176184"/>
          </a:xfrm>
        </p:spPr>
        <p:txBody>
          <a:bodyPr/>
          <a:lstStyle/>
          <a:p>
            <a:r>
              <a:rPr lang="en-GB"/>
              <a:t>Click icon to add table</a:t>
            </a:r>
          </a:p>
        </p:txBody>
      </p:sp>
    </p:spTree>
    <p:extLst>
      <p:ext uri="{BB962C8B-B14F-4D97-AF65-F5344CB8AC3E}">
        <p14:creationId xmlns:p14="http://schemas.microsoft.com/office/powerpoint/2010/main" val="520146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3 text boxes">
    <p:spTree>
      <p:nvGrpSpPr>
        <p:cNvPr id="1" name=""/>
        <p:cNvGrpSpPr/>
        <p:nvPr/>
      </p:nvGrpSpPr>
      <p:grpSpPr>
        <a:xfrm>
          <a:off x="0" y="0"/>
          <a:ext cx="0" cy="0"/>
          <a:chOff x="0" y="0"/>
          <a:chExt cx="0" cy="0"/>
        </a:xfrm>
      </p:grpSpPr>
      <p:sp>
        <p:nvSpPr>
          <p:cNvPr id="10" name="Tijdelijke aanduiding voor tekst 9">
            <a:extLst>
              <a:ext uri="{FF2B5EF4-FFF2-40B4-BE49-F238E27FC236}">
                <a16:creationId xmlns:a16="http://schemas.microsoft.com/office/drawing/2014/main" id="{6E44AC7A-399D-4447-913F-693F8257E520}"/>
              </a:ext>
            </a:extLst>
          </p:cNvPr>
          <p:cNvSpPr>
            <a:spLocks noGrp="1"/>
          </p:cNvSpPr>
          <p:nvPr>
            <p:ph type="body" sz="quarter" idx="19" hasCustomPrompt="1"/>
          </p:nvPr>
        </p:nvSpPr>
        <p:spPr>
          <a:xfrm>
            <a:off x="575735" y="2495374"/>
            <a:ext cx="3441700" cy="3382612"/>
          </a:xfrm>
          <a:solidFill>
            <a:schemeClr val="bg1"/>
          </a:solidFill>
          <a:ln>
            <a:solidFill>
              <a:schemeClr val="accent1"/>
            </a:solidFill>
          </a:ln>
        </p:spPr>
        <p:txBody>
          <a:bodyPr lIns="72000" tIns="288000" rIns="72000"/>
          <a:lstStyle>
            <a:lvl1pPr>
              <a:defRPr sz="1600"/>
            </a:lvl1pPr>
            <a:lvl2pPr>
              <a:defRPr sz="1600"/>
            </a:lvl2pPr>
            <a:lvl3pPr>
              <a:defRPr sz="1600"/>
            </a:lvl3pPr>
            <a:lvl4pPr>
              <a:defRPr sz="1600"/>
            </a:lvl4pPr>
            <a:lvl5pPr>
              <a:defRPr sz="1600"/>
            </a:lvl5pPr>
          </a:lstStyle>
          <a:p>
            <a:pPr lvl="0"/>
            <a:r>
              <a:rPr lang="en-GB" err="1"/>
              <a:t>Klikken</a:t>
            </a:r>
            <a:r>
              <a:rPr lang="en-GB"/>
              <a:t> om de </a:t>
            </a:r>
            <a:r>
              <a:rPr lang="en-GB" err="1"/>
              <a:t>tekststijl</a:t>
            </a:r>
            <a:r>
              <a:rPr lang="en-GB"/>
              <a:t> van het model te </a:t>
            </a:r>
            <a:r>
              <a:rPr lang="en-GB" err="1"/>
              <a:t>bewerken</a:t>
            </a:r>
            <a:endParaRPr lang="en-GB"/>
          </a:p>
          <a:p>
            <a:pPr lvl="1"/>
            <a:r>
              <a:rPr lang="en-GB" err="1"/>
              <a:t>Tweede</a:t>
            </a:r>
            <a:r>
              <a:rPr lang="en-GB"/>
              <a:t> </a:t>
            </a:r>
            <a:r>
              <a:rPr lang="en-GB" err="1"/>
              <a:t>niveau</a:t>
            </a:r>
            <a:endParaRPr lang="en-GB"/>
          </a:p>
          <a:p>
            <a:pPr lvl="2"/>
            <a:r>
              <a:rPr lang="en-GB" err="1"/>
              <a:t>Derde</a:t>
            </a:r>
            <a:r>
              <a:rPr lang="en-GB"/>
              <a:t> </a:t>
            </a:r>
            <a:r>
              <a:rPr lang="en-GB" err="1"/>
              <a:t>niveau</a:t>
            </a:r>
            <a:endParaRPr lang="en-GB"/>
          </a:p>
          <a:p>
            <a:pPr lvl="3"/>
            <a:r>
              <a:rPr lang="en-GB" err="1"/>
              <a:t>Vierde</a:t>
            </a:r>
            <a:r>
              <a:rPr lang="en-GB"/>
              <a:t> </a:t>
            </a:r>
            <a:r>
              <a:rPr lang="en-GB" err="1"/>
              <a:t>niveau</a:t>
            </a:r>
            <a:endParaRPr lang="en-GB"/>
          </a:p>
          <a:p>
            <a:pPr lvl="4"/>
            <a:r>
              <a:rPr lang="en-GB" err="1"/>
              <a:t>Vijfde</a:t>
            </a:r>
            <a:r>
              <a:rPr lang="en-GB"/>
              <a:t> </a:t>
            </a:r>
            <a:r>
              <a:rPr lang="en-GB" err="1"/>
              <a:t>niveau</a:t>
            </a:r>
            <a:endParaRPr lang="en-GB"/>
          </a:p>
        </p:txBody>
      </p:sp>
      <p:sp>
        <p:nvSpPr>
          <p:cNvPr id="17" name="Tijdelijke aanduiding voor tekst 9">
            <a:extLst>
              <a:ext uri="{FF2B5EF4-FFF2-40B4-BE49-F238E27FC236}">
                <a16:creationId xmlns:a16="http://schemas.microsoft.com/office/drawing/2014/main" id="{FA5263FC-52AF-4B41-B9E2-8646A7426720}"/>
              </a:ext>
            </a:extLst>
          </p:cNvPr>
          <p:cNvSpPr>
            <a:spLocks noGrp="1"/>
          </p:cNvSpPr>
          <p:nvPr>
            <p:ph type="body" sz="quarter" idx="20" hasCustomPrompt="1"/>
          </p:nvPr>
        </p:nvSpPr>
        <p:spPr>
          <a:xfrm>
            <a:off x="4375103" y="2495374"/>
            <a:ext cx="3441700" cy="3382612"/>
          </a:xfrm>
          <a:solidFill>
            <a:schemeClr val="bg1"/>
          </a:solidFill>
          <a:ln>
            <a:solidFill>
              <a:schemeClr val="accent1"/>
            </a:solidFill>
          </a:ln>
        </p:spPr>
        <p:txBody>
          <a:bodyPr lIns="72000" tIns="288000" rIns="72000"/>
          <a:lstStyle>
            <a:lvl1pPr>
              <a:defRPr sz="1600"/>
            </a:lvl1pPr>
            <a:lvl2pPr>
              <a:defRPr sz="1600"/>
            </a:lvl2pPr>
            <a:lvl3pPr>
              <a:defRPr sz="1600"/>
            </a:lvl3pPr>
            <a:lvl4pPr>
              <a:defRPr sz="1600"/>
            </a:lvl4pPr>
            <a:lvl5pPr>
              <a:defRPr sz="1600"/>
            </a:lvl5pPr>
          </a:lstStyle>
          <a:p>
            <a:pPr lvl="0"/>
            <a:r>
              <a:rPr lang="en-GB" err="1"/>
              <a:t>Klikken</a:t>
            </a:r>
            <a:r>
              <a:rPr lang="en-GB"/>
              <a:t> om de </a:t>
            </a:r>
            <a:r>
              <a:rPr lang="en-GB" err="1"/>
              <a:t>tekststijl</a:t>
            </a:r>
            <a:r>
              <a:rPr lang="en-GB"/>
              <a:t> van het model te </a:t>
            </a:r>
            <a:r>
              <a:rPr lang="en-GB" err="1"/>
              <a:t>bewerken</a:t>
            </a:r>
            <a:endParaRPr lang="en-GB"/>
          </a:p>
          <a:p>
            <a:pPr lvl="1"/>
            <a:r>
              <a:rPr lang="en-GB" err="1"/>
              <a:t>Tweede</a:t>
            </a:r>
            <a:r>
              <a:rPr lang="en-GB"/>
              <a:t> </a:t>
            </a:r>
            <a:r>
              <a:rPr lang="en-GB" err="1"/>
              <a:t>niveau</a:t>
            </a:r>
            <a:endParaRPr lang="en-GB"/>
          </a:p>
          <a:p>
            <a:pPr lvl="2"/>
            <a:r>
              <a:rPr lang="en-GB" err="1"/>
              <a:t>Derde</a:t>
            </a:r>
            <a:r>
              <a:rPr lang="en-GB"/>
              <a:t> </a:t>
            </a:r>
            <a:r>
              <a:rPr lang="en-GB" err="1"/>
              <a:t>niveau</a:t>
            </a:r>
            <a:endParaRPr lang="en-GB"/>
          </a:p>
          <a:p>
            <a:pPr lvl="3"/>
            <a:r>
              <a:rPr lang="en-GB" err="1"/>
              <a:t>Vierde</a:t>
            </a:r>
            <a:r>
              <a:rPr lang="en-GB"/>
              <a:t> </a:t>
            </a:r>
            <a:r>
              <a:rPr lang="en-GB" err="1"/>
              <a:t>niveau</a:t>
            </a:r>
            <a:endParaRPr lang="en-GB"/>
          </a:p>
          <a:p>
            <a:pPr lvl="4"/>
            <a:r>
              <a:rPr lang="en-GB" err="1"/>
              <a:t>Vijfde</a:t>
            </a:r>
            <a:r>
              <a:rPr lang="en-GB"/>
              <a:t> </a:t>
            </a:r>
            <a:r>
              <a:rPr lang="en-GB" err="1"/>
              <a:t>niveau</a:t>
            </a:r>
            <a:endParaRPr lang="en-GB"/>
          </a:p>
        </p:txBody>
      </p:sp>
      <p:sp>
        <p:nvSpPr>
          <p:cNvPr id="18" name="Tijdelijke aanduiding voor tekst 9">
            <a:extLst>
              <a:ext uri="{FF2B5EF4-FFF2-40B4-BE49-F238E27FC236}">
                <a16:creationId xmlns:a16="http://schemas.microsoft.com/office/drawing/2014/main" id="{492614B2-9824-40F5-8714-52933A386792}"/>
              </a:ext>
            </a:extLst>
          </p:cNvPr>
          <p:cNvSpPr>
            <a:spLocks noGrp="1"/>
          </p:cNvSpPr>
          <p:nvPr>
            <p:ph type="body" sz="quarter" idx="21" hasCustomPrompt="1"/>
          </p:nvPr>
        </p:nvSpPr>
        <p:spPr>
          <a:xfrm>
            <a:off x="8174571" y="2495374"/>
            <a:ext cx="3441700" cy="3382612"/>
          </a:xfrm>
          <a:solidFill>
            <a:schemeClr val="bg1"/>
          </a:solidFill>
          <a:ln>
            <a:solidFill>
              <a:schemeClr val="accent1"/>
            </a:solidFill>
          </a:ln>
        </p:spPr>
        <p:txBody>
          <a:bodyPr lIns="72000" tIns="288000" rIns="72000"/>
          <a:lstStyle>
            <a:lvl1pPr>
              <a:defRPr sz="1600"/>
            </a:lvl1pPr>
            <a:lvl2pPr>
              <a:defRPr sz="1600"/>
            </a:lvl2pPr>
            <a:lvl3pPr>
              <a:defRPr sz="1600"/>
            </a:lvl3pPr>
            <a:lvl4pPr>
              <a:defRPr sz="1600"/>
            </a:lvl4pPr>
            <a:lvl5pPr>
              <a:defRPr sz="1600"/>
            </a:lvl5pPr>
          </a:lstStyle>
          <a:p>
            <a:pPr lvl="0"/>
            <a:r>
              <a:rPr lang="en-GB" err="1"/>
              <a:t>Klikken</a:t>
            </a:r>
            <a:r>
              <a:rPr lang="en-GB"/>
              <a:t> om de </a:t>
            </a:r>
            <a:r>
              <a:rPr lang="en-GB" err="1"/>
              <a:t>tekststijl</a:t>
            </a:r>
            <a:r>
              <a:rPr lang="en-GB"/>
              <a:t> van het model te </a:t>
            </a:r>
            <a:r>
              <a:rPr lang="en-GB" err="1"/>
              <a:t>bewerken</a:t>
            </a:r>
            <a:endParaRPr lang="en-GB"/>
          </a:p>
          <a:p>
            <a:pPr lvl="1"/>
            <a:r>
              <a:rPr lang="en-GB" err="1"/>
              <a:t>Tweede</a:t>
            </a:r>
            <a:r>
              <a:rPr lang="en-GB"/>
              <a:t> </a:t>
            </a:r>
            <a:r>
              <a:rPr lang="en-GB" err="1"/>
              <a:t>niveau</a:t>
            </a:r>
            <a:endParaRPr lang="en-GB"/>
          </a:p>
          <a:p>
            <a:pPr lvl="2"/>
            <a:r>
              <a:rPr lang="en-GB" err="1"/>
              <a:t>Derde</a:t>
            </a:r>
            <a:r>
              <a:rPr lang="en-GB"/>
              <a:t> </a:t>
            </a:r>
            <a:r>
              <a:rPr lang="en-GB" err="1"/>
              <a:t>niveau</a:t>
            </a:r>
            <a:endParaRPr lang="en-GB"/>
          </a:p>
          <a:p>
            <a:pPr lvl="3"/>
            <a:r>
              <a:rPr lang="en-GB" err="1"/>
              <a:t>Vierde</a:t>
            </a:r>
            <a:r>
              <a:rPr lang="en-GB"/>
              <a:t> </a:t>
            </a:r>
            <a:r>
              <a:rPr lang="en-GB" err="1"/>
              <a:t>niveau</a:t>
            </a:r>
            <a:endParaRPr lang="en-GB"/>
          </a:p>
          <a:p>
            <a:pPr lvl="4"/>
            <a:r>
              <a:rPr lang="en-GB" err="1"/>
              <a:t>Vijfde</a:t>
            </a:r>
            <a:r>
              <a:rPr lang="en-GB"/>
              <a:t> </a:t>
            </a:r>
            <a:r>
              <a:rPr lang="en-GB" err="1"/>
              <a:t>niveau</a:t>
            </a:r>
            <a:endParaRPr lang="en-GB"/>
          </a:p>
        </p:txBody>
      </p:sp>
      <p:sp>
        <p:nvSpPr>
          <p:cNvPr id="2" name="Title 1"/>
          <p:cNvSpPr>
            <a:spLocks noGrp="1"/>
          </p:cNvSpPr>
          <p:nvPr>
            <p:ph type="title"/>
          </p:nvPr>
        </p:nvSpPr>
        <p:spPr/>
        <p:txBody>
          <a:bodyPr/>
          <a:lstStyle/>
          <a:p>
            <a:r>
              <a:rPr lang="en-GB"/>
              <a:t>Click to edit Master title style</a:t>
            </a:r>
          </a:p>
        </p:txBody>
      </p:sp>
      <p:sp>
        <p:nvSpPr>
          <p:cNvPr id="4" name="Date Placeholder 3"/>
          <p:cNvSpPr>
            <a:spLocks noGrp="1"/>
          </p:cNvSpPr>
          <p:nvPr>
            <p:ph type="dt" sz="half" idx="10"/>
          </p:nvPr>
        </p:nvSpPr>
        <p:spPr/>
        <p:txBody>
          <a:bodyPr/>
          <a:lstStyle/>
          <a:p>
            <a:fld id="{AD197861-BE4E-415A-8454-80480A440F2B}" type="datetime1">
              <a:rPr lang="en-US" smtClean="0"/>
              <a:t>4/18/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14" name="Tijdelijke aanduiding voor tekst 13">
            <a:extLst>
              <a:ext uri="{FF2B5EF4-FFF2-40B4-BE49-F238E27FC236}">
                <a16:creationId xmlns:a16="http://schemas.microsoft.com/office/drawing/2014/main" id="{CE04E62B-DFE8-49C6-BCEC-A19BF0599890}"/>
              </a:ext>
            </a:extLst>
          </p:cNvPr>
          <p:cNvSpPr>
            <a:spLocks noGrp="1"/>
          </p:cNvSpPr>
          <p:nvPr>
            <p:ph type="body" sz="quarter" idx="16" hasCustomPrompt="1"/>
          </p:nvPr>
        </p:nvSpPr>
        <p:spPr>
          <a:xfrm>
            <a:off x="575732" y="1881239"/>
            <a:ext cx="34416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a:ln>
            <a:solidFill>
              <a:schemeClr val="accent1"/>
            </a:solidFill>
          </a:ln>
        </p:spPr>
        <p:txBody>
          <a:bodyPr wrap="square" lIns="72000" rIns="72000" anchor="ctr" anchorCtr="0">
            <a:noAutofit/>
          </a:bodyPr>
          <a:lstStyle>
            <a:lvl1pPr marL="0" indent="0" algn="ctr">
              <a:lnSpc>
                <a:spcPct val="100000"/>
              </a:lnSpc>
              <a:spcBef>
                <a:spcPts val="0"/>
              </a:spcBef>
              <a:buNone/>
              <a:defRPr>
                <a:solidFill>
                  <a:schemeClr val="bg1"/>
                </a:solidFill>
              </a:defRPr>
            </a:lvl1pPr>
          </a:lstStyle>
          <a:p>
            <a:pPr lvl="0"/>
            <a:r>
              <a:rPr lang="en-GB"/>
              <a:t>text</a:t>
            </a:r>
          </a:p>
        </p:txBody>
      </p:sp>
      <p:sp>
        <p:nvSpPr>
          <p:cNvPr id="15" name="Tijdelijke aanduiding voor tekst 14">
            <a:extLst>
              <a:ext uri="{FF2B5EF4-FFF2-40B4-BE49-F238E27FC236}">
                <a16:creationId xmlns:a16="http://schemas.microsoft.com/office/drawing/2014/main" id="{93339D03-BA0D-439C-9AE3-76BF835F80BC}"/>
              </a:ext>
            </a:extLst>
          </p:cNvPr>
          <p:cNvSpPr>
            <a:spLocks noGrp="1"/>
          </p:cNvSpPr>
          <p:nvPr>
            <p:ph type="body" sz="quarter" idx="17" hasCustomPrompt="1"/>
          </p:nvPr>
        </p:nvSpPr>
        <p:spPr>
          <a:xfrm>
            <a:off x="4375201" y="1881239"/>
            <a:ext cx="34416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a:ln>
            <a:solidFill>
              <a:schemeClr val="accent1"/>
            </a:solidFill>
          </a:ln>
        </p:spPr>
        <p:txBody>
          <a:bodyPr wrap="square" lIns="72000" rIns="72000" anchor="ctr" anchorCtr="0">
            <a:noAutofit/>
          </a:bodyPr>
          <a:lstStyle>
            <a:lvl1pPr marL="0" indent="0" algn="ctr">
              <a:lnSpc>
                <a:spcPct val="100000"/>
              </a:lnSpc>
              <a:spcBef>
                <a:spcPts val="0"/>
              </a:spcBef>
              <a:buNone/>
              <a:defRPr>
                <a:solidFill>
                  <a:schemeClr val="bg1"/>
                </a:solidFill>
              </a:defRPr>
            </a:lvl1pPr>
          </a:lstStyle>
          <a:p>
            <a:pPr lvl="0"/>
            <a:r>
              <a:rPr lang="en-GB"/>
              <a:t>text</a:t>
            </a:r>
          </a:p>
        </p:txBody>
      </p:sp>
      <p:sp>
        <p:nvSpPr>
          <p:cNvPr id="16" name="Tijdelijke aanduiding voor tekst 15">
            <a:extLst>
              <a:ext uri="{FF2B5EF4-FFF2-40B4-BE49-F238E27FC236}">
                <a16:creationId xmlns:a16="http://schemas.microsoft.com/office/drawing/2014/main" id="{93DBC742-8E58-4623-A40E-7D2DB102CDAF}"/>
              </a:ext>
            </a:extLst>
          </p:cNvPr>
          <p:cNvSpPr>
            <a:spLocks noGrp="1"/>
          </p:cNvSpPr>
          <p:nvPr>
            <p:ph type="body" sz="quarter" idx="18" hasCustomPrompt="1"/>
          </p:nvPr>
        </p:nvSpPr>
        <p:spPr>
          <a:xfrm>
            <a:off x="8174669" y="1881239"/>
            <a:ext cx="34416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a:ln>
            <a:solidFill>
              <a:schemeClr val="accent1"/>
            </a:solidFill>
          </a:ln>
        </p:spPr>
        <p:txBody>
          <a:bodyPr wrap="square" lIns="72000" rIns="72000" anchor="ctr" anchorCtr="0">
            <a:noAutofit/>
          </a:bodyPr>
          <a:lstStyle>
            <a:lvl1pPr marL="0" indent="0" algn="ctr">
              <a:lnSpc>
                <a:spcPct val="100000"/>
              </a:lnSpc>
              <a:spcBef>
                <a:spcPts val="0"/>
              </a:spcBef>
              <a:buNone/>
              <a:defRPr>
                <a:solidFill>
                  <a:schemeClr val="bg1"/>
                </a:solidFill>
              </a:defRPr>
            </a:lvl1pPr>
          </a:lstStyle>
          <a:p>
            <a:pPr lvl="0"/>
            <a:r>
              <a:rPr lang="en-GB"/>
              <a:t>text</a:t>
            </a:r>
          </a:p>
        </p:txBody>
      </p:sp>
    </p:spTree>
    <p:extLst>
      <p:ext uri="{BB962C8B-B14F-4D97-AF65-F5344CB8AC3E}">
        <p14:creationId xmlns:p14="http://schemas.microsoft.com/office/powerpoint/2010/main" val="1486226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itle, 4 text boxes">
    <p:spTree>
      <p:nvGrpSpPr>
        <p:cNvPr id="1" name=""/>
        <p:cNvGrpSpPr/>
        <p:nvPr/>
      </p:nvGrpSpPr>
      <p:grpSpPr>
        <a:xfrm>
          <a:off x="0" y="0"/>
          <a:ext cx="0" cy="0"/>
          <a:chOff x="0" y="0"/>
          <a:chExt cx="0" cy="0"/>
        </a:xfrm>
      </p:grpSpPr>
      <p:sp>
        <p:nvSpPr>
          <p:cNvPr id="18" name="Tijdelijke aanduiding voor tekst 9">
            <a:extLst>
              <a:ext uri="{FF2B5EF4-FFF2-40B4-BE49-F238E27FC236}">
                <a16:creationId xmlns:a16="http://schemas.microsoft.com/office/drawing/2014/main" id="{B1DBF5D7-C132-40CC-A85A-C82D8B39A011}"/>
              </a:ext>
            </a:extLst>
          </p:cNvPr>
          <p:cNvSpPr>
            <a:spLocks noGrp="1"/>
          </p:cNvSpPr>
          <p:nvPr>
            <p:ph type="body" sz="quarter" idx="19" hasCustomPrompt="1"/>
          </p:nvPr>
        </p:nvSpPr>
        <p:spPr>
          <a:xfrm>
            <a:off x="575733" y="2495374"/>
            <a:ext cx="2568000" cy="3382612"/>
          </a:xfrm>
          <a:noFill/>
          <a:ln>
            <a:solidFill>
              <a:schemeClr val="accent1"/>
            </a:solidFill>
          </a:ln>
        </p:spPr>
        <p:txBody>
          <a:bodyPr lIns="72000" tIns="288000" rIns="72000"/>
          <a:lstStyle>
            <a:lvl1pPr>
              <a:defRPr sz="1600"/>
            </a:lvl1pPr>
            <a:lvl2pPr>
              <a:defRPr sz="1600"/>
            </a:lvl2pPr>
            <a:lvl3pPr>
              <a:defRPr sz="1600"/>
            </a:lvl3pPr>
            <a:lvl4pPr>
              <a:defRPr sz="1600"/>
            </a:lvl4pPr>
            <a:lvl5pPr>
              <a:defRPr sz="1600"/>
            </a:lvl5pPr>
          </a:lstStyle>
          <a:p>
            <a:pPr lvl="0"/>
            <a:r>
              <a:rPr lang="en-GB" err="1"/>
              <a:t>Klikken</a:t>
            </a:r>
            <a:r>
              <a:rPr lang="en-GB"/>
              <a:t> om de </a:t>
            </a:r>
            <a:r>
              <a:rPr lang="en-GB" err="1"/>
              <a:t>tekststijl</a:t>
            </a:r>
            <a:r>
              <a:rPr lang="en-GB"/>
              <a:t> van het model te </a:t>
            </a:r>
            <a:r>
              <a:rPr lang="en-GB" err="1"/>
              <a:t>bewerken</a:t>
            </a:r>
            <a:endParaRPr lang="en-GB"/>
          </a:p>
          <a:p>
            <a:pPr lvl="1"/>
            <a:r>
              <a:rPr lang="en-GB" err="1"/>
              <a:t>Tweede</a:t>
            </a:r>
            <a:r>
              <a:rPr lang="en-GB"/>
              <a:t> </a:t>
            </a:r>
            <a:r>
              <a:rPr lang="en-GB" err="1"/>
              <a:t>niveau</a:t>
            </a:r>
            <a:endParaRPr lang="en-GB"/>
          </a:p>
          <a:p>
            <a:pPr lvl="2"/>
            <a:r>
              <a:rPr lang="en-GB" err="1"/>
              <a:t>Derde</a:t>
            </a:r>
            <a:r>
              <a:rPr lang="en-GB"/>
              <a:t> </a:t>
            </a:r>
            <a:r>
              <a:rPr lang="en-GB" err="1"/>
              <a:t>niveau</a:t>
            </a:r>
            <a:endParaRPr lang="en-GB"/>
          </a:p>
          <a:p>
            <a:pPr lvl="3"/>
            <a:r>
              <a:rPr lang="en-GB" err="1"/>
              <a:t>Vierde</a:t>
            </a:r>
            <a:r>
              <a:rPr lang="en-GB"/>
              <a:t> </a:t>
            </a:r>
            <a:r>
              <a:rPr lang="en-GB" err="1"/>
              <a:t>niveau</a:t>
            </a:r>
            <a:endParaRPr lang="en-GB"/>
          </a:p>
          <a:p>
            <a:pPr lvl="4"/>
            <a:r>
              <a:rPr lang="en-GB" err="1"/>
              <a:t>Vijfde</a:t>
            </a:r>
            <a:r>
              <a:rPr lang="en-GB"/>
              <a:t> </a:t>
            </a:r>
            <a:r>
              <a:rPr lang="en-GB" err="1"/>
              <a:t>niveau</a:t>
            </a:r>
            <a:endParaRPr lang="en-GB"/>
          </a:p>
        </p:txBody>
      </p:sp>
      <p:sp>
        <p:nvSpPr>
          <p:cNvPr id="19" name="Tijdelijke aanduiding voor tekst 9">
            <a:extLst>
              <a:ext uri="{FF2B5EF4-FFF2-40B4-BE49-F238E27FC236}">
                <a16:creationId xmlns:a16="http://schemas.microsoft.com/office/drawing/2014/main" id="{AEA49228-3077-4774-B49B-014998EF6753}"/>
              </a:ext>
            </a:extLst>
          </p:cNvPr>
          <p:cNvSpPr>
            <a:spLocks noGrp="1"/>
          </p:cNvSpPr>
          <p:nvPr>
            <p:ph type="body" sz="quarter" idx="22" hasCustomPrompt="1"/>
          </p:nvPr>
        </p:nvSpPr>
        <p:spPr>
          <a:xfrm>
            <a:off x="3399911" y="2495374"/>
            <a:ext cx="2568000" cy="3382612"/>
          </a:xfrm>
          <a:noFill/>
          <a:ln>
            <a:solidFill>
              <a:schemeClr val="accent1"/>
            </a:solidFill>
          </a:ln>
        </p:spPr>
        <p:txBody>
          <a:bodyPr lIns="72000" tIns="288000" rIns="72000"/>
          <a:lstStyle>
            <a:lvl1pPr>
              <a:defRPr sz="1600"/>
            </a:lvl1pPr>
            <a:lvl2pPr>
              <a:defRPr sz="1600"/>
            </a:lvl2pPr>
            <a:lvl3pPr>
              <a:defRPr sz="1600"/>
            </a:lvl3pPr>
            <a:lvl4pPr>
              <a:defRPr sz="1600"/>
            </a:lvl4pPr>
            <a:lvl5pPr>
              <a:defRPr sz="1600"/>
            </a:lvl5pPr>
          </a:lstStyle>
          <a:p>
            <a:pPr lvl="0"/>
            <a:r>
              <a:rPr lang="en-GB" err="1"/>
              <a:t>Klikken</a:t>
            </a:r>
            <a:r>
              <a:rPr lang="en-GB"/>
              <a:t> om de </a:t>
            </a:r>
            <a:r>
              <a:rPr lang="en-GB" err="1"/>
              <a:t>tekststijl</a:t>
            </a:r>
            <a:r>
              <a:rPr lang="en-GB"/>
              <a:t> van het model te </a:t>
            </a:r>
            <a:r>
              <a:rPr lang="en-GB" err="1"/>
              <a:t>bewerken</a:t>
            </a:r>
            <a:endParaRPr lang="en-GB"/>
          </a:p>
          <a:p>
            <a:pPr lvl="1"/>
            <a:r>
              <a:rPr lang="en-GB" err="1"/>
              <a:t>Tweede</a:t>
            </a:r>
            <a:r>
              <a:rPr lang="en-GB"/>
              <a:t> </a:t>
            </a:r>
            <a:r>
              <a:rPr lang="en-GB" err="1"/>
              <a:t>niveau</a:t>
            </a:r>
            <a:endParaRPr lang="en-GB"/>
          </a:p>
          <a:p>
            <a:pPr lvl="2"/>
            <a:r>
              <a:rPr lang="en-GB" err="1"/>
              <a:t>Derde</a:t>
            </a:r>
            <a:r>
              <a:rPr lang="en-GB"/>
              <a:t> </a:t>
            </a:r>
            <a:r>
              <a:rPr lang="en-GB" err="1"/>
              <a:t>niveau</a:t>
            </a:r>
            <a:endParaRPr lang="en-GB"/>
          </a:p>
          <a:p>
            <a:pPr lvl="3"/>
            <a:r>
              <a:rPr lang="en-GB" err="1"/>
              <a:t>Vierde</a:t>
            </a:r>
            <a:r>
              <a:rPr lang="en-GB"/>
              <a:t> </a:t>
            </a:r>
            <a:r>
              <a:rPr lang="en-GB" err="1"/>
              <a:t>niveau</a:t>
            </a:r>
            <a:endParaRPr lang="en-GB"/>
          </a:p>
          <a:p>
            <a:pPr lvl="4"/>
            <a:r>
              <a:rPr lang="en-GB" err="1"/>
              <a:t>Vijfde</a:t>
            </a:r>
            <a:r>
              <a:rPr lang="en-GB"/>
              <a:t> </a:t>
            </a:r>
            <a:r>
              <a:rPr lang="en-GB" err="1"/>
              <a:t>niveau</a:t>
            </a:r>
            <a:endParaRPr lang="en-GB"/>
          </a:p>
        </p:txBody>
      </p:sp>
      <p:sp>
        <p:nvSpPr>
          <p:cNvPr id="20" name="Tijdelijke aanduiding voor tekst 9">
            <a:extLst>
              <a:ext uri="{FF2B5EF4-FFF2-40B4-BE49-F238E27FC236}">
                <a16:creationId xmlns:a16="http://schemas.microsoft.com/office/drawing/2014/main" id="{182BA976-3733-49B5-B0A3-2E4CA89FDBE2}"/>
              </a:ext>
            </a:extLst>
          </p:cNvPr>
          <p:cNvSpPr>
            <a:spLocks noGrp="1"/>
          </p:cNvSpPr>
          <p:nvPr>
            <p:ph type="body" sz="quarter" idx="23" hasCustomPrompt="1"/>
          </p:nvPr>
        </p:nvSpPr>
        <p:spPr>
          <a:xfrm>
            <a:off x="6224088" y="2495374"/>
            <a:ext cx="2568000" cy="3382612"/>
          </a:xfrm>
          <a:noFill/>
          <a:ln>
            <a:solidFill>
              <a:schemeClr val="accent1"/>
            </a:solidFill>
          </a:ln>
        </p:spPr>
        <p:txBody>
          <a:bodyPr lIns="72000" tIns="288000" rIns="72000"/>
          <a:lstStyle>
            <a:lvl1pPr>
              <a:defRPr sz="1600"/>
            </a:lvl1pPr>
            <a:lvl2pPr>
              <a:defRPr sz="1600"/>
            </a:lvl2pPr>
            <a:lvl3pPr>
              <a:defRPr sz="1600"/>
            </a:lvl3pPr>
            <a:lvl4pPr>
              <a:defRPr sz="1600"/>
            </a:lvl4pPr>
            <a:lvl5pPr>
              <a:defRPr sz="1600"/>
            </a:lvl5pPr>
          </a:lstStyle>
          <a:p>
            <a:pPr lvl="0"/>
            <a:r>
              <a:rPr lang="en-GB" err="1"/>
              <a:t>Klikken</a:t>
            </a:r>
            <a:r>
              <a:rPr lang="en-GB"/>
              <a:t> om de </a:t>
            </a:r>
            <a:r>
              <a:rPr lang="en-GB" err="1"/>
              <a:t>tekststijl</a:t>
            </a:r>
            <a:r>
              <a:rPr lang="en-GB"/>
              <a:t> van het model te </a:t>
            </a:r>
            <a:r>
              <a:rPr lang="en-GB" err="1"/>
              <a:t>bewerken</a:t>
            </a:r>
            <a:endParaRPr lang="en-GB"/>
          </a:p>
          <a:p>
            <a:pPr lvl="1"/>
            <a:r>
              <a:rPr lang="en-GB" err="1"/>
              <a:t>Tweede</a:t>
            </a:r>
            <a:r>
              <a:rPr lang="en-GB"/>
              <a:t> </a:t>
            </a:r>
            <a:r>
              <a:rPr lang="en-GB" err="1"/>
              <a:t>niveau</a:t>
            </a:r>
            <a:endParaRPr lang="en-GB"/>
          </a:p>
          <a:p>
            <a:pPr lvl="2"/>
            <a:r>
              <a:rPr lang="en-GB" err="1"/>
              <a:t>Derde</a:t>
            </a:r>
            <a:r>
              <a:rPr lang="en-GB"/>
              <a:t> </a:t>
            </a:r>
            <a:r>
              <a:rPr lang="en-GB" err="1"/>
              <a:t>niveau</a:t>
            </a:r>
            <a:endParaRPr lang="en-GB"/>
          </a:p>
          <a:p>
            <a:pPr lvl="3"/>
            <a:r>
              <a:rPr lang="en-GB" err="1"/>
              <a:t>Vierde</a:t>
            </a:r>
            <a:r>
              <a:rPr lang="en-GB"/>
              <a:t> </a:t>
            </a:r>
            <a:r>
              <a:rPr lang="en-GB" err="1"/>
              <a:t>niveau</a:t>
            </a:r>
            <a:endParaRPr lang="en-GB"/>
          </a:p>
          <a:p>
            <a:pPr lvl="4"/>
            <a:r>
              <a:rPr lang="en-GB" err="1"/>
              <a:t>Vijfde</a:t>
            </a:r>
            <a:r>
              <a:rPr lang="en-GB"/>
              <a:t> </a:t>
            </a:r>
            <a:r>
              <a:rPr lang="en-GB" err="1"/>
              <a:t>niveau</a:t>
            </a:r>
            <a:endParaRPr lang="en-GB"/>
          </a:p>
        </p:txBody>
      </p:sp>
      <p:sp>
        <p:nvSpPr>
          <p:cNvPr id="21" name="Tijdelijke aanduiding voor tekst 9">
            <a:extLst>
              <a:ext uri="{FF2B5EF4-FFF2-40B4-BE49-F238E27FC236}">
                <a16:creationId xmlns:a16="http://schemas.microsoft.com/office/drawing/2014/main" id="{732CF53A-4EE3-4F44-B459-A6EACF01AA0E}"/>
              </a:ext>
            </a:extLst>
          </p:cNvPr>
          <p:cNvSpPr>
            <a:spLocks noGrp="1"/>
          </p:cNvSpPr>
          <p:nvPr>
            <p:ph type="body" sz="quarter" idx="24" hasCustomPrompt="1"/>
          </p:nvPr>
        </p:nvSpPr>
        <p:spPr>
          <a:xfrm>
            <a:off x="9048265" y="2495374"/>
            <a:ext cx="2568000" cy="3382612"/>
          </a:xfrm>
          <a:noFill/>
          <a:ln>
            <a:solidFill>
              <a:schemeClr val="accent1"/>
            </a:solidFill>
          </a:ln>
        </p:spPr>
        <p:txBody>
          <a:bodyPr lIns="72000" tIns="288000" rIns="72000"/>
          <a:lstStyle>
            <a:lvl1pPr>
              <a:defRPr sz="1600"/>
            </a:lvl1pPr>
            <a:lvl2pPr>
              <a:defRPr sz="1600"/>
            </a:lvl2pPr>
            <a:lvl3pPr>
              <a:defRPr sz="1600"/>
            </a:lvl3pPr>
            <a:lvl4pPr>
              <a:defRPr sz="1600"/>
            </a:lvl4pPr>
            <a:lvl5pPr>
              <a:defRPr sz="1600"/>
            </a:lvl5pPr>
          </a:lstStyle>
          <a:p>
            <a:pPr lvl="0"/>
            <a:r>
              <a:rPr lang="en-GB" err="1"/>
              <a:t>Klikken</a:t>
            </a:r>
            <a:r>
              <a:rPr lang="en-GB"/>
              <a:t> om de </a:t>
            </a:r>
            <a:r>
              <a:rPr lang="en-GB" err="1"/>
              <a:t>tekststijl</a:t>
            </a:r>
            <a:r>
              <a:rPr lang="en-GB"/>
              <a:t> van het model te </a:t>
            </a:r>
            <a:r>
              <a:rPr lang="en-GB" err="1"/>
              <a:t>bewerken</a:t>
            </a:r>
            <a:endParaRPr lang="en-GB"/>
          </a:p>
          <a:p>
            <a:pPr lvl="1"/>
            <a:r>
              <a:rPr lang="en-GB" err="1"/>
              <a:t>Tweede</a:t>
            </a:r>
            <a:r>
              <a:rPr lang="en-GB"/>
              <a:t> </a:t>
            </a:r>
            <a:r>
              <a:rPr lang="en-GB" err="1"/>
              <a:t>niveau</a:t>
            </a:r>
            <a:endParaRPr lang="en-GB"/>
          </a:p>
          <a:p>
            <a:pPr lvl="2"/>
            <a:r>
              <a:rPr lang="en-GB" err="1"/>
              <a:t>Derde</a:t>
            </a:r>
            <a:r>
              <a:rPr lang="en-GB"/>
              <a:t> </a:t>
            </a:r>
            <a:r>
              <a:rPr lang="en-GB" err="1"/>
              <a:t>niveau</a:t>
            </a:r>
            <a:endParaRPr lang="en-GB"/>
          </a:p>
          <a:p>
            <a:pPr lvl="3"/>
            <a:r>
              <a:rPr lang="en-GB" err="1"/>
              <a:t>Vierde</a:t>
            </a:r>
            <a:r>
              <a:rPr lang="en-GB"/>
              <a:t> </a:t>
            </a:r>
            <a:r>
              <a:rPr lang="en-GB" err="1"/>
              <a:t>niveau</a:t>
            </a:r>
            <a:endParaRPr lang="en-GB"/>
          </a:p>
          <a:p>
            <a:pPr lvl="4"/>
            <a:r>
              <a:rPr lang="en-GB" err="1"/>
              <a:t>Vijfde</a:t>
            </a:r>
            <a:r>
              <a:rPr lang="en-GB"/>
              <a:t> </a:t>
            </a:r>
            <a:r>
              <a:rPr lang="en-GB" err="1"/>
              <a:t>niveau</a:t>
            </a:r>
            <a:endParaRPr lang="en-GB"/>
          </a:p>
        </p:txBody>
      </p:sp>
      <p:sp>
        <p:nvSpPr>
          <p:cNvPr id="2" name="Title 1"/>
          <p:cNvSpPr>
            <a:spLocks noGrp="1"/>
          </p:cNvSpPr>
          <p:nvPr>
            <p:ph type="title"/>
          </p:nvPr>
        </p:nvSpPr>
        <p:spPr/>
        <p:txBody>
          <a:bodyPr/>
          <a:lstStyle/>
          <a:p>
            <a:r>
              <a:rPr lang="en-GB"/>
              <a:t>Click to edit Master title style</a:t>
            </a:r>
          </a:p>
        </p:txBody>
      </p:sp>
      <p:sp>
        <p:nvSpPr>
          <p:cNvPr id="4" name="Date Placeholder 3"/>
          <p:cNvSpPr>
            <a:spLocks noGrp="1"/>
          </p:cNvSpPr>
          <p:nvPr>
            <p:ph type="dt" sz="half" idx="10"/>
          </p:nvPr>
        </p:nvSpPr>
        <p:spPr/>
        <p:txBody>
          <a:bodyPr/>
          <a:lstStyle/>
          <a:p>
            <a:fld id="{BDC01D57-F689-4DE5-B239-87AAD62E84A7}" type="datetime1">
              <a:rPr lang="en-US" smtClean="0"/>
              <a:t>4/18/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14" name="Tijdelijke aanduiding voor tekst 13">
            <a:extLst>
              <a:ext uri="{FF2B5EF4-FFF2-40B4-BE49-F238E27FC236}">
                <a16:creationId xmlns:a16="http://schemas.microsoft.com/office/drawing/2014/main" id="{CE04E62B-DFE8-49C6-BCEC-A19BF0599890}"/>
              </a:ext>
            </a:extLst>
          </p:cNvPr>
          <p:cNvSpPr>
            <a:spLocks noGrp="1"/>
          </p:cNvSpPr>
          <p:nvPr>
            <p:ph type="body" sz="quarter" idx="16" hasCustomPrompt="1"/>
          </p:nvPr>
        </p:nvSpPr>
        <p:spPr>
          <a:xfrm>
            <a:off x="575732" y="1881239"/>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a:ln>
            <a:solidFill>
              <a:schemeClr val="accent1"/>
            </a:solidFill>
          </a:ln>
        </p:spPr>
        <p:txBody>
          <a:bodyPr wrap="square" lIns="72000" rIns="72000" anchor="ctr" anchorCtr="0">
            <a:noAutofit/>
          </a:bodyPr>
          <a:lstStyle>
            <a:lvl1pPr marL="0" indent="0" algn="ctr">
              <a:lnSpc>
                <a:spcPct val="100000"/>
              </a:lnSpc>
              <a:spcBef>
                <a:spcPts val="0"/>
              </a:spcBef>
              <a:buNone/>
              <a:defRPr>
                <a:solidFill>
                  <a:schemeClr val="bg1"/>
                </a:solidFill>
              </a:defRPr>
            </a:lvl1pPr>
          </a:lstStyle>
          <a:p>
            <a:pPr lvl="0"/>
            <a:r>
              <a:rPr lang="en-GB"/>
              <a:t>text</a:t>
            </a:r>
          </a:p>
        </p:txBody>
      </p:sp>
      <p:sp>
        <p:nvSpPr>
          <p:cNvPr id="15" name="Tijdelijke aanduiding voor tekst 14">
            <a:extLst>
              <a:ext uri="{FF2B5EF4-FFF2-40B4-BE49-F238E27FC236}">
                <a16:creationId xmlns:a16="http://schemas.microsoft.com/office/drawing/2014/main" id="{93339D03-BA0D-439C-9AE3-76BF835F80BC}"/>
              </a:ext>
            </a:extLst>
          </p:cNvPr>
          <p:cNvSpPr>
            <a:spLocks noGrp="1"/>
          </p:cNvSpPr>
          <p:nvPr>
            <p:ph type="body" sz="quarter" idx="17" hasCustomPrompt="1"/>
          </p:nvPr>
        </p:nvSpPr>
        <p:spPr>
          <a:xfrm>
            <a:off x="3399909" y="1881239"/>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a:ln>
            <a:solidFill>
              <a:schemeClr val="accent1"/>
            </a:solidFill>
          </a:ln>
        </p:spPr>
        <p:txBody>
          <a:bodyPr wrap="square" lIns="72000" rIns="72000" anchor="ctr" anchorCtr="0">
            <a:noAutofit/>
          </a:bodyPr>
          <a:lstStyle>
            <a:lvl1pPr marL="0" indent="0" algn="ctr">
              <a:lnSpc>
                <a:spcPct val="100000"/>
              </a:lnSpc>
              <a:spcBef>
                <a:spcPts val="0"/>
              </a:spcBef>
              <a:buNone/>
              <a:defRPr>
                <a:solidFill>
                  <a:schemeClr val="bg1"/>
                </a:solidFill>
              </a:defRPr>
            </a:lvl1pPr>
          </a:lstStyle>
          <a:p>
            <a:pPr lvl="0"/>
            <a:r>
              <a:rPr lang="en-GB"/>
              <a:t>text</a:t>
            </a:r>
          </a:p>
        </p:txBody>
      </p:sp>
      <p:sp>
        <p:nvSpPr>
          <p:cNvPr id="16" name="Tijdelijke aanduiding voor tekst 15">
            <a:extLst>
              <a:ext uri="{FF2B5EF4-FFF2-40B4-BE49-F238E27FC236}">
                <a16:creationId xmlns:a16="http://schemas.microsoft.com/office/drawing/2014/main" id="{93DBC742-8E58-4623-A40E-7D2DB102CDAF}"/>
              </a:ext>
            </a:extLst>
          </p:cNvPr>
          <p:cNvSpPr>
            <a:spLocks noGrp="1"/>
          </p:cNvSpPr>
          <p:nvPr>
            <p:ph type="body" sz="quarter" idx="18" hasCustomPrompt="1"/>
          </p:nvPr>
        </p:nvSpPr>
        <p:spPr>
          <a:xfrm>
            <a:off x="6224087" y="1881239"/>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a:ln>
            <a:solidFill>
              <a:schemeClr val="accent1"/>
            </a:solidFill>
          </a:ln>
        </p:spPr>
        <p:txBody>
          <a:bodyPr wrap="square" lIns="72000" rIns="72000" anchor="ctr" anchorCtr="0">
            <a:noAutofit/>
          </a:bodyPr>
          <a:lstStyle>
            <a:lvl1pPr marL="0" indent="0" algn="ctr">
              <a:lnSpc>
                <a:spcPct val="100000"/>
              </a:lnSpc>
              <a:spcBef>
                <a:spcPts val="0"/>
              </a:spcBef>
              <a:buNone/>
              <a:defRPr>
                <a:solidFill>
                  <a:schemeClr val="bg1"/>
                </a:solidFill>
              </a:defRPr>
            </a:lvl1pPr>
          </a:lstStyle>
          <a:p>
            <a:pPr lvl="0"/>
            <a:r>
              <a:rPr lang="en-GB"/>
              <a:t>text</a:t>
            </a:r>
          </a:p>
        </p:txBody>
      </p:sp>
      <p:sp>
        <p:nvSpPr>
          <p:cNvPr id="17" name="Tijdelijke aanduiding voor tekst 16">
            <a:extLst>
              <a:ext uri="{FF2B5EF4-FFF2-40B4-BE49-F238E27FC236}">
                <a16:creationId xmlns:a16="http://schemas.microsoft.com/office/drawing/2014/main" id="{8B53FD86-423F-4F36-AC16-3D6CA052A00B}"/>
              </a:ext>
            </a:extLst>
          </p:cNvPr>
          <p:cNvSpPr>
            <a:spLocks noGrp="1"/>
          </p:cNvSpPr>
          <p:nvPr>
            <p:ph type="body" sz="quarter" idx="21" hasCustomPrompt="1"/>
          </p:nvPr>
        </p:nvSpPr>
        <p:spPr>
          <a:xfrm>
            <a:off x="9048265" y="1881239"/>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a:ln>
            <a:solidFill>
              <a:schemeClr val="accent1"/>
            </a:solidFill>
          </a:ln>
        </p:spPr>
        <p:txBody>
          <a:bodyPr wrap="square" lIns="72000" rIns="72000" anchor="ctr" anchorCtr="0">
            <a:noAutofit/>
          </a:bodyPr>
          <a:lstStyle>
            <a:lvl1pPr marL="0" indent="0" algn="ctr">
              <a:lnSpc>
                <a:spcPct val="100000"/>
              </a:lnSpc>
              <a:spcBef>
                <a:spcPts val="0"/>
              </a:spcBef>
              <a:buNone/>
              <a:defRPr>
                <a:solidFill>
                  <a:schemeClr val="bg1"/>
                </a:solidFill>
              </a:defRPr>
            </a:lvl1pPr>
          </a:lstStyle>
          <a:p>
            <a:pPr lvl="0"/>
            <a:r>
              <a:rPr lang="en-GB"/>
              <a:t>text</a:t>
            </a:r>
          </a:p>
        </p:txBody>
      </p:sp>
    </p:spTree>
    <p:extLst>
      <p:ext uri="{BB962C8B-B14F-4D97-AF65-F5344CB8AC3E}">
        <p14:creationId xmlns:p14="http://schemas.microsoft.com/office/powerpoint/2010/main" val="268144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3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4" name="Date Placeholder 3"/>
          <p:cNvSpPr>
            <a:spLocks noGrp="1"/>
          </p:cNvSpPr>
          <p:nvPr>
            <p:ph type="dt" sz="half" idx="10"/>
          </p:nvPr>
        </p:nvSpPr>
        <p:spPr/>
        <p:txBody>
          <a:bodyPr/>
          <a:lstStyle/>
          <a:p>
            <a:fld id="{1B13DF9E-BCC2-4C45-BD4B-34B1D881A979}" type="datetime1">
              <a:rPr lang="en-US" smtClean="0"/>
              <a:t>4/18/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7" name="Tijdelijke aanduiding voor afbeelding 7">
            <a:extLst>
              <a:ext uri="{FF2B5EF4-FFF2-40B4-BE49-F238E27FC236}">
                <a16:creationId xmlns:a16="http://schemas.microsoft.com/office/drawing/2014/main" id="{65B18880-82CC-4AC0-9FD4-73A347590E4A}"/>
              </a:ext>
            </a:extLst>
          </p:cNvPr>
          <p:cNvSpPr>
            <a:spLocks noGrp="1"/>
          </p:cNvSpPr>
          <p:nvPr>
            <p:ph type="pic" sz="quarter" idx="13" hasCustomPrompt="1"/>
          </p:nvPr>
        </p:nvSpPr>
        <p:spPr>
          <a:xfrm>
            <a:off x="575733" y="1881237"/>
            <a:ext cx="3441600" cy="2760000"/>
          </a:xfrm>
          <a:solidFill>
            <a:schemeClr val="tx1">
              <a:lumMod val="20000"/>
              <a:lumOff val="80000"/>
            </a:schemeClr>
          </a:solidFill>
        </p:spPr>
        <p:txBody>
          <a:bodyPr/>
          <a:lstStyle>
            <a:lvl1pPr marL="0" indent="0" algn="ctr">
              <a:buNone/>
              <a:defRPr>
                <a:solidFill>
                  <a:schemeClr val="accent1"/>
                </a:solidFill>
              </a:defRPr>
            </a:lvl1pPr>
          </a:lstStyle>
          <a:p>
            <a:r>
              <a:rPr lang="en-GB"/>
              <a:t>Image</a:t>
            </a:r>
          </a:p>
        </p:txBody>
      </p:sp>
      <p:sp>
        <p:nvSpPr>
          <p:cNvPr id="8" name="Tijdelijke aanduiding voor afbeelding 7">
            <a:extLst>
              <a:ext uri="{FF2B5EF4-FFF2-40B4-BE49-F238E27FC236}">
                <a16:creationId xmlns:a16="http://schemas.microsoft.com/office/drawing/2014/main" id="{F21877E9-C5B9-480D-8B19-E3F131AE2D94}"/>
              </a:ext>
            </a:extLst>
          </p:cNvPr>
          <p:cNvSpPr>
            <a:spLocks noGrp="1"/>
          </p:cNvSpPr>
          <p:nvPr>
            <p:ph type="pic" sz="quarter" idx="14" hasCustomPrompt="1"/>
          </p:nvPr>
        </p:nvSpPr>
        <p:spPr>
          <a:xfrm>
            <a:off x="4375201" y="1881237"/>
            <a:ext cx="3441600" cy="2760000"/>
          </a:xfrm>
          <a:solidFill>
            <a:schemeClr val="tx1">
              <a:lumMod val="20000"/>
              <a:lumOff val="80000"/>
            </a:schemeClr>
          </a:solidFill>
        </p:spPr>
        <p:txBody>
          <a:bodyPr/>
          <a:lstStyle>
            <a:lvl1pPr marL="0" indent="0" algn="ctr">
              <a:buNone/>
              <a:defRPr>
                <a:solidFill>
                  <a:schemeClr val="accent1"/>
                </a:solidFill>
              </a:defRPr>
            </a:lvl1pPr>
          </a:lstStyle>
          <a:p>
            <a:r>
              <a:rPr lang="en-GB"/>
              <a:t>Image</a:t>
            </a:r>
          </a:p>
        </p:txBody>
      </p:sp>
      <p:sp>
        <p:nvSpPr>
          <p:cNvPr id="9" name="Tijdelijke aanduiding voor afbeelding 7">
            <a:extLst>
              <a:ext uri="{FF2B5EF4-FFF2-40B4-BE49-F238E27FC236}">
                <a16:creationId xmlns:a16="http://schemas.microsoft.com/office/drawing/2014/main" id="{41A0AB49-F1DD-4324-B0FE-DC835BD3B2FB}"/>
              </a:ext>
            </a:extLst>
          </p:cNvPr>
          <p:cNvSpPr>
            <a:spLocks noGrp="1"/>
          </p:cNvSpPr>
          <p:nvPr>
            <p:ph type="pic" sz="quarter" idx="15" hasCustomPrompt="1"/>
          </p:nvPr>
        </p:nvSpPr>
        <p:spPr>
          <a:xfrm>
            <a:off x="8174669" y="1881237"/>
            <a:ext cx="3441600" cy="2760000"/>
          </a:xfrm>
          <a:solidFill>
            <a:schemeClr val="tx1">
              <a:lumMod val="20000"/>
              <a:lumOff val="80000"/>
            </a:schemeClr>
          </a:solidFill>
        </p:spPr>
        <p:txBody>
          <a:bodyPr/>
          <a:lstStyle>
            <a:lvl1pPr marL="0" indent="0" algn="ctr">
              <a:buNone/>
              <a:defRPr>
                <a:solidFill>
                  <a:schemeClr val="accent1"/>
                </a:solidFill>
              </a:defRPr>
            </a:lvl1pPr>
          </a:lstStyle>
          <a:p>
            <a:r>
              <a:rPr lang="en-GB"/>
              <a:t>Image</a:t>
            </a:r>
          </a:p>
        </p:txBody>
      </p:sp>
      <p:sp>
        <p:nvSpPr>
          <p:cNvPr id="14" name="Tijdelijke aanduiding voor tekst 13">
            <a:extLst>
              <a:ext uri="{FF2B5EF4-FFF2-40B4-BE49-F238E27FC236}">
                <a16:creationId xmlns:a16="http://schemas.microsoft.com/office/drawing/2014/main" id="{CE04E62B-DFE8-49C6-BCEC-A19BF0599890}"/>
              </a:ext>
            </a:extLst>
          </p:cNvPr>
          <p:cNvSpPr>
            <a:spLocks noGrp="1"/>
          </p:cNvSpPr>
          <p:nvPr>
            <p:ph type="body" sz="quarter" idx="16" hasCustomPrompt="1"/>
          </p:nvPr>
        </p:nvSpPr>
        <p:spPr>
          <a:xfrm>
            <a:off x="575732" y="4640556"/>
            <a:ext cx="34416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lIns="72000" rIns="72000" anchor="ctr" anchorCtr="0">
            <a:noAutofit/>
          </a:bodyPr>
          <a:lstStyle>
            <a:lvl1pPr marL="0" indent="0" algn="ctr">
              <a:lnSpc>
                <a:spcPct val="100000"/>
              </a:lnSpc>
              <a:spcBef>
                <a:spcPts val="0"/>
              </a:spcBef>
              <a:buNone/>
              <a:defRPr>
                <a:solidFill>
                  <a:schemeClr val="bg1"/>
                </a:solidFill>
              </a:defRPr>
            </a:lvl1pPr>
          </a:lstStyle>
          <a:p>
            <a:pPr lvl="0"/>
            <a:r>
              <a:rPr lang="en-GB"/>
              <a:t>text</a:t>
            </a:r>
          </a:p>
        </p:txBody>
      </p:sp>
      <p:sp>
        <p:nvSpPr>
          <p:cNvPr id="15" name="Tijdelijke aanduiding voor tekst 14">
            <a:extLst>
              <a:ext uri="{FF2B5EF4-FFF2-40B4-BE49-F238E27FC236}">
                <a16:creationId xmlns:a16="http://schemas.microsoft.com/office/drawing/2014/main" id="{93339D03-BA0D-439C-9AE3-76BF835F80BC}"/>
              </a:ext>
            </a:extLst>
          </p:cNvPr>
          <p:cNvSpPr>
            <a:spLocks noGrp="1"/>
          </p:cNvSpPr>
          <p:nvPr>
            <p:ph type="body" sz="quarter" idx="17" hasCustomPrompt="1"/>
          </p:nvPr>
        </p:nvSpPr>
        <p:spPr>
          <a:xfrm>
            <a:off x="4375201" y="4640556"/>
            <a:ext cx="34416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lIns="72000" rIns="72000" anchor="ctr" anchorCtr="0">
            <a:noAutofit/>
          </a:bodyPr>
          <a:lstStyle>
            <a:lvl1pPr marL="0" indent="0" algn="ctr">
              <a:lnSpc>
                <a:spcPct val="100000"/>
              </a:lnSpc>
              <a:spcBef>
                <a:spcPts val="0"/>
              </a:spcBef>
              <a:buNone/>
              <a:defRPr>
                <a:solidFill>
                  <a:schemeClr val="bg1"/>
                </a:solidFill>
              </a:defRPr>
            </a:lvl1pPr>
          </a:lstStyle>
          <a:p>
            <a:pPr lvl="0"/>
            <a:r>
              <a:rPr lang="en-GB"/>
              <a:t>text</a:t>
            </a:r>
          </a:p>
        </p:txBody>
      </p:sp>
      <p:sp>
        <p:nvSpPr>
          <p:cNvPr id="16" name="Tijdelijke aanduiding voor tekst 15">
            <a:extLst>
              <a:ext uri="{FF2B5EF4-FFF2-40B4-BE49-F238E27FC236}">
                <a16:creationId xmlns:a16="http://schemas.microsoft.com/office/drawing/2014/main" id="{93DBC742-8E58-4623-A40E-7D2DB102CDAF}"/>
              </a:ext>
            </a:extLst>
          </p:cNvPr>
          <p:cNvSpPr>
            <a:spLocks noGrp="1"/>
          </p:cNvSpPr>
          <p:nvPr>
            <p:ph type="body" sz="quarter" idx="18" hasCustomPrompt="1"/>
          </p:nvPr>
        </p:nvSpPr>
        <p:spPr>
          <a:xfrm>
            <a:off x="8174669" y="4640556"/>
            <a:ext cx="34416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lIns="72000" rIns="72000" anchor="ctr" anchorCtr="0">
            <a:noAutofit/>
          </a:bodyPr>
          <a:lstStyle>
            <a:lvl1pPr marL="0" indent="0" algn="ctr">
              <a:lnSpc>
                <a:spcPct val="100000"/>
              </a:lnSpc>
              <a:spcBef>
                <a:spcPts val="0"/>
              </a:spcBef>
              <a:buNone/>
              <a:defRPr>
                <a:solidFill>
                  <a:schemeClr val="bg1"/>
                </a:solidFill>
              </a:defRPr>
            </a:lvl1pPr>
          </a:lstStyle>
          <a:p>
            <a:pPr lvl="0"/>
            <a:r>
              <a:rPr lang="en-GB"/>
              <a:t>text</a:t>
            </a:r>
          </a:p>
        </p:txBody>
      </p:sp>
    </p:spTree>
    <p:extLst>
      <p:ext uri="{BB962C8B-B14F-4D97-AF65-F5344CB8AC3E}">
        <p14:creationId xmlns:p14="http://schemas.microsoft.com/office/powerpoint/2010/main" val="714895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4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4" name="Date Placeholder 3"/>
          <p:cNvSpPr>
            <a:spLocks noGrp="1"/>
          </p:cNvSpPr>
          <p:nvPr>
            <p:ph type="dt" sz="half" idx="10"/>
          </p:nvPr>
        </p:nvSpPr>
        <p:spPr/>
        <p:txBody>
          <a:bodyPr/>
          <a:lstStyle/>
          <a:p>
            <a:fld id="{DC7AE4C7-A5EF-4845-A620-2739802B95E8}" type="datetime1">
              <a:rPr lang="en-US" smtClean="0"/>
              <a:t>4/18/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
        <p:nvSpPr>
          <p:cNvPr id="7" name="Tijdelijke aanduiding voor afbeelding 7">
            <a:extLst>
              <a:ext uri="{FF2B5EF4-FFF2-40B4-BE49-F238E27FC236}">
                <a16:creationId xmlns:a16="http://schemas.microsoft.com/office/drawing/2014/main" id="{65B18880-82CC-4AC0-9FD4-73A347590E4A}"/>
              </a:ext>
            </a:extLst>
          </p:cNvPr>
          <p:cNvSpPr>
            <a:spLocks noGrp="1"/>
          </p:cNvSpPr>
          <p:nvPr>
            <p:ph type="pic" sz="quarter" idx="13" hasCustomPrompt="1"/>
          </p:nvPr>
        </p:nvSpPr>
        <p:spPr>
          <a:xfrm>
            <a:off x="575733" y="1881237"/>
            <a:ext cx="2568000" cy="2760000"/>
          </a:xfrm>
          <a:solidFill>
            <a:schemeClr val="tx1">
              <a:lumMod val="20000"/>
              <a:lumOff val="80000"/>
            </a:schemeClr>
          </a:solidFill>
        </p:spPr>
        <p:txBody>
          <a:bodyPr/>
          <a:lstStyle>
            <a:lvl1pPr marL="0" indent="0" algn="ctr">
              <a:buNone/>
              <a:defRPr>
                <a:solidFill>
                  <a:schemeClr val="accent1"/>
                </a:solidFill>
              </a:defRPr>
            </a:lvl1pPr>
          </a:lstStyle>
          <a:p>
            <a:r>
              <a:rPr lang="en-GB"/>
              <a:t>Image</a:t>
            </a:r>
          </a:p>
        </p:txBody>
      </p:sp>
      <p:sp>
        <p:nvSpPr>
          <p:cNvPr id="8" name="Tijdelijke aanduiding voor afbeelding 7">
            <a:extLst>
              <a:ext uri="{FF2B5EF4-FFF2-40B4-BE49-F238E27FC236}">
                <a16:creationId xmlns:a16="http://schemas.microsoft.com/office/drawing/2014/main" id="{F21877E9-C5B9-480D-8B19-E3F131AE2D94}"/>
              </a:ext>
            </a:extLst>
          </p:cNvPr>
          <p:cNvSpPr>
            <a:spLocks noGrp="1"/>
          </p:cNvSpPr>
          <p:nvPr>
            <p:ph type="pic" sz="quarter" idx="14" hasCustomPrompt="1"/>
          </p:nvPr>
        </p:nvSpPr>
        <p:spPr>
          <a:xfrm>
            <a:off x="3399911" y="1881237"/>
            <a:ext cx="2568000" cy="2760000"/>
          </a:xfrm>
          <a:solidFill>
            <a:schemeClr val="tx1">
              <a:lumMod val="20000"/>
              <a:lumOff val="80000"/>
            </a:schemeClr>
          </a:solidFill>
        </p:spPr>
        <p:txBody>
          <a:bodyPr/>
          <a:lstStyle>
            <a:lvl1pPr marL="0" indent="0" algn="ctr">
              <a:buNone/>
              <a:defRPr>
                <a:solidFill>
                  <a:schemeClr val="accent1"/>
                </a:solidFill>
              </a:defRPr>
            </a:lvl1pPr>
          </a:lstStyle>
          <a:p>
            <a:r>
              <a:rPr lang="en-GB"/>
              <a:t>Image</a:t>
            </a:r>
          </a:p>
        </p:txBody>
      </p:sp>
      <p:sp>
        <p:nvSpPr>
          <p:cNvPr id="9" name="Tijdelijke aanduiding voor afbeelding 7">
            <a:extLst>
              <a:ext uri="{FF2B5EF4-FFF2-40B4-BE49-F238E27FC236}">
                <a16:creationId xmlns:a16="http://schemas.microsoft.com/office/drawing/2014/main" id="{41A0AB49-F1DD-4324-B0FE-DC835BD3B2FB}"/>
              </a:ext>
            </a:extLst>
          </p:cNvPr>
          <p:cNvSpPr>
            <a:spLocks noGrp="1"/>
          </p:cNvSpPr>
          <p:nvPr>
            <p:ph type="pic" sz="quarter" idx="15" hasCustomPrompt="1"/>
          </p:nvPr>
        </p:nvSpPr>
        <p:spPr>
          <a:xfrm>
            <a:off x="6224088" y="1881237"/>
            <a:ext cx="2568000" cy="2760000"/>
          </a:xfrm>
          <a:solidFill>
            <a:schemeClr val="tx1">
              <a:lumMod val="20000"/>
              <a:lumOff val="80000"/>
            </a:schemeClr>
          </a:solidFill>
        </p:spPr>
        <p:txBody>
          <a:bodyPr/>
          <a:lstStyle>
            <a:lvl1pPr marL="0" indent="0" algn="ctr">
              <a:buNone/>
              <a:defRPr>
                <a:solidFill>
                  <a:schemeClr val="accent1"/>
                </a:solidFill>
              </a:defRPr>
            </a:lvl1pPr>
          </a:lstStyle>
          <a:p>
            <a:r>
              <a:rPr lang="en-GB"/>
              <a:t>Image</a:t>
            </a:r>
          </a:p>
        </p:txBody>
      </p:sp>
      <p:sp>
        <p:nvSpPr>
          <p:cNvPr id="14" name="Tijdelijke aanduiding voor tekst 13">
            <a:extLst>
              <a:ext uri="{FF2B5EF4-FFF2-40B4-BE49-F238E27FC236}">
                <a16:creationId xmlns:a16="http://schemas.microsoft.com/office/drawing/2014/main" id="{CE04E62B-DFE8-49C6-BCEC-A19BF0599890}"/>
              </a:ext>
            </a:extLst>
          </p:cNvPr>
          <p:cNvSpPr>
            <a:spLocks noGrp="1"/>
          </p:cNvSpPr>
          <p:nvPr>
            <p:ph type="body" sz="quarter" idx="16" hasCustomPrompt="1"/>
          </p:nvPr>
        </p:nvSpPr>
        <p:spPr>
          <a:xfrm>
            <a:off x="575732" y="4640556"/>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lIns="72000" rIns="72000" anchor="ctr" anchorCtr="0">
            <a:noAutofit/>
          </a:bodyPr>
          <a:lstStyle>
            <a:lvl1pPr marL="0" indent="0" algn="ctr">
              <a:lnSpc>
                <a:spcPct val="100000"/>
              </a:lnSpc>
              <a:spcBef>
                <a:spcPts val="0"/>
              </a:spcBef>
              <a:buNone/>
              <a:defRPr>
                <a:solidFill>
                  <a:schemeClr val="bg1"/>
                </a:solidFill>
              </a:defRPr>
            </a:lvl1pPr>
          </a:lstStyle>
          <a:p>
            <a:pPr lvl="0"/>
            <a:r>
              <a:rPr lang="en-GB"/>
              <a:t>text</a:t>
            </a:r>
          </a:p>
        </p:txBody>
      </p:sp>
      <p:sp>
        <p:nvSpPr>
          <p:cNvPr id="15" name="Tijdelijke aanduiding voor tekst 14">
            <a:extLst>
              <a:ext uri="{FF2B5EF4-FFF2-40B4-BE49-F238E27FC236}">
                <a16:creationId xmlns:a16="http://schemas.microsoft.com/office/drawing/2014/main" id="{93339D03-BA0D-439C-9AE3-76BF835F80BC}"/>
              </a:ext>
            </a:extLst>
          </p:cNvPr>
          <p:cNvSpPr>
            <a:spLocks noGrp="1"/>
          </p:cNvSpPr>
          <p:nvPr>
            <p:ph type="body" sz="quarter" idx="17" hasCustomPrompt="1"/>
          </p:nvPr>
        </p:nvSpPr>
        <p:spPr>
          <a:xfrm>
            <a:off x="3399909" y="4640556"/>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lIns="72000" rIns="72000" anchor="ctr" anchorCtr="0">
            <a:noAutofit/>
          </a:bodyPr>
          <a:lstStyle>
            <a:lvl1pPr marL="0" indent="0" algn="ctr">
              <a:lnSpc>
                <a:spcPct val="100000"/>
              </a:lnSpc>
              <a:spcBef>
                <a:spcPts val="0"/>
              </a:spcBef>
              <a:buNone/>
              <a:defRPr>
                <a:solidFill>
                  <a:schemeClr val="bg1"/>
                </a:solidFill>
              </a:defRPr>
            </a:lvl1pPr>
          </a:lstStyle>
          <a:p>
            <a:pPr lvl="0"/>
            <a:r>
              <a:rPr lang="en-GB"/>
              <a:t>text</a:t>
            </a:r>
          </a:p>
        </p:txBody>
      </p:sp>
      <p:sp>
        <p:nvSpPr>
          <p:cNvPr id="16" name="Tijdelijke aanduiding voor tekst 15">
            <a:extLst>
              <a:ext uri="{FF2B5EF4-FFF2-40B4-BE49-F238E27FC236}">
                <a16:creationId xmlns:a16="http://schemas.microsoft.com/office/drawing/2014/main" id="{93DBC742-8E58-4623-A40E-7D2DB102CDAF}"/>
              </a:ext>
            </a:extLst>
          </p:cNvPr>
          <p:cNvSpPr>
            <a:spLocks noGrp="1"/>
          </p:cNvSpPr>
          <p:nvPr>
            <p:ph type="body" sz="quarter" idx="18" hasCustomPrompt="1"/>
          </p:nvPr>
        </p:nvSpPr>
        <p:spPr>
          <a:xfrm>
            <a:off x="6224087" y="4640556"/>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lIns="72000" rIns="72000" anchor="ctr" anchorCtr="0">
            <a:noAutofit/>
          </a:bodyPr>
          <a:lstStyle>
            <a:lvl1pPr marL="0" indent="0" algn="ctr">
              <a:lnSpc>
                <a:spcPct val="100000"/>
              </a:lnSpc>
              <a:spcBef>
                <a:spcPts val="0"/>
              </a:spcBef>
              <a:buNone/>
              <a:defRPr>
                <a:solidFill>
                  <a:schemeClr val="bg1"/>
                </a:solidFill>
              </a:defRPr>
            </a:lvl1pPr>
          </a:lstStyle>
          <a:p>
            <a:pPr lvl="0"/>
            <a:r>
              <a:rPr lang="en-GB"/>
              <a:t>text</a:t>
            </a:r>
          </a:p>
        </p:txBody>
      </p:sp>
      <p:sp>
        <p:nvSpPr>
          <p:cNvPr id="13" name="Tijdelijke aanduiding voor afbeelding 7">
            <a:extLst>
              <a:ext uri="{FF2B5EF4-FFF2-40B4-BE49-F238E27FC236}">
                <a16:creationId xmlns:a16="http://schemas.microsoft.com/office/drawing/2014/main" id="{9014C87B-4A9B-46A5-92E7-D035D3B01B50}"/>
              </a:ext>
            </a:extLst>
          </p:cNvPr>
          <p:cNvSpPr>
            <a:spLocks noGrp="1"/>
          </p:cNvSpPr>
          <p:nvPr>
            <p:ph type="pic" sz="quarter" idx="20" hasCustomPrompt="1"/>
          </p:nvPr>
        </p:nvSpPr>
        <p:spPr>
          <a:xfrm>
            <a:off x="9048265" y="1881237"/>
            <a:ext cx="2568000" cy="2760000"/>
          </a:xfrm>
          <a:solidFill>
            <a:schemeClr val="tx1">
              <a:lumMod val="20000"/>
              <a:lumOff val="80000"/>
            </a:schemeClr>
          </a:solidFill>
        </p:spPr>
        <p:txBody>
          <a:bodyPr/>
          <a:lstStyle>
            <a:lvl1pPr marL="0" indent="0" algn="ctr">
              <a:buNone/>
              <a:defRPr>
                <a:solidFill>
                  <a:schemeClr val="accent1"/>
                </a:solidFill>
              </a:defRPr>
            </a:lvl1pPr>
          </a:lstStyle>
          <a:p>
            <a:r>
              <a:rPr lang="en-GB"/>
              <a:t>Image</a:t>
            </a:r>
          </a:p>
        </p:txBody>
      </p:sp>
      <p:sp>
        <p:nvSpPr>
          <p:cNvPr id="17" name="Tijdelijke aanduiding voor tekst 16">
            <a:extLst>
              <a:ext uri="{FF2B5EF4-FFF2-40B4-BE49-F238E27FC236}">
                <a16:creationId xmlns:a16="http://schemas.microsoft.com/office/drawing/2014/main" id="{8B53FD86-423F-4F36-AC16-3D6CA052A00B}"/>
              </a:ext>
            </a:extLst>
          </p:cNvPr>
          <p:cNvSpPr>
            <a:spLocks noGrp="1"/>
          </p:cNvSpPr>
          <p:nvPr>
            <p:ph type="body" sz="quarter" idx="21" hasCustomPrompt="1"/>
          </p:nvPr>
        </p:nvSpPr>
        <p:spPr>
          <a:xfrm>
            <a:off x="9048265" y="4640556"/>
            <a:ext cx="2568000" cy="88053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1"/>
          </a:solidFill>
        </p:spPr>
        <p:txBody>
          <a:bodyPr wrap="square" lIns="72000" rIns="72000" anchor="ctr" anchorCtr="0">
            <a:noAutofit/>
          </a:bodyPr>
          <a:lstStyle>
            <a:lvl1pPr marL="0" indent="0" algn="ctr">
              <a:lnSpc>
                <a:spcPct val="100000"/>
              </a:lnSpc>
              <a:spcBef>
                <a:spcPts val="0"/>
              </a:spcBef>
              <a:buNone/>
              <a:defRPr>
                <a:solidFill>
                  <a:schemeClr val="bg1"/>
                </a:solidFill>
              </a:defRPr>
            </a:lvl1pPr>
          </a:lstStyle>
          <a:p>
            <a:pPr lvl="0"/>
            <a:r>
              <a:rPr lang="en-GB"/>
              <a:t>text</a:t>
            </a:r>
          </a:p>
        </p:txBody>
      </p:sp>
    </p:spTree>
    <p:extLst>
      <p:ext uri="{BB962C8B-B14F-4D97-AF65-F5344CB8AC3E}">
        <p14:creationId xmlns:p14="http://schemas.microsoft.com/office/powerpoint/2010/main" val="3144421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758063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Slide - 1">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D00DA84-BE0D-C322-59C6-2CFF15D23254}"/>
              </a:ext>
            </a:extLst>
          </p:cNvPr>
          <p:cNvSpPr>
            <a:spLocks noGrp="1"/>
          </p:cNvSpPr>
          <p:nvPr>
            <p:ph type="pic" sz="quarter" idx="14"/>
          </p:nvPr>
        </p:nvSpPr>
        <p:spPr>
          <a:xfrm>
            <a:off x="768353" y="1701802"/>
            <a:ext cx="10847915" cy="3233615"/>
          </a:xfrm>
          <a:prstGeom prst="roundRect">
            <a:avLst>
              <a:gd name="adj" fmla="val 5981"/>
            </a:avLst>
          </a:prstGeom>
          <a:solidFill>
            <a:schemeClr val="tx1">
              <a:lumMod val="20000"/>
              <a:lumOff val="80000"/>
            </a:schemeClr>
          </a:solidFill>
        </p:spPr>
        <p:txBody>
          <a:bodyPr wrap="square" tIns="396000">
            <a:noAutofit/>
          </a:bodyPr>
          <a:lstStyle>
            <a:lvl1pPr marL="0" indent="0" algn="ctr">
              <a:buNone/>
              <a:defRPr/>
            </a:lvl1pPr>
          </a:lstStyle>
          <a:p>
            <a:r>
              <a:rPr lang="en-US"/>
              <a:t>Click icon to add picture</a:t>
            </a:r>
            <a:endParaRPr lang="en-GB"/>
          </a:p>
        </p:txBody>
      </p:sp>
      <p:sp>
        <p:nvSpPr>
          <p:cNvPr id="2" name="Title 1"/>
          <p:cNvSpPr>
            <a:spLocks noGrp="1"/>
          </p:cNvSpPr>
          <p:nvPr>
            <p:ph type="ctrTitle" hasCustomPrompt="1"/>
          </p:nvPr>
        </p:nvSpPr>
        <p:spPr>
          <a:xfrm>
            <a:off x="768353" y="4935417"/>
            <a:ext cx="10847915" cy="661255"/>
          </a:xfrm>
        </p:spPr>
        <p:txBody>
          <a:bodyPr wrap="none" anchor="b"/>
          <a:lstStyle>
            <a:lvl1pPr algn="l">
              <a:defRPr sz="3200"/>
            </a:lvl1pPr>
          </a:lstStyle>
          <a:p>
            <a:r>
              <a:rPr lang="en-GB"/>
              <a:t>Click to add title</a:t>
            </a:r>
          </a:p>
        </p:txBody>
      </p:sp>
      <p:sp>
        <p:nvSpPr>
          <p:cNvPr id="3" name="Subtitle 2"/>
          <p:cNvSpPr>
            <a:spLocks noGrp="1"/>
          </p:cNvSpPr>
          <p:nvPr>
            <p:ph type="subTitle" idx="1" hasCustomPrompt="1"/>
          </p:nvPr>
        </p:nvSpPr>
        <p:spPr>
          <a:xfrm>
            <a:off x="768352" y="5756031"/>
            <a:ext cx="10848000" cy="314920"/>
          </a:xfrm>
        </p:spPr>
        <p:txBody>
          <a:bodyPr wrap="none">
            <a:noAutofit/>
          </a:bodyPr>
          <a:lstStyle>
            <a:lvl1pPr marL="0" indent="0" algn="l">
              <a:buNone/>
              <a:defRPr sz="1867"/>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Subtitle</a:t>
            </a:r>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768353" y="6536949"/>
            <a:ext cx="1356140"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3 </a:t>
            </a:r>
            <a:r>
              <a:rPr lang="en-GB" sz="800" kern="1200" err="1">
                <a:solidFill>
                  <a:schemeClr val="tx1">
                    <a:tint val="75000"/>
                  </a:schemeClr>
                </a:solidFill>
                <a:latin typeface="+mn-lt"/>
                <a:ea typeface="+mn-ea"/>
                <a:cs typeface="+mn-cs"/>
              </a:rPr>
              <a:t>FrieslandCampina</a:t>
            </a:r>
            <a:endParaRPr lang="en-GB" sz="800" kern="1200">
              <a:solidFill>
                <a:schemeClr val="tx1">
                  <a:tint val="75000"/>
                </a:schemeClr>
              </a:solidFill>
              <a:latin typeface="+mn-lt"/>
              <a:ea typeface="+mn-ea"/>
              <a:cs typeface="+mn-cs"/>
            </a:endParaRPr>
          </a:p>
        </p:txBody>
      </p:sp>
      <p:grpSp>
        <p:nvGrpSpPr>
          <p:cNvPr id="5" name="Groep 4">
            <a:extLst>
              <a:ext uri="{FF2B5EF4-FFF2-40B4-BE49-F238E27FC236}">
                <a16:creationId xmlns:a16="http://schemas.microsoft.com/office/drawing/2014/main" id="{D5A2D930-4F05-43DA-8F93-DEAFE1096447}"/>
              </a:ext>
            </a:extLst>
          </p:cNvPr>
          <p:cNvGrpSpPr/>
          <p:nvPr userDrawn="1"/>
        </p:nvGrpSpPr>
        <p:grpSpPr>
          <a:xfrm>
            <a:off x="12262862" y="1863584"/>
            <a:ext cx="1130143" cy="757167"/>
            <a:chOff x="9197145" y="1199569"/>
            <a:chExt cx="847607" cy="567875"/>
          </a:xfrm>
        </p:grpSpPr>
        <p:sp>
          <p:nvSpPr>
            <p:cNvPr id="7" name="Freeform 20">
              <a:extLst>
                <a:ext uri="{FF2B5EF4-FFF2-40B4-BE49-F238E27FC236}">
                  <a16:creationId xmlns:a16="http://schemas.microsoft.com/office/drawing/2014/main" id="{EC6D8501-6CE5-4E1D-B8D6-010E436AF741}"/>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rgbClr val="760E12"/>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4" name="Tekstvak 3">
              <a:extLst>
                <a:ext uri="{FF2B5EF4-FFF2-40B4-BE49-F238E27FC236}">
                  <a16:creationId xmlns:a16="http://schemas.microsoft.com/office/drawing/2014/main" id="{2565ADC4-81D8-4B71-BCBD-613626D2F4F6}"/>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pic>
        <p:nvPicPr>
          <p:cNvPr id="6" name="Picture 2" descr="G:\Corporate Communication\Logo's\FrieslandCampina\Nourishing by Nature tagline\Nbn_tag_with_FC_final.png">
            <a:extLst>
              <a:ext uri="{FF2B5EF4-FFF2-40B4-BE49-F238E27FC236}">
                <a16:creationId xmlns:a16="http://schemas.microsoft.com/office/drawing/2014/main" id="{6F6D29C9-0B5C-1B7C-2F68-596284469566}"/>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13973" y="305787"/>
            <a:ext cx="2332873" cy="12366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3039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3">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1_Title slide - 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0F2F5BE-C297-1D62-E1A3-700EAD2051EC}"/>
              </a:ext>
            </a:extLst>
          </p:cNvPr>
          <p:cNvSpPr>
            <a:spLocks noGrp="1"/>
          </p:cNvSpPr>
          <p:nvPr>
            <p:ph type="pic" sz="quarter" idx="14"/>
          </p:nvPr>
        </p:nvSpPr>
        <p:spPr>
          <a:xfrm>
            <a:off x="768353" y="1701802"/>
            <a:ext cx="10847915" cy="3233615"/>
          </a:xfrm>
          <a:prstGeom prst="roundRect">
            <a:avLst>
              <a:gd name="adj" fmla="val 5981"/>
            </a:avLst>
          </a:prstGeom>
          <a:solidFill>
            <a:schemeClr val="tx1">
              <a:lumMod val="20000"/>
              <a:lumOff val="80000"/>
            </a:schemeClr>
          </a:solidFill>
        </p:spPr>
        <p:txBody>
          <a:bodyPr wrap="square" tIns="396000">
            <a:noAutofit/>
          </a:bodyPr>
          <a:lstStyle>
            <a:lvl1pPr marL="0" indent="0" algn="ctr">
              <a:buNone/>
              <a:defRPr/>
            </a:lvl1pPr>
          </a:lstStyle>
          <a:p>
            <a:r>
              <a:rPr lang="en-US"/>
              <a:t>Click icon to add picture</a:t>
            </a:r>
            <a:endParaRPr lang="en-GB"/>
          </a:p>
        </p:txBody>
      </p:sp>
      <p:sp>
        <p:nvSpPr>
          <p:cNvPr id="13" name="Tekstvak 12">
            <a:extLst>
              <a:ext uri="{FF2B5EF4-FFF2-40B4-BE49-F238E27FC236}">
                <a16:creationId xmlns:a16="http://schemas.microsoft.com/office/drawing/2014/main" id="{5D285F27-B601-4E99-AFEA-9081C183CE1D}"/>
              </a:ext>
            </a:extLst>
          </p:cNvPr>
          <p:cNvSpPr txBox="1"/>
          <p:nvPr userDrawn="1"/>
        </p:nvSpPr>
        <p:spPr>
          <a:xfrm>
            <a:off x="768353" y="6536949"/>
            <a:ext cx="1356140" cy="123111"/>
          </a:xfrm>
          <a:prstGeom prst="rect">
            <a:avLst/>
          </a:prstGeom>
          <a:noFill/>
        </p:spPr>
        <p:txBody>
          <a:bodyPr wrap="none" lIns="0" tIns="0" rIns="0" bIns="0" rtlCol="0">
            <a:spAutoFit/>
          </a:bodyPr>
          <a:lstStyle/>
          <a:p>
            <a:r>
              <a:rPr lang="en-GB" sz="800" kern="1200">
                <a:solidFill>
                  <a:schemeClr val="tx1">
                    <a:tint val="75000"/>
                  </a:schemeClr>
                </a:solidFill>
                <a:latin typeface="+mn-lt"/>
                <a:ea typeface="+mn-ea"/>
                <a:cs typeface="+mn-cs"/>
              </a:rPr>
              <a:t>© 2023 </a:t>
            </a:r>
            <a:r>
              <a:rPr lang="en-GB" sz="800" kern="1200" err="1">
                <a:solidFill>
                  <a:schemeClr val="tx1">
                    <a:tint val="75000"/>
                  </a:schemeClr>
                </a:solidFill>
                <a:latin typeface="+mn-lt"/>
                <a:ea typeface="+mn-ea"/>
                <a:cs typeface="+mn-cs"/>
              </a:rPr>
              <a:t>FrieslandCampina</a:t>
            </a:r>
            <a:endParaRPr lang="en-GB" sz="800" kern="1200">
              <a:solidFill>
                <a:schemeClr val="tx1">
                  <a:tint val="75000"/>
                </a:schemeClr>
              </a:solidFill>
              <a:latin typeface="+mn-lt"/>
              <a:ea typeface="+mn-ea"/>
              <a:cs typeface="+mn-cs"/>
            </a:endParaRPr>
          </a:p>
        </p:txBody>
      </p:sp>
      <p:pic>
        <p:nvPicPr>
          <p:cNvPr id="6" name="Picture 2" descr="G:\Corporate Communication\Logo's\FrieslandCampina\Nourishing by Nature tagline\Nbn_tag_with_FC_final.png">
            <a:extLst>
              <a:ext uri="{FF2B5EF4-FFF2-40B4-BE49-F238E27FC236}">
                <a16:creationId xmlns:a16="http://schemas.microsoft.com/office/drawing/2014/main" id="{6F6D29C9-0B5C-1B7C-2F68-596284469566}"/>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13973" y="305787"/>
            <a:ext cx="2332873" cy="123665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4039893" y="4463514"/>
            <a:ext cx="7576375" cy="1591159"/>
          </a:xfrm>
          <a:prstGeom prst="roundRect">
            <a:avLst>
              <a:gd name="adj" fmla="val 16414"/>
            </a:avLst>
          </a:prstGeom>
          <a:solidFill>
            <a:srgbClr val="004A6D"/>
          </a:solidFill>
        </p:spPr>
        <p:txBody>
          <a:bodyPr wrap="none" lIns="180000" tIns="288000" rIns="180000" bIns="180000" anchor="t" anchorCtr="0"/>
          <a:lstStyle>
            <a:lvl1pPr algn="l">
              <a:defRPr sz="3200">
                <a:solidFill>
                  <a:schemeClr val="bg1"/>
                </a:solidFill>
              </a:defRPr>
            </a:lvl1pPr>
          </a:lstStyle>
          <a:p>
            <a:r>
              <a:rPr lang="en-GB"/>
              <a:t>Click to add title (max. 1 line)</a:t>
            </a:r>
          </a:p>
        </p:txBody>
      </p:sp>
      <p:sp>
        <p:nvSpPr>
          <p:cNvPr id="3" name="Subtitle 2"/>
          <p:cNvSpPr>
            <a:spLocks noGrp="1"/>
          </p:cNvSpPr>
          <p:nvPr>
            <p:ph type="subTitle" idx="1" hasCustomPrompt="1"/>
          </p:nvPr>
        </p:nvSpPr>
        <p:spPr>
          <a:xfrm>
            <a:off x="4338320" y="5382299"/>
            <a:ext cx="6915413" cy="314920"/>
          </a:xfrm>
        </p:spPr>
        <p:txBody>
          <a:bodyPr wrap="none" lIns="0" rIns="0">
            <a:noAutofit/>
          </a:bodyPr>
          <a:lstStyle>
            <a:lvl1pPr marL="0" indent="0" algn="l">
              <a:buNone/>
              <a:defRPr sz="1867">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Subtitle</a:t>
            </a:r>
          </a:p>
        </p:txBody>
      </p:sp>
      <p:grpSp>
        <p:nvGrpSpPr>
          <p:cNvPr id="9" name="Groep 4">
            <a:extLst>
              <a:ext uri="{FF2B5EF4-FFF2-40B4-BE49-F238E27FC236}">
                <a16:creationId xmlns:a16="http://schemas.microsoft.com/office/drawing/2014/main" id="{57F33125-D565-69D4-AA31-CD844E250D93}"/>
              </a:ext>
            </a:extLst>
          </p:cNvPr>
          <p:cNvGrpSpPr/>
          <p:nvPr userDrawn="1"/>
        </p:nvGrpSpPr>
        <p:grpSpPr>
          <a:xfrm>
            <a:off x="12262862" y="1863584"/>
            <a:ext cx="1130143" cy="757167"/>
            <a:chOff x="9197145" y="1199569"/>
            <a:chExt cx="847607" cy="567875"/>
          </a:xfrm>
        </p:grpSpPr>
        <p:sp>
          <p:nvSpPr>
            <p:cNvPr id="10" name="Freeform 20">
              <a:extLst>
                <a:ext uri="{FF2B5EF4-FFF2-40B4-BE49-F238E27FC236}">
                  <a16:creationId xmlns:a16="http://schemas.microsoft.com/office/drawing/2014/main" id="{A1C8F0C8-4A57-492D-0C5F-544101B7A775}"/>
                </a:ext>
              </a:extLst>
            </p:cNvPr>
            <p:cNvSpPr>
              <a:spLocks/>
            </p:cNvSpPr>
            <p:nvPr userDrawn="1"/>
          </p:nvSpPr>
          <p:spPr bwMode="auto">
            <a:xfrm flipH="1">
              <a:off x="9197145" y="1199569"/>
              <a:ext cx="188173" cy="137179"/>
            </a:xfrm>
            <a:custGeom>
              <a:avLst/>
              <a:gdLst>
                <a:gd name="T0" fmla="*/ 3 w 48"/>
                <a:gd name="T1" fmla="*/ 22 h 35"/>
                <a:gd name="T2" fmla="*/ 32 w 48"/>
                <a:gd name="T3" fmla="*/ 24 h 35"/>
                <a:gd name="T4" fmla="*/ 29 w 48"/>
                <a:gd name="T5" fmla="*/ 25 h 35"/>
                <a:gd name="T6" fmla="*/ 22 w 48"/>
                <a:gd name="T7" fmla="*/ 31 h 35"/>
                <a:gd name="T8" fmla="*/ 23 w 48"/>
                <a:gd name="T9" fmla="*/ 33 h 35"/>
                <a:gd name="T10" fmla="*/ 31 w 48"/>
                <a:gd name="T11" fmla="*/ 28 h 35"/>
                <a:gd name="T12" fmla="*/ 39 w 48"/>
                <a:gd name="T13" fmla="*/ 25 h 35"/>
                <a:gd name="T14" fmla="*/ 44 w 48"/>
                <a:gd name="T15" fmla="*/ 23 h 35"/>
                <a:gd name="T16" fmla="*/ 46 w 48"/>
                <a:gd name="T17" fmla="*/ 22 h 35"/>
                <a:gd name="T18" fmla="*/ 47 w 48"/>
                <a:gd name="T19" fmla="*/ 22 h 35"/>
                <a:gd name="T20" fmla="*/ 47 w 48"/>
                <a:gd name="T21" fmla="*/ 22 h 35"/>
                <a:gd name="T22" fmla="*/ 47 w 48"/>
                <a:gd name="T23" fmla="*/ 18 h 35"/>
                <a:gd name="T24" fmla="*/ 46 w 48"/>
                <a:gd name="T25" fmla="*/ 17 h 35"/>
                <a:gd name="T26" fmla="*/ 20 w 48"/>
                <a:gd name="T27" fmla="*/ 1 h 35"/>
                <a:gd name="T28" fmla="*/ 17 w 48"/>
                <a:gd name="T29" fmla="*/ 4 h 35"/>
                <a:gd name="T30" fmla="*/ 40 w 48"/>
                <a:gd name="T31" fmla="*/ 19 h 35"/>
                <a:gd name="T32" fmla="*/ 38 w 48"/>
                <a:gd name="T33" fmla="*/ 20 h 35"/>
                <a:gd name="T34" fmla="*/ 3 w 48"/>
                <a:gd name="T35" fmla="*/ 17 h 35"/>
                <a:gd name="T36" fmla="*/ 3 w 48"/>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5">
                  <a:moveTo>
                    <a:pt x="3" y="22"/>
                  </a:moveTo>
                  <a:cubicBezTo>
                    <a:pt x="5" y="22"/>
                    <a:pt x="21" y="23"/>
                    <a:pt x="32" y="24"/>
                  </a:cubicBezTo>
                  <a:cubicBezTo>
                    <a:pt x="31" y="24"/>
                    <a:pt x="30" y="25"/>
                    <a:pt x="29" y="25"/>
                  </a:cubicBezTo>
                  <a:cubicBezTo>
                    <a:pt x="24" y="28"/>
                    <a:pt x="22" y="31"/>
                    <a:pt x="22" y="31"/>
                  </a:cubicBezTo>
                  <a:cubicBezTo>
                    <a:pt x="21" y="34"/>
                    <a:pt x="21" y="35"/>
                    <a:pt x="23" y="33"/>
                  </a:cubicBezTo>
                  <a:cubicBezTo>
                    <a:pt x="23" y="33"/>
                    <a:pt x="26" y="31"/>
                    <a:pt x="31" y="28"/>
                  </a:cubicBezTo>
                  <a:cubicBezTo>
                    <a:pt x="33" y="27"/>
                    <a:pt x="36" y="26"/>
                    <a:pt x="39" y="25"/>
                  </a:cubicBezTo>
                  <a:cubicBezTo>
                    <a:pt x="40" y="24"/>
                    <a:pt x="42" y="24"/>
                    <a:pt x="44" y="23"/>
                  </a:cubicBezTo>
                  <a:cubicBezTo>
                    <a:pt x="46" y="22"/>
                    <a:pt x="46" y="22"/>
                    <a:pt x="46" y="22"/>
                  </a:cubicBezTo>
                  <a:cubicBezTo>
                    <a:pt x="47" y="22"/>
                    <a:pt x="47" y="22"/>
                    <a:pt x="47" y="22"/>
                  </a:cubicBezTo>
                  <a:cubicBezTo>
                    <a:pt x="47" y="22"/>
                    <a:pt x="47" y="22"/>
                    <a:pt x="47" y="22"/>
                  </a:cubicBezTo>
                  <a:cubicBezTo>
                    <a:pt x="48" y="20"/>
                    <a:pt x="48" y="19"/>
                    <a:pt x="47" y="18"/>
                  </a:cubicBezTo>
                  <a:cubicBezTo>
                    <a:pt x="46" y="17"/>
                    <a:pt x="46" y="17"/>
                    <a:pt x="46" y="17"/>
                  </a:cubicBezTo>
                  <a:cubicBezTo>
                    <a:pt x="33" y="10"/>
                    <a:pt x="21" y="1"/>
                    <a:pt x="20" y="1"/>
                  </a:cubicBezTo>
                  <a:cubicBezTo>
                    <a:pt x="18" y="0"/>
                    <a:pt x="13" y="1"/>
                    <a:pt x="17" y="4"/>
                  </a:cubicBezTo>
                  <a:cubicBezTo>
                    <a:pt x="18" y="6"/>
                    <a:pt x="28" y="14"/>
                    <a:pt x="40" y="19"/>
                  </a:cubicBezTo>
                  <a:cubicBezTo>
                    <a:pt x="39" y="20"/>
                    <a:pt x="39" y="20"/>
                    <a:pt x="38" y="20"/>
                  </a:cubicBezTo>
                  <a:cubicBezTo>
                    <a:pt x="28" y="19"/>
                    <a:pt x="4" y="16"/>
                    <a:pt x="3" y="17"/>
                  </a:cubicBezTo>
                  <a:cubicBezTo>
                    <a:pt x="2" y="18"/>
                    <a:pt x="0" y="21"/>
                    <a:pt x="3" y="22"/>
                  </a:cubicBezTo>
                  <a:close/>
                </a:path>
              </a:pathLst>
            </a:custGeom>
            <a:solidFill>
              <a:srgbClr val="760E12"/>
            </a:solidFill>
            <a:ln>
              <a:noFill/>
            </a:ln>
          </p:spPr>
          <p:txBody>
            <a:bodyPr vert="horz" wrap="square" lIns="91440" tIns="45720" rIns="91440" bIns="45720" numCol="1" anchor="t" anchorCtr="0" compatLnSpc="1">
              <a:prstTxWarp prst="textNoShape">
                <a:avLst/>
              </a:prstTxWarp>
            </a:bodyPr>
            <a:lstStyle/>
            <a:p>
              <a:endParaRPr lang="en-GB" sz="2400"/>
            </a:p>
          </p:txBody>
        </p:sp>
        <p:sp>
          <p:nvSpPr>
            <p:cNvPr id="11" name="Tekstvak 3">
              <a:extLst>
                <a:ext uri="{FF2B5EF4-FFF2-40B4-BE49-F238E27FC236}">
                  <a16:creationId xmlns:a16="http://schemas.microsoft.com/office/drawing/2014/main" id="{BE829BF5-6BCC-6613-DB8F-739170722A3A}"/>
                </a:ext>
              </a:extLst>
            </p:cNvPr>
            <p:cNvSpPr txBox="1"/>
            <p:nvPr userDrawn="1"/>
          </p:nvSpPr>
          <p:spPr>
            <a:xfrm>
              <a:off x="9197146" y="1336749"/>
              <a:ext cx="847606" cy="430695"/>
            </a:xfrm>
            <a:prstGeom prst="rect">
              <a:avLst/>
            </a:prstGeom>
            <a:noFill/>
          </p:spPr>
          <p:txBody>
            <a:bodyPr wrap="square" lIns="0" tIns="0" rIns="0" bIns="0" rtlCol="0">
              <a:spAutoFit/>
            </a:bodyPr>
            <a:lstStyle/>
            <a:p>
              <a:pPr algn="l"/>
              <a:r>
                <a:rPr lang="en-GB" sz="933" b="0"/>
                <a:t>Delete the stamps</a:t>
              </a:r>
              <a:br>
                <a:rPr lang="en-GB" sz="933" b="0"/>
              </a:br>
              <a:r>
                <a:rPr lang="en-GB" sz="933" b="0"/>
                <a:t>you don’t use and align the correct one on top.</a:t>
              </a:r>
            </a:p>
          </p:txBody>
        </p:sp>
      </p:grpSp>
    </p:spTree>
    <p:extLst>
      <p:ext uri="{BB962C8B-B14F-4D97-AF65-F5344CB8AC3E}">
        <p14:creationId xmlns:p14="http://schemas.microsoft.com/office/powerpoint/2010/main" val="3335617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3">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Title, object, image left - 1">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1E6EE77D-C38E-2716-B19D-1C29450E9556}"/>
              </a:ext>
            </a:extLst>
          </p:cNvPr>
          <p:cNvSpPr>
            <a:spLocks noGrp="1"/>
          </p:cNvSpPr>
          <p:nvPr>
            <p:ph type="pic" sz="quarter" idx="14"/>
          </p:nvPr>
        </p:nvSpPr>
        <p:spPr>
          <a:xfrm>
            <a:off x="580293" y="1701802"/>
            <a:ext cx="2889739" cy="4366684"/>
          </a:xfrm>
          <a:prstGeom prst="roundRect">
            <a:avLst>
              <a:gd name="adj" fmla="val 9038"/>
            </a:avLst>
          </a:prstGeom>
          <a:solidFill>
            <a:schemeClr val="tx1">
              <a:lumMod val="20000"/>
              <a:lumOff val="80000"/>
            </a:schemeClr>
          </a:solidFill>
        </p:spPr>
        <p:txBody>
          <a:bodyPr wrap="square" tIns="396000">
            <a:noAutofit/>
          </a:bodyPr>
          <a:lstStyle>
            <a:lvl1pPr marL="0" indent="0" algn="ctr">
              <a:buNone/>
              <a:defRPr/>
            </a:lvl1pPr>
          </a:lstStyle>
          <a:p>
            <a:r>
              <a:rPr lang="en-US"/>
              <a:t>Click icon to add picture</a:t>
            </a:r>
            <a:endParaRPr lang="en-GB"/>
          </a:p>
        </p:txBody>
      </p:sp>
      <p:sp>
        <p:nvSpPr>
          <p:cNvPr id="2" name="Title 1"/>
          <p:cNvSpPr>
            <a:spLocks noGrp="1"/>
          </p:cNvSpPr>
          <p:nvPr>
            <p:ph type="title" hasCustomPrompt="1"/>
          </p:nvPr>
        </p:nvSpPr>
        <p:spPr>
          <a:xfrm>
            <a:off x="580293" y="548219"/>
            <a:ext cx="11035975" cy="1036965"/>
          </a:xfrm>
        </p:spPr>
        <p:txBody>
          <a:bodyPr/>
          <a:lstStyle/>
          <a:p>
            <a:r>
              <a:rPr lang="en-GB"/>
              <a:t>Click to add title</a:t>
            </a:r>
          </a:p>
        </p:txBody>
      </p:sp>
      <p:sp>
        <p:nvSpPr>
          <p:cNvPr id="3" name="Content Placeholder 2"/>
          <p:cNvSpPr>
            <a:spLocks noGrp="1"/>
          </p:cNvSpPr>
          <p:nvPr>
            <p:ph idx="1" hasCustomPrompt="1"/>
          </p:nvPr>
        </p:nvSpPr>
        <p:spPr>
          <a:xfrm>
            <a:off x="3727941" y="1701802"/>
            <a:ext cx="7888327" cy="4366684"/>
          </a:xfrm>
        </p:spPr>
        <p:txBody>
          <a:bodyPr/>
          <a:lstStyle>
            <a:lvl1pPr>
              <a:defRPr/>
            </a:lvl1pPr>
          </a:lstStyle>
          <a:p>
            <a:pPr lvl="0"/>
            <a:r>
              <a:rPr lang="en-GB"/>
              <a:t>Click to add text or object</a:t>
            </a:r>
          </a:p>
          <a:p>
            <a:pPr lvl="1"/>
            <a:r>
              <a:rPr lang="en-GB"/>
              <a:t>Text level 2</a:t>
            </a:r>
          </a:p>
          <a:p>
            <a:pPr lvl="2"/>
            <a:r>
              <a:rPr lang="en-GB"/>
              <a:t>Text level 3</a:t>
            </a:r>
          </a:p>
          <a:p>
            <a:pPr lvl="3"/>
            <a:r>
              <a:rPr lang="en-GB"/>
              <a:t>Text level 4</a:t>
            </a:r>
          </a:p>
          <a:p>
            <a:pPr lvl="4"/>
            <a:r>
              <a:rPr lang="en-GB"/>
              <a:t>Text level 5</a:t>
            </a:r>
          </a:p>
        </p:txBody>
      </p:sp>
      <p:sp>
        <p:nvSpPr>
          <p:cNvPr id="4" name="Date Placeholder 3"/>
          <p:cNvSpPr>
            <a:spLocks noGrp="1"/>
          </p:cNvSpPr>
          <p:nvPr>
            <p:ph type="dt" sz="half" idx="10"/>
          </p:nvPr>
        </p:nvSpPr>
        <p:spPr>
          <a:xfrm>
            <a:off x="10183135" y="6491400"/>
            <a:ext cx="512962" cy="102657"/>
          </a:xfrm>
        </p:spPr>
        <p:txBody>
          <a:bodyPr/>
          <a:lstStyle/>
          <a:p>
            <a:fld id="{8A785BAD-D9B7-45DC-A953-6739BCA62A11}" type="datetime1">
              <a:rPr lang="en-GB" smtClean="0"/>
              <a:t>18/04/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Tree>
    <p:extLst>
      <p:ext uri="{BB962C8B-B14F-4D97-AF65-F5344CB8AC3E}">
        <p14:creationId xmlns:p14="http://schemas.microsoft.com/office/powerpoint/2010/main" val="16300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le, object, image left - 2">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0F3BB73-0084-8DDE-2F79-82C947E633D0}"/>
              </a:ext>
            </a:extLst>
          </p:cNvPr>
          <p:cNvSpPr>
            <a:spLocks noGrp="1"/>
          </p:cNvSpPr>
          <p:nvPr>
            <p:ph type="pic" sz="quarter" idx="14"/>
          </p:nvPr>
        </p:nvSpPr>
        <p:spPr>
          <a:xfrm>
            <a:off x="580291" y="1701802"/>
            <a:ext cx="5515708" cy="4366684"/>
          </a:xfrm>
          <a:prstGeom prst="roundRect">
            <a:avLst>
              <a:gd name="adj" fmla="val 5981"/>
            </a:avLst>
          </a:prstGeom>
          <a:solidFill>
            <a:schemeClr val="tx1">
              <a:lumMod val="20000"/>
              <a:lumOff val="80000"/>
            </a:schemeClr>
          </a:solidFill>
        </p:spPr>
        <p:txBody>
          <a:bodyPr wrap="square" tIns="396000">
            <a:noAutofit/>
          </a:bodyPr>
          <a:lstStyle>
            <a:lvl1pPr marL="0" indent="0" algn="ctr">
              <a:buNone/>
              <a:defRPr/>
            </a:lvl1pPr>
          </a:lstStyle>
          <a:p>
            <a:r>
              <a:rPr lang="en-US"/>
              <a:t>Click icon to add picture</a:t>
            </a:r>
            <a:endParaRPr lang="en-GB"/>
          </a:p>
        </p:txBody>
      </p:sp>
      <p:sp>
        <p:nvSpPr>
          <p:cNvPr id="2" name="Title 1"/>
          <p:cNvSpPr>
            <a:spLocks noGrp="1"/>
          </p:cNvSpPr>
          <p:nvPr>
            <p:ph type="title" hasCustomPrompt="1"/>
          </p:nvPr>
        </p:nvSpPr>
        <p:spPr>
          <a:xfrm>
            <a:off x="580293" y="548219"/>
            <a:ext cx="11035975" cy="1036965"/>
          </a:xfrm>
        </p:spPr>
        <p:txBody>
          <a:bodyPr/>
          <a:lstStyle/>
          <a:p>
            <a:r>
              <a:rPr lang="en-GB"/>
              <a:t>Click to add title</a:t>
            </a:r>
          </a:p>
        </p:txBody>
      </p:sp>
      <p:sp>
        <p:nvSpPr>
          <p:cNvPr id="3" name="Content Placeholder 2"/>
          <p:cNvSpPr>
            <a:spLocks noGrp="1"/>
          </p:cNvSpPr>
          <p:nvPr>
            <p:ph idx="1" hasCustomPrompt="1"/>
          </p:nvPr>
        </p:nvSpPr>
        <p:spPr>
          <a:xfrm>
            <a:off x="6358463" y="1701802"/>
            <a:ext cx="5257804" cy="4366684"/>
          </a:xfrm>
        </p:spPr>
        <p:txBody>
          <a:bodyPr/>
          <a:lstStyle/>
          <a:p>
            <a:pPr lvl="0"/>
            <a:r>
              <a:rPr lang="en-GB"/>
              <a:t>Click to add text or object</a:t>
            </a:r>
          </a:p>
          <a:p>
            <a:pPr lvl="1"/>
            <a:r>
              <a:rPr lang="en-GB"/>
              <a:t>Text level 2</a:t>
            </a:r>
          </a:p>
          <a:p>
            <a:pPr lvl="2"/>
            <a:r>
              <a:rPr lang="en-GB"/>
              <a:t>Text level 3</a:t>
            </a:r>
          </a:p>
          <a:p>
            <a:pPr lvl="3"/>
            <a:r>
              <a:rPr lang="en-GB"/>
              <a:t>Text level 4</a:t>
            </a:r>
          </a:p>
          <a:p>
            <a:pPr lvl="4"/>
            <a:r>
              <a:rPr lang="en-GB"/>
              <a:t>Text level 5</a:t>
            </a:r>
          </a:p>
        </p:txBody>
      </p:sp>
      <p:sp>
        <p:nvSpPr>
          <p:cNvPr id="4" name="Date Placeholder 3"/>
          <p:cNvSpPr>
            <a:spLocks noGrp="1"/>
          </p:cNvSpPr>
          <p:nvPr>
            <p:ph type="dt" sz="half" idx="10"/>
          </p:nvPr>
        </p:nvSpPr>
        <p:spPr>
          <a:xfrm>
            <a:off x="10183135" y="6491400"/>
            <a:ext cx="512962" cy="102657"/>
          </a:xfrm>
        </p:spPr>
        <p:txBody>
          <a:bodyPr/>
          <a:lstStyle/>
          <a:p>
            <a:fld id="{8FFB140B-E5D8-4629-A618-BAD679CF2652}" type="datetime1">
              <a:rPr lang="en-GB" smtClean="0"/>
              <a:t>18/04/2025</a:t>
            </a:fld>
            <a:endParaRPr lang="en-GB"/>
          </a:p>
        </p:txBody>
      </p:sp>
      <p:sp>
        <p:nvSpPr>
          <p:cNvPr id="5" name="Footer Placeholder 4"/>
          <p:cNvSpPr>
            <a:spLocks noGrp="1"/>
          </p:cNvSpPr>
          <p:nvPr>
            <p:ph type="ftr" sz="quarter" idx="11"/>
          </p:nvPr>
        </p:nvSpPr>
        <p:spPr/>
        <p:txBody>
          <a:bodyPr/>
          <a:lstStyle/>
          <a:p>
            <a:r>
              <a:rPr lang="en-GB"/>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a:p>
        </p:txBody>
      </p:sp>
    </p:spTree>
    <p:extLst>
      <p:ext uri="{BB962C8B-B14F-4D97-AF65-F5344CB8AC3E}">
        <p14:creationId xmlns:p14="http://schemas.microsoft.com/office/powerpoint/2010/main" val="1742535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30" Type="http://schemas.openxmlformats.org/officeDocument/2006/relationships/slideLayout" Target="../slideLayouts/slideLayout30.xml"/><Relationship Id="rId31" Type="http://schemas.openxmlformats.org/officeDocument/2006/relationships/slideLayout" Target="../slideLayouts/slideLayout31.xml"/><Relationship Id="rId32" Type="http://schemas.openxmlformats.org/officeDocument/2006/relationships/slideLayout" Target="../slideLayouts/slideLayout32.xml"/><Relationship Id="rId33" Type="http://schemas.openxmlformats.org/officeDocument/2006/relationships/slideLayout" Target="../slideLayouts/slideLayout33.xml"/><Relationship Id="rId34" Type="http://schemas.openxmlformats.org/officeDocument/2006/relationships/slideLayout" Target="../slideLayouts/slideLayout34.xml"/><Relationship Id="rId35" Type="http://schemas.openxmlformats.org/officeDocument/2006/relationships/theme" Target="../theme/theme1.xml"/><Relationship Id="rId36" Type="http://schemas.openxmlformats.org/officeDocument/2006/relationships/tags" Target="../tags/tag2.xml"/><Relationship Id="rId37" Type="http://schemas.openxmlformats.org/officeDocument/2006/relationships/tags" Target="../tags/tag3.xml"/><Relationship Id="rId38" Type="http://schemas.openxmlformats.org/officeDocument/2006/relationships/oleObject" Target="../embeddings/oleObject1.bin"/><Relationship Id="rId39" Type="http://schemas.openxmlformats.org/officeDocument/2006/relationships/image" Target="../media/image1.emf"/><Relationship Id="rId40"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1" Type="http://schemas.openxmlformats.org/officeDocument/2006/relationships/slideLayout" Target="../slideLayouts/slideLayout348.xml"/><Relationship Id="rId2" Type="http://schemas.openxmlformats.org/officeDocument/2006/relationships/slideLayout" Target="../slideLayouts/slideLayout349.xml"/><Relationship Id="rId3" Type="http://schemas.openxmlformats.org/officeDocument/2006/relationships/slideLayout" Target="../slideLayouts/slideLayout350.xml"/><Relationship Id="rId4" Type="http://schemas.openxmlformats.org/officeDocument/2006/relationships/slideLayout" Target="../slideLayouts/slideLayout351.xml"/><Relationship Id="rId5" Type="http://schemas.openxmlformats.org/officeDocument/2006/relationships/slideLayout" Target="../slideLayouts/slideLayout352.xml"/><Relationship Id="rId6" Type="http://schemas.openxmlformats.org/officeDocument/2006/relationships/slideLayout" Target="../slideLayouts/slideLayout353.xml"/><Relationship Id="rId7" Type="http://schemas.openxmlformats.org/officeDocument/2006/relationships/slideLayout" Target="../slideLayouts/slideLayout354.xml"/><Relationship Id="rId8" Type="http://schemas.openxmlformats.org/officeDocument/2006/relationships/slideLayout" Target="../slideLayouts/slideLayout355.xml"/><Relationship Id="rId9" Type="http://schemas.openxmlformats.org/officeDocument/2006/relationships/slideLayout" Target="../slideLayouts/slideLayout356.xml"/><Relationship Id="rId10" Type="http://schemas.openxmlformats.org/officeDocument/2006/relationships/slideLayout" Target="../slideLayouts/slideLayout357.xml"/><Relationship Id="rId11" Type="http://schemas.openxmlformats.org/officeDocument/2006/relationships/slideLayout" Target="../slideLayouts/slideLayout358.xml"/><Relationship Id="rId12" Type="http://schemas.openxmlformats.org/officeDocument/2006/relationships/slideLayout" Target="../slideLayouts/slideLayout359.xml"/><Relationship Id="rId13" Type="http://schemas.openxmlformats.org/officeDocument/2006/relationships/slideLayout" Target="../slideLayouts/slideLayout360.xml"/><Relationship Id="rId14" Type="http://schemas.openxmlformats.org/officeDocument/2006/relationships/slideLayout" Target="../slideLayouts/slideLayout361.xml"/><Relationship Id="rId15" Type="http://schemas.openxmlformats.org/officeDocument/2006/relationships/slideLayout" Target="../slideLayouts/slideLayout362.xml"/><Relationship Id="rId16" Type="http://schemas.openxmlformats.org/officeDocument/2006/relationships/slideLayout" Target="../slideLayouts/slideLayout363.xml"/><Relationship Id="rId17" Type="http://schemas.openxmlformats.org/officeDocument/2006/relationships/slideLayout" Target="../slideLayouts/slideLayout364.xml"/><Relationship Id="rId18" Type="http://schemas.openxmlformats.org/officeDocument/2006/relationships/slideLayout" Target="../slideLayouts/slideLayout365.xml"/><Relationship Id="rId19" Type="http://schemas.openxmlformats.org/officeDocument/2006/relationships/slideLayout" Target="../slideLayouts/slideLayout366.xml"/><Relationship Id="rId20" Type="http://schemas.openxmlformats.org/officeDocument/2006/relationships/slideLayout" Target="../slideLayouts/slideLayout367.xml"/><Relationship Id="rId21" Type="http://schemas.openxmlformats.org/officeDocument/2006/relationships/theme" Target="../theme/theme10.xml"/><Relationship Id="rId22" Type="http://schemas.openxmlformats.org/officeDocument/2006/relationships/tags" Target="../tags/tag340.xml"/><Relationship Id="rId23" Type="http://schemas.openxmlformats.org/officeDocument/2006/relationships/oleObject" Target="../embeddings/oleObject48.bin"/><Relationship Id="rId24" Type="http://schemas.openxmlformats.org/officeDocument/2006/relationships/image" Target="../media/image66.emf"/><Relationship Id="rId25" Type="http://schemas.openxmlformats.org/officeDocument/2006/relationships/image" Target="../media/image103.png"/><Relationship Id="rId26" Type="http://schemas.openxmlformats.org/officeDocument/2006/relationships/image" Target="../media/image104.svg"/></Relationships>
</file>

<file path=ppt/slideMasters/_rels/slideMaster11.xml.rels><?xml version='1.0' encoding='UTF-8' standalone='yes'?>
<Relationships xmlns="http://schemas.openxmlformats.org/package/2006/relationships"><Relationship Id="rId1" Type="http://schemas.openxmlformats.org/officeDocument/2006/relationships/slideLayout" Target="../slideLayouts/slideLayout368.xml"/><Relationship Id="rId2" Type="http://schemas.openxmlformats.org/officeDocument/2006/relationships/slideLayout" Target="../slideLayouts/slideLayout369.xml"/><Relationship Id="rId3" Type="http://schemas.openxmlformats.org/officeDocument/2006/relationships/slideLayout" Target="../slideLayouts/slideLayout370.xml"/><Relationship Id="rId4" Type="http://schemas.openxmlformats.org/officeDocument/2006/relationships/slideLayout" Target="../slideLayouts/slideLayout371.xml"/><Relationship Id="rId5" Type="http://schemas.openxmlformats.org/officeDocument/2006/relationships/slideLayout" Target="../slideLayouts/slideLayout372.xml"/><Relationship Id="rId6" Type="http://schemas.openxmlformats.org/officeDocument/2006/relationships/slideLayout" Target="../slideLayouts/slideLayout373.xml"/><Relationship Id="rId7" Type="http://schemas.openxmlformats.org/officeDocument/2006/relationships/slideLayout" Target="../slideLayouts/slideLayout374.xml"/><Relationship Id="rId8" Type="http://schemas.openxmlformats.org/officeDocument/2006/relationships/slideLayout" Target="../slideLayouts/slideLayout375.xml"/><Relationship Id="rId9" Type="http://schemas.openxmlformats.org/officeDocument/2006/relationships/slideLayout" Target="../slideLayouts/slideLayout376.xml"/><Relationship Id="rId10" Type="http://schemas.openxmlformats.org/officeDocument/2006/relationships/slideLayout" Target="../slideLayouts/slideLayout377.xml"/><Relationship Id="rId11" Type="http://schemas.openxmlformats.org/officeDocument/2006/relationships/slideLayout" Target="../slideLayouts/slideLayout378.xml"/><Relationship Id="rId12" Type="http://schemas.openxmlformats.org/officeDocument/2006/relationships/slideLayout" Target="../slideLayouts/slideLayout379.xml"/><Relationship Id="rId13" Type="http://schemas.openxmlformats.org/officeDocument/2006/relationships/slideLayout" Target="../slideLayouts/slideLayout380.xml"/><Relationship Id="rId14" Type="http://schemas.openxmlformats.org/officeDocument/2006/relationships/slideLayout" Target="../slideLayouts/slideLayout381.xml"/><Relationship Id="rId15" Type="http://schemas.openxmlformats.org/officeDocument/2006/relationships/slideLayout" Target="../slideLayouts/slideLayout382.xml"/><Relationship Id="rId16" Type="http://schemas.openxmlformats.org/officeDocument/2006/relationships/slideLayout" Target="../slideLayouts/slideLayout383.xml"/><Relationship Id="rId17" Type="http://schemas.openxmlformats.org/officeDocument/2006/relationships/slideLayout" Target="../slideLayouts/slideLayout384.xml"/><Relationship Id="rId18" Type="http://schemas.openxmlformats.org/officeDocument/2006/relationships/slideLayout" Target="../slideLayouts/slideLayout385.xml"/><Relationship Id="rId19" Type="http://schemas.openxmlformats.org/officeDocument/2006/relationships/slideLayout" Target="../slideLayouts/slideLayout386.xml"/><Relationship Id="rId20" Type="http://schemas.openxmlformats.org/officeDocument/2006/relationships/slideLayout" Target="../slideLayouts/slideLayout387.xml"/><Relationship Id="rId21" Type="http://schemas.openxmlformats.org/officeDocument/2006/relationships/slideLayout" Target="../slideLayouts/slideLayout388.xml"/><Relationship Id="rId22" Type="http://schemas.openxmlformats.org/officeDocument/2006/relationships/slideLayout" Target="../slideLayouts/slideLayout389.xml"/><Relationship Id="rId23" Type="http://schemas.openxmlformats.org/officeDocument/2006/relationships/slideLayout" Target="../slideLayouts/slideLayout390.xml"/><Relationship Id="rId24" Type="http://schemas.openxmlformats.org/officeDocument/2006/relationships/slideLayout" Target="../slideLayouts/slideLayout391.xml"/><Relationship Id="rId25" Type="http://schemas.openxmlformats.org/officeDocument/2006/relationships/slideLayout" Target="../slideLayouts/slideLayout392.xml"/><Relationship Id="rId26" Type="http://schemas.openxmlformats.org/officeDocument/2006/relationships/slideLayout" Target="../slideLayouts/slideLayout393.xml"/><Relationship Id="rId27" Type="http://schemas.openxmlformats.org/officeDocument/2006/relationships/slideLayout" Target="../slideLayouts/slideLayout394.xml"/><Relationship Id="rId28" Type="http://schemas.openxmlformats.org/officeDocument/2006/relationships/slideLayout" Target="../slideLayouts/slideLayout395.xml"/><Relationship Id="rId29" Type="http://schemas.openxmlformats.org/officeDocument/2006/relationships/slideLayout" Target="../slideLayouts/slideLayout396.xml"/><Relationship Id="rId30" Type="http://schemas.openxmlformats.org/officeDocument/2006/relationships/slideLayout" Target="../slideLayouts/slideLayout397.xml"/><Relationship Id="rId31" Type="http://schemas.openxmlformats.org/officeDocument/2006/relationships/slideLayout" Target="../slideLayouts/slideLayout398.xml"/><Relationship Id="rId32" Type="http://schemas.openxmlformats.org/officeDocument/2006/relationships/slideLayout" Target="../slideLayouts/slideLayout399.xml"/><Relationship Id="rId33" Type="http://schemas.openxmlformats.org/officeDocument/2006/relationships/slideLayout" Target="../slideLayouts/slideLayout400.xml"/><Relationship Id="rId34" Type="http://schemas.openxmlformats.org/officeDocument/2006/relationships/slideLayout" Target="../slideLayouts/slideLayout401.xml"/><Relationship Id="rId35" Type="http://schemas.openxmlformats.org/officeDocument/2006/relationships/slideLayout" Target="../slideLayouts/slideLayout402.xml"/><Relationship Id="rId36" Type="http://schemas.openxmlformats.org/officeDocument/2006/relationships/slideLayout" Target="../slideLayouts/slideLayout403.xml"/><Relationship Id="rId37" Type="http://schemas.openxmlformats.org/officeDocument/2006/relationships/slideLayout" Target="../slideLayouts/slideLayout404.xml"/><Relationship Id="rId38" Type="http://schemas.openxmlformats.org/officeDocument/2006/relationships/slideLayout" Target="../slideLayouts/slideLayout405.xml"/><Relationship Id="rId39" Type="http://schemas.openxmlformats.org/officeDocument/2006/relationships/slideLayout" Target="../slideLayouts/slideLayout406.xml"/><Relationship Id="rId40" Type="http://schemas.openxmlformats.org/officeDocument/2006/relationships/slideLayout" Target="../slideLayouts/slideLayout407.xml"/><Relationship Id="rId41" Type="http://schemas.openxmlformats.org/officeDocument/2006/relationships/slideLayout" Target="../slideLayouts/slideLayout408.xml"/><Relationship Id="rId42" Type="http://schemas.openxmlformats.org/officeDocument/2006/relationships/slideLayout" Target="../slideLayouts/slideLayout409.xml"/><Relationship Id="rId43" Type="http://schemas.openxmlformats.org/officeDocument/2006/relationships/theme" Target="../theme/theme11.xml"/><Relationship Id="rId44" Type="http://schemas.openxmlformats.org/officeDocument/2006/relationships/tags" Target="../tags/tag341.xml"/><Relationship Id="rId45" Type="http://schemas.openxmlformats.org/officeDocument/2006/relationships/tags" Target="../tags/tag342.xml"/><Relationship Id="rId46" Type="http://schemas.openxmlformats.org/officeDocument/2006/relationships/oleObject" Target="../embeddings/oleObject49.bin"/><Relationship Id="rId47" Type="http://schemas.openxmlformats.org/officeDocument/2006/relationships/image" Target="../media/image66.emf"/><Relationship Id="rId48" Type="http://schemas.openxmlformats.org/officeDocument/2006/relationships/image" Target="../media/image107.png"/></Relationships>
</file>

<file path=ppt/slideMasters/_rels/slideMaster12.xml.rels><?xml version='1.0' encoding='UTF-8' standalone='yes'?>
<Relationships xmlns="http://schemas.openxmlformats.org/package/2006/relationships"><Relationship Id="rId1" Type="http://schemas.openxmlformats.org/officeDocument/2006/relationships/slideLayout" Target="../slideLayouts/slideLayout410.xml"/><Relationship Id="rId2" Type="http://schemas.openxmlformats.org/officeDocument/2006/relationships/slideLayout" Target="../slideLayouts/slideLayout411.xml"/><Relationship Id="rId3" Type="http://schemas.openxmlformats.org/officeDocument/2006/relationships/slideLayout" Target="../slideLayouts/slideLayout412.xml"/><Relationship Id="rId4" Type="http://schemas.openxmlformats.org/officeDocument/2006/relationships/slideLayout" Target="../slideLayouts/slideLayout413.xml"/><Relationship Id="rId5" Type="http://schemas.openxmlformats.org/officeDocument/2006/relationships/slideLayout" Target="../slideLayouts/slideLayout414.xml"/><Relationship Id="rId6" Type="http://schemas.openxmlformats.org/officeDocument/2006/relationships/slideLayout" Target="../slideLayouts/slideLayout415.xml"/><Relationship Id="rId7" Type="http://schemas.openxmlformats.org/officeDocument/2006/relationships/slideLayout" Target="../slideLayouts/slideLayout416.xml"/><Relationship Id="rId8" Type="http://schemas.openxmlformats.org/officeDocument/2006/relationships/slideLayout" Target="../slideLayouts/slideLayout417.xml"/><Relationship Id="rId9" Type="http://schemas.openxmlformats.org/officeDocument/2006/relationships/slideLayout" Target="../slideLayouts/slideLayout418.xml"/><Relationship Id="rId10" Type="http://schemas.openxmlformats.org/officeDocument/2006/relationships/slideLayout" Target="../slideLayouts/slideLayout419.xml"/><Relationship Id="rId11" Type="http://schemas.openxmlformats.org/officeDocument/2006/relationships/slideLayout" Target="../slideLayouts/slideLayout420.xml"/><Relationship Id="rId12" Type="http://schemas.openxmlformats.org/officeDocument/2006/relationships/slideLayout" Target="../slideLayouts/slideLayout421.xml"/><Relationship Id="rId13" Type="http://schemas.openxmlformats.org/officeDocument/2006/relationships/slideLayout" Target="../slideLayouts/slideLayout422.xml"/><Relationship Id="rId14" Type="http://schemas.openxmlformats.org/officeDocument/2006/relationships/slideLayout" Target="../slideLayouts/slideLayout423.xml"/><Relationship Id="rId15" Type="http://schemas.openxmlformats.org/officeDocument/2006/relationships/slideLayout" Target="../slideLayouts/slideLayout424.xml"/><Relationship Id="rId16" Type="http://schemas.openxmlformats.org/officeDocument/2006/relationships/slideLayout" Target="../slideLayouts/slideLayout425.xml"/><Relationship Id="rId17" Type="http://schemas.openxmlformats.org/officeDocument/2006/relationships/slideLayout" Target="../slideLayouts/slideLayout426.xml"/><Relationship Id="rId18" Type="http://schemas.openxmlformats.org/officeDocument/2006/relationships/slideLayout" Target="../slideLayouts/slideLayout427.xml"/><Relationship Id="rId19" Type="http://schemas.openxmlformats.org/officeDocument/2006/relationships/slideLayout" Target="../slideLayouts/slideLayout428.xml"/><Relationship Id="rId20" Type="http://schemas.openxmlformats.org/officeDocument/2006/relationships/slideLayout" Target="../slideLayouts/slideLayout429.xml"/><Relationship Id="rId21" Type="http://schemas.openxmlformats.org/officeDocument/2006/relationships/slideLayout" Target="../slideLayouts/slideLayout430.xml"/><Relationship Id="rId22" Type="http://schemas.openxmlformats.org/officeDocument/2006/relationships/slideLayout" Target="../slideLayouts/slideLayout431.xml"/><Relationship Id="rId23" Type="http://schemas.openxmlformats.org/officeDocument/2006/relationships/slideLayout" Target="../slideLayouts/slideLayout432.xml"/><Relationship Id="rId24" Type="http://schemas.openxmlformats.org/officeDocument/2006/relationships/slideLayout" Target="../slideLayouts/slideLayout433.xml"/><Relationship Id="rId25" Type="http://schemas.openxmlformats.org/officeDocument/2006/relationships/slideLayout" Target="../slideLayouts/slideLayout434.xml"/><Relationship Id="rId26" Type="http://schemas.openxmlformats.org/officeDocument/2006/relationships/slideLayout" Target="../slideLayouts/slideLayout435.xml"/><Relationship Id="rId27" Type="http://schemas.openxmlformats.org/officeDocument/2006/relationships/slideLayout" Target="../slideLayouts/slideLayout436.xml"/><Relationship Id="rId28" Type="http://schemas.openxmlformats.org/officeDocument/2006/relationships/slideLayout" Target="../slideLayouts/slideLayout437.xml"/><Relationship Id="rId29" Type="http://schemas.openxmlformats.org/officeDocument/2006/relationships/slideLayout" Target="../slideLayouts/slideLayout438.xml"/><Relationship Id="rId30" Type="http://schemas.openxmlformats.org/officeDocument/2006/relationships/slideLayout" Target="../slideLayouts/slideLayout439.xml"/><Relationship Id="rId31" Type="http://schemas.openxmlformats.org/officeDocument/2006/relationships/slideLayout" Target="../slideLayouts/slideLayout440.xml"/><Relationship Id="rId32" Type="http://schemas.openxmlformats.org/officeDocument/2006/relationships/slideLayout" Target="../slideLayouts/slideLayout441.xml"/><Relationship Id="rId33" Type="http://schemas.openxmlformats.org/officeDocument/2006/relationships/slideLayout" Target="../slideLayouts/slideLayout442.xml"/><Relationship Id="rId34" Type="http://schemas.openxmlformats.org/officeDocument/2006/relationships/slideLayout" Target="../slideLayouts/slideLayout443.xml"/><Relationship Id="rId35" Type="http://schemas.openxmlformats.org/officeDocument/2006/relationships/slideLayout" Target="../slideLayouts/slideLayout444.xml"/><Relationship Id="rId36" Type="http://schemas.openxmlformats.org/officeDocument/2006/relationships/slideLayout" Target="../slideLayouts/slideLayout445.xml"/><Relationship Id="rId37" Type="http://schemas.openxmlformats.org/officeDocument/2006/relationships/slideLayout" Target="../slideLayouts/slideLayout446.xml"/><Relationship Id="rId38" Type="http://schemas.openxmlformats.org/officeDocument/2006/relationships/slideLayout" Target="../slideLayouts/slideLayout447.xml"/><Relationship Id="rId39" Type="http://schemas.openxmlformats.org/officeDocument/2006/relationships/slideLayout" Target="../slideLayouts/slideLayout448.xml"/><Relationship Id="rId40" Type="http://schemas.openxmlformats.org/officeDocument/2006/relationships/slideLayout" Target="../slideLayouts/slideLayout449.xml"/><Relationship Id="rId41" Type="http://schemas.openxmlformats.org/officeDocument/2006/relationships/slideLayout" Target="../slideLayouts/slideLayout450.xml"/><Relationship Id="rId42" Type="http://schemas.openxmlformats.org/officeDocument/2006/relationships/theme" Target="../theme/theme12.xml"/><Relationship Id="rId43" Type="http://schemas.openxmlformats.org/officeDocument/2006/relationships/tags" Target="../tags/tag343.xml"/><Relationship Id="rId44" Type="http://schemas.openxmlformats.org/officeDocument/2006/relationships/tags" Target="../tags/tag344.xml"/><Relationship Id="rId45" Type="http://schemas.openxmlformats.org/officeDocument/2006/relationships/oleObject" Target="../embeddings/oleObject50.bin"/><Relationship Id="rId46" Type="http://schemas.openxmlformats.org/officeDocument/2006/relationships/image" Target="../media/image66.emf"/><Relationship Id="rId47" Type="http://schemas.openxmlformats.org/officeDocument/2006/relationships/image" Target="../media/image132.png"/></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slideLayout" Target="../slideLayouts/slideLayout36.xml"/><Relationship Id="rId3" Type="http://schemas.openxmlformats.org/officeDocument/2006/relationships/slideLayout" Target="../slideLayouts/slideLayout37.xml"/><Relationship Id="rId4" Type="http://schemas.openxmlformats.org/officeDocument/2006/relationships/slideLayout" Target="../slideLayouts/slideLayout38.xml"/><Relationship Id="rId5" Type="http://schemas.openxmlformats.org/officeDocument/2006/relationships/slideLayout" Target="../slideLayouts/slideLayout39.xml"/><Relationship Id="rId6" Type="http://schemas.openxmlformats.org/officeDocument/2006/relationships/slideLayout" Target="../slideLayouts/slideLayout40.xml"/><Relationship Id="rId7" Type="http://schemas.openxmlformats.org/officeDocument/2006/relationships/slideLayout" Target="../slideLayouts/slideLayout41.xml"/><Relationship Id="rId8" Type="http://schemas.openxmlformats.org/officeDocument/2006/relationships/slideLayout" Target="../slideLayouts/slideLayout42.xml"/><Relationship Id="rId9" Type="http://schemas.openxmlformats.org/officeDocument/2006/relationships/slideLayout" Target="../slideLayouts/slideLayout43.xml"/><Relationship Id="rId10" Type="http://schemas.openxmlformats.org/officeDocument/2006/relationships/slideLayout" Target="../slideLayouts/slideLayout44.xml"/><Relationship Id="rId11" Type="http://schemas.openxmlformats.org/officeDocument/2006/relationships/slideLayout" Target="../slideLayouts/slideLayout45.xml"/><Relationship Id="rId12" Type="http://schemas.openxmlformats.org/officeDocument/2006/relationships/slideLayout" Target="../slideLayouts/slideLayout46.xml"/><Relationship Id="rId13" Type="http://schemas.openxmlformats.org/officeDocument/2006/relationships/slideLayout" Target="../slideLayouts/slideLayout47.xml"/><Relationship Id="rId14" Type="http://schemas.openxmlformats.org/officeDocument/2006/relationships/slideLayout" Target="../slideLayouts/slideLayout48.xml"/><Relationship Id="rId15" Type="http://schemas.openxmlformats.org/officeDocument/2006/relationships/slideLayout" Target="../slideLayouts/slideLayout49.xml"/><Relationship Id="rId16" Type="http://schemas.openxmlformats.org/officeDocument/2006/relationships/slideLayout" Target="../slideLayouts/slideLayout50.xml"/><Relationship Id="rId17" Type="http://schemas.openxmlformats.org/officeDocument/2006/relationships/slideLayout" Target="../slideLayouts/slideLayout51.xml"/><Relationship Id="rId18" Type="http://schemas.openxmlformats.org/officeDocument/2006/relationships/slideLayout" Target="../slideLayouts/slideLayout52.xml"/><Relationship Id="rId19" Type="http://schemas.openxmlformats.org/officeDocument/2006/relationships/slideLayout" Target="../slideLayouts/slideLayout53.xml"/><Relationship Id="rId20" Type="http://schemas.openxmlformats.org/officeDocument/2006/relationships/slideLayout" Target="../slideLayouts/slideLayout54.xml"/><Relationship Id="rId21" Type="http://schemas.openxmlformats.org/officeDocument/2006/relationships/slideLayout" Target="../slideLayouts/slideLayout55.xml"/><Relationship Id="rId22" Type="http://schemas.openxmlformats.org/officeDocument/2006/relationships/slideLayout" Target="../slideLayouts/slideLayout56.xml"/><Relationship Id="rId23" Type="http://schemas.openxmlformats.org/officeDocument/2006/relationships/slideLayout" Target="../slideLayouts/slideLayout57.xml"/><Relationship Id="rId24" Type="http://schemas.openxmlformats.org/officeDocument/2006/relationships/slideLayout" Target="../slideLayouts/slideLayout58.xml"/><Relationship Id="rId25" Type="http://schemas.openxmlformats.org/officeDocument/2006/relationships/slideLayout" Target="../slideLayouts/slideLayout59.xml"/><Relationship Id="rId26" Type="http://schemas.openxmlformats.org/officeDocument/2006/relationships/slideLayout" Target="../slideLayouts/slideLayout60.xml"/><Relationship Id="rId27" Type="http://schemas.openxmlformats.org/officeDocument/2006/relationships/slideLayout" Target="../slideLayouts/slideLayout61.xml"/><Relationship Id="rId28" Type="http://schemas.openxmlformats.org/officeDocument/2006/relationships/slideLayout" Target="../slideLayouts/slideLayout62.xml"/><Relationship Id="rId29" Type="http://schemas.openxmlformats.org/officeDocument/2006/relationships/slideLayout" Target="../slideLayouts/slideLayout63.xml"/><Relationship Id="rId30" Type="http://schemas.openxmlformats.org/officeDocument/2006/relationships/slideLayout" Target="../slideLayouts/slideLayout64.xml"/><Relationship Id="rId31" Type="http://schemas.openxmlformats.org/officeDocument/2006/relationships/slideLayout" Target="../slideLayouts/slideLayout65.xml"/><Relationship Id="rId32" Type="http://schemas.openxmlformats.org/officeDocument/2006/relationships/slideLayout" Target="../slideLayouts/slideLayout66.xml"/><Relationship Id="rId33" Type="http://schemas.openxmlformats.org/officeDocument/2006/relationships/slideLayout" Target="../slideLayouts/slideLayout67.xml"/><Relationship Id="rId34" Type="http://schemas.openxmlformats.org/officeDocument/2006/relationships/slideLayout" Target="../slideLayouts/slideLayout68.xml"/><Relationship Id="rId35" Type="http://schemas.openxmlformats.org/officeDocument/2006/relationships/slideLayout" Target="../slideLayouts/slideLayout69.xml"/><Relationship Id="rId36" Type="http://schemas.openxmlformats.org/officeDocument/2006/relationships/slideLayout" Target="../slideLayouts/slideLayout70.xml"/><Relationship Id="rId37" Type="http://schemas.openxmlformats.org/officeDocument/2006/relationships/slideLayout" Target="../slideLayouts/slideLayout71.xml"/><Relationship Id="rId38" Type="http://schemas.openxmlformats.org/officeDocument/2006/relationships/slideLayout" Target="../slideLayouts/slideLayout72.xml"/><Relationship Id="rId39" Type="http://schemas.openxmlformats.org/officeDocument/2006/relationships/slideLayout" Target="../slideLayouts/slideLayout73.xml"/><Relationship Id="rId40" Type="http://schemas.openxmlformats.org/officeDocument/2006/relationships/slideLayout" Target="../slideLayouts/slideLayout74.xml"/><Relationship Id="rId41" Type="http://schemas.openxmlformats.org/officeDocument/2006/relationships/slideLayout" Target="../slideLayouts/slideLayout75.xml"/><Relationship Id="rId42" Type="http://schemas.openxmlformats.org/officeDocument/2006/relationships/slideLayout" Target="../slideLayouts/slideLayout76.xml"/><Relationship Id="rId43" Type="http://schemas.openxmlformats.org/officeDocument/2006/relationships/slideLayout" Target="../slideLayouts/slideLayout77.xml"/><Relationship Id="rId44" Type="http://schemas.openxmlformats.org/officeDocument/2006/relationships/slideLayout" Target="../slideLayouts/slideLayout78.xml"/><Relationship Id="rId45" Type="http://schemas.openxmlformats.org/officeDocument/2006/relationships/slideLayout" Target="../slideLayouts/slideLayout79.xml"/><Relationship Id="rId46" Type="http://schemas.openxmlformats.org/officeDocument/2006/relationships/slideLayout" Target="../slideLayouts/slideLayout80.xml"/><Relationship Id="rId47" Type="http://schemas.openxmlformats.org/officeDocument/2006/relationships/slideLayout" Target="../slideLayouts/slideLayout81.xml"/><Relationship Id="rId48" Type="http://schemas.openxmlformats.org/officeDocument/2006/relationships/slideLayout" Target="../slideLayouts/slideLayout82.xml"/><Relationship Id="rId49" Type="http://schemas.openxmlformats.org/officeDocument/2006/relationships/slideLayout" Target="../slideLayouts/slideLayout83.xml"/><Relationship Id="rId50" Type="http://schemas.openxmlformats.org/officeDocument/2006/relationships/slideLayout" Target="../slideLayouts/slideLayout84.xml"/><Relationship Id="rId51" Type="http://schemas.openxmlformats.org/officeDocument/2006/relationships/slideLayout" Target="../slideLayouts/slideLayout85.xml"/><Relationship Id="rId52" Type="http://schemas.openxmlformats.org/officeDocument/2006/relationships/slideLayout" Target="../slideLayouts/slideLayout86.xml"/><Relationship Id="rId53" Type="http://schemas.openxmlformats.org/officeDocument/2006/relationships/slideLayout" Target="../slideLayouts/slideLayout87.xml"/><Relationship Id="rId54" Type="http://schemas.openxmlformats.org/officeDocument/2006/relationships/slideLayout" Target="../slideLayouts/slideLayout88.xml"/><Relationship Id="rId55" Type="http://schemas.openxmlformats.org/officeDocument/2006/relationships/slideLayout" Target="../slideLayouts/slideLayout89.xml"/><Relationship Id="rId56" Type="http://schemas.openxmlformats.org/officeDocument/2006/relationships/slideLayout" Target="../slideLayouts/slideLayout90.xml"/><Relationship Id="rId57" Type="http://schemas.openxmlformats.org/officeDocument/2006/relationships/slideLayout" Target="../slideLayouts/slideLayout91.xml"/><Relationship Id="rId58" Type="http://schemas.openxmlformats.org/officeDocument/2006/relationships/slideLayout" Target="../slideLayouts/slideLayout92.xml"/><Relationship Id="rId59" Type="http://schemas.openxmlformats.org/officeDocument/2006/relationships/slideLayout" Target="../slideLayouts/slideLayout93.xml"/><Relationship Id="rId60" Type="http://schemas.openxmlformats.org/officeDocument/2006/relationships/slideLayout" Target="../slideLayouts/slideLayout94.xml"/><Relationship Id="rId61" Type="http://schemas.openxmlformats.org/officeDocument/2006/relationships/slideLayout" Target="../slideLayouts/slideLayout95.xml"/><Relationship Id="rId62" Type="http://schemas.openxmlformats.org/officeDocument/2006/relationships/slideLayout" Target="../slideLayouts/slideLayout96.xml"/><Relationship Id="rId63" Type="http://schemas.openxmlformats.org/officeDocument/2006/relationships/slideLayout" Target="../slideLayouts/slideLayout97.xml"/><Relationship Id="rId64" Type="http://schemas.openxmlformats.org/officeDocument/2006/relationships/slideLayout" Target="../slideLayouts/slideLayout98.xml"/><Relationship Id="rId65" Type="http://schemas.openxmlformats.org/officeDocument/2006/relationships/slideLayout" Target="../slideLayouts/slideLayout99.xml"/><Relationship Id="rId66" Type="http://schemas.openxmlformats.org/officeDocument/2006/relationships/slideLayout" Target="../slideLayouts/slideLayout100.xml"/><Relationship Id="rId67" Type="http://schemas.openxmlformats.org/officeDocument/2006/relationships/slideLayout" Target="../slideLayouts/slideLayout101.xml"/><Relationship Id="rId68" Type="http://schemas.openxmlformats.org/officeDocument/2006/relationships/slideLayout" Target="../slideLayouts/slideLayout102.xml"/><Relationship Id="rId69" Type="http://schemas.openxmlformats.org/officeDocument/2006/relationships/slideLayout" Target="../slideLayouts/slideLayout103.xml"/><Relationship Id="rId70" Type="http://schemas.openxmlformats.org/officeDocument/2006/relationships/slideLayout" Target="../slideLayouts/slideLayout104.xml"/><Relationship Id="rId71" Type="http://schemas.openxmlformats.org/officeDocument/2006/relationships/slideLayout" Target="../slideLayouts/slideLayout105.xml"/><Relationship Id="rId72" Type="http://schemas.openxmlformats.org/officeDocument/2006/relationships/slideLayout" Target="../slideLayouts/slideLayout106.xml"/><Relationship Id="rId73" Type="http://schemas.openxmlformats.org/officeDocument/2006/relationships/slideLayout" Target="../slideLayouts/slideLayout107.xml"/><Relationship Id="rId74" Type="http://schemas.openxmlformats.org/officeDocument/2006/relationships/slideLayout" Target="../slideLayouts/slideLayout108.xml"/><Relationship Id="rId75" Type="http://schemas.openxmlformats.org/officeDocument/2006/relationships/slideLayout" Target="../slideLayouts/slideLayout109.xml"/><Relationship Id="rId76" Type="http://schemas.openxmlformats.org/officeDocument/2006/relationships/slideLayout" Target="../slideLayouts/slideLayout110.xml"/><Relationship Id="rId77" Type="http://schemas.openxmlformats.org/officeDocument/2006/relationships/slideLayout" Target="../slideLayouts/slideLayout111.xml"/><Relationship Id="rId78" Type="http://schemas.openxmlformats.org/officeDocument/2006/relationships/slideLayout" Target="../slideLayouts/slideLayout112.xml"/><Relationship Id="rId79" Type="http://schemas.openxmlformats.org/officeDocument/2006/relationships/slideLayout" Target="../slideLayouts/slideLayout113.xml"/><Relationship Id="rId80" Type="http://schemas.openxmlformats.org/officeDocument/2006/relationships/slideLayout" Target="../slideLayouts/slideLayout114.xml"/><Relationship Id="rId81" Type="http://schemas.openxmlformats.org/officeDocument/2006/relationships/slideLayout" Target="../slideLayouts/slideLayout115.xml"/><Relationship Id="rId82" Type="http://schemas.openxmlformats.org/officeDocument/2006/relationships/slideLayout" Target="../slideLayouts/slideLayout116.xml"/><Relationship Id="rId83" Type="http://schemas.openxmlformats.org/officeDocument/2006/relationships/slideLayout" Target="../slideLayouts/slideLayout117.xml"/><Relationship Id="rId84" Type="http://schemas.openxmlformats.org/officeDocument/2006/relationships/slideLayout" Target="../slideLayouts/slideLayout118.xml"/><Relationship Id="rId85" Type="http://schemas.openxmlformats.org/officeDocument/2006/relationships/slideLayout" Target="../slideLayouts/slideLayout119.xml"/><Relationship Id="rId86" Type="http://schemas.openxmlformats.org/officeDocument/2006/relationships/slideLayout" Target="../slideLayouts/slideLayout120.xml"/><Relationship Id="rId87" Type="http://schemas.openxmlformats.org/officeDocument/2006/relationships/slideLayout" Target="../slideLayouts/slideLayout121.xml"/><Relationship Id="rId88" Type="http://schemas.openxmlformats.org/officeDocument/2006/relationships/theme" Target="../theme/theme2.xml"/><Relationship Id="rId89" Type="http://schemas.openxmlformats.org/officeDocument/2006/relationships/tags" Target="../tags/tag58.xml"/><Relationship Id="rId90" Type="http://schemas.openxmlformats.org/officeDocument/2006/relationships/oleObject" Target="../embeddings/oleObject2.bin"/><Relationship Id="rId91" Type="http://schemas.openxmlformats.org/officeDocument/2006/relationships/image" Target="../media/image12.emf"/><Relationship Id="rId92" Type="http://schemas.openxmlformats.org/officeDocument/2006/relationships/image" Target="../media/image13.png"/></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122.xml"/><Relationship Id="rId2" Type="http://schemas.openxmlformats.org/officeDocument/2006/relationships/slideLayout" Target="../slideLayouts/slideLayout123.xml"/><Relationship Id="rId3" Type="http://schemas.openxmlformats.org/officeDocument/2006/relationships/slideLayout" Target="../slideLayouts/slideLayout124.xml"/><Relationship Id="rId4" Type="http://schemas.openxmlformats.org/officeDocument/2006/relationships/slideLayout" Target="../slideLayouts/slideLayout125.xml"/><Relationship Id="rId5" Type="http://schemas.openxmlformats.org/officeDocument/2006/relationships/slideLayout" Target="../slideLayouts/slideLayout126.xml"/><Relationship Id="rId6" Type="http://schemas.openxmlformats.org/officeDocument/2006/relationships/slideLayout" Target="../slideLayouts/slideLayout127.xml"/><Relationship Id="rId7" Type="http://schemas.openxmlformats.org/officeDocument/2006/relationships/slideLayout" Target="../slideLayouts/slideLayout128.xml"/><Relationship Id="rId8" Type="http://schemas.openxmlformats.org/officeDocument/2006/relationships/slideLayout" Target="../slideLayouts/slideLayout129.xml"/><Relationship Id="rId9" Type="http://schemas.openxmlformats.org/officeDocument/2006/relationships/slideLayout" Target="../slideLayouts/slideLayout130.xml"/><Relationship Id="rId10" Type="http://schemas.openxmlformats.org/officeDocument/2006/relationships/slideLayout" Target="../slideLayouts/slideLayout131.xml"/><Relationship Id="rId11" Type="http://schemas.openxmlformats.org/officeDocument/2006/relationships/slideLayout" Target="../slideLayouts/slideLayout132.xml"/><Relationship Id="rId12" Type="http://schemas.openxmlformats.org/officeDocument/2006/relationships/slideLayout" Target="../slideLayouts/slideLayout133.xml"/><Relationship Id="rId13" Type="http://schemas.openxmlformats.org/officeDocument/2006/relationships/slideLayout" Target="../slideLayouts/slideLayout134.xml"/><Relationship Id="rId14" Type="http://schemas.openxmlformats.org/officeDocument/2006/relationships/slideLayout" Target="../slideLayouts/slideLayout135.xml"/><Relationship Id="rId15" Type="http://schemas.openxmlformats.org/officeDocument/2006/relationships/slideLayout" Target="../slideLayouts/slideLayout136.xml"/><Relationship Id="rId16" Type="http://schemas.openxmlformats.org/officeDocument/2006/relationships/slideLayout" Target="../slideLayouts/slideLayout137.xml"/><Relationship Id="rId17" Type="http://schemas.openxmlformats.org/officeDocument/2006/relationships/slideLayout" Target="../slideLayouts/slideLayout138.xml"/><Relationship Id="rId18" Type="http://schemas.openxmlformats.org/officeDocument/2006/relationships/slideLayout" Target="../slideLayouts/slideLayout139.xml"/><Relationship Id="rId19" Type="http://schemas.openxmlformats.org/officeDocument/2006/relationships/slideLayout" Target="../slideLayouts/slideLayout140.xml"/><Relationship Id="rId20" Type="http://schemas.openxmlformats.org/officeDocument/2006/relationships/theme" Target="../theme/theme3.xml"/><Relationship Id="rId21" Type="http://schemas.openxmlformats.org/officeDocument/2006/relationships/tags" Target="../tags/tag59.xml"/><Relationship Id="rId22" Type="http://schemas.openxmlformats.org/officeDocument/2006/relationships/tags" Target="../tags/tag60.xml"/><Relationship Id="rId23" Type="http://schemas.openxmlformats.org/officeDocument/2006/relationships/tags" Target="../tags/tag61.xml"/><Relationship Id="rId24" Type="http://schemas.openxmlformats.org/officeDocument/2006/relationships/tags" Target="../tags/tag62.xml"/><Relationship Id="rId25" Type="http://schemas.openxmlformats.org/officeDocument/2006/relationships/tags" Target="../tags/tag63.xml"/><Relationship Id="rId26" Type="http://schemas.openxmlformats.org/officeDocument/2006/relationships/tags" Target="../tags/tag64.xml"/><Relationship Id="rId27" Type="http://schemas.openxmlformats.org/officeDocument/2006/relationships/tags" Target="../tags/tag65.xml"/><Relationship Id="rId28" Type="http://schemas.openxmlformats.org/officeDocument/2006/relationships/tags" Target="../tags/tag66.xml"/><Relationship Id="rId29" Type="http://schemas.openxmlformats.org/officeDocument/2006/relationships/tags" Target="../tags/tag67.xml"/><Relationship Id="rId30" Type="http://schemas.openxmlformats.org/officeDocument/2006/relationships/tags" Target="../tags/tag68.xml"/><Relationship Id="rId31" Type="http://schemas.openxmlformats.org/officeDocument/2006/relationships/tags" Target="../tags/tag69.xml"/><Relationship Id="rId32" Type="http://schemas.openxmlformats.org/officeDocument/2006/relationships/tags" Target="../tags/tag70.xml"/><Relationship Id="rId33" Type="http://schemas.openxmlformats.org/officeDocument/2006/relationships/tags" Target="../tags/tag71.xml"/><Relationship Id="rId34" Type="http://schemas.openxmlformats.org/officeDocument/2006/relationships/tags" Target="../tags/tag72.xml"/><Relationship Id="rId35" Type="http://schemas.openxmlformats.org/officeDocument/2006/relationships/tags" Target="../tags/tag73.xml"/><Relationship Id="rId36" Type="http://schemas.openxmlformats.org/officeDocument/2006/relationships/tags" Target="../tags/tag74.xml"/><Relationship Id="rId37" Type="http://schemas.openxmlformats.org/officeDocument/2006/relationships/tags" Target="../tags/tag75.xml"/><Relationship Id="rId38" Type="http://schemas.openxmlformats.org/officeDocument/2006/relationships/tags" Target="../tags/tag76.xml"/><Relationship Id="rId39" Type="http://schemas.openxmlformats.org/officeDocument/2006/relationships/tags" Target="../tags/tag77.xml"/><Relationship Id="rId40" Type="http://schemas.openxmlformats.org/officeDocument/2006/relationships/tags" Target="../tags/tag78.xml"/><Relationship Id="rId41" Type="http://schemas.openxmlformats.org/officeDocument/2006/relationships/tags" Target="../tags/tag79.xml"/><Relationship Id="rId42" Type="http://schemas.openxmlformats.org/officeDocument/2006/relationships/oleObject" Target="../embeddings/oleObject3.bin"/><Relationship Id="rId43" Type="http://schemas.openxmlformats.org/officeDocument/2006/relationships/image" Target="../media/image61.emf"/><Relationship Id="rId44" Type="http://schemas.openxmlformats.org/officeDocument/2006/relationships/image" Target="../media/image62.png"/><Relationship Id="rId45" Type="http://schemas.openxmlformats.org/officeDocument/2006/relationships/image" Target="../media/image63.png"/></Relationships>
</file>

<file path=ppt/slideMasters/_rels/slideMaster4.xml.rels><?xml version='1.0' encoding='UTF-8' standalone='yes'?>
<Relationships xmlns="http://schemas.openxmlformats.org/package/2006/relationships"><Relationship Id="rId1" Type="http://schemas.openxmlformats.org/officeDocument/2006/relationships/slideLayout" Target="../slideLayouts/slideLayout141.xml"/><Relationship Id="rId2" Type="http://schemas.openxmlformats.org/officeDocument/2006/relationships/slideLayout" Target="../slideLayouts/slideLayout142.xml"/><Relationship Id="rId3" Type="http://schemas.openxmlformats.org/officeDocument/2006/relationships/slideLayout" Target="../slideLayouts/slideLayout143.xml"/><Relationship Id="rId4" Type="http://schemas.openxmlformats.org/officeDocument/2006/relationships/slideLayout" Target="../slideLayouts/slideLayout144.xml"/><Relationship Id="rId5" Type="http://schemas.openxmlformats.org/officeDocument/2006/relationships/slideLayout" Target="../slideLayouts/slideLayout145.xml"/><Relationship Id="rId6" Type="http://schemas.openxmlformats.org/officeDocument/2006/relationships/slideLayout" Target="../slideLayouts/slideLayout146.xml"/><Relationship Id="rId7" Type="http://schemas.openxmlformats.org/officeDocument/2006/relationships/slideLayout" Target="../slideLayouts/slideLayout147.xml"/><Relationship Id="rId8" Type="http://schemas.openxmlformats.org/officeDocument/2006/relationships/slideLayout" Target="../slideLayouts/slideLayout148.xml"/><Relationship Id="rId9" Type="http://schemas.openxmlformats.org/officeDocument/2006/relationships/slideLayout" Target="../slideLayouts/slideLayout149.xml"/><Relationship Id="rId10" Type="http://schemas.openxmlformats.org/officeDocument/2006/relationships/slideLayout" Target="../slideLayouts/slideLayout150.xml"/><Relationship Id="rId11" Type="http://schemas.openxmlformats.org/officeDocument/2006/relationships/slideLayout" Target="../slideLayouts/slideLayout151.xml"/><Relationship Id="rId12" Type="http://schemas.openxmlformats.org/officeDocument/2006/relationships/slideLayout" Target="../slideLayouts/slideLayout152.xml"/><Relationship Id="rId13" Type="http://schemas.openxmlformats.org/officeDocument/2006/relationships/slideLayout" Target="../slideLayouts/slideLayout153.xml"/><Relationship Id="rId14" Type="http://schemas.openxmlformats.org/officeDocument/2006/relationships/slideLayout" Target="../slideLayouts/slideLayout154.xml"/><Relationship Id="rId15" Type="http://schemas.openxmlformats.org/officeDocument/2006/relationships/slideLayout" Target="../slideLayouts/slideLayout155.xml"/><Relationship Id="rId16" Type="http://schemas.openxmlformats.org/officeDocument/2006/relationships/slideLayout" Target="../slideLayouts/slideLayout156.xml"/><Relationship Id="rId17" Type="http://schemas.openxmlformats.org/officeDocument/2006/relationships/slideLayout" Target="../slideLayouts/slideLayout157.xml"/><Relationship Id="rId18" Type="http://schemas.openxmlformats.org/officeDocument/2006/relationships/slideLayout" Target="../slideLayouts/slideLayout158.xml"/><Relationship Id="rId19" Type="http://schemas.openxmlformats.org/officeDocument/2006/relationships/slideLayout" Target="../slideLayouts/slideLayout159.xml"/><Relationship Id="rId20" Type="http://schemas.openxmlformats.org/officeDocument/2006/relationships/slideLayout" Target="../slideLayouts/slideLayout160.xml"/><Relationship Id="rId21" Type="http://schemas.openxmlformats.org/officeDocument/2006/relationships/slideLayout" Target="../slideLayouts/slideLayout161.xml"/><Relationship Id="rId22" Type="http://schemas.openxmlformats.org/officeDocument/2006/relationships/slideLayout" Target="../slideLayouts/slideLayout162.xml"/><Relationship Id="rId23" Type="http://schemas.openxmlformats.org/officeDocument/2006/relationships/slideLayout" Target="../slideLayouts/slideLayout163.xml"/><Relationship Id="rId24" Type="http://schemas.openxmlformats.org/officeDocument/2006/relationships/slideLayout" Target="../slideLayouts/slideLayout164.xml"/><Relationship Id="rId25" Type="http://schemas.openxmlformats.org/officeDocument/2006/relationships/slideLayout" Target="../slideLayouts/slideLayout165.xml"/><Relationship Id="rId26" Type="http://schemas.openxmlformats.org/officeDocument/2006/relationships/theme" Target="../theme/theme4.xml"/><Relationship Id="rId27" Type="http://schemas.openxmlformats.org/officeDocument/2006/relationships/tags" Target="../tags/tag177.xml"/><Relationship Id="rId28" Type="http://schemas.openxmlformats.org/officeDocument/2006/relationships/tags" Target="../tags/tag178.xml"/><Relationship Id="rId29" Type="http://schemas.openxmlformats.org/officeDocument/2006/relationships/oleObject" Target="../embeddings/oleObject20.bin"/><Relationship Id="rId30" Type="http://schemas.openxmlformats.org/officeDocument/2006/relationships/image" Target="../media/image67.emf"/><Relationship Id="rId31" Type="http://schemas.openxmlformats.org/officeDocument/2006/relationships/image" Target="../media/image68.png"/></Relationships>
</file>

<file path=ppt/slideMasters/_rels/slideMaster5.xml.rels><?xml version='1.0' encoding='UTF-8' standalone='yes'?>
<Relationships xmlns="http://schemas.openxmlformats.org/package/2006/relationships"><Relationship Id="rId1" Type="http://schemas.openxmlformats.org/officeDocument/2006/relationships/slideLayout" Target="../slideLayouts/slideLayout166.xml"/><Relationship Id="rId2" Type="http://schemas.openxmlformats.org/officeDocument/2006/relationships/slideLayout" Target="../slideLayouts/slideLayout167.xml"/><Relationship Id="rId3" Type="http://schemas.openxmlformats.org/officeDocument/2006/relationships/slideLayout" Target="../slideLayouts/slideLayout168.xml"/><Relationship Id="rId4" Type="http://schemas.openxmlformats.org/officeDocument/2006/relationships/slideLayout" Target="../slideLayouts/slideLayout169.xml"/><Relationship Id="rId5" Type="http://schemas.openxmlformats.org/officeDocument/2006/relationships/slideLayout" Target="../slideLayouts/slideLayout170.xml"/><Relationship Id="rId6" Type="http://schemas.openxmlformats.org/officeDocument/2006/relationships/slideLayout" Target="../slideLayouts/slideLayout171.xml"/><Relationship Id="rId7" Type="http://schemas.openxmlformats.org/officeDocument/2006/relationships/slideLayout" Target="../slideLayouts/slideLayout172.xml"/><Relationship Id="rId8" Type="http://schemas.openxmlformats.org/officeDocument/2006/relationships/slideLayout" Target="../slideLayouts/slideLayout173.xml"/><Relationship Id="rId9" Type="http://schemas.openxmlformats.org/officeDocument/2006/relationships/slideLayout" Target="../slideLayouts/slideLayout174.xml"/><Relationship Id="rId10" Type="http://schemas.openxmlformats.org/officeDocument/2006/relationships/slideLayout" Target="../slideLayouts/slideLayout175.xml"/><Relationship Id="rId11" Type="http://schemas.openxmlformats.org/officeDocument/2006/relationships/slideLayout" Target="../slideLayouts/slideLayout176.xml"/><Relationship Id="rId12" Type="http://schemas.openxmlformats.org/officeDocument/2006/relationships/slideLayout" Target="../slideLayouts/slideLayout177.xml"/><Relationship Id="rId13" Type="http://schemas.openxmlformats.org/officeDocument/2006/relationships/slideLayout" Target="../slideLayouts/slideLayout178.xml"/><Relationship Id="rId14" Type="http://schemas.openxmlformats.org/officeDocument/2006/relationships/slideLayout" Target="../slideLayouts/slideLayout179.xml"/><Relationship Id="rId15" Type="http://schemas.openxmlformats.org/officeDocument/2006/relationships/slideLayout" Target="../slideLayouts/slideLayout180.xml"/><Relationship Id="rId16" Type="http://schemas.openxmlformats.org/officeDocument/2006/relationships/slideLayout" Target="../slideLayouts/slideLayout181.xml"/><Relationship Id="rId17" Type="http://schemas.openxmlformats.org/officeDocument/2006/relationships/slideLayout" Target="../slideLayouts/slideLayout182.xml"/><Relationship Id="rId18" Type="http://schemas.openxmlformats.org/officeDocument/2006/relationships/slideLayout" Target="../slideLayouts/slideLayout183.xml"/><Relationship Id="rId19" Type="http://schemas.openxmlformats.org/officeDocument/2006/relationships/theme" Target="../theme/theme5.xml"/><Relationship Id="rId20" Type="http://schemas.openxmlformats.org/officeDocument/2006/relationships/tags" Target="../tags/tag191.xml"/><Relationship Id="rId21" Type="http://schemas.openxmlformats.org/officeDocument/2006/relationships/tags" Target="../tags/tag192.xml"/><Relationship Id="rId22" Type="http://schemas.openxmlformats.org/officeDocument/2006/relationships/tags" Target="../tags/tag193.xml"/><Relationship Id="rId23" Type="http://schemas.openxmlformats.org/officeDocument/2006/relationships/tags" Target="../tags/tag194.xml"/><Relationship Id="rId24" Type="http://schemas.openxmlformats.org/officeDocument/2006/relationships/tags" Target="../tags/tag195.xml"/><Relationship Id="rId25" Type="http://schemas.openxmlformats.org/officeDocument/2006/relationships/tags" Target="../tags/tag196.xml"/><Relationship Id="rId26" Type="http://schemas.openxmlformats.org/officeDocument/2006/relationships/tags" Target="../tags/tag197.xml"/><Relationship Id="rId27" Type="http://schemas.openxmlformats.org/officeDocument/2006/relationships/tags" Target="../tags/tag198.xml"/><Relationship Id="rId28" Type="http://schemas.openxmlformats.org/officeDocument/2006/relationships/tags" Target="../tags/tag199.xml"/><Relationship Id="rId29" Type="http://schemas.openxmlformats.org/officeDocument/2006/relationships/tags" Target="../tags/tag200.xml"/><Relationship Id="rId30" Type="http://schemas.openxmlformats.org/officeDocument/2006/relationships/tags" Target="../tags/tag201.xml"/><Relationship Id="rId31" Type="http://schemas.openxmlformats.org/officeDocument/2006/relationships/tags" Target="../tags/tag202.xml"/><Relationship Id="rId32" Type="http://schemas.openxmlformats.org/officeDocument/2006/relationships/tags" Target="../tags/tag203.xml"/><Relationship Id="rId33" Type="http://schemas.openxmlformats.org/officeDocument/2006/relationships/tags" Target="../tags/tag204.xml"/><Relationship Id="rId34" Type="http://schemas.openxmlformats.org/officeDocument/2006/relationships/tags" Target="../tags/tag205.xml"/><Relationship Id="rId35" Type="http://schemas.openxmlformats.org/officeDocument/2006/relationships/tags" Target="../tags/tag206.xml"/><Relationship Id="rId36" Type="http://schemas.openxmlformats.org/officeDocument/2006/relationships/tags" Target="../tags/tag207.xml"/><Relationship Id="rId37" Type="http://schemas.openxmlformats.org/officeDocument/2006/relationships/tags" Target="../tags/tag208.xml"/><Relationship Id="rId38" Type="http://schemas.openxmlformats.org/officeDocument/2006/relationships/tags" Target="../tags/tag209.xml"/><Relationship Id="rId39" Type="http://schemas.openxmlformats.org/officeDocument/2006/relationships/tags" Target="../tags/tag210.xml"/><Relationship Id="rId40" Type="http://schemas.openxmlformats.org/officeDocument/2006/relationships/oleObject" Target="../embeddings/oleObject24.bin"/><Relationship Id="rId41" Type="http://schemas.openxmlformats.org/officeDocument/2006/relationships/image" Target="../media/image64.emf"/><Relationship Id="rId42" Type="http://schemas.openxmlformats.org/officeDocument/2006/relationships/image" Target="../media/image75.png"/><Relationship Id="rId43" Type="http://schemas.microsoft.com/office/2007/relationships/hdphoto" Target="../media/hdphoto1.wdp"/></Relationships>
</file>

<file path=ppt/slideMasters/_rels/slideMaster6.xml.rels><?xml version='1.0' encoding='UTF-8' standalone='yes'?>
<Relationships xmlns="http://schemas.openxmlformats.org/package/2006/relationships"><Relationship Id="rId1" Type="http://schemas.openxmlformats.org/officeDocument/2006/relationships/slideLayout" Target="../slideLayouts/slideLayout184.xml"/><Relationship Id="rId2" Type="http://schemas.openxmlformats.org/officeDocument/2006/relationships/slideLayout" Target="../slideLayouts/slideLayout185.xml"/><Relationship Id="rId3" Type="http://schemas.openxmlformats.org/officeDocument/2006/relationships/slideLayout" Target="../slideLayouts/slideLayout186.xml"/><Relationship Id="rId4" Type="http://schemas.openxmlformats.org/officeDocument/2006/relationships/slideLayout" Target="../slideLayouts/slideLayout187.xml"/><Relationship Id="rId5" Type="http://schemas.openxmlformats.org/officeDocument/2006/relationships/slideLayout" Target="../slideLayouts/slideLayout188.xml"/><Relationship Id="rId6" Type="http://schemas.openxmlformats.org/officeDocument/2006/relationships/slideLayout" Target="../slideLayouts/slideLayout189.xml"/><Relationship Id="rId7" Type="http://schemas.openxmlformats.org/officeDocument/2006/relationships/slideLayout" Target="../slideLayouts/slideLayout190.xml"/><Relationship Id="rId8" Type="http://schemas.openxmlformats.org/officeDocument/2006/relationships/slideLayout" Target="../slideLayouts/slideLayout191.xml"/><Relationship Id="rId9" Type="http://schemas.openxmlformats.org/officeDocument/2006/relationships/slideLayout" Target="../slideLayouts/slideLayout192.xml"/><Relationship Id="rId10" Type="http://schemas.openxmlformats.org/officeDocument/2006/relationships/slideLayout" Target="../slideLayouts/slideLayout193.xml"/><Relationship Id="rId11" Type="http://schemas.openxmlformats.org/officeDocument/2006/relationships/slideLayout" Target="../slideLayouts/slideLayout194.xml"/><Relationship Id="rId12" Type="http://schemas.openxmlformats.org/officeDocument/2006/relationships/slideLayout" Target="../slideLayouts/slideLayout195.xml"/><Relationship Id="rId13" Type="http://schemas.openxmlformats.org/officeDocument/2006/relationships/slideLayout" Target="../slideLayouts/slideLayout196.xml"/><Relationship Id="rId14" Type="http://schemas.openxmlformats.org/officeDocument/2006/relationships/slideLayout" Target="../slideLayouts/slideLayout197.xml"/><Relationship Id="rId15" Type="http://schemas.openxmlformats.org/officeDocument/2006/relationships/slideLayout" Target="../slideLayouts/slideLayout198.xml"/><Relationship Id="rId16" Type="http://schemas.openxmlformats.org/officeDocument/2006/relationships/slideLayout" Target="../slideLayouts/slideLayout199.xml"/><Relationship Id="rId17" Type="http://schemas.openxmlformats.org/officeDocument/2006/relationships/slideLayout" Target="../slideLayouts/slideLayout200.xml"/><Relationship Id="rId18" Type="http://schemas.openxmlformats.org/officeDocument/2006/relationships/slideLayout" Target="../slideLayouts/slideLayout201.xml"/><Relationship Id="rId19" Type="http://schemas.openxmlformats.org/officeDocument/2006/relationships/slideLayout" Target="../slideLayouts/slideLayout202.xml"/><Relationship Id="rId20" Type="http://schemas.openxmlformats.org/officeDocument/2006/relationships/slideLayout" Target="../slideLayouts/slideLayout203.xml"/><Relationship Id="rId21" Type="http://schemas.openxmlformats.org/officeDocument/2006/relationships/slideLayout" Target="../slideLayouts/slideLayout204.xml"/><Relationship Id="rId22" Type="http://schemas.openxmlformats.org/officeDocument/2006/relationships/slideLayout" Target="../slideLayouts/slideLayout205.xml"/><Relationship Id="rId23" Type="http://schemas.openxmlformats.org/officeDocument/2006/relationships/slideLayout" Target="../slideLayouts/slideLayout206.xml"/><Relationship Id="rId24" Type="http://schemas.openxmlformats.org/officeDocument/2006/relationships/slideLayout" Target="../slideLayouts/slideLayout207.xml"/><Relationship Id="rId25" Type="http://schemas.openxmlformats.org/officeDocument/2006/relationships/slideLayout" Target="../slideLayouts/slideLayout208.xml"/><Relationship Id="rId26" Type="http://schemas.openxmlformats.org/officeDocument/2006/relationships/slideLayout" Target="../slideLayouts/slideLayout209.xml"/><Relationship Id="rId27" Type="http://schemas.openxmlformats.org/officeDocument/2006/relationships/slideLayout" Target="../slideLayouts/slideLayout210.xml"/><Relationship Id="rId28" Type="http://schemas.openxmlformats.org/officeDocument/2006/relationships/slideLayout" Target="../slideLayouts/slideLayout211.xml"/><Relationship Id="rId29" Type="http://schemas.openxmlformats.org/officeDocument/2006/relationships/slideLayout" Target="../slideLayouts/slideLayout212.xml"/><Relationship Id="rId30" Type="http://schemas.openxmlformats.org/officeDocument/2006/relationships/slideLayout" Target="../slideLayouts/slideLayout213.xml"/><Relationship Id="rId31" Type="http://schemas.openxmlformats.org/officeDocument/2006/relationships/slideLayout" Target="../slideLayouts/slideLayout214.xml"/><Relationship Id="rId32" Type="http://schemas.openxmlformats.org/officeDocument/2006/relationships/slideLayout" Target="../slideLayouts/slideLayout215.xml"/><Relationship Id="rId33" Type="http://schemas.openxmlformats.org/officeDocument/2006/relationships/slideLayout" Target="../slideLayouts/slideLayout216.xml"/><Relationship Id="rId34" Type="http://schemas.openxmlformats.org/officeDocument/2006/relationships/slideLayout" Target="../slideLayouts/slideLayout217.xml"/><Relationship Id="rId35" Type="http://schemas.openxmlformats.org/officeDocument/2006/relationships/slideLayout" Target="../slideLayouts/slideLayout218.xml"/><Relationship Id="rId36" Type="http://schemas.openxmlformats.org/officeDocument/2006/relationships/slideLayout" Target="../slideLayouts/slideLayout219.xml"/><Relationship Id="rId37" Type="http://schemas.openxmlformats.org/officeDocument/2006/relationships/slideLayout" Target="../slideLayouts/slideLayout220.xml"/><Relationship Id="rId38" Type="http://schemas.openxmlformats.org/officeDocument/2006/relationships/slideLayout" Target="../slideLayouts/slideLayout221.xml"/><Relationship Id="rId39" Type="http://schemas.openxmlformats.org/officeDocument/2006/relationships/slideLayout" Target="../slideLayouts/slideLayout222.xml"/><Relationship Id="rId40" Type="http://schemas.openxmlformats.org/officeDocument/2006/relationships/slideLayout" Target="../slideLayouts/slideLayout223.xml"/><Relationship Id="rId41" Type="http://schemas.openxmlformats.org/officeDocument/2006/relationships/slideLayout" Target="../slideLayouts/slideLayout224.xml"/><Relationship Id="rId42" Type="http://schemas.openxmlformats.org/officeDocument/2006/relationships/slideLayout" Target="../slideLayouts/slideLayout225.xml"/><Relationship Id="rId43" Type="http://schemas.openxmlformats.org/officeDocument/2006/relationships/slideLayout" Target="../slideLayouts/slideLayout226.xml"/><Relationship Id="rId44" Type="http://schemas.openxmlformats.org/officeDocument/2006/relationships/slideLayout" Target="../slideLayouts/slideLayout227.xml"/><Relationship Id="rId45" Type="http://schemas.openxmlformats.org/officeDocument/2006/relationships/slideLayout" Target="../slideLayouts/slideLayout228.xml"/><Relationship Id="rId46" Type="http://schemas.openxmlformats.org/officeDocument/2006/relationships/slideLayout" Target="../slideLayouts/slideLayout229.xml"/><Relationship Id="rId47" Type="http://schemas.openxmlformats.org/officeDocument/2006/relationships/slideLayout" Target="../slideLayouts/slideLayout230.xml"/><Relationship Id="rId48" Type="http://schemas.openxmlformats.org/officeDocument/2006/relationships/slideLayout" Target="../slideLayouts/slideLayout231.xml"/><Relationship Id="rId49" Type="http://schemas.openxmlformats.org/officeDocument/2006/relationships/slideLayout" Target="../slideLayouts/slideLayout232.xml"/><Relationship Id="rId50" Type="http://schemas.openxmlformats.org/officeDocument/2006/relationships/slideLayout" Target="../slideLayouts/slideLayout233.xml"/><Relationship Id="rId51" Type="http://schemas.openxmlformats.org/officeDocument/2006/relationships/slideLayout" Target="../slideLayouts/slideLayout234.xml"/><Relationship Id="rId52" Type="http://schemas.openxmlformats.org/officeDocument/2006/relationships/slideLayout" Target="../slideLayouts/slideLayout235.xml"/><Relationship Id="rId53" Type="http://schemas.openxmlformats.org/officeDocument/2006/relationships/slideLayout" Target="../slideLayouts/slideLayout236.xml"/><Relationship Id="rId54" Type="http://schemas.openxmlformats.org/officeDocument/2006/relationships/slideLayout" Target="../slideLayouts/slideLayout237.xml"/><Relationship Id="rId55" Type="http://schemas.openxmlformats.org/officeDocument/2006/relationships/slideLayout" Target="../slideLayouts/slideLayout238.xml"/><Relationship Id="rId56" Type="http://schemas.openxmlformats.org/officeDocument/2006/relationships/slideLayout" Target="../slideLayouts/slideLayout239.xml"/><Relationship Id="rId57" Type="http://schemas.openxmlformats.org/officeDocument/2006/relationships/slideLayout" Target="../slideLayouts/slideLayout240.xml"/><Relationship Id="rId58" Type="http://schemas.openxmlformats.org/officeDocument/2006/relationships/slideLayout" Target="../slideLayouts/slideLayout241.xml"/><Relationship Id="rId59" Type="http://schemas.openxmlformats.org/officeDocument/2006/relationships/slideLayout" Target="../slideLayouts/slideLayout242.xml"/><Relationship Id="rId60" Type="http://schemas.openxmlformats.org/officeDocument/2006/relationships/slideLayout" Target="../slideLayouts/slideLayout243.xml"/><Relationship Id="rId61" Type="http://schemas.openxmlformats.org/officeDocument/2006/relationships/slideLayout" Target="../slideLayouts/slideLayout244.xml"/><Relationship Id="rId62" Type="http://schemas.openxmlformats.org/officeDocument/2006/relationships/slideLayout" Target="../slideLayouts/slideLayout245.xml"/><Relationship Id="rId63" Type="http://schemas.openxmlformats.org/officeDocument/2006/relationships/slideLayout" Target="../slideLayouts/slideLayout246.xml"/><Relationship Id="rId64" Type="http://schemas.openxmlformats.org/officeDocument/2006/relationships/slideLayout" Target="../slideLayouts/slideLayout247.xml"/><Relationship Id="rId65" Type="http://schemas.openxmlformats.org/officeDocument/2006/relationships/theme" Target="../theme/theme6.xml"/><Relationship Id="rId66" Type="http://schemas.openxmlformats.org/officeDocument/2006/relationships/tags" Target="../tags/tag330.xml"/><Relationship Id="rId67" Type="http://schemas.openxmlformats.org/officeDocument/2006/relationships/oleObject" Target="../embeddings/oleObject43.bin"/><Relationship Id="rId68" Type="http://schemas.openxmlformats.org/officeDocument/2006/relationships/image" Target="../media/image64.emf"/><Relationship Id="rId69" Type="http://schemas.openxmlformats.org/officeDocument/2006/relationships/image" Target="../media/image13.png"/></Relationships>
</file>

<file path=ppt/slideMasters/_rels/slideMaster7.xml.rels><?xml version='1.0' encoding='UTF-8' standalone='yes'?>
<Relationships xmlns="http://schemas.openxmlformats.org/package/2006/relationships"><Relationship Id="rId1" Type="http://schemas.openxmlformats.org/officeDocument/2006/relationships/slideLayout" Target="../slideLayouts/slideLayout248.xml"/><Relationship Id="rId2" Type="http://schemas.openxmlformats.org/officeDocument/2006/relationships/slideLayout" Target="../slideLayouts/slideLayout249.xml"/><Relationship Id="rId3" Type="http://schemas.openxmlformats.org/officeDocument/2006/relationships/slideLayout" Target="../slideLayouts/slideLayout250.xml"/><Relationship Id="rId4" Type="http://schemas.openxmlformats.org/officeDocument/2006/relationships/slideLayout" Target="../slideLayouts/slideLayout251.xml"/><Relationship Id="rId5" Type="http://schemas.openxmlformats.org/officeDocument/2006/relationships/slideLayout" Target="../slideLayouts/slideLayout252.xml"/><Relationship Id="rId6" Type="http://schemas.openxmlformats.org/officeDocument/2006/relationships/slideLayout" Target="../slideLayouts/slideLayout253.xml"/><Relationship Id="rId7" Type="http://schemas.openxmlformats.org/officeDocument/2006/relationships/slideLayout" Target="../slideLayouts/slideLayout254.xml"/><Relationship Id="rId8" Type="http://schemas.openxmlformats.org/officeDocument/2006/relationships/slideLayout" Target="../slideLayouts/slideLayout255.xml"/><Relationship Id="rId9" Type="http://schemas.openxmlformats.org/officeDocument/2006/relationships/slideLayout" Target="../slideLayouts/slideLayout256.xml"/><Relationship Id="rId10" Type="http://schemas.openxmlformats.org/officeDocument/2006/relationships/slideLayout" Target="../slideLayouts/slideLayout257.xml"/><Relationship Id="rId11" Type="http://schemas.openxmlformats.org/officeDocument/2006/relationships/slideLayout" Target="../slideLayouts/slideLayout258.xml"/><Relationship Id="rId12" Type="http://schemas.openxmlformats.org/officeDocument/2006/relationships/slideLayout" Target="../slideLayouts/slideLayout259.xml"/><Relationship Id="rId13" Type="http://schemas.openxmlformats.org/officeDocument/2006/relationships/slideLayout" Target="../slideLayouts/slideLayout260.xml"/><Relationship Id="rId14" Type="http://schemas.openxmlformats.org/officeDocument/2006/relationships/slideLayout" Target="../slideLayouts/slideLayout261.xml"/><Relationship Id="rId15" Type="http://schemas.openxmlformats.org/officeDocument/2006/relationships/slideLayout" Target="../slideLayouts/slideLayout262.xml"/><Relationship Id="rId16" Type="http://schemas.openxmlformats.org/officeDocument/2006/relationships/slideLayout" Target="../slideLayouts/slideLayout263.xml"/><Relationship Id="rId17" Type="http://schemas.openxmlformats.org/officeDocument/2006/relationships/slideLayout" Target="../slideLayouts/slideLayout264.xml"/><Relationship Id="rId18" Type="http://schemas.openxmlformats.org/officeDocument/2006/relationships/slideLayout" Target="../slideLayouts/slideLayout265.xml"/><Relationship Id="rId19" Type="http://schemas.openxmlformats.org/officeDocument/2006/relationships/slideLayout" Target="../slideLayouts/slideLayout266.xml"/><Relationship Id="rId20" Type="http://schemas.openxmlformats.org/officeDocument/2006/relationships/slideLayout" Target="../slideLayouts/slideLayout267.xml"/><Relationship Id="rId21" Type="http://schemas.openxmlformats.org/officeDocument/2006/relationships/slideLayout" Target="../slideLayouts/slideLayout268.xml"/><Relationship Id="rId22" Type="http://schemas.openxmlformats.org/officeDocument/2006/relationships/slideLayout" Target="../slideLayouts/slideLayout269.xml"/><Relationship Id="rId23" Type="http://schemas.openxmlformats.org/officeDocument/2006/relationships/slideLayout" Target="../slideLayouts/slideLayout270.xml"/><Relationship Id="rId24" Type="http://schemas.openxmlformats.org/officeDocument/2006/relationships/slideLayout" Target="../slideLayouts/slideLayout271.xml"/><Relationship Id="rId25" Type="http://schemas.openxmlformats.org/officeDocument/2006/relationships/slideLayout" Target="../slideLayouts/slideLayout272.xml"/><Relationship Id="rId26" Type="http://schemas.openxmlformats.org/officeDocument/2006/relationships/slideLayout" Target="../slideLayouts/slideLayout273.xml"/><Relationship Id="rId27" Type="http://schemas.openxmlformats.org/officeDocument/2006/relationships/slideLayout" Target="../slideLayouts/slideLayout274.xml"/><Relationship Id="rId28" Type="http://schemas.openxmlformats.org/officeDocument/2006/relationships/slideLayout" Target="../slideLayouts/slideLayout275.xml"/><Relationship Id="rId29" Type="http://schemas.openxmlformats.org/officeDocument/2006/relationships/slideLayout" Target="../slideLayouts/slideLayout276.xml"/><Relationship Id="rId30" Type="http://schemas.openxmlformats.org/officeDocument/2006/relationships/slideLayout" Target="../slideLayouts/slideLayout277.xml"/><Relationship Id="rId31" Type="http://schemas.openxmlformats.org/officeDocument/2006/relationships/slideLayout" Target="../slideLayouts/slideLayout278.xml"/><Relationship Id="rId32" Type="http://schemas.openxmlformats.org/officeDocument/2006/relationships/slideLayout" Target="../slideLayouts/slideLayout279.xml"/><Relationship Id="rId33" Type="http://schemas.openxmlformats.org/officeDocument/2006/relationships/slideLayout" Target="../slideLayouts/slideLayout280.xml"/><Relationship Id="rId34" Type="http://schemas.openxmlformats.org/officeDocument/2006/relationships/slideLayout" Target="../slideLayouts/slideLayout281.xml"/><Relationship Id="rId35" Type="http://schemas.openxmlformats.org/officeDocument/2006/relationships/slideLayout" Target="../slideLayouts/slideLayout282.xml"/><Relationship Id="rId36" Type="http://schemas.openxmlformats.org/officeDocument/2006/relationships/slideLayout" Target="../slideLayouts/slideLayout283.xml"/><Relationship Id="rId37" Type="http://schemas.openxmlformats.org/officeDocument/2006/relationships/slideLayout" Target="../slideLayouts/slideLayout284.xml"/><Relationship Id="rId38" Type="http://schemas.openxmlformats.org/officeDocument/2006/relationships/slideLayout" Target="../slideLayouts/slideLayout285.xml"/><Relationship Id="rId39" Type="http://schemas.openxmlformats.org/officeDocument/2006/relationships/slideLayout" Target="../slideLayouts/slideLayout286.xml"/><Relationship Id="rId40" Type="http://schemas.openxmlformats.org/officeDocument/2006/relationships/slideLayout" Target="../slideLayouts/slideLayout287.xml"/><Relationship Id="rId41" Type="http://schemas.openxmlformats.org/officeDocument/2006/relationships/slideLayout" Target="../slideLayouts/slideLayout288.xml"/><Relationship Id="rId42" Type="http://schemas.openxmlformats.org/officeDocument/2006/relationships/slideLayout" Target="../slideLayouts/slideLayout289.xml"/><Relationship Id="rId43" Type="http://schemas.openxmlformats.org/officeDocument/2006/relationships/slideLayout" Target="../slideLayouts/slideLayout290.xml"/><Relationship Id="rId44" Type="http://schemas.openxmlformats.org/officeDocument/2006/relationships/slideLayout" Target="../slideLayouts/slideLayout291.xml"/><Relationship Id="rId45" Type="http://schemas.openxmlformats.org/officeDocument/2006/relationships/slideLayout" Target="../slideLayouts/slideLayout292.xml"/><Relationship Id="rId46" Type="http://schemas.openxmlformats.org/officeDocument/2006/relationships/slideLayout" Target="../slideLayouts/slideLayout293.xml"/><Relationship Id="rId47" Type="http://schemas.openxmlformats.org/officeDocument/2006/relationships/slideLayout" Target="../slideLayouts/slideLayout294.xml"/><Relationship Id="rId48" Type="http://schemas.openxmlformats.org/officeDocument/2006/relationships/slideLayout" Target="../slideLayouts/slideLayout295.xml"/><Relationship Id="rId49" Type="http://schemas.openxmlformats.org/officeDocument/2006/relationships/slideLayout" Target="../slideLayouts/slideLayout296.xml"/><Relationship Id="rId50" Type="http://schemas.openxmlformats.org/officeDocument/2006/relationships/slideLayout" Target="../slideLayouts/slideLayout297.xml"/><Relationship Id="rId51" Type="http://schemas.openxmlformats.org/officeDocument/2006/relationships/slideLayout" Target="../slideLayouts/slideLayout298.xml"/><Relationship Id="rId52" Type="http://schemas.openxmlformats.org/officeDocument/2006/relationships/slideLayout" Target="../slideLayouts/slideLayout299.xml"/><Relationship Id="rId53" Type="http://schemas.openxmlformats.org/officeDocument/2006/relationships/slideLayout" Target="../slideLayouts/slideLayout300.xml"/><Relationship Id="rId54" Type="http://schemas.openxmlformats.org/officeDocument/2006/relationships/slideLayout" Target="../slideLayouts/slideLayout301.xml"/><Relationship Id="rId55" Type="http://schemas.openxmlformats.org/officeDocument/2006/relationships/slideLayout" Target="../slideLayouts/slideLayout302.xml"/><Relationship Id="rId56" Type="http://schemas.openxmlformats.org/officeDocument/2006/relationships/slideLayout" Target="../slideLayouts/slideLayout303.xml"/><Relationship Id="rId57" Type="http://schemas.openxmlformats.org/officeDocument/2006/relationships/slideLayout" Target="../slideLayouts/slideLayout304.xml"/><Relationship Id="rId58" Type="http://schemas.openxmlformats.org/officeDocument/2006/relationships/slideLayout" Target="../slideLayouts/slideLayout305.xml"/><Relationship Id="rId59" Type="http://schemas.openxmlformats.org/officeDocument/2006/relationships/slideLayout" Target="../slideLayouts/slideLayout306.xml"/><Relationship Id="rId60" Type="http://schemas.openxmlformats.org/officeDocument/2006/relationships/slideLayout" Target="../slideLayouts/slideLayout307.xml"/><Relationship Id="rId61" Type="http://schemas.openxmlformats.org/officeDocument/2006/relationships/slideLayout" Target="../slideLayouts/slideLayout308.xml"/><Relationship Id="rId62" Type="http://schemas.openxmlformats.org/officeDocument/2006/relationships/slideLayout" Target="../slideLayouts/slideLayout309.xml"/><Relationship Id="rId63" Type="http://schemas.openxmlformats.org/officeDocument/2006/relationships/theme" Target="../theme/theme7.xml"/><Relationship Id="rId64" Type="http://schemas.openxmlformats.org/officeDocument/2006/relationships/tags" Target="../tags/tag335.xml"/><Relationship Id="rId65" Type="http://schemas.openxmlformats.org/officeDocument/2006/relationships/oleObject" Target="../embeddings/oleObject45.bin"/><Relationship Id="rId66" Type="http://schemas.openxmlformats.org/officeDocument/2006/relationships/image" Target="../media/image66.emf"/><Relationship Id="rId67" Type="http://schemas.openxmlformats.org/officeDocument/2006/relationships/image" Target="../media/image13.png"/></Relationships>
</file>

<file path=ppt/slideMasters/_rels/slideMaster8.xml.rels><?xml version='1.0' encoding='UTF-8' standalone='yes'?>
<Relationships xmlns="http://schemas.openxmlformats.org/package/2006/relationships"><Relationship Id="rId1" Type="http://schemas.openxmlformats.org/officeDocument/2006/relationships/slideLayout" Target="../slideLayouts/slideLayout310.xml"/><Relationship Id="rId2" Type="http://schemas.openxmlformats.org/officeDocument/2006/relationships/slideLayout" Target="../slideLayouts/slideLayout311.xml"/><Relationship Id="rId3" Type="http://schemas.openxmlformats.org/officeDocument/2006/relationships/slideLayout" Target="../slideLayouts/slideLayout312.xml"/><Relationship Id="rId4" Type="http://schemas.openxmlformats.org/officeDocument/2006/relationships/slideLayout" Target="../slideLayouts/slideLayout313.xml"/><Relationship Id="rId5" Type="http://schemas.openxmlformats.org/officeDocument/2006/relationships/slideLayout" Target="../slideLayouts/slideLayout314.xml"/><Relationship Id="rId6" Type="http://schemas.openxmlformats.org/officeDocument/2006/relationships/slideLayout" Target="../slideLayouts/slideLayout315.xml"/><Relationship Id="rId7" Type="http://schemas.openxmlformats.org/officeDocument/2006/relationships/slideLayout" Target="../slideLayouts/slideLayout316.xml"/><Relationship Id="rId8" Type="http://schemas.openxmlformats.org/officeDocument/2006/relationships/slideLayout" Target="../slideLayouts/slideLayout317.xml"/><Relationship Id="rId9" Type="http://schemas.openxmlformats.org/officeDocument/2006/relationships/slideLayout" Target="../slideLayouts/slideLayout318.xml"/><Relationship Id="rId10" Type="http://schemas.openxmlformats.org/officeDocument/2006/relationships/slideLayout" Target="../slideLayouts/slideLayout319.xml"/><Relationship Id="rId11" Type="http://schemas.openxmlformats.org/officeDocument/2006/relationships/slideLayout" Target="../slideLayouts/slideLayout320.xml"/><Relationship Id="rId12" Type="http://schemas.openxmlformats.org/officeDocument/2006/relationships/slideLayout" Target="../slideLayouts/slideLayout321.xml"/><Relationship Id="rId13" Type="http://schemas.openxmlformats.org/officeDocument/2006/relationships/slideLayout" Target="../slideLayouts/slideLayout322.xml"/><Relationship Id="rId14" Type="http://schemas.openxmlformats.org/officeDocument/2006/relationships/slideLayout" Target="../slideLayouts/slideLayout323.xml"/><Relationship Id="rId15" Type="http://schemas.openxmlformats.org/officeDocument/2006/relationships/slideLayout" Target="../slideLayouts/slideLayout324.xml"/><Relationship Id="rId16" Type="http://schemas.openxmlformats.org/officeDocument/2006/relationships/slideLayout" Target="../slideLayouts/slideLayout325.xml"/><Relationship Id="rId17" Type="http://schemas.openxmlformats.org/officeDocument/2006/relationships/slideLayout" Target="../slideLayouts/slideLayout326.xml"/><Relationship Id="rId18" Type="http://schemas.openxmlformats.org/officeDocument/2006/relationships/slideLayout" Target="../slideLayouts/slideLayout327.xml"/><Relationship Id="rId19" Type="http://schemas.openxmlformats.org/officeDocument/2006/relationships/slideLayout" Target="../slideLayouts/slideLayout328.xml"/><Relationship Id="rId20" Type="http://schemas.openxmlformats.org/officeDocument/2006/relationships/theme" Target="../theme/theme8.xml"/><Relationship Id="rId21" Type="http://schemas.openxmlformats.org/officeDocument/2006/relationships/tags" Target="../tags/tag336.xml"/><Relationship Id="rId22" Type="http://schemas.openxmlformats.org/officeDocument/2006/relationships/tags" Target="../tags/tag337.xml"/><Relationship Id="rId23" Type="http://schemas.openxmlformats.org/officeDocument/2006/relationships/oleObject" Target="../embeddings/oleObject46.bin"/><Relationship Id="rId24" Type="http://schemas.openxmlformats.org/officeDocument/2006/relationships/image" Target="../media/image95.emf"/><Relationship Id="rId25" Type="http://schemas.openxmlformats.org/officeDocument/2006/relationships/image" Target="../media/image96.png"/></Relationships>
</file>

<file path=ppt/slideMasters/_rels/slideMaster9.xml.rels><?xml version='1.0' encoding='UTF-8' standalone='yes'?>
<Relationships xmlns="http://schemas.openxmlformats.org/package/2006/relationships"><Relationship Id="rId1" Type="http://schemas.openxmlformats.org/officeDocument/2006/relationships/slideLayout" Target="../slideLayouts/slideLayout329.xml"/><Relationship Id="rId2" Type="http://schemas.openxmlformats.org/officeDocument/2006/relationships/slideLayout" Target="../slideLayouts/slideLayout330.xml"/><Relationship Id="rId3" Type="http://schemas.openxmlformats.org/officeDocument/2006/relationships/slideLayout" Target="../slideLayouts/slideLayout331.xml"/><Relationship Id="rId4" Type="http://schemas.openxmlformats.org/officeDocument/2006/relationships/slideLayout" Target="../slideLayouts/slideLayout332.xml"/><Relationship Id="rId5" Type="http://schemas.openxmlformats.org/officeDocument/2006/relationships/slideLayout" Target="../slideLayouts/slideLayout333.xml"/><Relationship Id="rId6" Type="http://schemas.openxmlformats.org/officeDocument/2006/relationships/slideLayout" Target="../slideLayouts/slideLayout334.xml"/><Relationship Id="rId7" Type="http://schemas.openxmlformats.org/officeDocument/2006/relationships/slideLayout" Target="../slideLayouts/slideLayout335.xml"/><Relationship Id="rId8" Type="http://schemas.openxmlformats.org/officeDocument/2006/relationships/slideLayout" Target="../slideLayouts/slideLayout336.xml"/><Relationship Id="rId9" Type="http://schemas.openxmlformats.org/officeDocument/2006/relationships/slideLayout" Target="../slideLayouts/slideLayout337.xml"/><Relationship Id="rId10" Type="http://schemas.openxmlformats.org/officeDocument/2006/relationships/slideLayout" Target="../slideLayouts/slideLayout338.xml"/><Relationship Id="rId11" Type="http://schemas.openxmlformats.org/officeDocument/2006/relationships/slideLayout" Target="../slideLayouts/slideLayout339.xml"/><Relationship Id="rId12" Type="http://schemas.openxmlformats.org/officeDocument/2006/relationships/slideLayout" Target="../slideLayouts/slideLayout340.xml"/><Relationship Id="rId13" Type="http://schemas.openxmlformats.org/officeDocument/2006/relationships/slideLayout" Target="../slideLayouts/slideLayout341.xml"/><Relationship Id="rId14" Type="http://schemas.openxmlformats.org/officeDocument/2006/relationships/slideLayout" Target="../slideLayouts/slideLayout342.xml"/><Relationship Id="rId15" Type="http://schemas.openxmlformats.org/officeDocument/2006/relationships/slideLayout" Target="../slideLayouts/slideLayout343.xml"/><Relationship Id="rId16" Type="http://schemas.openxmlformats.org/officeDocument/2006/relationships/slideLayout" Target="../slideLayouts/slideLayout344.xml"/><Relationship Id="rId17" Type="http://schemas.openxmlformats.org/officeDocument/2006/relationships/slideLayout" Target="../slideLayouts/slideLayout345.xml"/><Relationship Id="rId18" Type="http://schemas.openxmlformats.org/officeDocument/2006/relationships/slideLayout" Target="../slideLayouts/slideLayout346.xml"/><Relationship Id="rId19" Type="http://schemas.openxmlformats.org/officeDocument/2006/relationships/slideLayout" Target="../slideLayouts/slideLayout347.xml"/><Relationship Id="rId20" Type="http://schemas.openxmlformats.org/officeDocument/2006/relationships/theme" Target="../theme/theme9.xml"/><Relationship Id="rId21" Type="http://schemas.openxmlformats.org/officeDocument/2006/relationships/tags" Target="../tags/tag338.xml"/><Relationship Id="rId22" Type="http://schemas.openxmlformats.org/officeDocument/2006/relationships/tags" Target="../tags/tag339.xml"/><Relationship Id="rId23" Type="http://schemas.openxmlformats.org/officeDocument/2006/relationships/oleObject" Target="../embeddings/oleObject47.bin"/><Relationship Id="rId24" Type="http://schemas.openxmlformats.org/officeDocument/2006/relationships/image" Target="../media/image95.emf"/><Relationship Id="rId25" Type="http://schemas.openxmlformats.org/officeDocument/2006/relationships/image" Target="../media/image100.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7C25F6F-4514-4B34-8C1C-191CCD11E4DE}"/>
              </a:ext>
            </a:extLst>
          </p:cNvPr>
          <p:cNvGraphicFramePr>
            <a:graphicFrameLocks noChangeAspect="1"/>
          </p:cNvGraphicFramePr>
          <p:nvPr userDrawn="1">
            <p:custDataLst>
              <p:tags r:id="rId36"/>
            </p:custDataLst>
            <p:extLst>
              <p:ext uri="{D42A27DB-BD31-4B8C-83A1-F6EECF244321}">
                <p14:modId xmlns:p14="http://schemas.microsoft.com/office/powerpoint/2010/main" val="3440696153"/>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8" imgW="384" imgH="384" progId="TCLayout.ActiveDocument.1">
                  <p:embed/>
                </p:oleObj>
              </mc:Choice>
              <mc:Fallback>
                <p:oleObj name="think-cell Slide" r:id="rId38" imgW="384" imgH="384" progId="TCLayout.ActiveDocument.1">
                  <p:embed/>
                  <p:pic>
                    <p:nvPicPr>
                      <p:cNvPr id="9" name="Object 8" hidden="1">
                        <a:extLst>
                          <a:ext uri="{FF2B5EF4-FFF2-40B4-BE49-F238E27FC236}">
                            <a16:creationId xmlns:a16="http://schemas.microsoft.com/office/drawing/2014/main" id="{17C25F6F-4514-4B34-8C1C-191CCD11E4DE}"/>
                          </a:ext>
                        </a:extLst>
                      </p:cNvPr>
                      <p:cNvPicPr/>
                      <p:nvPr/>
                    </p:nvPicPr>
                    <p:blipFill>
                      <a:blip r:embed="rId39"/>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DF4B423-84FD-4A05-9CF5-E6AE7FB89696}"/>
              </a:ext>
            </a:extLst>
          </p:cNvPr>
          <p:cNvSpPr/>
          <p:nvPr userDrawn="1">
            <p:custDataLst>
              <p:tags r:id="rId37"/>
            </p:custDataLst>
          </p:nvPr>
        </p:nvSpPr>
        <p:spPr>
          <a:xfrm>
            <a:off x="0" y="0"/>
            <a:ext cx="211667" cy="211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lnSpc>
                <a:spcPct val="112000"/>
              </a:lnSpc>
            </a:pPr>
            <a:endParaRPr lang="en-GB" sz="2667" b="0" i="0" baseline="0">
              <a:latin typeface="Verdana" panose="020B0604030504040204" pitchFamily="34" charset="0"/>
              <a:ea typeface="+mj-ea"/>
              <a:cs typeface="+mj-cs"/>
              <a:sym typeface="Verdana" panose="020B0604030504040204" pitchFamily="34" charset="0"/>
            </a:endParaRPr>
          </a:p>
        </p:txBody>
      </p:sp>
      <p:sp>
        <p:nvSpPr>
          <p:cNvPr id="2" name="Title Placeholder 1"/>
          <p:cNvSpPr>
            <a:spLocks noGrp="1"/>
          </p:cNvSpPr>
          <p:nvPr>
            <p:ph type="title"/>
          </p:nvPr>
        </p:nvSpPr>
        <p:spPr>
          <a:xfrm>
            <a:off x="580291" y="548218"/>
            <a:ext cx="11035975" cy="1036965"/>
          </a:xfrm>
          <a:prstGeom prst="rect">
            <a:avLst/>
          </a:prstGeom>
        </p:spPr>
        <p:txBody>
          <a:bodyPr vert="horz" lIns="0" tIns="0" rIns="0" bIns="0" rtlCol="0" anchor="t" anchorCtr="0">
            <a:noAutofit/>
          </a:bodyPr>
          <a:lstStyle/>
          <a:p>
            <a:r>
              <a:rPr lang="en-GB"/>
              <a:t>Title</a:t>
            </a:r>
          </a:p>
        </p:txBody>
      </p:sp>
      <p:sp>
        <p:nvSpPr>
          <p:cNvPr id="3" name="Text Placeholder 2"/>
          <p:cNvSpPr>
            <a:spLocks noGrp="1"/>
          </p:cNvSpPr>
          <p:nvPr>
            <p:ph type="body" idx="1"/>
          </p:nvPr>
        </p:nvSpPr>
        <p:spPr>
          <a:xfrm>
            <a:off x="580291" y="1701801"/>
            <a:ext cx="11035975" cy="4366684"/>
          </a:xfrm>
          <a:prstGeom prst="rect">
            <a:avLst/>
          </a:prstGeom>
        </p:spPr>
        <p:txBody>
          <a:bodyPr vert="horz" lIns="0" tIns="0" rIns="0" bIns="0" rtlCol="0">
            <a:noAutofit/>
          </a:bodyPr>
          <a:lstStyle/>
          <a:p>
            <a:pPr lvl="0"/>
            <a:r>
              <a:rPr lang="en-GB"/>
              <a:t>Text level 1</a:t>
            </a:r>
          </a:p>
          <a:p>
            <a:pPr lvl="1"/>
            <a:r>
              <a:rPr lang="en-GB"/>
              <a:t>Text level 2</a:t>
            </a:r>
          </a:p>
          <a:p>
            <a:pPr lvl="2"/>
            <a:r>
              <a:rPr lang="en-GB"/>
              <a:t>Text level 3</a:t>
            </a:r>
          </a:p>
          <a:p>
            <a:pPr lvl="3"/>
            <a:r>
              <a:rPr lang="en-GB"/>
              <a:t>Text level 4</a:t>
            </a:r>
          </a:p>
          <a:p>
            <a:pPr lvl="4"/>
            <a:r>
              <a:rPr lang="en-GB"/>
              <a:t>Text level 5</a:t>
            </a:r>
          </a:p>
        </p:txBody>
      </p:sp>
      <p:sp>
        <p:nvSpPr>
          <p:cNvPr id="4" name="Date Placeholder 3"/>
          <p:cNvSpPr>
            <a:spLocks noGrp="1"/>
          </p:cNvSpPr>
          <p:nvPr>
            <p:ph type="dt" sz="half" idx="2"/>
          </p:nvPr>
        </p:nvSpPr>
        <p:spPr>
          <a:xfrm>
            <a:off x="9859273" y="6536947"/>
            <a:ext cx="624104" cy="123111"/>
          </a:xfrm>
          <a:prstGeom prst="rect">
            <a:avLst/>
          </a:prstGeom>
        </p:spPr>
        <p:txBody>
          <a:bodyPr vert="horz" wrap="none" lIns="0" tIns="0" rIns="0" bIns="0" rtlCol="0" anchor="ctr">
            <a:spAutoFit/>
          </a:bodyPr>
          <a:lstStyle>
            <a:lvl1pPr algn="r">
              <a:defRPr sz="800">
                <a:solidFill>
                  <a:schemeClr val="tx1">
                    <a:tint val="75000"/>
                  </a:schemeClr>
                </a:solidFill>
              </a:defRPr>
            </a:lvl1pPr>
          </a:lstStyle>
          <a:p>
            <a:fld id="{B35C4BB1-CFC5-4361-A14F-59B1242D4020}" type="datetime1">
              <a:rPr lang="en-GB" smtClean="0"/>
              <a:t>18/04/2025</a:t>
            </a:fld>
            <a:endParaRPr lang="en-GB"/>
          </a:p>
        </p:txBody>
      </p:sp>
      <p:sp>
        <p:nvSpPr>
          <p:cNvPr id="5" name="Footer Placeholder 4"/>
          <p:cNvSpPr>
            <a:spLocks noGrp="1"/>
          </p:cNvSpPr>
          <p:nvPr>
            <p:ph type="ftr" sz="quarter" idx="3"/>
          </p:nvPr>
        </p:nvSpPr>
        <p:spPr>
          <a:xfrm>
            <a:off x="936000" y="6547205"/>
            <a:ext cx="1652163" cy="102592"/>
          </a:xfrm>
          <a:prstGeom prst="rect">
            <a:avLst/>
          </a:prstGeom>
        </p:spPr>
        <p:txBody>
          <a:bodyPr vert="horz" wrap="none" lIns="0" tIns="0" rIns="0" bIns="0" rtlCol="0" anchor="ctr">
            <a:spAutoFit/>
          </a:bodyPr>
          <a:lstStyle>
            <a:lvl1pPr algn="l">
              <a:defRPr sz="667">
                <a:solidFill>
                  <a:schemeClr val="tx1">
                    <a:tint val="75000"/>
                  </a:schemeClr>
                </a:solidFill>
              </a:defRPr>
            </a:lvl1pPr>
          </a:lstStyle>
          <a:p>
            <a:r>
              <a:rPr lang="en-GB"/>
              <a:t>Draft | Internal use only | Confidential</a:t>
            </a:r>
          </a:p>
        </p:txBody>
      </p:sp>
      <p:sp>
        <p:nvSpPr>
          <p:cNvPr id="6" name="Slide Number Placeholder 5"/>
          <p:cNvSpPr>
            <a:spLocks noGrp="1"/>
          </p:cNvSpPr>
          <p:nvPr>
            <p:ph type="sldNum" sz="quarter" idx="4"/>
          </p:nvPr>
        </p:nvSpPr>
        <p:spPr>
          <a:xfrm>
            <a:off x="667200" y="6547205"/>
            <a:ext cx="147477" cy="102592"/>
          </a:xfrm>
          <a:prstGeom prst="rect">
            <a:avLst/>
          </a:prstGeom>
        </p:spPr>
        <p:txBody>
          <a:bodyPr vert="horz" wrap="none" lIns="0" tIns="0" rIns="0" bIns="0" rtlCol="0" anchor="ctr">
            <a:spAutoFit/>
          </a:bodyPr>
          <a:lstStyle>
            <a:lvl1pPr algn="l">
              <a:defRPr sz="667">
                <a:solidFill>
                  <a:schemeClr val="tx1">
                    <a:tint val="75000"/>
                  </a:schemeClr>
                </a:solidFill>
              </a:defRPr>
            </a:lvl1pPr>
          </a:lstStyle>
          <a:p>
            <a:fld id="{9BE0E23E-9022-4929-B297-EB2777CDBB1F}" type="slidenum">
              <a:rPr lang="en-GB" smtClean="0"/>
              <a:pPr/>
              <a:t>‹#›</a:t>
            </a:fld>
            <a:endParaRPr lang="en-GB"/>
          </a:p>
        </p:txBody>
      </p:sp>
      <p:cxnSp>
        <p:nvCxnSpPr>
          <p:cNvPr id="11" name="Rechte verbindingslijn 9">
            <a:extLst>
              <a:ext uri="{FF2B5EF4-FFF2-40B4-BE49-F238E27FC236}">
                <a16:creationId xmlns:a16="http://schemas.microsoft.com/office/drawing/2014/main" id="{AF587998-E37B-43F2-86DE-06962A63E46C}"/>
              </a:ext>
            </a:extLst>
          </p:cNvPr>
          <p:cNvCxnSpPr/>
          <p:nvPr userDrawn="1"/>
        </p:nvCxnSpPr>
        <p:spPr>
          <a:xfrm>
            <a:off x="580291" y="6478501"/>
            <a:ext cx="0" cy="240000"/>
          </a:xfrm>
          <a:prstGeom prst="line">
            <a:avLst/>
          </a:prstGeom>
          <a:ln w="635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8" name="Afbeelding 7">
            <a:extLst>
              <a:ext uri="{FF2B5EF4-FFF2-40B4-BE49-F238E27FC236}">
                <a16:creationId xmlns:a16="http://schemas.microsoft.com/office/drawing/2014/main" id="{51429B44-0B0C-6DEB-4D36-E060AE57454B}"/>
              </a:ext>
            </a:extLst>
          </p:cNvPr>
          <p:cNvPicPr>
            <a:picLocks noChangeAspect="1"/>
          </p:cNvPicPr>
          <p:nvPr userDrawn="1"/>
        </p:nvPicPr>
        <p:blipFill>
          <a:blip r:embed="rId40">
            <a:extLst>
              <a:ext uri="{28A0092B-C50C-407E-A947-70E740481C1C}">
                <a14:useLocalDpi xmlns:a14="http://schemas.microsoft.com/office/drawing/2010/main" val="0"/>
              </a:ext>
            </a:extLst>
          </a:blip>
          <a:stretch>
            <a:fillRect/>
          </a:stretch>
        </p:blipFill>
        <p:spPr>
          <a:xfrm>
            <a:off x="11045235" y="6275433"/>
            <a:ext cx="907204" cy="480172"/>
          </a:xfrm>
          <a:prstGeom prst="rect">
            <a:avLst/>
          </a:prstGeom>
        </p:spPr>
      </p:pic>
    </p:spTree>
    <p:extLst>
      <p:ext uri="{BB962C8B-B14F-4D97-AF65-F5344CB8AC3E}">
        <p14:creationId xmlns:p14="http://schemas.microsoft.com/office/powerpoint/2010/main" val="3395643174"/>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 id="2147483698" r:id="rId19"/>
    <p:sldLayoutId id="2147483699" r:id="rId20"/>
    <p:sldLayoutId id="2147483700" r:id="rId21"/>
    <p:sldLayoutId id="2147483701" r:id="rId22"/>
    <p:sldLayoutId id="2147483702" r:id="rId23"/>
    <p:sldLayoutId id="2147483703" r:id="rId24"/>
    <p:sldLayoutId id="2147483704" r:id="rId25"/>
    <p:sldLayoutId id="2147483705" r:id="rId26"/>
    <p:sldLayoutId id="2147483706" r:id="rId27"/>
    <p:sldLayoutId id="2147483707" r:id="rId28"/>
    <p:sldLayoutId id="2147483708" r:id="rId29"/>
    <p:sldLayoutId id="2147483709" r:id="rId30"/>
    <p:sldLayoutId id="2147483710" r:id="rId31"/>
    <p:sldLayoutId id="2147483711" r:id="rId32"/>
    <p:sldLayoutId id="2147483712" r:id="rId33"/>
    <p:sldLayoutId id="2147483713" r:id="rId3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7" rtl="0" eaLnBrk="1" latinLnBrk="0" hangingPunct="1">
        <a:lnSpc>
          <a:spcPct val="90000"/>
        </a:lnSpc>
        <a:spcBef>
          <a:spcPct val="0"/>
        </a:spcBef>
        <a:buNone/>
        <a:defRPr sz="2667" kern="1200">
          <a:solidFill>
            <a:schemeClr val="accent1"/>
          </a:solidFill>
          <a:latin typeface="+mj-lt"/>
          <a:ea typeface="+mj-ea"/>
          <a:cs typeface="+mj-cs"/>
        </a:defRPr>
      </a:lvl1pPr>
    </p:titleStyle>
    <p:bodyStyle>
      <a:lvl1pPr marL="234945" indent="-234945" algn="l" defTabSz="914377" rtl="0" eaLnBrk="1" latinLnBrk="0" hangingPunct="1">
        <a:lnSpc>
          <a:spcPct val="113000"/>
        </a:lnSpc>
        <a:spcBef>
          <a:spcPts val="1600"/>
        </a:spcBef>
        <a:buClr>
          <a:schemeClr val="accent1"/>
        </a:buClr>
        <a:buFont typeface="Symbol" panose="05050102010706020507" pitchFamily="18" charset="2"/>
        <a:buChar char="·"/>
        <a:defRPr sz="1867" kern="1200">
          <a:solidFill>
            <a:schemeClr val="tx1"/>
          </a:solidFill>
          <a:latin typeface="+mn-lt"/>
          <a:ea typeface="+mn-ea"/>
          <a:cs typeface="+mn-cs"/>
        </a:defRPr>
      </a:lvl1pPr>
      <a:lvl2pPr marL="480472" indent="-228594" algn="l" defTabSz="914377" rtl="0" eaLnBrk="1" latinLnBrk="0" hangingPunct="1">
        <a:lnSpc>
          <a:spcPct val="100000"/>
        </a:lnSpc>
        <a:spcBef>
          <a:spcPts val="500"/>
        </a:spcBef>
        <a:buClr>
          <a:schemeClr val="accent1"/>
        </a:buClr>
        <a:buFont typeface="Symbol" panose="05050102010706020507" pitchFamily="18" charset="2"/>
        <a:buChar char="·"/>
        <a:defRPr sz="1867" kern="1200">
          <a:solidFill>
            <a:schemeClr val="tx1"/>
          </a:solidFill>
          <a:latin typeface="+mn-lt"/>
          <a:ea typeface="+mn-ea"/>
          <a:cs typeface="+mn-cs"/>
        </a:defRPr>
      </a:lvl2pPr>
      <a:lvl3pPr marL="715415" indent="-228594" algn="l" defTabSz="914377" rtl="0" eaLnBrk="1" latinLnBrk="0" hangingPunct="1">
        <a:lnSpc>
          <a:spcPct val="100000"/>
        </a:lnSpc>
        <a:spcBef>
          <a:spcPts val="500"/>
        </a:spcBef>
        <a:buClr>
          <a:schemeClr val="accent1"/>
        </a:buClr>
        <a:buFont typeface="Symbol" panose="05050102010706020507" pitchFamily="18" charset="2"/>
        <a:buChar char="·"/>
        <a:defRPr sz="1867" kern="1200">
          <a:solidFill>
            <a:schemeClr val="tx1"/>
          </a:solidFill>
          <a:latin typeface="+mn-lt"/>
          <a:ea typeface="+mn-ea"/>
          <a:cs typeface="+mn-cs"/>
        </a:defRPr>
      </a:lvl3pPr>
      <a:lvl4pPr marL="960943" indent="-228594" algn="l" defTabSz="914377" rtl="0" eaLnBrk="1" latinLnBrk="0" hangingPunct="1">
        <a:lnSpc>
          <a:spcPct val="100000"/>
        </a:lnSpc>
        <a:spcBef>
          <a:spcPts val="500"/>
        </a:spcBef>
        <a:buClr>
          <a:schemeClr val="accent1"/>
        </a:buClr>
        <a:buFont typeface="Symbol" panose="05050102010706020507" pitchFamily="18" charset="2"/>
        <a:buChar char="·"/>
        <a:defRPr sz="1867" kern="1200">
          <a:solidFill>
            <a:schemeClr val="tx1"/>
          </a:solidFill>
          <a:latin typeface="+mn-lt"/>
          <a:ea typeface="+mn-ea"/>
          <a:cs typeface="+mn-cs"/>
        </a:defRPr>
      </a:lvl4pPr>
      <a:lvl5pPr marL="1195887" indent="-228594" algn="l" defTabSz="914377" rtl="0" eaLnBrk="1" latinLnBrk="0" hangingPunct="1">
        <a:lnSpc>
          <a:spcPct val="100000"/>
        </a:lnSpc>
        <a:spcBef>
          <a:spcPts val="500"/>
        </a:spcBef>
        <a:buClr>
          <a:schemeClr val="accent1"/>
        </a:buClr>
        <a:buFont typeface="Symbol" panose="05050102010706020507" pitchFamily="18" charset="2"/>
        <a:buChar char="·"/>
        <a:defRPr sz="1867" kern="1200">
          <a:solidFill>
            <a:schemeClr val="tx1"/>
          </a:solidFill>
          <a:latin typeface="+mn-lt"/>
          <a:ea typeface="+mn-ea"/>
          <a:cs typeface="+mn-cs"/>
        </a:defRPr>
      </a:lvl5pPr>
      <a:lvl6pPr marL="1437181" indent="-239178" algn="l" defTabSz="914377" rtl="0" eaLnBrk="1" latinLnBrk="0" hangingPunct="1">
        <a:lnSpc>
          <a:spcPct val="90000"/>
        </a:lnSpc>
        <a:spcBef>
          <a:spcPts val="500"/>
        </a:spcBef>
        <a:buClr>
          <a:schemeClr val="accent1"/>
        </a:buClr>
        <a:buFont typeface="Verdana" panose="020B0604030504040204" pitchFamily="34" charset="0"/>
        <a:buChar char="•"/>
        <a:defRPr sz="1800" kern="1200">
          <a:solidFill>
            <a:schemeClr val="tx1"/>
          </a:solidFill>
          <a:latin typeface="+mn-lt"/>
          <a:ea typeface="+mn-ea"/>
          <a:cs typeface="+mn-cs"/>
        </a:defRPr>
      </a:lvl6pPr>
      <a:lvl7pPr marL="1674242" indent="-237061" algn="l" defTabSz="914377" rtl="0" eaLnBrk="1" latinLnBrk="0" hangingPunct="1">
        <a:lnSpc>
          <a:spcPct val="90000"/>
        </a:lnSpc>
        <a:spcBef>
          <a:spcPts val="500"/>
        </a:spcBef>
        <a:buClr>
          <a:schemeClr val="accent1"/>
        </a:buClr>
        <a:buFont typeface="Verdana" panose="020B0604030504040204" pitchFamily="34" charset="0"/>
        <a:buChar char="•"/>
        <a:defRPr sz="1800" kern="1200">
          <a:solidFill>
            <a:schemeClr val="tx1"/>
          </a:solidFill>
          <a:latin typeface="+mn-lt"/>
          <a:ea typeface="+mn-ea"/>
          <a:cs typeface="+mn-cs"/>
        </a:defRPr>
      </a:lvl7pPr>
      <a:lvl8pPr marL="1911303" indent="-237061" algn="l" defTabSz="914377" rtl="0" eaLnBrk="1" latinLnBrk="0" hangingPunct="1">
        <a:lnSpc>
          <a:spcPct val="90000"/>
        </a:lnSpc>
        <a:spcBef>
          <a:spcPts val="500"/>
        </a:spcBef>
        <a:buClr>
          <a:schemeClr val="accent1"/>
        </a:buClr>
        <a:buFont typeface="Verdana" panose="020B0604030504040204" pitchFamily="34" charset="0"/>
        <a:buChar char="•"/>
        <a:defRPr sz="1800" kern="1200">
          <a:solidFill>
            <a:schemeClr val="tx1"/>
          </a:solidFill>
          <a:latin typeface="+mn-lt"/>
          <a:ea typeface="+mn-ea"/>
          <a:cs typeface="+mn-cs"/>
        </a:defRPr>
      </a:lvl8pPr>
      <a:lvl9pPr marL="2148364" indent="-237061" algn="l" defTabSz="914377" rtl="0" eaLnBrk="1" latinLnBrk="0" hangingPunct="1">
        <a:lnSpc>
          <a:spcPct val="90000"/>
        </a:lnSpc>
        <a:spcBef>
          <a:spcPts val="500"/>
        </a:spcBef>
        <a:buClr>
          <a:schemeClr val="accent1"/>
        </a:buClr>
        <a:buFont typeface="Verdana" panose="020B060403050404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488">
          <p15:clr>
            <a:srgbClr val="F26B43"/>
          </p15:clr>
        </p15:guide>
        <p15:guide id="3" pos="272">
          <p15:clr>
            <a:srgbClr val="F26B43"/>
          </p15:clr>
        </p15:guide>
        <p15:guide id="5" orient="horz" pos="2867">
          <p15:clr>
            <a:srgbClr val="F26B43"/>
          </p15:clr>
        </p15:guide>
        <p15:guide id="6" orient="horz" pos="804">
          <p15:clr>
            <a:srgbClr val="F26B43"/>
          </p15:clr>
        </p15:guide>
        <p15:guide id="7" orient="horz" pos="758">
          <p15:clr>
            <a:srgbClr val="F26B43"/>
          </p15:clr>
        </p15:guide>
        <p15:guide id="8" orient="horz" pos="259">
          <p15:clr>
            <a:srgbClr val="F26B43"/>
          </p15:clr>
        </p15:guide>
        <p15:guide id="9" orient="horz" pos="3140">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327825B-7A22-6F6D-5C66-82D73FBD05D9}"/>
              </a:ext>
            </a:extLst>
          </p:cNvPr>
          <p:cNvGraphicFramePr>
            <a:graphicFrameLocks noChangeAspect="1"/>
          </p:cNvGraphicFramePr>
          <p:nvPr userDrawn="1">
            <p:custDataLst>
              <p:tags r:id="rId22"/>
            </p:custDataLst>
            <p:extLst>
              <p:ext uri="{D42A27DB-BD31-4B8C-83A1-F6EECF244321}">
                <p14:modId xmlns:p14="http://schemas.microsoft.com/office/powerpoint/2010/main" val="375925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395" imgH="396" progId="TCLayout.ActiveDocument.1">
                  <p:embed/>
                </p:oleObj>
              </mc:Choice>
              <mc:Fallback>
                <p:oleObj name="think-cell Slide" r:id="rId23" imgW="395" imgH="396" progId="TCLayout.ActiveDocument.1">
                  <p:embed/>
                  <p:pic>
                    <p:nvPicPr>
                      <p:cNvPr id="4" name="think-cell data - do not delete" hidden="1">
                        <a:extLst>
                          <a:ext uri="{FF2B5EF4-FFF2-40B4-BE49-F238E27FC236}">
                            <a16:creationId xmlns:a16="http://schemas.microsoft.com/office/drawing/2014/main" id="{7327825B-7A22-6F6D-5C66-82D73FBD05D9}"/>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cxnSp>
        <p:nvCxnSpPr>
          <p:cNvPr id="10" name="Vertical line">
            <a:extLst>
              <a:ext uri="{FF2B5EF4-FFF2-40B4-BE49-F238E27FC236}">
                <a16:creationId xmlns:a16="http://schemas.microsoft.com/office/drawing/2014/main" id="{1F922ECB-9D58-E161-69E3-C76D8DB1AE65}"/>
              </a:ext>
            </a:extLst>
          </p:cNvPr>
          <p:cNvCxnSpPr>
            <a:cxnSpLocks/>
          </p:cNvCxnSpPr>
          <p:nvPr userDrawn="1"/>
        </p:nvCxnSpPr>
        <p:spPr>
          <a:xfrm>
            <a:off x="11350486" y="6120028"/>
            <a:ext cx="0" cy="360000"/>
          </a:xfrm>
          <a:prstGeom prst="line">
            <a:avLst/>
          </a:prstGeom>
          <a:ln w="12700" cap="rnd">
            <a:solidFill>
              <a:schemeClr val="bg2"/>
            </a:solidFill>
          </a:ln>
        </p:spPr>
        <p:style>
          <a:lnRef idx="1">
            <a:schemeClr val="accent1"/>
          </a:lnRef>
          <a:fillRef idx="0">
            <a:schemeClr val="accent1"/>
          </a:fillRef>
          <a:effectRef idx="0">
            <a:schemeClr val="accent1"/>
          </a:effectRef>
          <a:fontRef idx="minor">
            <a:schemeClr val="tx1"/>
          </a:fontRef>
        </p:style>
      </p:cxnSp>
      <p:pic>
        <p:nvPicPr>
          <p:cNvPr id="5" name="Logo">
            <a:extLst>
              <a:ext uri="{FF2B5EF4-FFF2-40B4-BE49-F238E27FC236}">
                <a16:creationId xmlns:a16="http://schemas.microsoft.com/office/drawing/2014/main" id="{6EFAABCE-DC3A-B4F9-D7AE-B7E05C794101}"/>
              </a:ext>
            </a:extLst>
          </p:cNvPr>
          <p:cNvPicPr>
            <a:picLocks noChangeAspect="1"/>
          </p:cNvPicPr>
          <p:nvPr userDrawn="1"/>
        </p:nvPicPr>
        <p:blipFill>
          <a:blip r:embed="rId25">
            <a:extLst>
              <a:ext uri="{96DAC541-7B7A-43D3-8B79-37D633B846F1}">
                <asvg:svgBlip xmlns:asvg="http://schemas.microsoft.com/office/drawing/2016/SVG/main" r:embed="rId26"/>
              </a:ext>
            </a:extLst>
          </a:blip>
          <a:stretch>
            <a:fillRect/>
          </a:stretch>
        </p:blipFill>
        <p:spPr>
          <a:xfrm>
            <a:off x="10212789" y="6119234"/>
            <a:ext cx="1012501" cy="360000"/>
          </a:xfrm>
          <a:prstGeom prst="rect">
            <a:avLst/>
          </a:prstGeom>
        </p:spPr>
      </p:pic>
      <p:cxnSp>
        <p:nvCxnSpPr>
          <p:cNvPr id="8" name="bottom separator">
            <a:extLst>
              <a:ext uri="{FF2B5EF4-FFF2-40B4-BE49-F238E27FC236}">
                <a16:creationId xmlns:a16="http://schemas.microsoft.com/office/drawing/2014/main" id="{A7A30446-3D3E-F09D-7F3E-73DBABEE4DDF}"/>
              </a:ext>
            </a:extLst>
          </p:cNvPr>
          <p:cNvCxnSpPr/>
          <p:nvPr userDrawn="1"/>
        </p:nvCxnSpPr>
        <p:spPr>
          <a:xfrm>
            <a:off x="515938" y="5966085"/>
            <a:ext cx="11196637" cy="0"/>
          </a:xfrm>
          <a:prstGeom prst="line">
            <a:avLst/>
          </a:prstGeom>
          <a:ln w="6350">
            <a:solidFill>
              <a:srgbClr val="E7E6E6"/>
            </a:solidFill>
          </a:ln>
        </p:spPr>
        <p:style>
          <a:lnRef idx="1">
            <a:schemeClr val="accent1"/>
          </a:lnRef>
          <a:fillRef idx="0">
            <a:schemeClr val="accent1"/>
          </a:fillRef>
          <a:effectRef idx="0">
            <a:schemeClr val="accent1"/>
          </a:effectRef>
          <a:fontRef idx="minor">
            <a:schemeClr val="tx1"/>
          </a:fontRef>
        </p:style>
      </p:cxnSp>
      <p:sp>
        <p:nvSpPr>
          <p:cNvPr id="3" name="content">
            <a:extLst>
              <a:ext uri="{FF2B5EF4-FFF2-40B4-BE49-F238E27FC236}">
                <a16:creationId xmlns:a16="http://schemas.microsoft.com/office/drawing/2014/main" id="{EB5A08B0-E5EF-A42E-0EDB-6947D2BC1FAF}"/>
              </a:ext>
            </a:extLst>
          </p:cNvPr>
          <p:cNvSpPr>
            <a:spLocks noGrp="1"/>
          </p:cNvSpPr>
          <p:nvPr>
            <p:ph type="body" idx="1"/>
          </p:nvPr>
        </p:nvSpPr>
        <p:spPr>
          <a:xfrm>
            <a:off x="524656" y="1044235"/>
            <a:ext cx="11151344" cy="4824412"/>
          </a:xfrm>
          <a:prstGeom prst="rect">
            <a:avLst/>
          </a:prstGeom>
        </p:spPr>
        <p:txBody>
          <a:bodyPr vert="horz" lIns="0" tIns="0" rIns="0" bIns="0" rtlCol="0">
            <a:noAutofit/>
          </a:bodyPr>
          <a:lstStyle/>
          <a:p>
            <a:pPr lvl="0"/>
            <a:r>
              <a:rPr lang="en-US"/>
              <a:t>Click to edit</a:t>
            </a:r>
            <a:endParaRPr lang="en-IN"/>
          </a:p>
        </p:txBody>
      </p:sp>
      <p:cxnSp>
        <p:nvCxnSpPr>
          <p:cNvPr id="7" name="top separator">
            <a:extLst>
              <a:ext uri="{FF2B5EF4-FFF2-40B4-BE49-F238E27FC236}">
                <a16:creationId xmlns:a16="http://schemas.microsoft.com/office/drawing/2014/main" id="{65F6607A-28EE-4556-CE5E-9D891AAC2242}"/>
              </a:ext>
            </a:extLst>
          </p:cNvPr>
          <p:cNvCxnSpPr/>
          <p:nvPr userDrawn="1"/>
        </p:nvCxnSpPr>
        <p:spPr>
          <a:xfrm>
            <a:off x="515938" y="989353"/>
            <a:ext cx="11196637" cy="0"/>
          </a:xfrm>
          <a:prstGeom prst="line">
            <a:avLst/>
          </a:prstGeom>
          <a:ln w="6350">
            <a:solidFill>
              <a:srgbClr val="E7E6E6"/>
            </a:solidFill>
          </a:ln>
        </p:spPr>
        <p:style>
          <a:lnRef idx="1">
            <a:schemeClr val="accent1"/>
          </a:lnRef>
          <a:fillRef idx="0">
            <a:schemeClr val="accent1"/>
          </a:fillRef>
          <a:effectRef idx="0">
            <a:schemeClr val="accent1"/>
          </a:effectRef>
          <a:fontRef idx="minor">
            <a:schemeClr val="tx1"/>
          </a:fontRef>
        </p:style>
      </p:cxnSp>
      <p:sp>
        <p:nvSpPr>
          <p:cNvPr id="18" name="Title">
            <a:extLst>
              <a:ext uri="{FF2B5EF4-FFF2-40B4-BE49-F238E27FC236}">
                <a16:creationId xmlns:a16="http://schemas.microsoft.com/office/drawing/2014/main" id="{6B91C196-7974-708D-2BA8-D18FFDC10ACD}"/>
              </a:ext>
            </a:extLst>
          </p:cNvPr>
          <p:cNvSpPr>
            <a:spLocks noGrp="1"/>
          </p:cNvSpPr>
          <p:nvPr>
            <p:ph type="title"/>
          </p:nvPr>
        </p:nvSpPr>
        <p:spPr>
          <a:xfrm>
            <a:off x="524656" y="193764"/>
            <a:ext cx="11160000" cy="774000"/>
          </a:xfrm>
          <a:prstGeom prst="rect">
            <a:avLst/>
          </a:prstGeom>
        </p:spPr>
        <p:txBody>
          <a:bodyPr vert="horz" lIns="0" tIns="45720" rIns="91440" bIns="45720" rtlCol="0" anchor="b">
            <a:noAutofit/>
          </a:bodyPr>
          <a:lstStyle/>
          <a:p>
            <a:r>
              <a:rPr lang="en-US"/>
              <a:t>Click to edit Master title style</a:t>
            </a:r>
            <a:endParaRPr lang="en-NL"/>
          </a:p>
        </p:txBody>
      </p:sp>
    </p:spTree>
    <p:extLst>
      <p:ext uri="{BB962C8B-B14F-4D97-AF65-F5344CB8AC3E}">
        <p14:creationId xmlns:p14="http://schemas.microsoft.com/office/powerpoint/2010/main" val="705737142"/>
      </p:ext>
    </p:extLst>
  </p:cSld>
  <p:clrMap bg1="lt1" tx1="dk1" bg2="lt2" tx2="dk2" accent1="accent1" accent2="accent2" accent3="accent3" accent4="accent4" accent5="accent5" accent6="accent6" hlink="hlink" folHlink="folHlink"/>
  <p:sldLayoutIdLst>
    <p:sldLayoutId id="2147484232" r:id="rId1"/>
    <p:sldLayoutId id="2147484233" r:id="rId2"/>
    <p:sldLayoutId id="2147484234" r:id="rId3"/>
    <p:sldLayoutId id="2147484235" r:id="rId4"/>
    <p:sldLayoutId id="2147484236" r:id="rId5"/>
    <p:sldLayoutId id="2147484237" r:id="rId6"/>
    <p:sldLayoutId id="2147484238" r:id="rId7"/>
    <p:sldLayoutId id="2147484239" r:id="rId8"/>
    <p:sldLayoutId id="2147484240" r:id="rId9"/>
    <p:sldLayoutId id="2147484241" r:id="rId10"/>
    <p:sldLayoutId id="2147484242" r:id="rId11"/>
    <p:sldLayoutId id="2147484243" r:id="rId12"/>
    <p:sldLayoutId id="2147484244" r:id="rId13"/>
    <p:sldLayoutId id="2147484245" r:id="rId14"/>
    <p:sldLayoutId id="2147484246" r:id="rId15"/>
    <p:sldLayoutId id="2147484247" r:id="rId16"/>
    <p:sldLayoutId id="2147484248" r:id="rId17"/>
    <p:sldLayoutId id="2147484249" r:id="rId18"/>
    <p:sldLayoutId id="2147484250" r:id="rId19"/>
    <p:sldLayoutId id="2147484251" r:id="rId20"/>
  </p:sldLayoutIdLst>
  <p:hf hdr="0" ftr="0" dt="0"/>
  <p:txStyles>
    <p:titleStyle>
      <a:lvl1pPr algn="l" defTabSz="914400" rtl="0" eaLnBrk="1" latinLnBrk="0" hangingPunct="1">
        <a:lnSpc>
          <a:spcPct val="100000"/>
        </a:lnSpc>
        <a:spcBef>
          <a:spcPct val="0"/>
        </a:spcBef>
        <a:buNone/>
        <a:defRPr sz="2600" b="1" kern="1200">
          <a:solidFill>
            <a:schemeClr val="tx2"/>
          </a:solidFill>
          <a:latin typeface="+mj-lt"/>
          <a:ea typeface="+mj-ea"/>
          <a:cs typeface="+mj-cs"/>
        </a:defRPr>
      </a:lvl1pPr>
    </p:titleStyle>
    <p:bodyStyle>
      <a:lvl1pPr marL="171450" indent="-171450" algn="l" defTabSz="914400" rtl="0" eaLnBrk="1" latinLnBrk="0" hangingPunct="1">
        <a:lnSpc>
          <a:spcPts val="1400"/>
        </a:lnSpc>
        <a:spcBef>
          <a:spcPts val="600"/>
        </a:spcBef>
        <a:spcAft>
          <a:spcPts val="600"/>
        </a:spcAft>
        <a:buClr>
          <a:schemeClr val="bg2"/>
        </a:buClr>
        <a:buFont typeface="Arial" panose="020B0604020202020204" pitchFamily="34" charset="0"/>
        <a:buChar char="•"/>
        <a:defRPr sz="1200" kern="1200">
          <a:solidFill>
            <a:schemeClr val="tx2"/>
          </a:solidFill>
          <a:latin typeface="+mn-lt"/>
          <a:ea typeface="+mn-ea"/>
          <a:cs typeface="+mn-cs"/>
        </a:defRPr>
      </a:lvl1pPr>
      <a:lvl2pPr marL="685800" indent="-228600" algn="l" defTabSz="914400" rtl="0" eaLnBrk="1" latinLnBrk="0" hangingPunct="1">
        <a:lnSpc>
          <a:spcPct val="100000"/>
        </a:lnSpc>
        <a:spcBef>
          <a:spcPts val="600"/>
        </a:spcBef>
        <a:buClr>
          <a:schemeClr val="accent1"/>
        </a:buClr>
        <a:buFont typeface="Arial" panose="020B0604020202020204" pitchFamily="34" charset="0"/>
        <a:buChar char="•"/>
        <a:defRPr sz="1200" kern="1200">
          <a:solidFill>
            <a:schemeClr val="tx2"/>
          </a:solidFill>
          <a:latin typeface="+mn-lt"/>
          <a:ea typeface="+mn-ea"/>
          <a:cs typeface="+mn-cs"/>
        </a:defRPr>
      </a:lvl2pPr>
      <a:lvl3pPr marL="1143000" indent="-228600" algn="l" defTabSz="914400" rtl="0" eaLnBrk="1" latinLnBrk="0" hangingPunct="1">
        <a:lnSpc>
          <a:spcPct val="100000"/>
        </a:lnSpc>
        <a:spcBef>
          <a:spcPts val="600"/>
        </a:spcBef>
        <a:buClr>
          <a:schemeClr val="accent1"/>
        </a:buClr>
        <a:buFont typeface="Arial" panose="020B0604020202020204" pitchFamily="34" charset="0"/>
        <a:buChar char="•"/>
        <a:defRPr sz="1200" kern="1200">
          <a:solidFill>
            <a:schemeClr val="tx2"/>
          </a:solidFill>
          <a:latin typeface="+mn-lt"/>
          <a:ea typeface="+mn-ea"/>
          <a:cs typeface="+mn-cs"/>
        </a:defRPr>
      </a:lvl3pPr>
      <a:lvl4pPr marL="1543050" indent="-171450" algn="l" defTabSz="914400" rtl="0" eaLnBrk="1" latinLnBrk="0" hangingPunct="1">
        <a:lnSpc>
          <a:spcPct val="100000"/>
        </a:lnSpc>
        <a:spcBef>
          <a:spcPts val="600"/>
        </a:spcBef>
        <a:buClr>
          <a:schemeClr val="accent1"/>
        </a:buClr>
        <a:buFont typeface="Arial" panose="020B0604020202020204" pitchFamily="34" charset="0"/>
        <a:buChar char="•"/>
        <a:defRPr sz="1200" kern="1200">
          <a:solidFill>
            <a:schemeClr val="tx2"/>
          </a:solidFill>
          <a:latin typeface="+mn-lt"/>
          <a:ea typeface="+mn-ea"/>
          <a:cs typeface="+mn-cs"/>
        </a:defRPr>
      </a:lvl4pPr>
      <a:lvl5pPr marL="2057400" indent="-228600"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02">
          <p15:clr>
            <a:srgbClr val="F26B43"/>
          </p15:clr>
        </p15:guide>
        <p15:guide id="3" pos="325">
          <p15:clr>
            <a:srgbClr val="F26B43"/>
          </p15:clr>
        </p15:guide>
        <p15:guide id="4" pos="7355">
          <p15:clr>
            <a:srgbClr val="F26B43"/>
          </p15:clr>
        </p15:guide>
        <p15:guide id="5" orient="horz" pos="663">
          <p15:clr>
            <a:srgbClr val="F26B43"/>
          </p15:clr>
        </p15:guide>
        <p15:guide id="6" orient="horz" pos="3997">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2BE5FDC-B30E-4143-A615-1B4B11DA9013}"/>
              </a:ext>
            </a:extLst>
          </p:cNvPr>
          <p:cNvGraphicFramePr>
            <a:graphicFrameLocks noChangeAspect="1"/>
          </p:cNvGraphicFramePr>
          <p:nvPr userDrawn="1">
            <p:custDataLst>
              <p:tags r:id="rId44"/>
            </p:custDataLst>
            <p:extLst>
              <p:ext uri="{D42A27DB-BD31-4B8C-83A1-F6EECF244321}">
                <p14:modId xmlns:p14="http://schemas.microsoft.com/office/powerpoint/2010/main" val="2168607741"/>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46" imgW="473" imgH="476" progId="TCLayout.ActiveDocument.1">
                  <p:embed/>
                </p:oleObj>
              </mc:Choice>
              <mc:Fallback>
                <p:oleObj name="think-cell Slide" r:id="rId46" imgW="473" imgH="476" progId="TCLayout.ActiveDocument.1">
                  <p:embed/>
                  <p:pic>
                    <p:nvPicPr>
                      <p:cNvPr id="9" name="Object 8" hidden="1">
                        <a:extLst>
                          <a:ext uri="{FF2B5EF4-FFF2-40B4-BE49-F238E27FC236}">
                            <a16:creationId xmlns:a16="http://schemas.microsoft.com/office/drawing/2014/main" id="{F2BE5FDC-B30E-4143-A615-1B4B11DA9013}"/>
                          </a:ext>
                        </a:extLst>
                      </p:cNvPr>
                      <p:cNvPicPr/>
                      <p:nvPr/>
                    </p:nvPicPr>
                    <p:blipFill>
                      <a:blip r:embed="rId47"/>
                      <a:stretch>
                        <a:fillRect/>
                      </a:stretch>
                    </p:blipFill>
                    <p:spPr>
                      <a:xfrm>
                        <a:off x="2119" y="2119"/>
                        <a:ext cx="2117" cy="211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E2188EA4-2D16-4DBB-9344-36D7D41FF5A6}"/>
              </a:ext>
            </a:extLst>
          </p:cNvPr>
          <p:cNvSpPr/>
          <p:nvPr userDrawn="1">
            <p:custDataLst>
              <p:tags r:id="rId45"/>
            </p:custDataLst>
          </p:nvPr>
        </p:nvSpPr>
        <p:spPr>
          <a:xfrm>
            <a:off x="1" y="1"/>
            <a:ext cx="211667" cy="211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lnSpc>
                <a:spcPct val="112000"/>
              </a:lnSpc>
            </a:pPr>
            <a:endParaRPr lang="en-US" sz="2667" b="0" i="0" baseline="0">
              <a:latin typeface="Verdana" panose="020B0604030504040204" pitchFamily="34" charset="0"/>
              <a:ea typeface="+mj-ea"/>
              <a:cs typeface="+mj-cs"/>
              <a:sym typeface="Verdana" panose="020B0604030504040204" pitchFamily="34" charset="0"/>
            </a:endParaRPr>
          </a:p>
        </p:txBody>
      </p:sp>
      <p:sp>
        <p:nvSpPr>
          <p:cNvPr id="2" name="Title Placeholder 1"/>
          <p:cNvSpPr>
            <a:spLocks noGrp="1"/>
          </p:cNvSpPr>
          <p:nvPr>
            <p:ph type="title"/>
          </p:nvPr>
        </p:nvSpPr>
        <p:spPr>
          <a:xfrm>
            <a:off x="575735" y="548219"/>
            <a:ext cx="11040532" cy="1036965"/>
          </a:xfrm>
          <a:prstGeom prst="rect">
            <a:avLst/>
          </a:prstGeom>
        </p:spPr>
        <p:txBody>
          <a:bodyPr vert="horz"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580293" y="1701801"/>
            <a:ext cx="11035975" cy="4176184"/>
          </a:xfrm>
          <a:prstGeom prst="rect">
            <a:avLst/>
          </a:prstGeom>
        </p:spPr>
        <p:txBody>
          <a:bodyPr vert="horz" lIns="0" tIns="0" rIns="0" bIns="0" rtlCol="0">
            <a:noAutofit/>
          </a:bodyPr>
          <a:lstStyle/>
          <a:p>
            <a:pPr lvl="0"/>
            <a:r>
              <a:rPr lang="nl-NL"/>
              <a:t>Klikken om de tekststijl van het model te bewerken</a:t>
            </a:r>
          </a:p>
          <a:p>
            <a:pPr lvl="1"/>
            <a:r>
              <a:rPr lang="nl-NL"/>
              <a:t>Second Level</a:t>
            </a:r>
          </a:p>
          <a:p>
            <a:pPr lvl="2"/>
            <a:r>
              <a:rPr lang="nl-NL"/>
              <a:t>Third Level</a:t>
            </a:r>
          </a:p>
          <a:p>
            <a:pPr lvl="3"/>
            <a:r>
              <a:rPr lang="nl-NL"/>
              <a:t>Fourth Level</a:t>
            </a:r>
          </a:p>
          <a:p>
            <a:pPr lvl="4"/>
            <a:r>
              <a:rPr lang="nl-NL"/>
              <a:t>Fifth Level</a:t>
            </a:r>
            <a:endParaRPr lang="en-US"/>
          </a:p>
        </p:txBody>
      </p:sp>
      <p:sp>
        <p:nvSpPr>
          <p:cNvPr id="4" name="Date Placeholder 3"/>
          <p:cNvSpPr>
            <a:spLocks noGrp="1"/>
          </p:cNvSpPr>
          <p:nvPr>
            <p:ph type="dt" sz="half" idx="2"/>
          </p:nvPr>
        </p:nvSpPr>
        <p:spPr>
          <a:xfrm>
            <a:off x="10183137" y="6491400"/>
            <a:ext cx="512961" cy="102657"/>
          </a:xfrm>
          <a:prstGeom prst="rect">
            <a:avLst/>
          </a:prstGeom>
        </p:spPr>
        <p:txBody>
          <a:bodyPr vert="horz" wrap="none" lIns="0" tIns="0" rIns="0" bIns="0" rtlCol="0" anchor="ctr">
            <a:spAutoFit/>
          </a:bodyPr>
          <a:lstStyle>
            <a:lvl1pPr algn="r">
              <a:defRPr sz="667">
                <a:solidFill>
                  <a:schemeClr val="tx1">
                    <a:tint val="75000"/>
                  </a:schemeClr>
                </a:solidFill>
              </a:defRPr>
            </a:lvl1pPr>
          </a:lstStyle>
          <a:p>
            <a:fld id="{97D319C3-7105-48F4-9E3D-8A1567AC366A}" type="datetime1">
              <a:rPr lang="en-US" smtClean="0"/>
              <a:t>4/18/2025</a:t>
            </a:fld>
            <a:endParaRPr lang="en-US"/>
          </a:p>
        </p:txBody>
      </p:sp>
      <p:sp>
        <p:nvSpPr>
          <p:cNvPr id="5" name="Footer Placeholder 4"/>
          <p:cNvSpPr>
            <a:spLocks noGrp="1"/>
          </p:cNvSpPr>
          <p:nvPr>
            <p:ph type="ftr" sz="quarter" idx="3"/>
          </p:nvPr>
        </p:nvSpPr>
        <p:spPr>
          <a:xfrm>
            <a:off x="848861" y="6491432"/>
            <a:ext cx="1652163" cy="102592"/>
          </a:xfrm>
          <a:prstGeom prst="rect">
            <a:avLst/>
          </a:prstGeom>
        </p:spPr>
        <p:txBody>
          <a:bodyPr vert="horz" wrap="none" lIns="0" tIns="0" rIns="0" bIns="0" rtlCol="0" anchor="ctr">
            <a:spAutoFit/>
          </a:bodyPr>
          <a:lstStyle>
            <a:lvl1pPr algn="l">
              <a:defRPr sz="667">
                <a:solidFill>
                  <a:schemeClr val="tx1">
                    <a:tint val="75000"/>
                  </a:schemeClr>
                </a:solidFill>
              </a:defRPr>
            </a:lvl1pPr>
          </a:lstStyle>
          <a:p>
            <a:r>
              <a:rPr lang="en-US"/>
              <a:t>FrieslandCampina Ingredients | Confidential</a:t>
            </a:r>
          </a:p>
        </p:txBody>
      </p:sp>
      <p:sp>
        <p:nvSpPr>
          <p:cNvPr id="6" name="Slide Number Placeholder 5"/>
          <p:cNvSpPr>
            <a:spLocks noGrp="1"/>
          </p:cNvSpPr>
          <p:nvPr>
            <p:ph type="sldNum" sz="quarter" idx="4"/>
          </p:nvPr>
        </p:nvSpPr>
        <p:spPr>
          <a:xfrm>
            <a:off x="580291" y="6491401"/>
            <a:ext cx="147476" cy="102657"/>
          </a:xfrm>
          <a:prstGeom prst="rect">
            <a:avLst/>
          </a:prstGeom>
        </p:spPr>
        <p:txBody>
          <a:bodyPr vert="horz" wrap="none" lIns="0" tIns="0" rIns="0" bIns="0" rtlCol="0" anchor="ctr">
            <a:spAutoFit/>
          </a:bodyPr>
          <a:lstStyle>
            <a:lvl1pPr algn="l">
              <a:defRPr sz="667">
                <a:solidFill>
                  <a:schemeClr val="tx1">
                    <a:tint val="75000"/>
                  </a:schemeClr>
                </a:solidFill>
              </a:defRPr>
            </a:lvl1pPr>
          </a:lstStyle>
          <a:p>
            <a:fld id="{9BE0E23E-9022-4929-B297-EB2777CDBB1F}" type="slidenum">
              <a:rPr lang="en-US" smtClean="0"/>
              <a:pPr/>
              <a:t>‹#›</a:t>
            </a:fld>
            <a:endParaRPr lang="en-US"/>
          </a:p>
        </p:txBody>
      </p:sp>
      <p:pic>
        <p:nvPicPr>
          <p:cNvPr id="11" name="Picture 4">
            <a:extLst>
              <a:ext uri="{FF2B5EF4-FFF2-40B4-BE49-F238E27FC236}">
                <a16:creationId xmlns:a16="http://schemas.microsoft.com/office/drawing/2014/main" id="{A15E03F2-BDA0-49BB-AA14-A24C0CBB1FA7}"/>
              </a:ext>
            </a:extLst>
          </p:cNvPr>
          <p:cNvPicPr>
            <a:picLocks noChangeAspect="1"/>
          </p:cNvPicPr>
          <p:nvPr userDrawn="1"/>
        </p:nvPicPr>
        <p:blipFill>
          <a:blip r:embed="rId48"/>
          <a:stretch>
            <a:fillRect/>
          </a:stretch>
        </p:blipFill>
        <p:spPr>
          <a:xfrm>
            <a:off x="10698280" y="6001372"/>
            <a:ext cx="1173195" cy="600904"/>
          </a:xfrm>
          <a:prstGeom prst="rect">
            <a:avLst/>
          </a:prstGeom>
        </p:spPr>
      </p:pic>
      <p:sp>
        <p:nvSpPr>
          <p:cNvPr id="7" name="RFC_Text_Format" hidden="1">
            <a:extLst>
              <a:ext uri="{FF2B5EF4-FFF2-40B4-BE49-F238E27FC236}">
                <a16:creationId xmlns:a16="http://schemas.microsoft.com/office/drawing/2014/main" id="{2C50F633-0A33-4883-AB67-3FC481670E59}"/>
              </a:ext>
            </a:extLst>
          </p:cNvPr>
          <p:cNvSpPr txBox="1"/>
          <p:nvPr userDrawn="1"/>
        </p:nvSpPr>
        <p:spPr>
          <a:xfrm>
            <a:off x="1693335" y="1693335"/>
            <a:ext cx="1693333" cy="1693333"/>
          </a:xfrm>
          <a:prstGeom prst="rect">
            <a:avLst/>
          </a:prstGeom>
          <a:noFill/>
        </p:spPr>
        <p:txBody>
          <a:bodyPr vert="horz" wrap="square" lIns="0" tIns="0" rIns="0" bIns="0" rtlCol="0" anchor="t">
            <a:noAutofit/>
          </a:bodyPr>
          <a:lstStyle/>
          <a:p>
            <a:pPr marL="0" lvl="0" indent="0" algn="l">
              <a:lnSpc>
                <a:spcPct val="112000"/>
              </a:lnSpc>
              <a:buClr>
                <a:srgbClr val="0094D9"/>
              </a:buClr>
              <a:buFontTx/>
              <a:buNone/>
            </a:pPr>
            <a:r>
              <a:rPr lang="en-US" sz="1867" b="0">
                <a:solidFill>
                  <a:srgbClr val="0094D9"/>
                </a:solidFill>
                <a:latin typeface="Verdana" panose="020B0604030504040204" pitchFamily="34" charset="0"/>
              </a:rPr>
              <a:t>line 1</a:t>
            </a:r>
          </a:p>
          <a:p>
            <a:pPr marL="253988" lvl="1" indent="-253988" algn="l">
              <a:lnSpc>
                <a:spcPct val="112000"/>
              </a:lnSpc>
              <a:buClr>
                <a:srgbClr val="0094D9"/>
              </a:buClr>
              <a:buChar char="•"/>
            </a:pPr>
            <a:r>
              <a:rPr lang="en-US" sz="1867" b="0">
                <a:solidFill>
                  <a:srgbClr val="5D5E61"/>
                </a:solidFill>
                <a:latin typeface="Verdana" panose="020B0604030504040204" pitchFamily="34" charset="0"/>
              </a:rPr>
              <a:t>line 2</a:t>
            </a:r>
          </a:p>
          <a:p>
            <a:pPr marL="507974" lvl="2" indent="-253988" algn="l">
              <a:lnSpc>
                <a:spcPct val="112000"/>
              </a:lnSpc>
              <a:buClr>
                <a:srgbClr val="0094D9"/>
              </a:buClr>
              <a:buChar char="•"/>
            </a:pPr>
            <a:r>
              <a:rPr lang="en-US" sz="1867" b="0">
                <a:solidFill>
                  <a:srgbClr val="5D5E61"/>
                </a:solidFill>
                <a:latin typeface="Verdana" panose="020B0604030504040204" pitchFamily="34" charset="0"/>
              </a:rPr>
              <a:t>line 3</a:t>
            </a:r>
          </a:p>
          <a:p>
            <a:pPr marL="761962" lvl="3" indent="-253988" algn="l">
              <a:lnSpc>
                <a:spcPct val="112000"/>
              </a:lnSpc>
              <a:buClr>
                <a:srgbClr val="0094D9"/>
              </a:buClr>
              <a:buChar char="•"/>
            </a:pPr>
            <a:r>
              <a:rPr lang="en-US" sz="1867" b="0">
                <a:solidFill>
                  <a:srgbClr val="5D5E61"/>
                </a:solidFill>
                <a:latin typeface="Verdana" panose="020B0604030504040204" pitchFamily="34" charset="0"/>
              </a:rPr>
              <a:t>line 4</a:t>
            </a:r>
          </a:p>
          <a:p>
            <a:pPr marL="1015949" lvl="4" indent="-253988" algn="l">
              <a:lnSpc>
                <a:spcPct val="112000"/>
              </a:lnSpc>
              <a:buClr>
                <a:srgbClr val="0094D9"/>
              </a:buClr>
              <a:buChar char="•"/>
            </a:pPr>
            <a:r>
              <a:rPr lang="en-US" sz="1867" b="0">
                <a:solidFill>
                  <a:srgbClr val="5D5E61"/>
                </a:solidFill>
                <a:latin typeface="Verdana" panose="020B0604030504040204" pitchFamily="34" charset="0"/>
              </a:rPr>
              <a:t>line 5</a:t>
            </a:r>
          </a:p>
          <a:p>
            <a:pPr marL="1269936" lvl="5" indent="-253988" algn="l">
              <a:lnSpc>
                <a:spcPct val="112000"/>
              </a:lnSpc>
              <a:buClr>
                <a:srgbClr val="0094D9"/>
              </a:buClr>
              <a:buChar char="•"/>
            </a:pPr>
            <a:r>
              <a:rPr lang="en-US" sz="1867" b="0">
                <a:solidFill>
                  <a:srgbClr val="5D5E61"/>
                </a:solidFill>
                <a:latin typeface="Verdana" panose="020B0604030504040204" pitchFamily="34" charset="0"/>
              </a:rPr>
              <a:t>line 6</a:t>
            </a:r>
          </a:p>
          <a:p>
            <a:pPr marL="1523925" lvl="6" indent="-253988" algn="l">
              <a:lnSpc>
                <a:spcPct val="112000"/>
              </a:lnSpc>
              <a:buClr>
                <a:srgbClr val="0094D9"/>
              </a:buClr>
              <a:buChar char="•"/>
            </a:pPr>
            <a:r>
              <a:rPr lang="en-US" sz="1867" b="0">
                <a:solidFill>
                  <a:srgbClr val="5D5E61"/>
                </a:solidFill>
                <a:latin typeface="Verdana" panose="020B0604030504040204" pitchFamily="34" charset="0"/>
              </a:rPr>
              <a:t>line 7</a:t>
            </a:r>
          </a:p>
          <a:p>
            <a:pPr marL="1777912" lvl="7" indent="-253988" algn="l">
              <a:lnSpc>
                <a:spcPct val="112000"/>
              </a:lnSpc>
              <a:buClr>
                <a:srgbClr val="0094D9"/>
              </a:buClr>
              <a:buChar char="•"/>
            </a:pPr>
            <a:r>
              <a:rPr lang="en-US" sz="1867" b="0">
                <a:solidFill>
                  <a:srgbClr val="5D5E61"/>
                </a:solidFill>
                <a:latin typeface="Verdana" panose="020B0604030504040204" pitchFamily="34" charset="0"/>
              </a:rPr>
              <a:t>line 8</a:t>
            </a:r>
          </a:p>
          <a:p>
            <a:pPr marL="2031899" lvl="8" indent="-253988" algn="l">
              <a:lnSpc>
                <a:spcPct val="112000"/>
              </a:lnSpc>
              <a:buClr>
                <a:srgbClr val="0094D9"/>
              </a:buClr>
              <a:buChar char="•"/>
            </a:pPr>
            <a:r>
              <a:rPr lang="en-US" sz="1867" b="0">
                <a:solidFill>
                  <a:srgbClr val="5D5E61"/>
                </a:solidFill>
                <a:latin typeface="Verdana" panose="020B0604030504040204" pitchFamily="34" charset="0"/>
              </a:rPr>
              <a:t>line 9</a:t>
            </a:r>
          </a:p>
          <a:p>
            <a:pPr marL="380981" indent="-380981" algn="l">
              <a:lnSpc>
                <a:spcPct val="112000"/>
              </a:lnSpc>
              <a:buClr>
                <a:srgbClr val="0094D9"/>
              </a:buClr>
              <a:buChar char="•"/>
            </a:pPr>
            <a:endParaRPr lang="nl-NL" sz="1867" b="0">
              <a:solidFill>
                <a:srgbClr val="5D5E61"/>
              </a:solidFill>
              <a:latin typeface="Verdana" panose="020B0604030504040204" pitchFamily="34" charset="0"/>
            </a:endParaRPr>
          </a:p>
        </p:txBody>
      </p:sp>
    </p:spTree>
    <p:extLst>
      <p:ext uri="{BB962C8B-B14F-4D97-AF65-F5344CB8AC3E}">
        <p14:creationId xmlns:p14="http://schemas.microsoft.com/office/powerpoint/2010/main" val="803251388"/>
      </p:ext>
    </p:extLst>
  </p:cSld>
  <p:clrMap bg1="lt1" tx1="dk1" bg2="lt2" tx2="dk2" accent1="accent1" accent2="accent2" accent3="accent3" accent4="accent4" accent5="accent5" accent6="accent6" hlink="hlink" folHlink="folHlink"/>
  <p:sldLayoutIdLst>
    <p:sldLayoutId id="2147484253" r:id="rId1"/>
    <p:sldLayoutId id="2147484254" r:id="rId2"/>
    <p:sldLayoutId id="2147484255" r:id="rId3"/>
    <p:sldLayoutId id="2147484256" r:id="rId4"/>
    <p:sldLayoutId id="2147484257" r:id="rId5"/>
    <p:sldLayoutId id="2147484258" r:id="rId6"/>
    <p:sldLayoutId id="2147484259" r:id="rId7"/>
    <p:sldLayoutId id="2147484260" r:id="rId8"/>
    <p:sldLayoutId id="2147484261" r:id="rId9"/>
    <p:sldLayoutId id="2147484262" r:id="rId10"/>
    <p:sldLayoutId id="2147484263" r:id="rId11"/>
    <p:sldLayoutId id="2147484264" r:id="rId12"/>
    <p:sldLayoutId id="2147484265" r:id="rId13"/>
    <p:sldLayoutId id="2147484266" r:id="rId14"/>
    <p:sldLayoutId id="2147484267" r:id="rId15"/>
    <p:sldLayoutId id="2147484268" r:id="rId16"/>
    <p:sldLayoutId id="2147484269" r:id="rId17"/>
    <p:sldLayoutId id="2147484270" r:id="rId18"/>
    <p:sldLayoutId id="2147484271" r:id="rId19"/>
    <p:sldLayoutId id="2147484272" r:id="rId20"/>
    <p:sldLayoutId id="2147484273" r:id="rId21"/>
    <p:sldLayoutId id="2147484274" r:id="rId22"/>
    <p:sldLayoutId id="2147484275" r:id="rId23"/>
    <p:sldLayoutId id="2147484276" r:id="rId24"/>
    <p:sldLayoutId id="2147484277" r:id="rId25"/>
    <p:sldLayoutId id="2147484278" r:id="rId26"/>
    <p:sldLayoutId id="2147484279" r:id="rId27"/>
    <p:sldLayoutId id="2147484280" r:id="rId28"/>
    <p:sldLayoutId id="2147484281" r:id="rId29"/>
    <p:sldLayoutId id="2147484282" r:id="rId30"/>
    <p:sldLayoutId id="2147484283" r:id="rId31"/>
    <p:sldLayoutId id="2147484284" r:id="rId32"/>
    <p:sldLayoutId id="2147484285" r:id="rId33"/>
    <p:sldLayoutId id="2147484286" r:id="rId34"/>
    <p:sldLayoutId id="2147484287" r:id="rId35"/>
    <p:sldLayoutId id="2147484288" r:id="rId36"/>
    <p:sldLayoutId id="2147484289" r:id="rId37"/>
    <p:sldLayoutId id="2147484290" r:id="rId38"/>
    <p:sldLayoutId id="2147484291" r:id="rId39"/>
    <p:sldLayoutId id="2147484292" r:id="rId40"/>
    <p:sldLayoutId id="2147484293" r:id="rId41"/>
    <p:sldLayoutId id="2147484294" r:id="rId4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354" rtl="0" eaLnBrk="1" latinLnBrk="0" hangingPunct="1">
        <a:lnSpc>
          <a:spcPct val="90000"/>
        </a:lnSpc>
        <a:spcBef>
          <a:spcPct val="0"/>
        </a:spcBef>
        <a:buNone/>
        <a:defRPr sz="2667" kern="1200">
          <a:solidFill>
            <a:schemeClr val="accent1"/>
          </a:solidFill>
          <a:latin typeface="+mj-lt"/>
          <a:ea typeface="+mj-ea"/>
          <a:cs typeface="+mj-cs"/>
        </a:defRPr>
      </a:lvl1pPr>
    </p:titleStyle>
    <p:bodyStyle>
      <a:lvl1pPr marL="234939" indent="-234939" algn="l" defTabSz="914354" rtl="0" eaLnBrk="1" latinLnBrk="0" hangingPunct="1">
        <a:lnSpc>
          <a:spcPct val="113000"/>
        </a:lnSpc>
        <a:spcBef>
          <a:spcPts val="1600"/>
        </a:spcBef>
        <a:buClr>
          <a:schemeClr val="tx1"/>
        </a:buClr>
        <a:buFont typeface="Arial" panose="020B0604020202020204" pitchFamily="34" charset="0"/>
        <a:buChar char="•"/>
        <a:defRPr sz="1867" kern="1200">
          <a:solidFill>
            <a:schemeClr val="tx1"/>
          </a:solidFill>
          <a:latin typeface="+mn-lt"/>
          <a:ea typeface="+mn-ea"/>
          <a:cs typeface="+mn-cs"/>
        </a:defRPr>
      </a:lvl1pPr>
      <a:lvl2pPr marL="480460"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2pPr>
      <a:lvl3pPr marL="71539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3pPr>
      <a:lvl4pPr marL="960919"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4pPr>
      <a:lvl5pPr marL="119585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488">
          <p15:clr>
            <a:srgbClr val="F26B43"/>
          </p15:clr>
        </p15:guide>
        <p15:guide id="3" pos="272">
          <p15:clr>
            <a:srgbClr val="F26B43"/>
          </p15:clr>
        </p15:guide>
        <p15:guide id="5" orient="horz" pos="2777">
          <p15:clr>
            <a:srgbClr val="F26B43"/>
          </p15:clr>
        </p15:guide>
        <p15:guide id="6" orient="horz" pos="804">
          <p15:clr>
            <a:srgbClr val="F26B43"/>
          </p15:clr>
        </p15:guide>
        <p15:guide id="7" orient="horz" pos="758">
          <p15:clr>
            <a:srgbClr val="F26B43"/>
          </p15:clr>
        </p15:guide>
        <p15:guide id="8" orient="horz" pos="259">
          <p15:clr>
            <a:srgbClr val="F26B43"/>
          </p15:clr>
        </p15:guide>
        <p15:guide id="9" pos="2880">
          <p15:clr>
            <a:srgbClr val="F26B43"/>
          </p15:clr>
        </p15:guide>
        <p15:guide id="10" pos="1973">
          <p15:clr>
            <a:srgbClr val="F26B43"/>
          </p15:clr>
        </p15:guide>
        <p15:guide id="11" pos="2132">
          <p15:clr>
            <a:srgbClr val="F26B43"/>
          </p15:clr>
        </p15:guide>
        <p15:guide id="12" pos="3628">
          <p15:clr>
            <a:srgbClr val="F26B43"/>
          </p15:clr>
        </p15:guide>
        <p15:guide id="13" pos="3787">
          <p15:clr>
            <a:srgbClr val="F26B43"/>
          </p15:clr>
        </p15:guide>
        <p15:guide id="14" orient="horz" pos="1915">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2BE5FDC-B30E-4143-A615-1B4B11DA9013}"/>
              </a:ext>
            </a:extLst>
          </p:cNvPr>
          <p:cNvGraphicFramePr>
            <a:graphicFrameLocks noChangeAspect="1"/>
          </p:cNvGraphicFramePr>
          <p:nvPr userDrawn="1">
            <p:custDataLst>
              <p:tags r:id="rId43"/>
            </p:custDataLst>
            <p:extLst>
              <p:ext uri="{D42A27DB-BD31-4B8C-83A1-F6EECF244321}">
                <p14:modId xmlns:p14="http://schemas.microsoft.com/office/powerpoint/2010/main" val="1863180071"/>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45" imgW="473" imgH="476" progId="TCLayout.ActiveDocument.1">
                  <p:embed/>
                </p:oleObj>
              </mc:Choice>
              <mc:Fallback>
                <p:oleObj name="think-cell Slide" r:id="rId45" imgW="473" imgH="476" progId="TCLayout.ActiveDocument.1">
                  <p:embed/>
                  <p:pic>
                    <p:nvPicPr>
                      <p:cNvPr id="9" name="Object 8" hidden="1">
                        <a:extLst>
                          <a:ext uri="{FF2B5EF4-FFF2-40B4-BE49-F238E27FC236}">
                            <a16:creationId xmlns:a16="http://schemas.microsoft.com/office/drawing/2014/main" id="{F2BE5FDC-B30E-4143-A615-1B4B11DA9013}"/>
                          </a:ext>
                        </a:extLst>
                      </p:cNvPr>
                      <p:cNvPicPr/>
                      <p:nvPr/>
                    </p:nvPicPr>
                    <p:blipFill>
                      <a:blip r:embed="rId46"/>
                      <a:stretch>
                        <a:fillRect/>
                      </a:stretch>
                    </p:blipFill>
                    <p:spPr>
                      <a:xfrm>
                        <a:off x="2119" y="2119"/>
                        <a:ext cx="2117" cy="211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E2188EA4-2D16-4DBB-9344-36D7D41FF5A6}"/>
              </a:ext>
            </a:extLst>
          </p:cNvPr>
          <p:cNvSpPr/>
          <p:nvPr userDrawn="1">
            <p:custDataLst>
              <p:tags r:id="rId44"/>
            </p:custDataLst>
          </p:nvPr>
        </p:nvSpPr>
        <p:spPr>
          <a:xfrm>
            <a:off x="1" y="1"/>
            <a:ext cx="211667" cy="211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lnSpc>
                <a:spcPct val="112000"/>
              </a:lnSpc>
            </a:pPr>
            <a:endParaRPr lang="en-US" sz="2667" b="0" i="0" baseline="0">
              <a:latin typeface="Verdana" panose="020B0604030504040204" pitchFamily="34" charset="0"/>
              <a:ea typeface="+mj-ea"/>
              <a:cs typeface="+mj-cs"/>
              <a:sym typeface="Verdana" panose="020B0604030504040204" pitchFamily="34" charset="0"/>
            </a:endParaRPr>
          </a:p>
        </p:txBody>
      </p:sp>
      <p:sp>
        <p:nvSpPr>
          <p:cNvPr id="2" name="Title Placeholder 1"/>
          <p:cNvSpPr>
            <a:spLocks noGrp="1"/>
          </p:cNvSpPr>
          <p:nvPr>
            <p:ph type="title"/>
          </p:nvPr>
        </p:nvSpPr>
        <p:spPr>
          <a:xfrm>
            <a:off x="575735" y="548219"/>
            <a:ext cx="11040532" cy="1036965"/>
          </a:xfrm>
          <a:prstGeom prst="rect">
            <a:avLst/>
          </a:prstGeom>
        </p:spPr>
        <p:txBody>
          <a:bodyPr vert="horz"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580293" y="1701801"/>
            <a:ext cx="11035975" cy="4176184"/>
          </a:xfrm>
          <a:prstGeom prst="rect">
            <a:avLst/>
          </a:prstGeom>
        </p:spPr>
        <p:txBody>
          <a:bodyPr vert="horz" lIns="0" tIns="0" rIns="0" bIns="0" rtlCol="0">
            <a:noAutofit/>
          </a:bodyPr>
          <a:lstStyle/>
          <a:p>
            <a:pPr lvl="0"/>
            <a:r>
              <a:rPr lang="nl-NL"/>
              <a:t>Klikken om de tekststijl van het model te bewerken</a:t>
            </a:r>
          </a:p>
          <a:p>
            <a:pPr lvl="1"/>
            <a:r>
              <a:rPr lang="nl-NL"/>
              <a:t>Second Level</a:t>
            </a:r>
          </a:p>
          <a:p>
            <a:pPr lvl="2"/>
            <a:r>
              <a:rPr lang="nl-NL"/>
              <a:t>Third Level</a:t>
            </a:r>
          </a:p>
          <a:p>
            <a:pPr lvl="3"/>
            <a:r>
              <a:rPr lang="nl-NL"/>
              <a:t>Fourth Level</a:t>
            </a:r>
          </a:p>
          <a:p>
            <a:pPr lvl="4"/>
            <a:r>
              <a:rPr lang="nl-NL"/>
              <a:t>Fifth Level</a:t>
            </a:r>
            <a:endParaRPr lang="en-US"/>
          </a:p>
        </p:txBody>
      </p:sp>
      <p:sp>
        <p:nvSpPr>
          <p:cNvPr id="4" name="Date Placeholder 3"/>
          <p:cNvSpPr>
            <a:spLocks noGrp="1"/>
          </p:cNvSpPr>
          <p:nvPr>
            <p:ph type="dt" sz="half" idx="2"/>
          </p:nvPr>
        </p:nvSpPr>
        <p:spPr>
          <a:xfrm>
            <a:off x="10183137" y="6491400"/>
            <a:ext cx="512961" cy="102657"/>
          </a:xfrm>
          <a:prstGeom prst="rect">
            <a:avLst/>
          </a:prstGeom>
        </p:spPr>
        <p:txBody>
          <a:bodyPr vert="horz" wrap="none" lIns="0" tIns="0" rIns="0" bIns="0" rtlCol="0" anchor="ctr">
            <a:spAutoFit/>
          </a:bodyPr>
          <a:lstStyle>
            <a:lvl1pPr algn="r">
              <a:defRPr sz="667">
                <a:solidFill>
                  <a:schemeClr val="tx1">
                    <a:tint val="75000"/>
                  </a:schemeClr>
                </a:solidFill>
              </a:defRPr>
            </a:lvl1pPr>
          </a:lstStyle>
          <a:p>
            <a:fld id="{D376C258-174B-4AEF-AFAA-1CC12B14D01A}" type="datetime1">
              <a:rPr lang="en-US" smtClean="0"/>
              <a:pPr/>
              <a:t>4/18/2025</a:t>
            </a:fld>
            <a:endParaRPr lang="en-US"/>
          </a:p>
        </p:txBody>
      </p:sp>
      <p:sp>
        <p:nvSpPr>
          <p:cNvPr id="5" name="Footer Placeholder 4"/>
          <p:cNvSpPr>
            <a:spLocks noGrp="1"/>
          </p:cNvSpPr>
          <p:nvPr>
            <p:ph type="ftr" sz="quarter" idx="3"/>
          </p:nvPr>
        </p:nvSpPr>
        <p:spPr>
          <a:xfrm>
            <a:off x="848861" y="6491432"/>
            <a:ext cx="1652163" cy="102592"/>
          </a:xfrm>
          <a:prstGeom prst="rect">
            <a:avLst/>
          </a:prstGeom>
        </p:spPr>
        <p:txBody>
          <a:bodyPr vert="horz" wrap="none" lIns="0" tIns="0" rIns="0" bIns="0" rtlCol="0" anchor="ctr">
            <a:spAutoFit/>
          </a:bodyPr>
          <a:lstStyle>
            <a:lvl1pPr algn="l">
              <a:defRPr sz="667">
                <a:solidFill>
                  <a:schemeClr val="tx1">
                    <a:tint val="75000"/>
                  </a:schemeClr>
                </a:solidFill>
              </a:defRPr>
            </a:lvl1pPr>
          </a:lstStyle>
          <a:p>
            <a:r>
              <a:rPr lang="en-US"/>
              <a:t>Draft | Internal use only | Confidential</a:t>
            </a:r>
          </a:p>
        </p:txBody>
      </p:sp>
      <p:sp>
        <p:nvSpPr>
          <p:cNvPr id="6" name="Slide Number Placeholder 5"/>
          <p:cNvSpPr>
            <a:spLocks noGrp="1"/>
          </p:cNvSpPr>
          <p:nvPr>
            <p:ph type="sldNum" sz="quarter" idx="4"/>
          </p:nvPr>
        </p:nvSpPr>
        <p:spPr>
          <a:xfrm>
            <a:off x="580291" y="6491401"/>
            <a:ext cx="147476" cy="102657"/>
          </a:xfrm>
          <a:prstGeom prst="rect">
            <a:avLst/>
          </a:prstGeom>
        </p:spPr>
        <p:txBody>
          <a:bodyPr vert="horz" wrap="none" lIns="0" tIns="0" rIns="0" bIns="0" rtlCol="0" anchor="ctr">
            <a:spAutoFit/>
          </a:bodyPr>
          <a:lstStyle>
            <a:lvl1pPr algn="l">
              <a:defRPr sz="667">
                <a:solidFill>
                  <a:schemeClr val="tx1">
                    <a:tint val="75000"/>
                  </a:schemeClr>
                </a:solidFill>
              </a:defRPr>
            </a:lvl1pPr>
          </a:lstStyle>
          <a:p>
            <a:fld id="{9BE0E23E-9022-4929-B297-EB2777CDBB1F}" type="slidenum">
              <a:rPr lang="en-US" smtClean="0"/>
              <a:pPr/>
              <a:t>‹#›</a:t>
            </a:fld>
            <a:endParaRPr lang="en-US"/>
          </a:p>
        </p:txBody>
      </p:sp>
      <p:pic>
        <p:nvPicPr>
          <p:cNvPr id="11" name="Picture 4">
            <a:extLst>
              <a:ext uri="{FF2B5EF4-FFF2-40B4-BE49-F238E27FC236}">
                <a16:creationId xmlns:a16="http://schemas.microsoft.com/office/drawing/2014/main" id="{A15E03F2-BDA0-49BB-AA14-A24C0CBB1FA7}"/>
              </a:ext>
            </a:extLst>
          </p:cNvPr>
          <p:cNvPicPr>
            <a:picLocks noChangeAspect="1"/>
          </p:cNvPicPr>
          <p:nvPr userDrawn="1"/>
        </p:nvPicPr>
        <p:blipFill>
          <a:blip r:embed="rId47" cstate="screen">
            <a:extLst>
              <a:ext uri="{28A0092B-C50C-407E-A947-70E740481C1C}">
                <a14:useLocalDpi xmlns:a14="http://schemas.microsoft.com/office/drawing/2010/main"/>
              </a:ext>
            </a:extLst>
          </a:blip>
          <a:stretch>
            <a:fillRect/>
          </a:stretch>
        </p:blipFill>
        <p:spPr>
          <a:xfrm>
            <a:off x="10698280" y="6001372"/>
            <a:ext cx="1173195" cy="600904"/>
          </a:xfrm>
          <a:prstGeom prst="rect">
            <a:avLst/>
          </a:prstGeom>
        </p:spPr>
      </p:pic>
      <p:sp>
        <p:nvSpPr>
          <p:cNvPr id="7" name="RFC_Text_Format" hidden="1">
            <a:extLst>
              <a:ext uri="{FF2B5EF4-FFF2-40B4-BE49-F238E27FC236}">
                <a16:creationId xmlns:a16="http://schemas.microsoft.com/office/drawing/2014/main" id="{2C50F633-0A33-4883-AB67-3FC481670E59}"/>
              </a:ext>
            </a:extLst>
          </p:cNvPr>
          <p:cNvSpPr txBox="1"/>
          <p:nvPr userDrawn="1"/>
        </p:nvSpPr>
        <p:spPr>
          <a:xfrm>
            <a:off x="1693335" y="1693335"/>
            <a:ext cx="1693333" cy="1693333"/>
          </a:xfrm>
          <a:prstGeom prst="rect">
            <a:avLst/>
          </a:prstGeom>
          <a:noFill/>
        </p:spPr>
        <p:txBody>
          <a:bodyPr vert="horz" wrap="square" lIns="0" tIns="0" rIns="0" bIns="0" rtlCol="0" anchor="t">
            <a:noAutofit/>
          </a:bodyPr>
          <a:lstStyle/>
          <a:p>
            <a:pPr marL="0" lvl="0" indent="0" algn="l">
              <a:lnSpc>
                <a:spcPct val="112000"/>
              </a:lnSpc>
              <a:buClr>
                <a:srgbClr val="0094D9"/>
              </a:buClr>
              <a:buFontTx/>
              <a:buNone/>
            </a:pPr>
            <a:r>
              <a:rPr lang="en-US" sz="1867" b="0">
                <a:solidFill>
                  <a:srgbClr val="0094D9"/>
                </a:solidFill>
                <a:latin typeface="Verdana" panose="020B0604030504040204" pitchFamily="34" charset="0"/>
              </a:rPr>
              <a:t>line 1</a:t>
            </a:r>
          </a:p>
          <a:p>
            <a:pPr marL="253988" lvl="1" indent="-253988" algn="l">
              <a:lnSpc>
                <a:spcPct val="112000"/>
              </a:lnSpc>
              <a:buClr>
                <a:srgbClr val="0094D9"/>
              </a:buClr>
              <a:buChar char="•"/>
            </a:pPr>
            <a:r>
              <a:rPr lang="en-US" sz="1867" b="0">
                <a:solidFill>
                  <a:srgbClr val="5D5E61"/>
                </a:solidFill>
                <a:latin typeface="Verdana" panose="020B0604030504040204" pitchFamily="34" charset="0"/>
              </a:rPr>
              <a:t>line 2</a:t>
            </a:r>
          </a:p>
          <a:p>
            <a:pPr marL="507974" lvl="2" indent="-253988" algn="l">
              <a:lnSpc>
                <a:spcPct val="112000"/>
              </a:lnSpc>
              <a:buClr>
                <a:srgbClr val="0094D9"/>
              </a:buClr>
              <a:buChar char="•"/>
            </a:pPr>
            <a:r>
              <a:rPr lang="en-US" sz="1867" b="0">
                <a:solidFill>
                  <a:srgbClr val="5D5E61"/>
                </a:solidFill>
                <a:latin typeface="Verdana" panose="020B0604030504040204" pitchFamily="34" charset="0"/>
              </a:rPr>
              <a:t>line 3</a:t>
            </a:r>
          </a:p>
          <a:p>
            <a:pPr marL="761962" lvl="3" indent="-253988" algn="l">
              <a:lnSpc>
                <a:spcPct val="112000"/>
              </a:lnSpc>
              <a:buClr>
                <a:srgbClr val="0094D9"/>
              </a:buClr>
              <a:buChar char="•"/>
            </a:pPr>
            <a:r>
              <a:rPr lang="en-US" sz="1867" b="0">
                <a:solidFill>
                  <a:srgbClr val="5D5E61"/>
                </a:solidFill>
                <a:latin typeface="Verdana" panose="020B0604030504040204" pitchFamily="34" charset="0"/>
              </a:rPr>
              <a:t>line 4</a:t>
            </a:r>
          </a:p>
          <a:p>
            <a:pPr marL="1015949" lvl="4" indent="-253988" algn="l">
              <a:lnSpc>
                <a:spcPct val="112000"/>
              </a:lnSpc>
              <a:buClr>
                <a:srgbClr val="0094D9"/>
              </a:buClr>
              <a:buChar char="•"/>
            </a:pPr>
            <a:r>
              <a:rPr lang="en-US" sz="1867" b="0">
                <a:solidFill>
                  <a:srgbClr val="5D5E61"/>
                </a:solidFill>
                <a:latin typeface="Verdana" panose="020B0604030504040204" pitchFamily="34" charset="0"/>
              </a:rPr>
              <a:t>line 5</a:t>
            </a:r>
          </a:p>
          <a:p>
            <a:pPr marL="1269936" lvl="5" indent="-253988" algn="l">
              <a:lnSpc>
                <a:spcPct val="112000"/>
              </a:lnSpc>
              <a:buClr>
                <a:srgbClr val="0094D9"/>
              </a:buClr>
              <a:buChar char="•"/>
            </a:pPr>
            <a:r>
              <a:rPr lang="en-US" sz="1867" b="0">
                <a:solidFill>
                  <a:srgbClr val="5D5E61"/>
                </a:solidFill>
                <a:latin typeface="Verdana" panose="020B0604030504040204" pitchFamily="34" charset="0"/>
              </a:rPr>
              <a:t>line 6</a:t>
            </a:r>
          </a:p>
          <a:p>
            <a:pPr marL="1523925" lvl="6" indent="-253988" algn="l">
              <a:lnSpc>
                <a:spcPct val="112000"/>
              </a:lnSpc>
              <a:buClr>
                <a:srgbClr val="0094D9"/>
              </a:buClr>
              <a:buChar char="•"/>
            </a:pPr>
            <a:r>
              <a:rPr lang="en-US" sz="1867" b="0">
                <a:solidFill>
                  <a:srgbClr val="5D5E61"/>
                </a:solidFill>
                <a:latin typeface="Verdana" panose="020B0604030504040204" pitchFamily="34" charset="0"/>
              </a:rPr>
              <a:t>line 7</a:t>
            </a:r>
          </a:p>
          <a:p>
            <a:pPr marL="1777912" lvl="7" indent="-253988" algn="l">
              <a:lnSpc>
                <a:spcPct val="112000"/>
              </a:lnSpc>
              <a:buClr>
                <a:srgbClr val="0094D9"/>
              </a:buClr>
              <a:buChar char="•"/>
            </a:pPr>
            <a:r>
              <a:rPr lang="en-US" sz="1867" b="0">
                <a:solidFill>
                  <a:srgbClr val="5D5E61"/>
                </a:solidFill>
                <a:latin typeface="Verdana" panose="020B0604030504040204" pitchFamily="34" charset="0"/>
              </a:rPr>
              <a:t>line 8</a:t>
            </a:r>
          </a:p>
          <a:p>
            <a:pPr marL="2031899" lvl="8" indent="-253988" algn="l">
              <a:lnSpc>
                <a:spcPct val="112000"/>
              </a:lnSpc>
              <a:buClr>
                <a:srgbClr val="0094D9"/>
              </a:buClr>
              <a:buChar char="•"/>
            </a:pPr>
            <a:r>
              <a:rPr lang="en-US" sz="1867" b="0">
                <a:solidFill>
                  <a:srgbClr val="5D5E61"/>
                </a:solidFill>
                <a:latin typeface="Verdana" panose="020B0604030504040204" pitchFamily="34" charset="0"/>
              </a:rPr>
              <a:t>line 9</a:t>
            </a:r>
          </a:p>
          <a:p>
            <a:pPr marL="380981" indent="-380981" algn="l">
              <a:lnSpc>
                <a:spcPct val="112000"/>
              </a:lnSpc>
              <a:buClr>
                <a:srgbClr val="0094D9"/>
              </a:buClr>
              <a:buChar char="•"/>
            </a:pPr>
            <a:endParaRPr lang="nl-NL" sz="1867" b="0">
              <a:solidFill>
                <a:srgbClr val="5D5E61"/>
              </a:solidFill>
              <a:latin typeface="Verdana" panose="020B0604030504040204" pitchFamily="34" charset="0"/>
            </a:endParaRPr>
          </a:p>
        </p:txBody>
      </p:sp>
    </p:spTree>
    <p:extLst>
      <p:ext uri="{BB962C8B-B14F-4D97-AF65-F5344CB8AC3E}">
        <p14:creationId xmlns:p14="http://schemas.microsoft.com/office/powerpoint/2010/main" val="2325456955"/>
      </p:ext>
    </p:extLst>
  </p:cSld>
  <p:clrMap bg1="lt1" tx1="dk1" bg2="lt2" tx2="dk2" accent1="accent1" accent2="accent2" accent3="accent3" accent4="accent4" accent5="accent5" accent6="accent6" hlink="hlink" folHlink="folHlink"/>
  <p:sldLayoutIdLst>
    <p:sldLayoutId id="2147484369" r:id="rId1"/>
    <p:sldLayoutId id="2147484370" r:id="rId2"/>
    <p:sldLayoutId id="2147484371" r:id="rId3"/>
    <p:sldLayoutId id="2147484372" r:id="rId4"/>
    <p:sldLayoutId id="2147484373" r:id="rId5"/>
    <p:sldLayoutId id="2147484374" r:id="rId6"/>
    <p:sldLayoutId id="2147484375" r:id="rId7"/>
    <p:sldLayoutId id="2147484376" r:id="rId8"/>
    <p:sldLayoutId id="2147484377" r:id="rId9"/>
    <p:sldLayoutId id="2147484378" r:id="rId10"/>
    <p:sldLayoutId id="2147484379" r:id="rId11"/>
    <p:sldLayoutId id="2147484380" r:id="rId12"/>
    <p:sldLayoutId id="2147484381" r:id="rId13"/>
    <p:sldLayoutId id="2147484382" r:id="rId14"/>
    <p:sldLayoutId id="2147484383" r:id="rId15"/>
    <p:sldLayoutId id="2147484384" r:id="rId16"/>
    <p:sldLayoutId id="2147484385" r:id="rId17"/>
    <p:sldLayoutId id="2147484386" r:id="rId18"/>
    <p:sldLayoutId id="2147484387" r:id="rId19"/>
    <p:sldLayoutId id="2147484388" r:id="rId20"/>
    <p:sldLayoutId id="2147484389" r:id="rId21"/>
    <p:sldLayoutId id="2147484390" r:id="rId22"/>
    <p:sldLayoutId id="2147484391" r:id="rId23"/>
    <p:sldLayoutId id="2147484392" r:id="rId24"/>
    <p:sldLayoutId id="2147484393" r:id="rId25"/>
    <p:sldLayoutId id="2147484394" r:id="rId26"/>
    <p:sldLayoutId id="2147484395" r:id="rId27"/>
    <p:sldLayoutId id="2147484396" r:id="rId28"/>
    <p:sldLayoutId id="2147484397" r:id="rId29"/>
    <p:sldLayoutId id="2147484398" r:id="rId30"/>
    <p:sldLayoutId id="2147484399" r:id="rId31"/>
    <p:sldLayoutId id="2147484400" r:id="rId32"/>
    <p:sldLayoutId id="2147484401" r:id="rId33"/>
    <p:sldLayoutId id="2147484402" r:id="rId34"/>
    <p:sldLayoutId id="2147484403" r:id="rId35"/>
    <p:sldLayoutId id="2147484404" r:id="rId36"/>
    <p:sldLayoutId id="2147484405" r:id="rId37"/>
    <p:sldLayoutId id="2147484406" r:id="rId38"/>
    <p:sldLayoutId id="2147484407" r:id="rId39"/>
    <p:sldLayoutId id="2147484408" r:id="rId40"/>
    <p:sldLayoutId id="2147484409" r:id="rId4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354" rtl="0" eaLnBrk="1" latinLnBrk="0" hangingPunct="1">
        <a:lnSpc>
          <a:spcPct val="90000"/>
        </a:lnSpc>
        <a:spcBef>
          <a:spcPct val="0"/>
        </a:spcBef>
        <a:buNone/>
        <a:defRPr sz="2667" kern="1200">
          <a:solidFill>
            <a:schemeClr val="accent1"/>
          </a:solidFill>
          <a:latin typeface="+mj-lt"/>
          <a:ea typeface="+mj-ea"/>
          <a:cs typeface="+mj-cs"/>
        </a:defRPr>
      </a:lvl1pPr>
    </p:titleStyle>
    <p:bodyStyle>
      <a:lvl1pPr marL="234939" indent="-234939" algn="l" defTabSz="914354" rtl="0" eaLnBrk="1" latinLnBrk="0" hangingPunct="1">
        <a:lnSpc>
          <a:spcPct val="113000"/>
        </a:lnSpc>
        <a:spcBef>
          <a:spcPts val="1600"/>
        </a:spcBef>
        <a:buClr>
          <a:schemeClr val="tx1"/>
        </a:buClr>
        <a:buFont typeface="Arial" panose="020B0604020202020204" pitchFamily="34" charset="0"/>
        <a:buChar char="•"/>
        <a:defRPr sz="1867" kern="1200">
          <a:solidFill>
            <a:schemeClr val="tx1"/>
          </a:solidFill>
          <a:latin typeface="+mn-lt"/>
          <a:ea typeface="+mn-ea"/>
          <a:cs typeface="+mn-cs"/>
        </a:defRPr>
      </a:lvl1pPr>
      <a:lvl2pPr marL="480460"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2pPr>
      <a:lvl3pPr marL="71539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3pPr>
      <a:lvl4pPr marL="960919"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4pPr>
      <a:lvl5pPr marL="119585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488">
          <p15:clr>
            <a:srgbClr val="F26B43"/>
          </p15:clr>
        </p15:guide>
        <p15:guide id="3" pos="272">
          <p15:clr>
            <a:srgbClr val="F26B43"/>
          </p15:clr>
        </p15:guide>
        <p15:guide id="5" orient="horz" pos="2777">
          <p15:clr>
            <a:srgbClr val="F26B43"/>
          </p15:clr>
        </p15:guide>
        <p15:guide id="6" orient="horz" pos="804">
          <p15:clr>
            <a:srgbClr val="F26B43"/>
          </p15:clr>
        </p15:guide>
        <p15:guide id="7" orient="horz" pos="758">
          <p15:clr>
            <a:srgbClr val="F26B43"/>
          </p15:clr>
        </p15:guide>
        <p15:guide id="8" orient="horz" pos="259">
          <p15:clr>
            <a:srgbClr val="F26B43"/>
          </p15:clr>
        </p15:guide>
        <p15:guide id="9" pos="2880">
          <p15:clr>
            <a:srgbClr val="F26B43"/>
          </p15:clr>
        </p15:guide>
        <p15:guide id="10" pos="1973">
          <p15:clr>
            <a:srgbClr val="F26B43"/>
          </p15:clr>
        </p15:guide>
        <p15:guide id="11" pos="2132">
          <p15:clr>
            <a:srgbClr val="F26B43"/>
          </p15:clr>
        </p15:guide>
        <p15:guide id="12" pos="3628">
          <p15:clr>
            <a:srgbClr val="F26B43"/>
          </p15:clr>
        </p15:guide>
        <p15:guide id="13" pos="3787">
          <p15:clr>
            <a:srgbClr val="F26B43"/>
          </p15:clr>
        </p15:guide>
        <p15:guide id="14" orient="horz" pos="191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3AD97AE-D17B-A323-7B8C-0AEE427C98BE}"/>
              </a:ext>
            </a:extLst>
          </p:cNvPr>
          <p:cNvGraphicFramePr>
            <a:graphicFrameLocks noChangeAspect="1"/>
          </p:cNvGraphicFramePr>
          <p:nvPr userDrawn="1">
            <p:custDataLst>
              <p:tags r:id="rId89"/>
            </p:custDataLst>
            <p:extLst>
              <p:ext uri="{D42A27DB-BD31-4B8C-83A1-F6EECF244321}">
                <p14:modId xmlns:p14="http://schemas.microsoft.com/office/powerpoint/2010/main" val="102919706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90" imgW="360" imgH="360" progId="TCLayout.ActiveDocument.1">
                  <p:embed/>
                </p:oleObj>
              </mc:Choice>
              <mc:Fallback>
                <p:oleObj name="think-cell Slide" r:id="rId90" imgW="360" imgH="360" progId="TCLayout.ActiveDocument.1">
                  <p:embed/>
                  <p:pic>
                    <p:nvPicPr>
                      <p:cNvPr id="8" name="think-cell data - do not delete" hidden="1">
                        <a:extLst>
                          <a:ext uri="{FF2B5EF4-FFF2-40B4-BE49-F238E27FC236}">
                            <a16:creationId xmlns:a16="http://schemas.microsoft.com/office/drawing/2014/main" id="{D3AD97AE-D17B-A323-7B8C-0AEE427C98BE}"/>
                          </a:ext>
                        </a:extLst>
                      </p:cNvPr>
                      <p:cNvPicPr/>
                      <p:nvPr/>
                    </p:nvPicPr>
                    <p:blipFill>
                      <a:blip r:embed="rId91"/>
                      <a:stretch>
                        <a:fillRect/>
                      </a:stretch>
                    </p:blipFill>
                    <p:spPr>
                      <a:xfrm>
                        <a:off x="1589" y="1589"/>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75735" y="548219"/>
            <a:ext cx="11040532" cy="1036965"/>
          </a:xfrm>
          <a:prstGeom prst="rect">
            <a:avLst/>
          </a:prstGeom>
        </p:spPr>
        <p:txBody>
          <a:bodyPr vert="horz" lIns="0" tIns="0" rIns="0" bIns="0" rtlCol="0" anchor="t" anchorCtr="0">
            <a:noAutofit/>
          </a:bodyPr>
          <a:lstStyle/>
          <a:p>
            <a:r>
              <a:rPr lang="en-GB"/>
              <a:t>Click to edit Master title style</a:t>
            </a:r>
          </a:p>
        </p:txBody>
      </p:sp>
      <p:sp>
        <p:nvSpPr>
          <p:cNvPr id="3" name="Text Placeholder 2"/>
          <p:cNvSpPr>
            <a:spLocks noGrp="1"/>
          </p:cNvSpPr>
          <p:nvPr>
            <p:ph type="body" idx="1"/>
          </p:nvPr>
        </p:nvSpPr>
        <p:spPr>
          <a:xfrm>
            <a:off x="580293" y="1701801"/>
            <a:ext cx="11035975" cy="4176184"/>
          </a:xfrm>
          <a:prstGeom prst="rect">
            <a:avLst/>
          </a:prstGeom>
        </p:spPr>
        <p:txBody>
          <a:bodyPr vert="horz" lIns="0" tIns="0" rIns="0" bIns="0" rtlCol="0">
            <a:noAutofit/>
          </a:bodyPr>
          <a:lstStyle/>
          <a:p>
            <a:pPr lvl="0"/>
            <a:r>
              <a:rPr lang="en-GB" err="1"/>
              <a:t>Klikken</a:t>
            </a:r>
            <a:r>
              <a:rPr lang="en-GB"/>
              <a:t> om de </a:t>
            </a:r>
            <a:r>
              <a:rPr lang="en-GB" err="1"/>
              <a:t>tekststijl</a:t>
            </a:r>
            <a:r>
              <a:rPr lang="en-GB"/>
              <a:t> van het model te </a:t>
            </a:r>
            <a:r>
              <a:rPr lang="en-GB" err="1"/>
              <a:t>bewerken</a:t>
            </a:r>
            <a:endParaRPr lang="en-GB"/>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2"/>
          </p:nvPr>
        </p:nvSpPr>
        <p:spPr>
          <a:xfrm>
            <a:off x="10237639" y="6491400"/>
            <a:ext cx="458459" cy="102657"/>
          </a:xfrm>
          <a:prstGeom prst="rect">
            <a:avLst/>
          </a:prstGeom>
        </p:spPr>
        <p:txBody>
          <a:bodyPr vert="horz" wrap="none" lIns="0" tIns="0" rIns="0" bIns="0" rtlCol="0" anchor="ctr">
            <a:spAutoFit/>
          </a:bodyPr>
          <a:lstStyle>
            <a:lvl1pPr algn="r">
              <a:defRPr sz="667">
                <a:solidFill>
                  <a:schemeClr val="tx1">
                    <a:tint val="75000"/>
                  </a:schemeClr>
                </a:solidFill>
              </a:defRPr>
            </a:lvl1pPr>
          </a:lstStyle>
          <a:p>
            <a:fld id="{68B97FEC-35BC-4205-9724-87ED12271977}" type="datetime1">
              <a:rPr lang="en-US" smtClean="0"/>
              <a:t>4/18/2025</a:t>
            </a:fld>
            <a:endParaRPr lang="en-GB"/>
          </a:p>
        </p:txBody>
      </p:sp>
      <p:sp>
        <p:nvSpPr>
          <p:cNvPr id="5" name="Footer Placeholder 4"/>
          <p:cNvSpPr>
            <a:spLocks noGrp="1"/>
          </p:cNvSpPr>
          <p:nvPr>
            <p:ph type="ftr" sz="quarter" idx="3"/>
          </p:nvPr>
        </p:nvSpPr>
        <p:spPr>
          <a:xfrm>
            <a:off x="848861" y="6491432"/>
            <a:ext cx="1652163" cy="102592"/>
          </a:xfrm>
          <a:prstGeom prst="rect">
            <a:avLst/>
          </a:prstGeom>
        </p:spPr>
        <p:txBody>
          <a:bodyPr vert="horz" wrap="none" lIns="0" tIns="0" rIns="0" bIns="0" rtlCol="0" anchor="ctr">
            <a:spAutoFit/>
          </a:bodyPr>
          <a:lstStyle>
            <a:lvl1pPr algn="l">
              <a:defRPr sz="667">
                <a:solidFill>
                  <a:schemeClr val="tx1">
                    <a:tint val="75000"/>
                  </a:schemeClr>
                </a:solidFill>
              </a:defRPr>
            </a:lvl1pPr>
          </a:lstStyle>
          <a:p>
            <a:r>
              <a:rPr lang="en-GB"/>
              <a:t>Draft | Internal use only | Confidential</a:t>
            </a:r>
          </a:p>
        </p:txBody>
      </p:sp>
      <p:sp>
        <p:nvSpPr>
          <p:cNvPr id="6" name="Slide Number Placeholder 5"/>
          <p:cNvSpPr>
            <a:spLocks noGrp="1"/>
          </p:cNvSpPr>
          <p:nvPr>
            <p:ph type="sldNum" sz="quarter" idx="4"/>
          </p:nvPr>
        </p:nvSpPr>
        <p:spPr>
          <a:xfrm>
            <a:off x="580292" y="6491432"/>
            <a:ext cx="147477" cy="102592"/>
          </a:xfrm>
          <a:prstGeom prst="rect">
            <a:avLst/>
          </a:prstGeom>
        </p:spPr>
        <p:txBody>
          <a:bodyPr vert="horz" wrap="none" lIns="0" tIns="0" rIns="0" bIns="0" rtlCol="0" anchor="ctr">
            <a:spAutoFit/>
          </a:bodyPr>
          <a:lstStyle>
            <a:lvl1pPr algn="l">
              <a:defRPr sz="667">
                <a:solidFill>
                  <a:schemeClr val="tx1">
                    <a:tint val="75000"/>
                  </a:schemeClr>
                </a:solidFill>
              </a:defRPr>
            </a:lvl1pPr>
          </a:lstStyle>
          <a:p>
            <a:fld id="{9BE0E23E-9022-4929-B297-EB2777CDBB1F}" type="slidenum">
              <a:rPr lang="en-GB" smtClean="0"/>
              <a:pPr/>
              <a:t>‹#›</a:t>
            </a:fld>
            <a:endParaRPr lang="en-GB"/>
          </a:p>
        </p:txBody>
      </p:sp>
      <p:pic>
        <p:nvPicPr>
          <p:cNvPr id="11" name="Picture 4">
            <a:extLst>
              <a:ext uri="{FF2B5EF4-FFF2-40B4-BE49-F238E27FC236}">
                <a16:creationId xmlns:a16="http://schemas.microsoft.com/office/drawing/2014/main" id="{A15E03F2-BDA0-49BB-AA14-A24C0CBB1FA7}"/>
              </a:ext>
            </a:extLst>
          </p:cNvPr>
          <p:cNvPicPr>
            <a:picLocks noChangeAspect="1"/>
          </p:cNvPicPr>
          <p:nvPr userDrawn="1"/>
        </p:nvPicPr>
        <p:blipFill>
          <a:blip r:embed="rId92" cstate="print">
            <a:extLst>
              <a:ext uri="{28A0092B-C50C-407E-A947-70E740481C1C}">
                <a14:useLocalDpi xmlns:a14="http://schemas.microsoft.com/office/drawing/2010/main" val="0"/>
              </a:ext>
            </a:extLst>
          </a:blip>
          <a:stretch>
            <a:fillRect/>
          </a:stretch>
        </p:blipFill>
        <p:spPr>
          <a:xfrm>
            <a:off x="10698280" y="6001372"/>
            <a:ext cx="1173195" cy="600904"/>
          </a:xfrm>
          <a:prstGeom prst="rect">
            <a:avLst/>
          </a:prstGeom>
        </p:spPr>
      </p:pic>
    </p:spTree>
    <p:extLst>
      <p:ext uri="{BB962C8B-B14F-4D97-AF65-F5344CB8AC3E}">
        <p14:creationId xmlns:p14="http://schemas.microsoft.com/office/powerpoint/2010/main" val="3176917448"/>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 id="2147483754" r:id="rId18"/>
    <p:sldLayoutId id="2147483755" r:id="rId19"/>
    <p:sldLayoutId id="2147483756" r:id="rId20"/>
    <p:sldLayoutId id="2147483757" r:id="rId21"/>
    <p:sldLayoutId id="2147483758" r:id="rId22"/>
    <p:sldLayoutId id="2147483759" r:id="rId23"/>
    <p:sldLayoutId id="2147483760" r:id="rId24"/>
    <p:sldLayoutId id="2147483761" r:id="rId25"/>
    <p:sldLayoutId id="2147483762" r:id="rId26"/>
    <p:sldLayoutId id="2147483763" r:id="rId27"/>
    <p:sldLayoutId id="2147483764" r:id="rId28"/>
    <p:sldLayoutId id="2147483765" r:id="rId29"/>
    <p:sldLayoutId id="2147483766" r:id="rId30"/>
    <p:sldLayoutId id="2147483767" r:id="rId31"/>
    <p:sldLayoutId id="2147483768" r:id="rId32"/>
    <p:sldLayoutId id="2147483769" r:id="rId33"/>
    <p:sldLayoutId id="2147483770" r:id="rId34"/>
    <p:sldLayoutId id="2147483771" r:id="rId35"/>
    <p:sldLayoutId id="2147483772" r:id="rId36"/>
    <p:sldLayoutId id="2147483773" r:id="rId37"/>
    <p:sldLayoutId id="2147483774" r:id="rId38"/>
    <p:sldLayoutId id="2147483775" r:id="rId39"/>
    <p:sldLayoutId id="2147483776" r:id="rId40"/>
    <p:sldLayoutId id="2147483777" r:id="rId41"/>
    <p:sldLayoutId id="2147483778" r:id="rId42"/>
    <p:sldLayoutId id="2147483779" r:id="rId43"/>
    <p:sldLayoutId id="2147483780" r:id="rId44"/>
    <p:sldLayoutId id="2147483781" r:id="rId45"/>
    <p:sldLayoutId id="2147483782" r:id="rId46"/>
    <p:sldLayoutId id="2147483783" r:id="rId47"/>
    <p:sldLayoutId id="2147483784" r:id="rId48"/>
    <p:sldLayoutId id="2147483785" r:id="rId49"/>
    <p:sldLayoutId id="2147483786" r:id="rId50"/>
    <p:sldLayoutId id="2147483787" r:id="rId51"/>
    <p:sldLayoutId id="2147483788" r:id="rId52"/>
    <p:sldLayoutId id="2147483789" r:id="rId53"/>
    <p:sldLayoutId id="2147483790" r:id="rId54"/>
    <p:sldLayoutId id="2147483791" r:id="rId55"/>
    <p:sldLayoutId id="2147483792" r:id="rId56"/>
    <p:sldLayoutId id="2147483793" r:id="rId57"/>
    <p:sldLayoutId id="2147483794" r:id="rId58"/>
    <p:sldLayoutId id="2147483795" r:id="rId59"/>
    <p:sldLayoutId id="2147483796" r:id="rId60"/>
    <p:sldLayoutId id="2147483797" r:id="rId61"/>
    <p:sldLayoutId id="2147483799" r:id="rId62"/>
    <p:sldLayoutId id="2147483800" r:id="rId63"/>
    <p:sldLayoutId id="2147483801" r:id="rId64"/>
    <p:sldLayoutId id="2147483802" r:id="rId65"/>
    <p:sldLayoutId id="2147483803" r:id="rId66"/>
    <p:sldLayoutId id="2147483804" r:id="rId67"/>
    <p:sldLayoutId id="2147483805" r:id="rId68"/>
    <p:sldLayoutId id="2147483806" r:id="rId69"/>
    <p:sldLayoutId id="2147483807" r:id="rId70"/>
    <p:sldLayoutId id="2147483808" r:id="rId71"/>
    <p:sldLayoutId id="2147483809" r:id="rId72"/>
    <p:sldLayoutId id="2147483810" r:id="rId73"/>
    <p:sldLayoutId id="2147483811" r:id="rId74"/>
    <p:sldLayoutId id="2147483812" r:id="rId75"/>
    <p:sldLayoutId id="2147483813" r:id="rId76"/>
    <p:sldLayoutId id="2147483814" r:id="rId77"/>
    <p:sldLayoutId id="2147483815" r:id="rId78"/>
    <p:sldLayoutId id="2147483816" r:id="rId79"/>
    <p:sldLayoutId id="2147483817" r:id="rId80"/>
    <p:sldLayoutId id="2147483818" r:id="rId81"/>
    <p:sldLayoutId id="2147483819" r:id="rId82"/>
    <p:sldLayoutId id="2147483820" r:id="rId83"/>
    <p:sldLayoutId id="2147483821" r:id="rId84"/>
    <p:sldLayoutId id="2147483822" r:id="rId85"/>
    <p:sldLayoutId id="2147483886" r:id="rId86"/>
    <p:sldLayoutId id="2147484410" r:id="rId8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354" rtl="0" eaLnBrk="1" latinLnBrk="0" hangingPunct="1">
        <a:lnSpc>
          <a:spcPct val="90000"/>
        </a:lnSpc>
        <a:spcBef>
          <a:spcPct val="0"/>
        </a:spcBef>
        <a:buNone/>
        <a:defRPr sz="2667" kern="1200">
          <a:solidFill>
            <a:schemeClr val="accent1"/>
          </a:solidFill>
          <a:latin typeface="+mj-lt"/>
          <a:ea typeface="+mj-ea"/>
          <a:cs typeface="+mj-cs"/>
        </a:defRPr>
      </a:lvl1pPr>
    </p:titleStyle>
    <p:bodyStyle>
      <a:lvl1pPr marL="234939" indent="-234939" algn="l" defTabSz="914354" rtl="0" eaLnBrk="1" latinLnBrk="0" hangingPunct="1">
        <a:lnSpc>
          <a:spcPct val="113000"/>
        </a:lnSpc>
        <a:spcBef>
          <a:spcPts val="1600"/>
        </a:spcBef>
        <a:buClr>
          <a:schemeClr val="tx1"/>
        </a:buClr>
        <a:buFont typeface="Arial" panose="020B0604020202020204" pitchFamily="34" charset="0"/>
        <a:buChar char="•"/>
        <a:defRPr sz="1867" kern="1200">
          <a:solidFill>
            <a:schemeClr val="tx1"/>
          </a:solidFill>
          <a:latin typeface="+mn-lt"/>
          <a:ea typeface="+mn-ea"/>
          <a:cs typeface="+mn-cs"/>
        </a:defRPr>
      </a:lvl1pPr>
      <a:lvl2pPr marL="480460"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2pPr>
      <a:lvl3pPr marL="71539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3pPr>
      <a:lvl4pPr marL="960919"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4pPr>
      <a:lvl5pPr marL="119585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488">
          <p15:clr>
            <a:srgbClr val="F26B43"/>
          </p15:clr>
        </p15:guide>
        <p15:guide id="3" pos="272">
          <p15:clr>
            <a:srgbClr val="F26B43"/>
          </p15:clr>
        </p15:guide>
        <p15:guide id="5" orient="horz" pos="2777">
          <p15:clr>
            <a:srgbClr val="F26B43"/>
          </p15:clr>
        </p15:guide>
        <p15:guide id="6" orient="horz" pos="804">
          <p15:clr>
            <a:srgbClr val="F26B43"/>
          </p15:clr>
        </p15:guide>
        <p15:guide id="7" orient="horz" pos="758">
          <p15:clr>
            <a:srgbClr val="F26B43"/>
          </p15:clr>
        </p15:guide>
        <p15:guide id="8" orient="horz" pos="259">
          <p15:clr>
            <a:srgbClr val="F26B43"/>
          </p15:clr>
        </p15:guide>
        <p15:guide id="9" pos="2880">
          <p15:clr>
            <a:srgbClr val="F26B43"/>
          </p15:clr>
        </p15:guide>
        <p15:guide id="10" pos="1973">
          <p15:clr>
            <a:srgbClr val="F26B43"/>
          </p15:clr>
        </p15:guide>
        <p15:guide id="11" pos="2132">
          <p15:clr>
            <a:srgbClr val="F26B43"/>
          </p15:clr>
        </p15:guide>
        <p15:guide id="12" pos="3628">
          <p15:clr>
            <a:srgbClr val="F26B43"/>
          </p15:clr>
        </p15:guide>
        <p15:guide id="13" pos="3787">
          <p15:clr>
            <a:srgbClr val="F26B43"/>
          </p15:clr>
        </p15:guide>
        <p15:guide id="14" orient="horz" pos="1915">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1"/>
            </p:custDataLst>
            <p:extLst>
              <p:ext uri="{D42A27DB-BD31-4B8C-83A1-F6EECF244321}">
                <p14:modId xmlns:p14="http://schemas.microsoft.com/office/powerpoint/2010/main" val="17029225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413" imgH="416" progId="TCLayout.ActiveDocument.1">
                  <p:embed/>
                </p:oleObj>
              </mc:Choice>
              <mc:Fallback>
                <p:oleObj name="think-cell Slide" r:id="rId42"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3"/>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latin typeface="+mn-lt"/>
                <a:ea typeface="+mn-ea"/>
                <a:cs typeface="+mn-cs"/>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4"/>
            </p:custDataLst>
          </p:nvPr>
        </p:nvSpPr>
        <p:spPr>
          <a:xfrm>
            <a:off x="554736" y="17221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pPr lvl="0"/>
            <a:r>
              <a:rPr lang="en-US"/>
              <a:t>Click to edit Master title style</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5"/>
            </p:custDataLst>
          </p:nvPr>
        </p:nvSpPr>
        <p:spPr>
          <a:xfrm>
            <a:off x="5987738" y="2170800"/>
            <a:ext cx="3049253" cy="53860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Above Chart Exhibit Title</a:t>
            </a:r>
          </a:p>
          <a:p>
            <a:pPr lvl="0"/>
            <a:r>
              <a:rPr lang="en-US" sz="1400" b="0">
                <a:latin typeface="+mn-lt"/>
                <a:ea typeface="+mn-ea"/>
                <a:cs typeface="+mn-cs"/>
              </a:rPr>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3352906"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5" name="Sticker" hidden="1">
            <a:extLst>
              <a:ext uri="{FF2B5EF4-FFF2-40B4-BE49-F238E27FC236}">
                <a16:creationId xmlns:a16="http://schemas.microsoft.com/office/drawing/2014/main" id="{97ED2832-F2D3-4BBC-B741-D13502E9DAA9}"/>
              </a:ext>
            </a:extLst>
          </p:cNvPr>
          <p:cNvSpPr txBox="1"/>
          <p:nvPr userDrawn="1"/>
        </p:nvSpPr>
        <p:spPr>
          <a:xfrm>
            <a:off x="558489" y="964729"/>
            <a:ext cx="501740"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latin typeface="+mn-lt"/>
                <a:ea typeface="+mn-ea"/>
                <a:cs typeface="+mn-cs"/>
              </a:rPr>
              <a:t>STICKER</a:t>
            </a:r>
          </a:p>
        </p:txBody>
      </p:sp>
      <p:grpSp>
        <p:nvGrpSpPr>
          <p:cNvPr id="6" name="LegendLines" hidden="1">
            <a:extLst>
              <a:ext uri="{FF2B5EF4-FFF2-40B4-BE49-F238E27FC236}">
                <a16:creationId xmlns:a16="http://schemas.microsoft.com/office/drawing/2014/main" id="{78C71267-885F-FBFE-2368-B0950A0E4A45}"/>
              </a:ext>
            </a:extLst>
          </p:cNvPr>
          <p:cNvGrpSpPr/>
          <p:nvPr userDrawn="1"/>
        </p:nvGrpSpPr>
        <p:grpSpPr>
          <a:xfrm>
            <a:off x="10317304" y="3355023"/>
            <a:ext cx="1376066" cy="958286"/>
            <a:chOff x="10162879" y="3243772"/>
            <a:chExt cx="1376066" cy="958286"/>
          </a:xfrm>
        </p:grpSpPr>
        <p:sp>
          <p:nvSpPr>
            <p:cNvPr id="7" name="Legend1" hidden="1">
              <a:extLst>
                <a:ext uri="{FF2B5EF4-FFF2-40B4-BE49-F238E27FC236}">
                  <a16:creationId xmlns:a16="http://schemas.microsoft.com/office/drawing/2014/main" id="{0B645809-F024-2B9B-A8E2-1D11FB98BCD0}"/>
                </a:ext>
              </a:extLst>
            </p:cNvPr>
            <p:cNvSpPr txBox="1"/>
            <p:nvPr/>
          </p:nvSpPr>
          <p:spPr>
            <a:xfrm>
              <a:off x="10886522" y="3243772"/>
              <a:ext cx="652423"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8" name="Legend2" hidden="1">
              <a:extLst>
                <a:ext uri="{FF2B5EF4-FFF2-40B4-BE49-F238E27FC236}">
                  <a16:creationId xmlns:a16="http://schemas.microsoft.com/office/drawing/2014/main" id="{1C5EF54D-458A-FD22-C6AC-CCEB24501662}"/>
                </a:ext>
              </a:extLst>
            </p:cNvPr>
            <p:cNvSpPr txBox="1"/>
            <p:nvPr/>
          </p:nvSpPr>
          <p:spPr>
            <a:xfrm>
              <a:off x="10886522" y="3615193"/>
              <a:ext cx="652423"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9" name="Legend3" hidden="1">
              <a:extLst>
                <a:ext uri="{FF2B5EF4-FFF2-40B4-BE49-F238E27FC236}">
                  <a16:creationId xmlns:a16="http://schemas.microsoft.com/office/drawing/2014/main" id="{A919CD0F-420C-2B45-0943-9A46FF4D0839}"/>
                </a:ext>
              </a:extLst>
            </p:cNvPr>
            <p:cNvSpPr txBox="1"/>
            <p:nvPr/>
          </p:nvSpPr>
          <p:spPr>
            <a:xfrm>
              <a:off x="10886522" y="3986614"/>
              <a:ext cx="652423"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10" name="LineLegend3" hidden="1">
              <a:extLst>
                <a:ext uri="{FF2B5EF4-FFF2-40B4-BE49-F238E27FC236}">
                  <a16:creationId xmlns:a16="http://schemas.microsoft.com/office/drawing/2014/main" id="{C02EA507-CBA6-C898-9F26-6FF3C8FE6284}"/>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cs typeface="+mn-cs"/>
              </a:endParaRPr>
            </a:p>
          </p:txBody>
        </p:sp>
        <p:sp>
          <p:nvSpPr>
            <p:cNvPr id="11" name="LineLegend2" hidden="1">
              <a:extLst>
                <a:ext uri="{FF2B5EF4-FFF2-40B4-BE49-F238E27FC236}">
                  <a16:creationId xmlns:a16="http://schemas.microsoft.com/office/drawing/2014/main" id="{74E54CF4-A9D7-D3C9-F14F-6088CBD309D9}"/>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cs typeface="+mn-cs"/>
              </a:endParaRPr>
            </a:p>
          </p:txBody>
        </p:sp>
        <p:sp>
          <p:nvSpPr>
            <p:cNvPr id="12" name="LineLegend1" hidden="1">
              <a:extLst>
                <a:ext uri="{FF2B5EF4-FFF2-40B4-BE49-F238E27FC236}">
                  <a16:creationId xmlns:a16="http://schemas.microsoft.com/office/drawing/2014/main" id="{67FFB8FB-2605-A5D0-0E13-811D5A90B015}"/>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cs typeface="+mn-cs"/>
              </a:endParaRPr>
            </a:p>
          </p:txBody>
        </p:sp>
      </p:grpSp>
      <p:grpSp>
        <p:nvGrpSpPr>
          <p:cNvPr id="13" name="LegendMoons" hidden="1">
            <a:extLst>
              <a:ext uri="{FF2B5EF4-FFF2-40B4-BE49-F238E27FC236}">
                <a16:creationId xmlns:a16="http://schemas.microsoft.com/office/drawing/2014/main" id="{ED344F82-98D7-51E4-9F7B-5E9566D2979E}"/>
              </a:ext>
            </a:extLst>
          </p:cNvPr>
          <p:cNvGrpSpPr/>
          <p:nvPr userDrawn="1"/>
        </p:nvGrpSpPr>
        <p:grpSpPr>
          <a:xfrm>
            <a:off x="10688315" y="1415983"/>
            <a:ext cx="1005055" cy="1731859"/>
            <a:chOff x="7723680" y="1702457"/>
            <a:chExt cx="1005055" cy="1731859"/>
          </a:xfrm>
        </p:grpSpPr>
        <p:sp>
          <p:nvSpPr>
            <p:cNvPr id="14" name="Legend1" hidden="1">
              <a:extLst>
                <a:ext uri="{FF2B5EF4-FFF2-40B4-BE49-F238E27FC236}">
                  <a16:creationId xmlns:a16="http://schemas.microsoft.com/office/drawing/2014/main" id="{842A8769-6FD5-E6BE-221A-21149604ABAB}"/>
                </a:ext>
              </a:extLst>
            </p:cNvPr>
            <p:cNvSpPr txBox="1"/>
            <p:nvPr/>
          </p:nvSpPr>
          <p:spPr>
            <a:xfrm>
              <a:off x="8076312" y="1709816"/>
              <a:ext cx="652423"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15" name="Legend2" hidden="1">
              <a:extLst>
                <a:ext uri="{FF2B5EF4-FFF2-40B4-BE49-F238E27FC236}">
                  <a16:creationId xmlns:a16="http://schemas.microsoft.com/office/drawing/2014/main" id="{3128C59D-3C4C-32CB-A032-9989E624A303}"/>
                </a:ext>
              </a:extLst>
            </p:cNvPr>
            <p:cNvSpPr txBox="1"/>
            <p:nvPr/>
          </p:nvSpPr>
          <p:spPr>
            <a:xfrm>
              <a:off x="8076312" y="2085275"/>
              <a:ext cx="652423"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17" name="Legend3" hidden="1">
              <a:extLst>
                <a:ext uri="{FF2B5EF4-FFF2-40B4-BE49-F238E27FC236}">
                  <a16:creationId xmlns:a16="http://schemas.microsoft.com/office/drawing/2014/main" id="{0B81C3CC-35D0-C8E2-7006-023C321E8FF8}"/>
                </a:ext>
              </a:extLst>
            </p:cNvPr>
            <p:cNvSpPr txBox="1"/>
            <p:nvPr/>
          </p:nvSpPr>
          <p:spPr>
            <a:xfrm>
              <a:off x="8076312" y="2460734"/>
              <a:ext cx="652423"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18" name="Legend4" hidden="1">
              <a:extLst>
                <a:ext uri="{FF2B5EF4-FFF2-40B4-BE49-F238E27FC236}">
                  <a16:creationId xmlns:a16="http://schemas.microsoft.com/office/drawing/2014/main" id="{BAEFF2A8-ECB0-EC5D-2B66-061F7D85E95A}"/>
                </a:ext>
              </a:extLst>
            </p:cNvPr>
            <p:cNvSpPr txBox="1"/>
            <p:nvPr/>
          </p:nvSpPr>
          <p:spPr>
            <a:xfrm>
              <a:off x="8076312" y="2836193"/>
              <a:ext cx="652423"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19" name="Legend5" hidden="1">
              <a:extLst>
                <a:ext uri="{FF2B5EF4-FFF2-40B4-BE49-F238E27FC236}">
                  <a16:creationId xmlns:a16="http://schemas.microsoft.com/office/drawing/2014/main" id="{323E96EB-F718-442E-EE63-38DE15A02893}"/>
                </a:ext>
              </a:extLst>
            </p:cNvPr>
            <p:cNvSpPr txBox="1"/>
            <p:nvPr/>
          </p:nvSpPr>
          <p:spPr>
            <a:xfrm>
              <a:off x="8076312" y="3211654"/>
              <a:ext cx="652423"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grpSp>
          <p:nvGrpSpPr>
            <p:cNvPr id="20" name="MoonLegend1" hidden="1">
              <a:extLst>
                <a:ext uri="{FF2B5EF4-FFF2-40B4-BE49-F238E27FC236}">
                  <a16:creationId xmlns:a16="http://schemas.microsoft.com/office/drawing/2014/main" id="{D5F0C892-A645-D645-F889-B358DA45F387}"/>
                </a:ext>
              </a:extLst>
            </p:cNvPr>
            <p:cNvGrpSpPr>
              <a:grpSpLocks noChangeAspect="1"/>
            </p:cNvGrpSpPr>
            <p:nvPr>
              <p:custDataLst>
                <p:tags r:id="rId27"/>
              </p:custDataLst>
            </p:nvPr>
          </p:nvGrpSpPr>
          <p:grpSpPr>
            <a:xfrm>
              <a:off x="7723680" y="1702457"/>
              <a:ext cx="228600" cy="228600"/>
              <a:chOff x="762000" y="1270000"/>
              <a:chExt cx="254000" cy="254000"/>
            </a:xfrm>
          </p:grpSpPr>
          <p:sp>
            <p:nvSpPr>
              <p:cNvPr id="33" name="Oval 32" hidden="1">
                <a:extLst>
                  <a:ext uri="{FF2B5EF4-FFF2-40B4-BE49-F238E27FC236}">
                    <a16:creationId xmlns:a16="http://schemas.microsoft.com/office/drawing/2014/main" id="{775A8F0E-B112-B283-F6F2-D455B708BD90}"/>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mn-lt"/>
                  <a:ea typeface="+mn-ea"/>
                  <a:cs typeface="+mn-cs"/>
                </a:endParaRPr>
              </a:p>
            </p:txBody>
          </p:sp>
          <p:sp>
            <p:nvSpPr>
              <p:cNvPr id="34" name="Arc 33" hidden="1">
                <a:extLst>
                  <a:ext uri="{FF2B5EF4-FFF2-40B4-BE49-F238E27FC236}">
                    <a16:creationId xmlns:a16="http://schemas.microsoft.com/office/drawing/2014/main" id="{9D68DA45-5660-0460-FC47-A040DC90B886}"/>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mn-lt"/>
                  <a:ea typeface="+mn-ea"/>
                  <a:cs typeface="+mn-cs"/>
                </a:endParaRPr>
              </a:p>
            </p:txBody>
          </p:sp>
        </p:grpSp>
        <p:grpSp>
          <p:nvGrpSpPr>
            <p:cNvPr id="21" name="MoonLegend2" hidden="1">
              <a:extLst>
                <a:ext uri="{FF2B5EF4-FFF2-40B4-BE49-F238E27FC236}">
                  <a16:creationId xmlns:a16="http://schemas.microsoft.com/office/drawing/2014/main" id="{DEA780E0-E0F2-0BAC-BDA2-8DE4B7F435D7}"/>
                </a:ext>
              </a:extLst>
            </p:cNvPr>
            <p:cNvGrpSpPr>
              <a:grpSpLocks noChangeAspect="1"/>
            </p:cNvGrpSpPr>
            <p:nvPr>
              <p:custDataLst>
                <p:tags r:id="rId28"/>
              </p:custDataLst>
            </p:nvPr>
          </p:nvGrpSpPr>
          <p:grpSpPr>
            <a:xfrm>
              <a:off x="7723680" y="2078270"/>
              <a:ext cx="228600" cy="228600"/>
              <a:chOff x="762000" y="1270000"/>
              <a:chExt cx="254000" cy="254000"/>
            </a:xfrm>
          </p:grpSpPr>
          <p:sp>
            <p:nvSpPr>
              <p:cNvPr id="31" name="Oval 30" hidden="1">
                <a:extLst>
                  <a:ext uri="{FF2B5EF4-FFF2-40B4-BE49-F238E27FC236}">
                    <a16:creationId xmlns:a16="http://schemas.microsoft.com/office/drawing/2014/main" id="{4B61087D-498F-C46A-A837-E3AB90B2E37F}"/>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mn-lt"/>
                  <a:ea typeface="+mn-ea"/>
                  <a:cs typeface="+mn-cs"/>
                </a:endParaRPr>
              </a:p>
            </p:txBody>
          </p:sp>
          <p:sp>
            <p:nvSpPr>
              <p:cNvPr id="32" name="Arc 31" hidden="1">
                <a:extLst>
                  <a:ext uri="{FF2B5EF4-FFF2-40B4-BE49-F238E27FC236}">
                    <a16:creationId xmlns:a16="http://schemas.microsoft.com/office/drawing/2014/main" id="{345A3DF1-6281-0AA3-6EFF-B1DAB53A7C9D}"/>
                  </a:ext>
                </a:extLst>
              </p:cNvPr>
              <p:cNvSpPr/>
              <p:nvPr>
                <p:custDataLst>
                  <p:tags r:id="rId39"/>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mn-lt"/>
                  <a:ea typeface="+mn-ea"/>
                  <a:cs typeface="+mn-cs"/>
                </a:endParaRPr>
              </a:p>
            </p:txBody>
          </p:sp>
        </p:grpSp>
        <p:grpSp>
          <p:nvGrpSpPr>
            <p:cNvPr id="22" name="MoonLegend3" hidden="1">
              <a:extLst>
                <a:ext uri="{FF2B5EF4-FFF2-40B4-BE49-F238E27FC236}">
                  <a16:creationId xmlns:a16="http://schemas.microsoft.com/office/drawing/2014/main" id="{AB712C1A-1214-7B18-92CA-3C51F861F83C}"/>
                </a:ext>
              </a:extLst>
            </p:cNvPr>
            <p:cNvGrpSpPr>
              <a:grpSpLocks noChangeAspect="1"/>
            </p:cNvGrpSpPr>
            <p:nvPr>
              <p:custDataLst>
                <p:tags r:id="rId29"/>
              </p:custDataLst>
            </p:nvPr>
          </p:nvGrpSpPr>
          <p:grpSpPr>
            <a:xfrm>
              <a:off x="7723680" y="2454085"/>
              <a:ext cx="228600" cy="228600"/>
              <a:chOff x="762000" y="1270000"/>
              <a:chExt cx="254000" cy="254000"/>
            </a:xfrm>
          </p:grpSpPr>
          <p:sp>
            <p:nvSpPr>
              <p:cNvPr id="29" name="Oval 28" hidden="1">
                <a:extLst>
                  <a:ext uri="{FF2B5EF4-FFF2-40B4-BE49-F238E27FC236}">
                    <a16:creationId xmlns:a16="http://schemas.microsoft.com/office/drawing/2014/main" id="{6C4F2DB8-D9A0-D6A5-4EE3-8EF89F828462}"/>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mn-lt"/>
                  <a:ea typeface="+mn-ea"/>
                  <a:cs typeface="+mn-cs"/>
                </a:endParaRPr>
              </a:p>
            </p:txBody>
          </p:sp>
          <p:sp>
            <p:nvSpPr>
              <p:cNvPr id="30" name="Arc 29" hidden="1">
                <a:extLst>
                  <a:ext uri="{FF2B5EF4-FFF2-40B4-BE49-F238E27FC236}">
                    <a16:creationId xmlns:a16="http://schemas.microsoft.com/office/drawing/2014/main" id="{1CD0FE5D-DF73-FE0F-20EE-17092EC33E56}"/>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mn-lt"/>
                  <a:ea typeface="+mn-ea"/>
                  <a:cs typeface="+mn-cs"/>
                </a:endParaRPr>
              </a:p>
            </p:txBody>
          </p:sp>
        </p:grpSp>
        <p:grpSp>
          <p:nvGrpSpPr>
            <p:cNvPr id="23" name="MoonLegend4" hidden="1">
              <a:extLst>
                <a:ext uri="{FF2B5EF4-FFF2-40B4-BE49-F238E27FC236}">
                  <a16:creationId xmlns:a16="http://schemas.microsoft.com/office/drawing/2014/main" id="{1E1B114F-A7FF-DC03-B73A-6D2E469C07D3}"/>
                </a:ext>
              </a:extLst>
            </p:cNvPr>
            <p:cNvGrpSpPr>
              <a:grpSpLocks noChangeAspect="1"/>
            </p:cNvGrpSpPr>
            <p:nvPr>
              <p:custDataLst>
                <p:tags r:id="rId30"/>
              </p:custDataLst>
            </p:nvPr>
          </p:nvGrpSpPr>
          <p:grpSpPr>
            <a:xfrm>
              <a:off x="7723680" y="2829900"/>
              <a:ext cx="228600" cy="228600"/>
              <a:chOff x="762000" y="1270000"/>
              <a:chExt cx="254000" cy="254000"/>
            </a:xfrm>
          </p:grpSpPr>
          <p:sp>
            <p:nvSpPr>
              <p:cNvPr id="27" name="Oval 26" hidden="1">
                <a:extLst>
                  <a:ext uri="{FF2B5EF4-FFF2-40B4-BE49-F238E27FC236}">
                    <a16:creationId xmlns:a16="http://schemas.microsoft.com/office/drawing/2014/main" id="{C828805D-9C56-EAE9-4A27-D8657D411479}"/>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mn-lt"/>
                  <a:ea typeface="+mn-ea"/>
                  <a:cs typeface="+mn-cs"/>
                </a:endParaRPr>
              </a:p>
            </p:txBody>
          </p:sp>
          <p:sp>
            <p:nvSpPr>
              <p:cNvPr id="28" name="Arc 27" hidden="1">
                <a:extLst>
                  <a:ext uri="{FF2B5EF4-FFF2-40B4-BE49-F238E27FC236}">
                    <a16:creationId xmlns:a16="http://schemas.microsoft.com/office/drawing/2014/main" id="{FDE62D1E-17A8-D023-5225-CAD6FAD17AFF}"/>
                  </a:ext>
                </a:extLst>
              </p:cNvPr>
              <p:cNvSpPr/>
              <p:nvPr>
                <p:custDataLst>
                  <p:tags r:id="rId35"/>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mn-lt"/>
                  <a:ea typeface="+mn-ea"/>
                  <a:cs typeface="+mn-cs"/>
                </a:endParaRPr>
              </a:p>
            </p:txBody>
          </p:sp>
        </p:grpSp>
        <p:grpSp>
          <p:nvGrpSpPr>
            <p:cNvPr id="24" name="MoonLegend5" hidden="1">
              <a:extLst>
                <a:ext uri="{FF2B5EF4-FFF2-40B4-BE49-F238E27FC236}">
                  <a16:creationId xmlns:a16="http://schemas.microsoft.com/office/drawing/2014/main" id="{BAD1B501-D0F6-2A28-1B64-4731AC5A8459}"/>
                </a:ext>
              </a:extLst>
            </p:cNvPr>
            <p:cNvGrpSpPr>
              <a:grpSpLocks noChangeAspect="1"/>
            </p:cNvGrpSpPr>
            <p:nvPr>
              <p:custDataLst>
                <p:tags r:id="rId31"/>
              </p:custDataLst>
            </p:nvPr>
          </p:nvGrpSpPr>
          <p:grpSpPr>
            <a:xfrm>
              <a:off x="7723680" y="3205716"/>
              <a:ext cx="228600" cy="228600"/>
              <a:chOff x="762000" y="1270000"/>
              <a:chExt cx="254000" cy="254000"/>
            </a:xfrm>
          </p:grpSpPr>
          <p:sp>
            <p:nvSpPr>
              <p:cNvPr id="25" name="Oval 24" hidden="1">
                <a:extLst>
                  <a:ext uri="{FF2B5EF4-FFF2-40B4-BE49-F238E27FC236}">
                    <a16:creationId xmlns:a16="http://schemas.microsoft.com/office/drawing/2014/main" id="{A4F47176-B595-CA28-41DA-B65AD11322D7}"/>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mn-lt"/>
                  <a:ea typeface="+mn-ea"/>
                  <a:cs typeface="+mn-cs"/>
                </a:endParaRPr>
              </a:p>
            </p:txBody>
          </p:sp>
          <p:sp>
            <p:nvSpPr>
              <p:cNvPr id="26" name="Arc 25" hidden="1">
                <a:extLst>
                  <a:ext uri="{FF2B5EF4-FFF2-40B4-BE49-F238E27FC236}">
                    <a16:creationId xmlns:a16="http://schemas.microsoft.com/office/drawing/2014/main" id="{2158961A-0576-6E02-2BEB-1113997B159C}"/>
                  </a:ext>
                </a:extLst>
              </p:cNvPr>
              <p:cNvSpPr/>
              <p:nvPr>
                <p:custDataLst>
                  <p:tags r:id="rId33"/>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mn-lt"/>
                  <a:ea typeface="+mn-ea"/>
                  <a:cs typeface="+mn-cs"/>
                </a:endParaRPr>
              </a:p>
            </p:txBody>
          </p:sp>
        </p:grpSp>
      </p:grpSp>
      <p:grpSp>
        <p:nvGrpSpPr>
          <p:cNvPr id="35" name="LegendBoxes" hidden="1">
            <a:extLst>
              <a:ext uri="{FF2B5EF4-FFF2-40B4-BE49-F238E27FC236}">
                <a16:creationId xmlns:a16="http://schemas.microsoft.com/office/drawing/2014/main" id="{CFC12A0F-5D1A-D8AF-4231-854DAC196BCA}"/>
              </a:ext>
            </a:extLst>
          </p:cNvPr>
          <p:cNvGrpSpPr/>
          <p:nvPr userDrawn="1"/>
        </p:nvGrpSpPr>
        <p:grpSpPr>
          <a:xfrm>
            <a:off x="10714801" y="4520490"/>
            <a:ext cx="978569" cy="1717282"/>
            <a:chOff x="10652400" y="4322824"/>
            <a:chExt cx="978569" cy="1717282"/>
          </a:xfrm>
        </p:grpSpPr>
        <p:sp>
          <p:nvSpPr>
            <p:cNvPr id="36" name="RectangleLegend1" hidden="1">
              <a:extLst>
                <a:ext uri="{FF2B5EF4-FFF2-40B4-BE49-F238E27FC236}">
                  <a16:creationId xmlns:a16="http://schemas.microsoft.com/office/drawing/2014/main" id="{1900100D-3E34-D2C5-A5D5-F45DD7E0C07F}"/>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mn-lt"/>
                <a:ea typeface="+mn-ea"/>
                <a:cs typeface="+mn-cs"/>
              </a:endParaRPr>
            </a:p>
          </p:txBody>
        </p:sp>
        <p:sp>
          <p:nvSpPr>
            <p:cNvPr id="37" name="RectangleLegend2" hidden="1">
              <a:extLst>
                <a:ext uri="{FF2B5EF4-FFF2-40B4-BE49-F238E27FC236}">
                  <a16:creationId xmlns:a16="http://schemas.microsoft.com/office/drawing/2014/main" id="{6EDEB879-DDDF-7A85-BE08-80B83BB09D4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mn-lt"/>
                <a:ea typeface="+mn-ea"/>
                <a:cs typeface="+mn-cs"/>
              </a:endParaRPr>
            </a:p>
          </p:txBody>
        </p:sp>
        <p:sp>
          <p:nvSpPr>
            <p:cNvPr id="38" name="RectangleLegend3" hidden="1">
              <a:extLst>
                <a:ext uri="{FF2B5EF4-FFF2-40B4-BE49-F238E27FC236}">
                  <a16:creationId xmlns:a16="http://schemas.microsoft.com/office/drawing/2014/main" id="{87CE76CF-5BA3-2C71-3B47-1F4007754338}"/>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mn-lt"/>
                <a:ea typeface="+mn-ea"/>
                <a:cs typeface="+mn-cs"/>
              </a:endParaRPr>
            </a:p>
          </p:txBody>
        </p:sp>
        <p:sp>
          <p:nvSpPr>
            <p:cNvPr id="39" name="RectangleLegend4" hidden="1">
              <a:extLst>
                <a:ext uri="{FF2B5EF4-FFF2-40B4-BE49-F238E27FC236}">
                  <a16:creationId xmlns:a16="http://schemas.microsoft.com/office/drawing/2014/main" id="{07E7EAB5-4125-1AC3-5BA8-FF630971EF59}"/>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mn-lt"/>
                <a:ea typeface="+mn-ea"/>
                <a:cs typeface="+mn-cs"/>
              </a:endParaRPr>
            </a:p>
          </p:txBody>
        </p:sp>
        <p:sp>
          <p:nvSpPr>
            <p:cNvPr id="40" name="RectangleLegend5" hidden="1">
              <a:extLst>
                <a:ext uri="{FF2B5EF4-FFF2-40B4-BE49-F238E27FC236}">
                  <a16:creationId xmlns:a16="http://schemas.microsoft.com/office/drawing/2014/main" id="{D2E41625-9737-CA26-9E7D-BEDC3928F71D}"/>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mn-lt"/>
                <a:ea typeface="+mn-ea"/>
                <a:cs typeface="+mn-cs"/>
              </a:endParaRPr>
            </a:p>
          </p:txBody>
        </p:sp>
        <p:sp>
          <p:nvSpPr>
            <p:cNvPr id="41" name="Legend1" hidden="1">
              <a:extLst>
                <a:ext uri="{FF2B5EF4-FFF2-40B4-BE49-F238E27FC236}">
                  <a16:creationId xmlns:a16="http://schemas.microsoft.com/office/drawing/2014/main" id="{6C290032-F519-AEB1-955D-886C252AD9CB}"/>
                </a:ext>
              </a:extLst>
            </p:cNvPr>
            <p:cNvSpPr txBox="1"/>
            <p:nvPr/>
          </p:nvSpPr>
          <p:spPr>
            <a:xfrm>
              <a:off x="10978546" y="4322824"/>
              <a:ext cx="652423"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42" name="Legend2" hidden="1">
              <a:extLst>
                <a:ext uri="{FF2B5EF4-FFF2-40B4-BE49-F238E27FC236}">
                  <a16:creationId xmlns:a16="http://schemas.microsoft.com/office/drawing/2014/main" id="{16E9CA80-8D9C-D010-8E9A-DCCDF97747F4}"/>
                </a:ext>
              </a:extLst>
            </p:cNvPr>
            <p:cNvSpPr txBox="1"/>
            <p:nvPr/>
          </p:nvSpPr>
          <p:spPr>
            <a:xfrm>
              <a:off x="10978546" y="4702322"/>
              <a:ext cx="652423"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43" name="Legend3" hidden="1">
              <a:extLst>
                <a:ext uri="{FF2B5EF4-FFF2-40B4-BE49-F238E27FC236}">
                  <a16:creationId xmlns:a16="http://schemas.microsoft.com/office/drawing/2014/main" id="{2F75ABEE-EA85-9D75-63AE-3643FA71C76E}"/>
                </a:ext>
              </a:extLst>
            </p:cNvPr>
            <p:cNvSpPr txBox="1"/>
            <p:nvPr/>
          </p:nvSpPr>
          <p:spPr>
            <a:xfrm>
              <a:off x="10978546" y="5081820"/>
              <a:ext cx="652423"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44" name="Legend4" hidden="1">
              <a:extLst>
                <a:ext uri="{FF2B5EF4-FFF2-40B4-BE49-F238E27FC236}">
                  <a16:creationId xmlns:a16="http://schemas.microsoft.com/office/drawing/2014/main" id="{B76F7C10-2893-3B60-785B-02E4CCF910DE}"/>
                </a:ext>
              </a:extLst>
            </p:cNvPr>
            <p:cNvSpPr txBox="1"/>
            <p:nvPr/>
          </p:nvSpPr>
          <p:spPr>
            <a:xfrm>
              <a:off x="10978546" y="5453241"/>
              <a:ext cx="652423"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45" name="Legend5" hidden="1">
              <a:extLst>
                <a:ext uri="{FF2B5EF4-FFF2-40B4-BE49-F238E27FC236}">
                  <a16:creationId xmlns:a16="http://schemas.microsoft.com/office/drawing/2014/main" id="{32A27879-5E1F-F58D-8EF4-5CAF1092D6F8}"/>
                </a:ext>
              </a:extLst>
            </p:cNvPr>
            <p:cNvSpPr txBox="1"/>
            <p:nvPr/>
          </p:nvSpPr>
          <p:spPr>
            <a:xfrm>
              <a:off x="10978545" y="5824662"/>
              <a:ext cx="652423"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grpSp>
      <p:pic>
        <p:nvPicPr>
          <p:cNvPr id="4" name="Picture 4" descr="Vitafoods Asia | 17 - 19 Sept 2025 | Nutraceutical Trade Show">
            <a:extLst>
              <a:ext uri="{FF2B5EF4-FFF2-40B4-BE49-F238E27FC236}">
                <a16:creationId xmlns:a16="http://schemas.microsoft.com/office/drawing/2014/main" id="{E3D7CA95-1F99-8859-BF20-6A142EAF1307}"/>
              </a:ext>
            </a:extLst>
          </p:cNvPr>
          <p:cNvPicPr>
            <a:picLocks noChangeAspect="1" noChangeArrowheads="1"/>
          </p:cNvPicPr>
          <p:nvPr userDrawn="1"/>
        </p:nvPicPr>
        <p:blipFill rotWithShape="1">
          <a:blip r:embed="rId44" cstate="print">
            <a:extLst>
              <a:ext uri="{28A0092B-C50C-407E-A947-70E740481C1C}">
                <a14:useLocalDpi xmlns:a14="http://schemas.microsoft.com/office/drawing/2010/main" val="0"/>
              </a:ext>
            </a:extLst>
          </a:blip>
          <a:srcRect l="10354" t="12333" r="10254" b="23240"/>
          <a:stretch/>
        </p:blipFill>
        <p:spPr bwMode="ltGray">
          <a:xfrm>
            <a:off x="10878885" y="6310312"/>
            <a:ext cx="758380" cy="398377"/>
          </a:xfrm>
          <a:prstGeom prst="rect">
            <a:avLst/>
          </a:prstGeom>
          <a:noFill/>
          <a:extLst>
            <a:ext uri="{909E8E84-426E-40DD-AFC4-6F175D3DCCD1}">
              <a14:hiddenFill xmlns:a14="http://schemas.microsoft.com/office/drawing/2010/main">
                <a:solidFill>
                  <a:srgbClr val="FFFFFF"/>
                </a:solidFill>
              </a14:hiddenFill>
            </a:ext>
          </a:extLst>
        </p:spPr>
      </p:pic>
      <p:pic>
        <p:nvPicPr>
          <p:cNvPr id="47" name="Grid" hidden="1">
            <a:extLst>
              <a:ext uri="{FF2B5EF4-FFF2-40B4-BE49-F238E27FC236}">
                <a16:creationId xmlns:a16="http://schemas.microsoft.com/office/drawing/2014/main" id="{5029E433-E719-606D-B21A-73B431736D1B}"/>
              </a:ext>
            </a:extLst>
          </p:cNvPr>
          <p:cNvPicPr>
            <a:picLocks noChangeAspect="1"/>
          </p:cNvPicPr>
          <p:nvPr userDrawn="1">
            <p:custDataLst>
              <p:tags r:id="rId26"/>
            </p:custDataLst>
          </p:nvPr>
        </p:nvPicPr>
        <p:blipFill>
          <a:blip r:embed="rId45"/>
          <a:stretch>
            <a:fillRect/>
          </a:stretch>
        </p:blipFill>
        <p:spPr>
          <a:xfrm>
            <a:off x="0" y="0"/>
            <a:ext cx="12184601" cy="6858000"/>
          </a:xfrm>
          <a:prstGeom prst="rect">
            <a:avLst/>
          </a:prstGeom>
        </p:spPr>
      </p:pic>
    </p:spTree>
    <p:extLst>
      <p:ext uri="{BB962C8B-B14F-4D97-AF65-F5344CB8AC3E}">
        <p14:creationId xmlns:p14="http://schemas.microsoft.com/office/powerpoint/2010/main" val="3697536003"/>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85" r:id="rId17"/>
    <p:sldLayoutId id="2147484362" r:id="rId18"/>
    <p:sldLayoutId id="2147484367" r:id="rId19"/>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78">
          <p15:clr>
            <a:srgbClr val="5ACBF0"/>
          </p15:clr>
        </p15:guide>
        <p15:guide id="3" orient="horz" pos="3912">
          <p15:clr>
            <a:srgbClr val="5ACBF0"/>
          </p15:clr>
        </p15:guide>
        <p15:guide id="4" orient="horz" pos="890">
          <p15:clr>
            <a:srgbClr val="F26B43"/>
          </p15:clr>
        </p15:guide>
        <p15:guide id="5" pos="7329">
          <p15:clr>
            <a:srgbClr val="F26B43"/>
          </p15:clr>
        </p15:guide>
        <p15:guide id="6" pos="345">
          <p15:clr>
            <a:srgbClr val="F26B43"/>
          </p15:clr>
        </p15:guide>
        <p15:guide id="8" orient="horz" pos="397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BB56245-8C3F-463C-828B-3310AF6BE224}"/>
              </a:ext>
            </a:extLst>
          </p:cNvPr>
          <p:cNvGraphicFramePr>
            <a:graphicFrameLocks noChangeAspect="1"/>
          </p:cNvGraphicFramePr>
          <p:nvPr userDrawn="1">
            <p:custDataLst>
              <p:tags r:id="rId27"/>
            </p:custDataLst>
            <p:extLst>
              <p:ext uri="{D42A27DB-BD31-4B8C-83A1-F6EECF244321}">
                <p14:modId xmlns:p14="http://schemas.microsoft.com/office/powerpoint/2010/main" val="3812316317"/>
              </p:ext>
            </p:ext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think-cell Slide" r:id="rId29" imgW="370" imgH="369" progId="TCLayout.ActiveDocument.1">
                  <p:embed/>
                </p:oleObj>
              </mc:Choice>
              <mc:Fallback>
                <p:oleObj name="think-cell Slide" r:id="rId29" imgW="370" imgH="369" progId="TCLayout.ActiveDocument.1">
                  <p:embed/>
                  <p:pic>
                    <p:nvPicPr>
                      <p:cNvPr id="8" name="Object 7" hidden="1">
                        <a:extLst>
                          <a:ext uri="{FF2B5EF4-FFF2-40B4-BE49-F238E27FC236}">
                            <a16:creationId xmlns:a16="http://schemas.microsoft.com/office/drawing/2014/main" id="{DBB56245-8C3F-463C-828B-3310AF6BE224}"/>
                          </a:ext>
                        </a:extLst>
                      </p:cNvPr>
                      <p:cNvPicPr/>
                      <p:nvPr/>
                    </p:nvPicPr>
                    <p:blipFill>
                      <a:blip r:embed="rId30"/>
                      <a:stretch>
                        <a:fillRect/>
                      </a:stretch>
                    </p:blipFill>
                    <p:spPr>
                      <a:xfrm>
                        <a:off x="2120" y="2120"/>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61D4AC5-7B75-433B-97F3-8D0F6AEA4441}"/>
              </a:ext>
            </a:extLst>
          </p:cNvPr>
          <p:cNvSpPr/>
          <p:nvPr userDrawn="1">
            <p:custDataLst>
              <p:tags r:id="rId28"/>
            </p:custDataLst>
          </p:nvPr>
        </p:nvSpPr>
        <p:spPr>
          <a:xfrm>
            <a:off x="1" y="1"/>
            <a:ext cx="211667" cy="211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lnSpc>
                <a:spcPct val="112000"/>
              </a:lnSpc>
            </a:pPr>
            <a:endParaRPr lang="en-US" sz="2667" b="0" i="0" baseline="0">
              <a:latin typeface="Verdana" panose="020B0604030504040204" pitchFamily="34" charset="0"/>
              <a:ea typeface="+mj-ea"/>
              <a:cs typeface="+mj-cs"/>
              <a:sym typeface="Verdana" panose="020B0604030504040204" pitchFamily="34" charset="0"/>
            </a:endParaRPr>
          </a:p>
        </p:txBody>
      </p:sp>
      <p:sp>
        <p:nvSpPr>
          <p:cNvPr id="2" name="Title Placeholder 1"/>
          <p:cNvSpPr>
            <a:spLocks noGrp="1"/>
          </p:cNvSpPr>
          <p:nvPr>
            <p:ph type="title"/>
          </p:nvPr>
        </p:nvSpPr>
        <p:spPr>
          <a:xfrm>
            <a:off x="575735" y="548220"/>
            <a:ext cx="11040532" cy="1036965"/>
          </a:xfrm>
          <a:prstGeom prst="rect">
            <a:avLst/>
          </a:prstGeom>
        </p:spPr>
        <p:txBody>
          <a:bodyPr vert="horz"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580295" y="1701801"/>
            <a:ext cx="11035975" cy="4176184"/>
          </a:xfrm>
          <a:prstGeom prst="rect">
            <a:avLst/>
          </a:prstGeom>
        </p:spPr>
        <p:txBody>
          <a:bodyPr vert="horz" lIns="0" tIns="0" rIns="0" bIns="0" rtlCol="0">
            <a:noAutofit/>
          </a:bodyPr>
          <a:lstStyle/>
          <a:p>
            <a:pPr lvl="0"/>
            <a:r>
              <a:rPr lang="nl-NL"/>
              <a:t>Klikken om de tekststijl van het model te bewerken</a:t>
            </a:r>
          </a:p>
          <a:p>
            <a:pPr lvl="1"/>
            <a:r>
              <a:rPr lang="nl-NL"/>
              <a:t>Second Level</a:t>
            </a:r>
          </a:p>
          <a:p>
            <a:pPr lvl="2"/>
            <a:r>
              <a:rPr lang="nl-NL"/>
              <a:t>Third Level</a:t>
            </a:r>
          </a:p>
          <a:p>
            <a:pPr lvl="3"/>
            <a:r>
              <a:rPr lang="nl-NL"/>
              <a:t>Fourth Level</a:t>
            </a:r>
          </a:p>
          <a:p>
            <a:pPr lvl="4"/>
            <a:r>
              <a:rPr lang="nl-NL"/>
              <a:t>Fifth Level</a:t>
            </a:r>
            <a:endParaRPr lang="en-US"/>
          </a:p>
        </p:txBody>
      </p:sp>
      <p:sp>
        <p:nvSpPr>
          <p:cNvPr id="4" name="Date Placeholder 3"/>
          <p:cNvSpPr>
            <a:spLocks noGrp="1"/>
          </p:cNvSpPr>
          <p:nvPr>
            <p:ph type="dt" sz="half" idx="2"/>
          </p:nvPr>
        </p:nvSpPr>
        <p:spPr>
          <a:xfrm>
            <a:off x="10237641" y="6491402"/>
            <a:ext cx="458459" cy="102657"/>
          </a:xfrm>
          <a:prstGeom prst="rect">
            <a:avLst/>
          </a:prstGeom>
        </p:spPr>
        <p:txBody>
          <a:bodyPr vert="horz" wrap="none" lIns="0" tIns="0" rIns="0" bIns="0" rtlCol="0" anchor="ctr">
            <a:spAutoFit/>
          </a:bodyPr>
          <a:lstStyle>
            <a:lvl1pPr algn="r">
              <a:defRPr sz="667">
                <a:solidFill>
                  <a:schemeClr val="tx1">
                    <a:tint val="75000"/>
                  </a:schemeClr>
                </a:solidFill>
              </a:defRPr>
            </a:lvl1pPr>
          </a:lstStyle>
          <a:p>
            <a:fld id="{D376C258-174B-4AEF-AFAA-1CC12B14D01A}" type="datetime1">
              <a:rPr lang="en-US" smtClean="0"/>
              <a:pPr/>
              <a:t>4/18/2025</a:t>
            </a:fld>
            <a:endParaRPr lang="en-US"/>
          </a:p>
        </p:txBody>
      </p:sp>
      <p:sp>
        <p:nvSpPr>
          <p:cNvPr id="5" name="Footer Placeholder 4"/>
          <p:cNvSpPr>
            <a:spLocks noGrp="1"/>
          </p:cNvSpPr>
          <p:nvPr>
            <p:ph type="ftr" sz="quarter" idx="3"/>
          </p:nvPr>
        </p:nvSpPr>
        <p:spPr>
          <a:xfrm>
            <a:off x="848861" y="6491432"/>
            <a:ext cx="1652163" cy="102592"/>
          </a:xfrm>
          <a:prstGeom prst="rect">
            <a:avLst/>
          </a:prstGeom>
        </p:spPr>
        <p:txBody>
          <a:bodyPr vert="horz" wrap="none" lIns="0" tIns="0" rIns="0" bIns="0" rtlCol="0" anchor="ctr">
            <a:spAutoFit/>
          </a:bodyPr>
          <a:lstStyle>
            <a:lvl1pPr algn="l">
              <a:defRPr sz="667">
                <a:solidFill>
                  <a:schemeClr val="tx1">
                    <a:tint val="75000"/>
                  </a:schemeClr>
                </a:solidFill>
              </a:defRPr>
            </a:lvl1pPr>
          </a:lstStyle>
          <a:p>
            <a:r>
              <a:rPr lang="en-US"/>
              <a:t>Draft | Internal use only | Confidential</a:t>
            </a:r>
          </a:p>
        </p:txBody>
      </p:sp>
      <p:sp>
        <p:nvSpPr>
          <p:cNvPr id="6" name="Slide Number Placeholder 5"/>
          <p:cNvSpPr>
            <a:spLocks noGrp="1"/>
          </p:cNvSpPr>
          <p:nvPr>
            <p:ph type="sldNum" sz="quarter" idx="4"/>
          </p:nvPr>
        </p:nvSpPr>
        <p:spPr>
          <a:xfrm>
            <a:off x="580291" y="6491404"/>
            <a:ext cx="147476" cy="102657"/>
          </a:xfrm>
          <a:prstGeom prst="rect">
            <a:avLst/>
          </a:prstGeom>
        </p:spPr>
        <p:txBody>
          <a:bodyPr vert="horz" wrap="none" lIns="0" tIns="0" rIns="0" bIns="0" rtlCol="0" anchor="ctr">
            <a:spAutoFit/>
          </a:bodyPr>
          <a:lstStyle>
            <a:lvl1pPr algn="l">
              <a:defRPr sz="667">
                <a:solidFill>
                  <a:schemeClr val="tx1">
                    <a:tint val="75000"/>
                  </a:schemeClr>
                </a:solidFill>
              </a:defRPr>
            </a:lvl1pPr>
          </a:lstStyle>
          <a:p>
            <a:fld id="{9BE0E23E-9022-4929-B297-EB2777CDBB1F}" type="slidenum">
              <a:rPr lang="en-US" smtClean="0"/>
              <a:pPr/>
              <a:t>‹#›</a:t>
            </a:fld>
            <a:endParaRPr lang="en-US"/>
          </a:p>
        </p:txBody>
      </p:sp>
      <p:pic>
        <p:nvPicPr>
          <p:cNvPr id="11" name="Picture 4">
            <a:extLst>
              <a:ext uri="{FF2B5EF4-FFF2-40B4-BE49-F238E27FC236}">
                <a16:creationId xmlns:a16="http://schemas.microsoft.com/office/drawing/2014/main" id="{A15E03F2-BDA0-49BB-AA14-A24C0CBB1FA7}"/>
              </a:ext>
            </a:extLst>
          </p:cNvPr>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a:off x="10698281" y="6001372"/>
            <a:ext cx="1173195" cy="600904"/>
          </a:xfrm>
          <a:prstGeom prst="rect">
            <a:avLst/>
          </a:prstGeom>
        </p:spPr>
      </p:pic>
    </p:spTree>
    <p:extLst>
      <p:ext uri="{BB962C8B-B14F-4D97-AF65-F5344CB8AC3E}">
        <p14:creationId xmlns:p14="http://schemas.microsoft.com/office/powerpoint/2010/main" val="1098721357"/>
      </p:ext>
    </p:extLst>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 id="2147483849" r:id="rId9"/>
    <p:sldLayoutId id="2147483850" r:id="rId10"/>
    <p:sldLayoutId id="2147483851" r:id="rId11"/>
    <p:sldLayoutId id="2147483852" r:id="rId12"/>
    <p:sldLayoutId id="2147483853" r:id="rId13"/>
    <p:sldLayoutId id="2147483854" r:id="rId14"/>
    <p:sldLayoutId id="2147483855" r:id="rId15"/>
    <p:sldLayoutId id="2147483856" r:id="rId16"/>
    <p:sldLayoutId id="2147483857" r:id="rId17"/>
    <p:sldLayoutId id="2147483858" r:id="rId18"/>
    <p:sldLayoutId id="2147483859" r:id="rId19"/>
    <p:sldLayoutId id="2147483860" r:id="rId20"/>
    <p:sldLayoutId id="2147483861" r:id="rId21"/>
    <p:sldLayoutId id="2147483862" r:id="rId22"/>
    <p:sldLayoutId id="2147483863" r:id="rId23"/>
    <p:sldLayoutId id="2147483864" r:id="rId24"/>
    <p:sldLayoutId id="2147483865" r:id="rId2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309" rtl="0" eaLnBrk="1" latinLnBrk="0" hangingPunct="1">
        <a:lnSpc>
          <a:spcPct val="90000"/>
        </a:lnSpc>
        <a:spcBef>
          <a:spcPct val="0"/>
        </a:spcBef>
        <a:buNone/>
        <a:defRPr sz="2667" kern="1200">
          <a:solidFill>
            <a:schemeClr val="accent1"/>
          </a:solidFill>
          <a:latin typeface="+mj-lt"/>
          <a:ea typeface="+mj-ea"/>
          <a:cs typeface="+mj-cs"/>
        </a:defRPr>
      </a:lvl1pPr>
    </p:titleStyle>
    <p:bodyStyle>
      <a:lvl1pPr marL="234927" indent="-234927" algn="l" defTabSz="914309" rtl="0" eaLnBrk="1" latinLnBrk="0" hangingPunct="1">
        <a:lnSpc>
          <a:spcPct val="113000"/>
        </a:lnSpc>
        <a:spcBef>
          <a:spcPts val="1600"/>
        </a:spcBef>
        <a:buClr>
          <a:schemeClr val="tx1"/>
        </a:buClr>
        <a:buFont typeface="Arial" panose="020B0604020202020204" pitchFamily="34" charset="0"/>
        <a:buChar char="•"/>
        <a:defRPr sz="1867" kern="1200">
          <a:solidFill>
            <a:schemeClr val="tx1"/>
          </a:solidFill>
          <a:latin typeface="+mn-lt"/>
          <a:ea typeface="+mn-ea"/>
          <a:cs typeface="+mn-cs"/>
        </a:defRPr>
      </a:lvl1pPr>
      <a:lvl2pPr marL="480436" indent="-228578" algn="l" defTabSz="914309"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2pPr>
      <a:lvl3pPr marL="715361" indent="-228578" algn="l" defTabSz="914309"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3pPr>
      <a:lvl4pPr marL="960871" indent="-228578" algn="l" defTabSz="914309"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4pPr>
      <a:lvl5pPr marL="1195797" indent="-228578" algn="l" defTabSz="914309"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5pPr>
      <a:lvl6pPr marL="2514349" indent="-228578"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04" indent="-228578"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58" indent="-228578"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14" indent="-228578"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09" rtl="0" eaLnBrk="1" latinLnBrk="0" hangingPunct="1">
        <a:defRPr sz="1800" kern="1200">
          <a:solidFill>
            <a:schemeClr val="tx1"/>
          </a:solidFill>
          <a:latin typeface="+mn-lt"/>
          <a:ea typeface="+mn-ea"/>
          <a:cs typeface="+mn-cs"/>
        </a:defRPr>
      </a:lvl1pPr>
      <a:lvl2pPr marL="457155"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4" algn="l" defTabSz="914309" rtl="0" eaLnBrk="1" latinLnBrk="0" hangingPunct="1">
        <a:defRPr sz="1800" kern="1200">
          <a:solidFill>
            <a:schemeClr val="tx1"/>
          </a:solidFill>
          <a:latin typeface="+mn-lt"/>
          <a:ea typeface="+mn-ea"/>
          <a:cs typeface="+mn-cs"/>
        </a:defRPr>
      </a:lvl4pPr>
      <a:lvl5pPr marL="1828618" algn="l" defTabSz="914309" rtl="0" eaLnBrk="1" latinLnBrk="0" hangingPunct="1">
        <a:defRPr sz="1800" kern="1200">
          <a:solidFill>
            <a:schemeClr val="tx1"/>
          </a:solidFill>
          <a:latin typeface="+mn-lt"/>
          <a:ea typeface="+mn-ea"/>
          <a:cs typeface="+mn-cs"/>
        </a:defRPr>
      </a:lvl5pPr>
      <a:lvl6pPr marL="2285774"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5" algn="l" defTabSz="91430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488">
          <p15:clr>
            <a:srgbClr val="F26B43"/>
          </p15:clr>
        </p15:guide>
        <p15:guide id="3" pos="272">
          <p15:clr>
            <a:srgbClr val="F26B43"/>
          </p15:clr>
        </p15:guide>
        <p15:guide id="5" orient="horz" pos="2777">
          <p15:clr>
            <a:srgbClr val="F26B43"/>
          </p15:clr>
        </p15:guide>
        <p15:guide id="6" orient="horz" pos="804">
          <p15:clr>
            <a:srgbClr val="F26B43"/>
          </p15:clr>
        </p15:guide>
        <p15:guide id="7" orient="horz" pos="758">
          <p15:clr>
            <a:srgbClr val="F26B43"/>
          </p15:clr>
        </p15:guide>
        <p15:guide id="8" orient="horz" pos="259">
          <p15:clr>
            <a:srgbClr val="F26B43"/>
          </p15:clr>
        </p15:guide>
        <p15:guide id="9" pos="2880">
          <p15:clr>
            <a:srgbClr val="F26B43"/>
          </p15:clr>
        </p15:guide>
        <p15:guide id="10" pos="1973">
          <p15:clr>
            <a:srgbClr val="F26B43"/>
          </p15:clr>
        </p15:guide>
        <p15:guide id="11" pos="2132">
          <p15:clr>
            <a:srgbClr val="F26B43"/>
          </p15:clr>
        </p15:guide>
        <p15:guide id="12" pos="3628">
          <p15:clr>
            <a:srgbClr val="F26B43"/>
          </p15:clr>
        </p15:guide>
        <p15:guide id="13" pos="3787">
          <p15:clr>
            <a:srgbClr val="F26B43"/>
          </p15:clr>
        </p15:guide>
        <p15:guide id="14" orient="horz" pos="1915">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20"/>
            </p:custDataLst>
            <p:extLst>
              <p:ext uri="{D42A27DB-BD31-4B8C-83A1-F6EECF244321}">
                <p14:modId xmlns:p14="http://schemas.microsoft.com/office/powerpoint/2010/main" val="2568284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592" imgH="591" progId="TCLayout.ActiveDocument.1">
                  <p:embed/>
                </p:oleObj>
              </mc:Choice>
              <mc:Fallback>
                <p:oleObj name="think-cell Slide" r:id="rId40"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21"/>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grpSp>
        <p:nvGrpSpPr>
          <p:cNvPr id="146" name="Grid" hidden="1">
            <a:extLst>
              <a:ext uri="{FF2B5EF4-FFF2-40B4-BE49-F238E27FC236}">
                <a16:creationId xmlns:a16="http://schemas.microsoft.com/office/drawing/2014/main" id="{00E02929-655A-4D11-8498-7B726B892859}"/>
              </a:ext>
            </a:extLst>
          </p:cNvPr>
          <p:cNvGrpSpPr/>
          <p:nvPr userDrawn="1"/>
        </p:nvGrpSpPr>
        <p:grpSpPr>
          <a:xfrm>
            <a:off x="0" y="0"/>
            <a:ext cx="12190476" cy="6858000"/>
            <a:chOff x="0" y="0"/>
            <a:chExt cx="12190476" cy="6858000"/>
          </a:xfrm>
        </p:grpSpPr>
        <p:sp>
          <p:nvSpPr>
            <p:cNvPr id="147" name="Freeform: Shape 146">
              <a:extLst>
                <a:ext uri="{FF2B5EF4-FFF2-40B4-BE49-F238E27FC236}">
                  <a16:creationId xmlns:a16="http://schemas.microsoft.com/office/drawing/2014/main" id="{B246553F-F107-4247-AFD2-330A5E29AB37}"/>
                </a:ext>
              </a:extLst>
            </p:cNvPr>
            <p:cNvSpPr/>
            <p:nvPr userDrawn="1"/>
          </p:nvSpPr>
          <p:spPr bwMode="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148" name="Freeform: Shape 147">
              <a:extLst>
                <a:ext uri="{FF2B5EF4-FFF2-40B4-BE49-F238E27FC236}">
                  <a16:creationId xmlns:a16="http://schemas.microsoft.com/office/drawing/2014/main" id="{B004011D-070D-4016-9995-FCB7504D0F9E}"/>
                </a:ext>
              </a:extLst>
            </p:cNvPr>
            <p:cNvSpPr/>
            <p:nvPr/>
          </p:nvSpPr>
          <p:spPr bwMode="gray">
            <a:xfrm>
              <a:off x="1524" y="0"/>
              <a:ext cx="12188952" cy="6858000"/>
            </a:xfrm>
            <a:custGeom>
              <a:avLst/>
              <a:gdLst>
                <a:gd name="connsiteX0" fmla="*/ 553212 w 12188952"/>
                <a:gd name="connsiteY0" fmla="*/ 1405610 h 6858000"/>
                <a:gd name="connsiteX1" fmla="*/ 553212 w 12188952"/>
                <a:gd name="connsiteY1" fmla="*/ 1709928 h 6858000"/>
                <a:gd name="connsiteX2" fmla="*/ 551868 w 12188952"/>
                <a:gd name="connsiteY2" fmla="*/ 1709928 h 6858000"/>
                <a:gd name="connsiteX3" fmla="*/ 551868 w 12188952"/>
                <a:gd name="connsiteY3" fmla="*/ 6217920 h 6858000"/>
                <a:gd name="connsiteX4" fmla="*/ 553212 w 12188952"/>
                <a:gd name="connsiteY4" fmla="*/ 6217920 h 6858000"/>
                <a:gd name="connsiteX5" fmla="*/ 11635740 w 12188952"/>
                <a:gd name="connsiteY5" fmla="*/ 6217920 h 6858000"/>
                <a:gd name="connsiteX6" fmla="*/ 11636196 w 12188952"/>
                <a:gd name="connsiteY6" fmla="*/ 6217920 h 6858000"/>
                <a:gd name="connsiteX7" fmla="*/ 11636196 w 12188952"/>
                <a:gd name="connsiteY7" fmla="*/ 1709928 h 6858000"/>
                <a:gd name="connsiteX8" fmla="*/ 11635740 w 12188952"/>
                <a:gd name="connsiteY8" fmla="*/ 1709928 h 6858000"/>
                <a:gd name="connsiteX9" fmla="*/ 11635740 w 12188952"/>
                <a:gd name="connsiteY9" fmla="*/ 1405610 h 6858000"/>
                <a:gd name="connsiteX10" fmla="*/ 0 w 12188952"/>
                <a:gd name="connsiteY10" fmla="*/ 0 h 6858000"/>
                <a:gd name="connsiteX11" fmla="*/ 12188952 w 12188952"/>
                <a:gd name="connsiteY11" fmla="*/ 0 h 6858000"/>
                <a:gd name="connsiteX12" fmla="*/ 12188952 w 12188952"/>
                <a:gd name="connsiteY12" fmla="*/ 6858000 h 6858000"/>
                <a:gd name="connsiteX13" fmla="*/ 0 w 12188952"/>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6858000">
                  <a:moveTo>
                    <a:pt x="553212" y="1405610"/>
                  </a:moveTo>
                  <a:lnTo>
                    <a:pt x="553212" y="1709928"/>
                  </a:lnTo>
                  <a:lnTo>
                    <a:pt x="551868" y="1709928"/>
                  </a:lnTo>
                  <a:lnTo>
                    <a:pt x="551868" y="6217920"/>
                  </a:lnTo>
                  <a:lnTo>
                    <a:pt x="553212" y="6217920"/>
                  </a:lnTo>
                  <a:lnTo>
                    <a:pt x="11635740" y="6217920"/>
                  </a:lnTo>
                  <a:lnTo>
                    <a:pt x="11636196" y="6217920"/>
                  </a:lnTo>
                  <a:lnTo>
                    <a:pt x="11636196" y="1709928"/>
                  </a:lnTo>
                  <a:lnTo>
                    <a:pt x="11635740" y="1709928"/>
                  </a:lnTo>
                  <a:lnTo>
                    <a:pt x="11635740" y="1405610"/>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rtl="0"/>
              <a:endParaRPr lang="en-US">
                <a:solidFill>
                  <a:schemeClr val="tx1"/>
                </a:solidFill>
                <a:latin typeface="+mn-lt"/>
              </a:endParaRPr>
            </a:p>
          </p:txBody>
        </p:sp>
        <p:cxnSp>
          <p:nvCxnSpPr>
            <p:cNvPr id="149" name="Straight Connector 148">
              <a:extLst>
                <a:ext uri="{FF2B5EF4-FFF2-40B4-BE49-F238E27FC236}">
                  <a16:creationId xmlns:a16="http://schemas.microsoft.com/office/drawing/2014/main" id="{8EED4E9C-CBFD-493E-8230-4890744820CD}"/>
                </a:ext>
              </a:extLst>
            </p:cNvPr>
            <p:cNvCxnSpPr/>
            <p:nvPr/>
          </p:nvCxnSpPr>
          <p:spPr bwMode="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C4E7EE8D-5E67-4BAD-BF3E-B49398A0D38A}"/>
                </a:ext>
              </a:extLst>
            </p:cNvPr>
            <p:cNvCxnSpPr/>
            <p:nvPr/>
          </p:nvCxnSpPr>
          <p:spPr bwMode="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EBF4CC32-113E-4603-89B5-B2E9710CEC86}"/>
                </a:ext>
              </a:extLst>
            </p:cNvPr>
            <p:cNvCxnSpPr/>
            <p:nvPr/>
          </p:nvCxnSpPr>
          <p:spPr bwMode="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1F0D8B50-908B-4BBC-B53E-EBFB79D81A0A}"/>
                </a:ext>
              </a:extLst>
            </p:cNvPr>
            <p:cNvCxnSpPr/>
            <p:nvPr/>
          </p:nvCxnSpPr>
          <p:spPr bwMode="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96B0BD72-05B5-4E6D-ADCA-69118552AB73}"/>
                </a:ext>
              </a:extLst>
            </p:cNvPr>
            <p:cNvCxnSpPr/>
            <p:nvPr/>
          </p:nvCxnSpPr>
          <p:spPr bwMode="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6FC8DA45-07AB-4141-99EE-E61BAAE7D11E}"/>
                </a:ext>
              </a:extLst>
            </p:cNvPr>
            <p:cNvCxnSpPr/>
            <p:nvPr/>
          </p:nvCxnSpPr>
          <p:spPr bwMode="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FAD9D4E0-4143-4515-A821-78819A398AF2}"/>
                </a:ext>
              </a:extLst>
            </p:cNvPr>
            <p:cNvCxnSpPr/>
            <p:nvPr/>
          </p:nvCxnSpPr>
          <p:spPr bwMode="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5992F49D-6943-4918-866D-7066A87A4A79}"/>
                </a:ext>
              </a:extLst>
            </p:cNvPr>
            <p:cNvCxnSpPr/>
            <p:nvPr/>
          </p:nvCxnSpPr>
          <p:spPr bwMode="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1FE62798-DF2C-4227-978E-F44634E9B13E}"/>
                </a:ext>
              </a:extLst>
            </p:cNvPr>
            <p:cNvCxnSpPr/>
            <p:nvPr/>
          </p:nvCxnSpPr>
          <p:spPr bwMode="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2E77B44F-95E2-4A82-9055-AF6FD632A4C2}"/>
                </a:ext>
              </a:extLst>
            </p:cNvPr>
            <p:cNvCxnSpPr/>
            <p:nvPr/>
          </p:nvCxnSpPr>
          <p:spPr bwMode="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B867695C-B379-491F-A7BA-BB9CDD95C0A2}"/>
                </a:ext>
              </a:extLst>
            </p:cNvPr>
            <p:cNvCxnSpPr/>
            <p:nvPr/>
          </p:nvCxnSpPr>
          <p:spPr bwMode="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3CF70945-7437-42D7-8530-CC82474AD8C7}"/>
                </a:ext>
              </a:extLst>
            </p:cNvPr>
            <p:cNvCxnSpPr/>
            <p:nvPr/>
          </p:nvCxnSpPr>
          <p:spPr bwMode="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161" name="Freeform: Shape 160">
              <a:extLst>
                <a:ext uri="{FF2B5EF4-FFF2-40B4-BE49-F238E27FC236}">
                  <a16:creationId xmlns:a16="http://schemas.microsoft.com/office/drawing/2014/main" id="{DA9FAF73-F6CC-433E-9E54-926227DC3B49}"/>
                </a:ext>
              </a:extLst>
            </p:cNvPr>
            <p:cNvSpPr/>
            <p:nvPr/>
          </p:nvSpPr>
          <p:spPr bwMode="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162" name="Freeform: Shape 161">
              <a:extLst>
                <a:ext uri="{FF2B5EF4-FFF2-40B4-BE49-F238E27FC236}">
                  <a16:creationId xmlns:a16="http://schemas.microsoft.com/office/drawing/2014/main" id="{E34A557B-494C-4AD9-8F89-E5E9AF83C5C9}"/>
                </a:ext>
              </a:extLst>
            </p:cNvPr>
            <p:cNvSpPr/>
            <p:nvPr/>
          </p:nvSpPr>
          <p:spPr bwMode="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163" name="Freeform: Shape 162">
              <a:extLst>
                <a:ext uri="{FF2B5EF4-FFF2-40B4-BE49-F238E27FC236}">
                  <a16:creationId xmlns:a16="http://schemas.microsoft.com/office/drawing/2014/main" id="{EF51026B-29C4-4F7C-BFF5-D2620B54A446}"/>
                </a:ext>
              </a:extLst>
            </p:cNvPr>
            <p:cNvSpPr/>
            <p:nvPr/>
          </p:nvSpPr>
          <p:spPr bwMode="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164" name="Freeform: Shape 163">
              <a:extLst>
                <a:ext uri="{FF2B5EF4-FFF2-40B4-BE49-F238E27FC236}">
                  <a16:creationId xmlns:a16="http://schemas.microsoft.com/office/drawing/2014/main" id="{F9CB8DDA-DEB9-4F33-8B16-4080680C908C}"/>
                </a:ext>
              </a:extLst>
            </p:cNvPr>
            <p:cNvSpPr/>
            <p:nvPr/>
          </p:nvSpPr>
          <p:spPr bwMode="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165" name="Freeform: Shape 164">
              <a:extLst>
                <a:ext uri="{FF2B5EF4-FFF2-40B4-BE49-F238E27FC236}">
                  <a16:creationId xmlns:a16="http://schemas.microsoft.com/office/drawing/2014/main" id="{3CB0E135-78BE-4A78-8B8E-49EE618FDE01}"/>
                </a:ext>
              </a:extLst>
            </p:cNvPr>
            <p:cNvSpPr/>
            <p:nvPr/>
          </p:nvSpPr>
          <p:spPr bwMode="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166" name="Freeform: Shape 165">
              <a:extLst>
                <a:ext uri="{FF2B5EF4-FFF2-40B4-BE49-F238E27FC236}">
                  <a16:creationId xmlns:a16="http://schemas.microsoft.com/office/drawing/2014/main" id="{78208839-3FD9-4108-AF55-EFAFE64878DE}"/>
                </a:ext>
              </a:extLst>
            </p:cNvPr>
            <p:cNvSpPr/>
            <p:nvPr/>
          </p:nvSpPr>
          <p:spPr bwMode="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167" name="Freeform: Shape 166">
              <a:extLst>
                <a:ext uri="{FF2B5EF4-FFF2-40B4-BE49-F238E27FC236}">
                  <a16:creationId xmlns:a16="http://schemas.microsoft.com/office/drawing/2014/main" id="{2B2AC86F-33CA-4F2C-87E3-578BBC834878}"/>
                </a:ext>
              </a:extLst>
            </p:cNvPr>
            <p:cNvSpPr/>
            <p:nvPr/>
          </p:nvSpPr>
          <p:spPr bwMode="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8" name="Freeform: Shape 207">
              <a:extLst>
                <a:ext uri="{FF2B5EF4-FFF2-40B4-BE49-F238E27FC236}">
                  <a16:creationId xmlns:a16="http://schemas.microsoft.com/office/drawing/2014/main" id="{B399E9D3-5CD6-46EF-8841-082C09FE512F}"/>
                </a:ext>
              </a:extLst>
            </p:cNvPr>
            <p:cNvSpPr/>
            <p:nvPr/>
          </p:nvSpPr>
          <p:spPr bwMode="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09" name="Freeform: Shape 208">
              <a:extLst>
                <a:ext uri="{FF2B5EF4-FFF2-40B4-BE49-F238E27FC236}">
                  <a16:creationId xmlns:a16="http://schemas.microsoft.com/office/drawing/2014/main" id="{F1BE799B-05CC-43C3-BA7F-F6C85C06E3A1}"/>
                </a:ext>
              </a:extLst>
            </p:cNvPr>
            <p:cNvSpPr/>
            <p:nvPr/>
          </p:nvSpPr>
          <p:spPr bwMode="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0" name="Freeform: Shape 209">
              <a:extLst>
                <a:ext uri="{FF2B5EF4-FFF2-40B4-BE49-F238E27FC236}">
                  <a16:creationId xmlns:a16="http://schemas.microsoft.com/office/drawing/2014/main" id="{29922180-B37A-4F36-9EF1-968A7058C3E4}"/>
                </a:ext>
              </a:extLst>
            </p:cNvPr>
            <p:cNvSpPr/>
            <p:nvPr/>
          </p:nvSpPr>
          <p:spPr bwMode="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1" name="Freeform: Shape 210">
              <a:extLst>
                <a:ext uri="{FF2B5EF4-FFF2-40B4-BE49-F238E27FC236}">
                  <a16:creationId xmlns:a16="http://schemas.microsoft.com/office/drawing/2014/main" id="{2F205530-B739-4965-8F39-00F8FBF9EACF}"/>
                </a:ext>
              </a:extLst>
            </p:cNvPr>
            <p:cNvSpPr/>
            <p:nvPr/>
          </p:nvSpPr>
          <p:spPr bwMode="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2" name="Freeform: Shape 211">
              <a:extLst>
                <a:ext uri="{FF2B5EF4-FFF2-40B4-BE49-F238E27FC236}">
                  <a16:creationId xmlns:a16="http://schemas.microsoft.com/office/drawing/2014/main" id="{A9BFC6E5-704D-4104-8F1F-6DB1C235A93C}"/>
                </a:ext>
              </a:extLst>
            </p:cNvPr>
            <p:cNvSpPr/>
            <p:nvPr/>
          </p:nvSpPr>
          <p:spPr bwMode="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3" name="Freeform: Shape 212">
              <a:extLst>
                <a:ext uri="{FF2B5EF4-FFF2-40B4-BE49-F238E27FC236}">
                  <a16:creationId xmlns:a16="http://schemas.microsoft.com/office/drawing/2014/main" id="{4385216E-CB37-47AA-A5EC-C860686082F4}"/>
                </a:ext>
              </a:extLst>
            </p:cNvPr>
            <p:cNvSpPr/>
            <p:nvPr/>
          </p:nvSpPr>
          <p:spPr bwMode="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4" name="Freeform: Shape 213">
              <a:extLst>
                <a:ext uri="{FF2B5EF4-FFF2-40B4-BE49-F238E27FC236}">
                  <a16:creationId xmlns:a16="http://schemas.microsoft.com/office/drawing/2014/main" id="{8E699DF9-8C96-4EF1-8278-09F68ECAD255}"/>
                </a:ext>
              </a:extLst>
            </p:cNvPr>
            <p:cNvSpPr/>
            <p:nvPr/>
          </p:nvSpPr>
          <p:spPr bwMode="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5" name="Freeform: Shape 214">
              <a:extLst>
                <a:ext uri="{FF2B5EF4-FFF2-40B4-BE49-F238E27FC236}">
                  <a16:creationId xmlns:a16="http://schemas.microsoft.com/office/drawing/2014/main" id="{A032DDF0-DB7D-4C06-9B2E-FEBAC77CE493}"/>
                </a:ext>
              </a:extLst>
            </p:cNvPr>
            <p:cNvSpPr/>
            <p:nvPr userDrawn="1"/>
          </p:nvSpPr>
          <p:spPr bwMode="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6" name="Freeform: Shape 215">
              <a:extLst>
                <a:ext uri="{FF2B5EF4-FFF2-40B4-BE49-F238E27FC236}">
                  <a16:creationId xmlns:a16="http://schemas.microsoft.com/office/drawing/2014/main" id="{4B7943A5-8846-4B6F-925D-749F0A92CCE3}"/>
                </a:ext>
              </a:extLst>
            </p:cNvPr>
            <p:cNvSpPr/>
            <p:nvPr userDrawn="1"/>
          </p:nvSpPr>
          <p:spPr bwMode="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7" name="Freeform: Shape 216">
              <a:extLst>
                <a:ext uri="{FF2B5EF4-FFF2-40B4-BE49-F238E27FC236}">
                  <a16:creationId xmlns:a16="http://schemas.microsoft.com/office/drawing/2014/main" id="{6BAEFCE8-AA4E-4972-BCB1-7CCA549391CB}"/>
                </a:ext>
              </a:extLst>
            </p:cNvPr>
            <p:cNvSpPr/>
            <p:nvPr userDrawn="1"/>
          </p:nvSpPr>
          <p:spPr bwMode="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8" name="Freeform: Shape 217">
              <a:extLst>
                <a:ext uri="{FF2B5EF4-FFF2-40B4-BE49-F238E27FC236}">
                  <a16:creationId xmlns:a16="http://schemas.microsoft.com/office/drawing/2014/main" id="{AC7A7F14-873F-4714-A75C-0839615AA9FB}"/>
                </a:ext>
              </a:extLst>
            </p:cNvPr>
            <p:cNvSpPr/>
            <p:nvPr userDrawn="1"/>
          </p:nvSpPr>
          <p:spPr bwMode="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19" name="Freeform: Shape 218">
              <a:extLst>
                <a:ext uri="{FF2B5EF4-FFF2-40B4-BE49-F238E27FC236}">
                  <a16:creationId xmlns:a16="http://schemas.microsoft.com/office/drawing/2014/main" id="{0917B358-4946-4D30-AAAB-7E0175159EA0}"/>
                </a:ext>
              </a:extLst>
            </p:cNvPr>
            <p:cNvSpPr/>
            <p:nvPr userDrawn="1"/>
          </p:nvSpPr>
          <p:spPr bwMode="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0" name="Freeform: Shape 219">
              <a:extLst>
                <a:ext uri="{FF2B5EF4-FFF2-40B4-BE49-F238E27FC236}">
                  <a16:creationId xmlns:a16="http://schemas.microsoft.com/office/drawing/2014/main" id="{E0BB4314-8F96-4718-8B5E-B905DDE49A7E}"/>
                </a:ext>
              </a:extLst>
            </p:cNvPr>
            <p:cNvSpPr/>
            <p:nvPr userDrawn="1"/>
          </p:nvSpPr>
          <p:spPr bwMode="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1" name="Freeform: Shape 220">
              <a:extLst>
                <a:ext uri="{FF2B5EF4-FFF2-40B4-BE49-F238E27FC236}">
                  <a16:creationId xmlns:a16="http://schemas.microsoft.com/office/drawing/2014/main" id="{D2D0D114-5DE4-4E61-899C-07588FB06DF3}"/>
                </a:ext>
              </a:extLst>
            </p:cNvPr>
            <p:cNvSpPr/>
            <p:nvPr userDrawn="1"/>
          </p:nvSpPr>
          <p:spPr bwMode="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2" name="Freeform: Shape 221">
              <a:extLst>
                <a:ext uri="{FF2B5EF4-FFF2-40B4-BE49-F238E27FC236}">
                  <a16:creationId xmlns:a16="http://schemas.microsoft.com/office/drawing/2014/main" id="{04036915-BBD4-4851-93E8-A797358279D9}"/>
                </a:ext>
              </a:extLst>
            </p:cNvPr>
            <p:cNvSpPr/>
            <p:nvPr userDrawn="1"/>
          </p:nvSpPr>
          <p:spPr bwMode="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3" name="Freeform: Shape 222">
              <a:extLst>
                <a:ext uri="{FF2B5EF4-FFF2-40B4-BE49-F238E27FC236}">
                  <a16:creationId xmlns:a16="http://schemas.microsoft.com/office/drawing/2014/main" id="{06D83B2A-2D56-454A-A448-ACAE0CD1D158}"/>
                </a:ext>
              </a:extLst>
            </p:cNvPr>
            <p:cNvSpPr/>
            <p:nvPr userDrawn="1"/>
          </p:nvSpPr>
          <p:spPr bwMode="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224" name="Freeform: Shape 223">
              <a:extLst>
                <a:ext uri="{FF2B5EF4-FFF2-40B4-BE49-F238E27FC236}">
                  <a16:creationId xmlns:a16="http://schemas.microsoft.com/office/drawing/2014/main" id="{537C2011-1B30-471D-B374-D87B2F631652}"/>
                </a:ext>
              </a:extLst>
            </p:cNvPr>
            <p:cNvSpPr/>
            <p:nvPr userDrawn="1"/>
          </p:nvSpPr>
          <p:spPr bwMode="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225" name="Straight Connector 224">
              <a:extLst>
                <a:ext uri="{FF2B5EF4-FFF2-40B4-BE49-F238E27FC236}">
                  <a16:creationId xmlns:a16="http://schemas.microsoft.com/office/drawing/2014/main" id="{C8F76A20-DBFD-4B9A-BE7D-31180C641FA0}"/>
                </a:ext>
              </a:extLst>
            </p:cNvPr>
            <p:cNvCxnSpPr/>
            <p:nvPr userDrawn="1"/>
          </p:nvCxnSpPr>
          <p:spPr bwMode="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B545DD8E-6238-40A1-A9E7-0CB32914911D}"/>
                </a:ext>
              </a:extLst>
            </p:cNvPr>
            <p:cNvCxnSpPr/>
            <p:nvPr userDrawn="1"/>
          </p:nvCxnSpPr>
          <p:spPr bwMode="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846B7DA4-3920-4B1D-AA7A-BAA908F568D5}"/>
                </a:ext>
              </a:extLst>
            </p:cNvPr>
            <p:cNvCxnSpPr/>
            <p:nvPr userDrawn="1"/>
          </p:nvCxnSpPr>
          <p:spPr bwMode="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F712EFC8-A725-4CCE-8BC8-388C349C2F0F}"/>
                </a:ext>
              </a:extLst>
            </p:cNvPr>
            <p:cNvCxnSpPr/>
            <p:nvPr userDrawn="1"/>
          </p:nvCxnSpPr>
          <p:spPr bwMode="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1E269678-4626-4DD2-AD14-B4E734025420}"/>
                </a:ext>
              </a:extLst>
            </p:cNvPr>
            <p:cNvCxnSpPr/>
            <p:nvPr userDrawn="1"/>
          </p:nvCxnSpPr>
          <p:spPr bwMode="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FEF5B142-72A7-412C-A4A1-ED45648F13E2}"/>
                </a:ext>
              </a:extLst>
            </p:cNvPr>
            <p:cNvCxnSpPr/>
            <p:nvPr userDrawn="1"/>
          </p:nvCxnSpPr>
          <p:spPr bwMode="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86943484-6D68-4D25-BEA2-607B81CC81A1}"/>
                </a:ext>
              </a:extLst>
            </p:cNvPr>
            <p:cNvCxnSpPr/>
            <p:nvPr userDrawn="1"/>
          </p:nvCxnSpPr>
          <p:spPr bwMode="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624BD91D-C4CF-4637-A29C-DFBC02EF78D0}"/>
                </a:ext>
              </a:extLst>
            </p:cNvPr>
            <p:cNvCxnSpPr/>
            <p:nvPr userDrawn="1"/>
          </p:nvCxnSpPr>
          <p:spPr bwMode="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5CBB7BE1-7BDD-42BB-B011-062A7D4DE69C}"/>
                </a:ext>
              </a:extLst>
            </p:cNvPr>
            <p:cNvCxnSpPr/>
            <p:nvPr userDrawn="1"/>
          </p:nvCxnSpPr>
          <p:spPr bwMode="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B4FC5B03-6517-4A88-8B16-A1D4CE1B40F4}"/>
                </a:ext>
              </a:extLst>
            </p:cNvPr>
            <p:cNvCxnSpPr/>
            <p:nvPr userDrawn="1"/>
          </p:nvCxnSpPr>
          <p:spPr bwMode="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832FD3D2-0C2A-4082-A143-4EFFBD928298}"/>
                </a:ext>
              </a:extLst>
            </p:cNvPr>
            <p:cNvCxnSpPr/>
            <p:nvPr userDrawn="1"/>
          </p:nvCxnSpPr>
          <p:spPr bwMode="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13F6219C-6F70-4B61-A6BE-79D0FD7094BF}"/>
                </a:ext>
              </a:extLst>
            </p:cNvPr>
            <p:cNvCxnSpPr/>
            <p:nvPr userDrawn="1"/>
          </p:nvCxnSpPr>
          <p:spPr bwMode="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E3444F34-64A1-4A73-9AAC-870F360D0243}"/>
                </a:ext>
              </a:extLst>
            </p:cNvPr>
            <p:cNvCxnSpPr/>
            <p:nvPr userDrawn="1"/>
          </p:nvCxnSpPr>
          <p:spPr bwMode="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94808C27-CEC5-43D6-B2D7-3C3C7059B573}"/>
                </a:ext>
              </a:extLst>
            </p:cNvPr>
            <p:cNvCxnSpPr/>
            <p:nvPr userDrawn="1"/>
          </p:nvCxnSpPr>
          <p:spPr bwMode="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5B3503CC-B04C-426C-949F-F3FC31425FEB}"/>
                </a:ext>
              </a:extLst>
            </p:cNvPr>
            <p:cNvCxnSpPr/>
            <p:nvPr userDrawn="1"/>
          </p:nvCxnSpPr>
          <p:spPr bwMode="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4A2B1578-5111-4BE7-931E-242321A59CA9}"/>
                </a:ext>
              </a:extLst>
            </p:cNvPr>
            <p:cNvCxnSpPr/>
            <p:nvPr userDrawn="1"/>
          </p:nvCxnSpPr>
          <p:spPr bwMode="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465DDD97-A397-40EC-A211-5E87B6B0B662}"/>
                </a:ext>
              </a:extLst>
            </p:cNvPr>
            <p:cNvCxnSpPr/>
            <p:nvPr userDrawn="1"/>
          </p:nvCxnSpPr>
          <p:spPr bwMode="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AF4D4C72-E117-4C1D-B739-B75FE02B87FC}"/>
                </a:ext>
              </a:extLst>
            </p:cNvPr>
            <p:cNvCxnSpPr/>
            <p:nvPr userDrawn="1"/>
          </p:nvCxnSpPr>
          <p:spPr bwMode="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41AED1DD-F122-4B41-B6BB-7719F1232C06}"/>
                </a:ext>
              </a:extLst>
            </p:cNvPr>
            <p:cNvCxnSpPr/>
            <p:nvPr userDrawn="1"/>
          </p:nvCxnSpPr>
          <p:spPr bwMode="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C2DE51BE-00F9-45C2-9743-601D27D2FCB1}"/>
                </a:ext>
              </a:extLst>
            </p:cNvPr>
            <p:cNvCxnSpPr/>
            <p:nvPr userDrawn="1"/>
          </p:nvCxnSpPr>
          <p:spPr bwMode="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51DBDE71-C5A4-47D0-8F4D-445ED7EBBC02}"/>
                </a:ext>
              </a:extLst>
            </p:cNvPr>
            <p:cNvCxnSpPr/>
            <p:nvPr userDrawn="1"/>
          </p:nvCxnSpPr>
          <p:spPr bwMode="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C4E39DC0-CDD5-4BB0-9423-B3CD76795955}"/>
                </a:ext>
              </a:extLst>
            </p:cNvPr>
            <p:cNvCxnSpPr/>
            <p:nvPr userDrawn="1"/>
          </p:nvCxnSpPr>
          <p:spPr bwMode="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34197F31-5ADE-425C-A215-3B985F2D0F70}"/>
                </a:ext>
              </a:extLst>
            </p:cNvPr>
            <p:cNvCxnSpPr/>
            <p:nvPr userDrawn="1"/>
          </p:nvCxnSpPr>
          <p:spPr bwMode="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C3F56A52-6409-474A-AC10-21942DF341D1}"/>
                </a:ext>
              </a:extLst>
            </p:cNvPr>
            <p:cNvCxnSpPr/>
            <p:nvPr userDrawn="1"/>
          </p:nvCxnSpPr>
          <p:spPr bwMode="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0F880D30-4361-4F07-9E65-761B56E8D8DF}"/>
                </a:ext>
              </a:extLst>
            </p:cNvPr>
            <p:cNvCxnSpPr/>
            <p:nvPr userDrawn="1"/>
          </p:nvCxnSpPr>
          <p:spPr bwMode="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00881E81-0967-47FA-B2F5-C2D42469C7EA}"/>
                </a:ext>
              </a:extLst>
            </p:cNvPr>
            <p:cNvCxnSpPr/>
            <p:nvPr userDrawn="1"/>
          </p:nvCxnSpPr>
          <p:spPr bwMode="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68FDAAED-2DE5-4415-AC4F-71BF36E3DAC2}"/>
                </a:ext>
              </a:extLst>
            </p:cNvPr>
            <p:cNvCxnSpPr/>
            <p:nvPr userDrawn="1"/>
          </p:nvCxnSpPr>
          <p:spPr bwMode="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F9B004E8-D88B-4A71-9DF9-0F9A36100A5C}"/>
                </a:ext>
              </a:extLst>
            </p:cNvPr>
            <p:cNvCxnSpPr/>
            <p:nvPr userDrawn="1"/>
          </p:nvCxnSpPr>
          <p:spPr bwMode="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6E082F8F-16FA-4AEB-8166-162C6FCCEB66}"/>
                </a:ext>
              </a:extLst>
            </p:cNvPr>
            <p:cNvCxnSpPr/>
            <p:nvPr userDrawn="1"/>
          </p:nvCxnSpPr>
          <p:spPr bwMode="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FC2DCAFF-2DF6-4BBC-BCDD-0D570455CE06}"/>
                </a:ext>
              </a:extLst>
            </p:cNvPr>
            <p:cNvCxnSpPr/>
            <p:nvPr userDrawn="1"/>
          </p:nvCxnSpPr>
          <p:spPr bwMode="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B977AE58-9FB0-42DA-9B39-BFD87E4B724A}"/>
                </a:ext>
              </a:extLst>
            </p:cNvPr>
            <p:cNvCxnSpPr/>
            <p:nvPr userDrawn="1"/>
          </p:nvCxnSpPr>
          <p:spPr bwMode="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EEF759A5-C252-45E9-B082-FD35CD055299}"/>
                </a:ext>
              </a:extLst>
            </p:cNvPr>
            <p:cNvCxnSpPr/>
            <p:nvPr userDrawn="1"/>
          </p:nvCxnSpPr>
          <p:spPr bwMode="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A6062B46-308B-4012-85F6-0368F5983B75}"/>
                </a:ext>
              </a:extLst>
            </p:cNvPr>
            <p:cNvCxnSpPr/>
            <p:nvPr userDrawn="1"/>
          </p:nvCxnSpPr>
          <p:spPr bwMode="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B0D8E9E1-16CF-4856-B7CC-293CC0754512}"/>
                </a:ext>
              </a:extLst>
            </p:cNvPr>
            <p:cNvCxnSpPr/>
            <p:nvPr userDrawn="1"/>
          </p:nvCxnSpPr>
          <p:spPr bwMode="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CAC04634-4F05-4544-9451-CFC9D7814D5D}"/>
                </a:ext>
              </a:extLst>
            </p:cNvPr>
            <p:cNvCxnSpPr/>
            <p:nvPr userDrawn="1"/>
          </p:nvCxnSpPr>
          <p:spPr bwMode="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B5CF2D49-79B9-43C6-84C8-F0E26D667D1D}"/>
                </a:ext>
              </a:extLst>
            </p:cNvPr>
            <p:cNvCxnSpPr/>
            <p:nvPr userDrawn="1"/>
          </p:nvCxnSpPr>
          <p:spPr bwMode="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19D2EE3B-2073-41B9-BF48-6CF58DCD5F9F}"/>
                </a:ext>
              </a:extLst>
            </p:cNvPr>
            <p:cNvCxnSpPr/>
            <p:nvPr userDrawn="1"/>
          </p:nvCxnSpPr>
          <p:spPr bwMode="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5427CE8A-B394-4BC8-90E6-F01DA9DFEF69}"/>
                </a:ext>
              </a:extLst>
            </p:cNvPr>
            <p:cNvCxnSpPr/>
            <p:nvPr userDrawn="1"/>
          </p:nvCxnSpPr>
          <p:spPr bwMode="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26C3FEEB-8CED-4573-950A-702EA59DB370}"/>
                </a:ext>
              </a:extLst>
            </p:cNvPr>
            <p:cNvCxnSpPr/>
            <p:nvPr userDrawn="1"/>
          </p:nvCxnSpPr>
          <p:spPr bwMode="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124DED01-33FE-453B-8054-51C70E958B69}"/>
                </a:ext>
              </a:extLst>
            </p:cNvPr>
            <p:cNvCxnSpPr/>
            <p:nvPr userDrawn="1"/>
          </p:nvCxnSpPr>
          <p:spPr bwMode="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4BC90B9C-86A4-4B76-AB2F-48C8BA557B2A}"/>
                </a:ext>
              </a:extLst>
            </p:cNvPr>
            <p:cNvCxnSpPr/>
            <p:nvPr userDrawn="1"/>
          </p:nvCxnSpPr>
          <p:spPr bwMode="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FCFD93DC-72B3-48E1-B57C-CAC54C82ED13}"/>
                </a:ext>
              </a:extLst>
            </p:cNvPr>
            <p:cNvCxnSpPr/>
            <p:nvPr userDrawn="1"/>
          </p:nvCxnSpPr>
          <p:spPr bwMode="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614304D6-019F-44B7-8088-DB02E79D3B35}"/>
                </a:ext>
              </a:extLst>
            </p:cNvPr>
            <p:cNvCxnSpPr/>
            <p:nvPr userDrawn="1"/>
          </p:nvCxnSpPr>
          <p:spPr bwMode="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A9A21668-FF36-42B2-8E8C-DC36580D76B7}"/>
                </a:ext>
              </a:extLst>
            </p:cNvPr>
            <p:cNvCxnSpPr/>
            <p:nvPr userDrawn="1"/>
          </p:nvCxnSpPr>
          <p:spPr bwMode="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269" name="main body box">
              <a:extLst>
                <a:ext uri="{FF2B5EF4-FFF2-40B4-BE49-F238E27FC236}">
                  <a16:creationId xmlns:a16="http://schemas.microsoft.com/office/drawing/2014/main" id="{0F4A42CE-FEE6-4F15-ABED-0ED2DF2E0134}"/>
                </a:ext>
              </a:extLst>
            </p:cNvPr>
            <p:cNvSpPr/>
            <p:nvPr userDrawn="1"/>
          </p:nvSpPr>
          <p:spPr bwMode="gray">
            <a:xfrm>
              <a:off x="554736" y="1405610"/>
              <a:ext cx="11082528" cy="4812310"/>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270" name="Straight Connector 269">
              <a:extLst>
                <a:ext uri="{FF2B5EF4-FFF2-40B4-BE49-F238E27FC236}">
                  <a16:creationId xmlns:a16="http://schemas.microsoft.com/office/drawing/2014/main" id="{FAFC25A2-0E4C-4885-9514-D2AB63FE0822}"/>
                </a:ext>
              </a:extLst>
            </p:cNvPr>
            <p:cNvCxnSpPr/>
            <p:nvPr userDrawn="1"/>
          </p:nvCxnSpPr>
          <p:spPr bwMode="gray">
            <a:xfrm>
              <a:off x="554736" y="1865376"/>
              <a:ext cx="11082528" cy="0"/>
            </a:xfrm>
            <a:prstGeom prst="line">
              <a:avLst/>
            </a:prstGeom>
            <a:noFill/>
            <a:ln w="12700">
              <a:solidFill>
                <a:srgbClr val="19D3C5">
                  <a:alpha val="50000"/>
                </a:srgbClr>
              </a:solidFill>
            </a:ln>
          </p:spPr>
        </p:cxnSp>
        <p:cxnSp>
          <p:nvCxnSpPr>
            <p:cNvPr id="271" name="Straight Connector 270">
              <a:extLst>
                <a:ext uri="{FF2B5EF4-FFF2-40B4-BE49-F238E27FC236}">
                  <a16:creationId xmlns:a16="http://schemas.microsoft.com/office/drawing/2014/main" id="{C6E16B4E-FA8E-424E-8B59-17E11E8A383B}"/>
                </a:ext>
              </a:extLst>
            </p:cNvPr>
            <p:cNvCxnSpPr/>
            <p:nvPr userDrawn="1"/>
          </p:nvCxnSpPr>
          <p:spPr bwMode="gray">
            <a:xfrm>
              <a:off x="554736" y="1408557"/>
              <a:ext cx="11082528" cy="0"/>
            </a:xfrm>
            <a:prstGeom prst="line">
              <a:avLst/>
            </a:prstGeom>
            <a:noFill/>
            <a:ln w="12700">
              <a:solidFill>
                <a:srgbClr val="19D3C5">
                  <a:alpha val="50000"/>
                </a:srgbClr>
              </a:solidFill>
            </a:ln>
          </p:spPr>
        </p:cxnSp>
      </p:grpSp>
      <p:sp>
        <p:nvSpPr>
          <p:cNvPr id="272" name="Sticker" hidden="1">
            <a:extLst>
              <a:ext uri="{FF2B5EF4-FFF2-40B4-BE49-F238E27FC236}">
                <a16:creationId xmlns:a16="http://schemas.microsoft.com/office/drawing/2014/main" id="{B441B46A-23BA-471B-96B6-498030A9A587}"/>
              </a:ext>
            </a:extLst>
          </p:cNvPr>
          <p:cNvSpPr txBox="1"/>
          <p:nvPr userDrawn="1"/>
        </p:nvSpPr>
        <p:spPr>
          <a:xfrm>
            <a:off x="558489" y="964729"/>
            <a:ext cx="501740"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2"/>
            </p:custDataLst>
          </p:nvPr>
        </p:nvSpPr>
        <p:spPr>
          <a:xfrm>
            <a:off x="554736" y="17221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pPr lvl="0"/>
            <a:r>
              <a:rPr lang="en-US"/>
              <a:t>Click to edit Master title style</a:t>
            </a:r>
          </a:p>
        </p:txBody>
      </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3"/>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24"/>
            </p:custDataLst>
          </p:nvPr>
        </p:nvSpPr>
        <p:spPr>
          <a:xfrm>
            <a:off x="5987738" y="2170800"/>
            <a:ext cx="3049253" cy="53860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sz="1400" b="0"/>
              <a:t>Unit of Measure</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a:off x="554736" y="2170800"/>
            <a:ext cx="3352906" cy="138499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6" name="LegendBoxes" hidden="1">
            <a:extLst>
              <a:ext uri="{FF2B5EF4-FFF2-40B4-BE49-F238E27FC236}">
                <a16:creationId xmlns:a16="http://schemas.microsoft.com/office/drawing/2014/main" id="{BA5A80C6-758C-0B0E-3AF9-092FE7597C59}"/>
              </a:ext>
            </a:extLst>
          </p:cNvPr>
          <p:cNvGrpSpPr/>
          <p:nvPr userDrawn="1"/>
        </p:nvGrpSpPr>
        <p:grpSpPr>
          <a:xfrm>
            <a:off x="10714801" y="4520490"/>
            <a:ext cx="978569" cy="1717282"/>
            <a:chOff x="10554770" y="4322824"/>
            <a:chExt cx="978569" cy="1717282"/>
          </a:xfrm>
        </p:grpSpPr>
        <p:sp>
          <p:nvSpPr>
            <p:cNvPr id="7" name="RectangleLegend1" hidden="1">
              <a:extLst>
                <a:ext uri="{FF2B5EF4-FFF2-40B4-BE49-F238E27FC236}">
                  <a16:creationId xmlns:a16="http://schemas.microsoft.com/office/drawing/2014/main" id="{524A609E-E7C2-6585-7A39-FCFE6AD25A54}"/>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8" name="RectangleLegend2" hidden="1">
              <a:extLst>
                <a:ext uri="{FF2B5EF4-FFF2-40B4-BE49-F238E27FC236}">
                  <a16:creationId xmlns:a16="http://schemas.microsoft.com/office/drawing/2014/main" id="{8DD2A913-32DC-9A58-4653-E3F72B556E0E}"/>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9" name="RectangleLegend3" hidden="1">
              <a:extLst>
                <a:ext uri="{FF2B5EF4-FFF2-40B4-BE49-F238E27FC236}">
                  <a16:creationId xmlns:a16="http://schemas.microsoft.com/office/drawing/2014/main" id="{099AFEE6-4F70-0652-0C39-FB35B5C622C1}"/>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0" name="RectangleLegend4" hidden="1">
              <a:extLst>
                <a:ext uri="{FF2B5EF4-FFF2-40B4-BE49-F238E27FC236}">
                  <a16:creationId xmlns:a16="http://schemas.microsoft.com/office/drawing/2014/main" id="{CB23038A-1737-98C3-F840-273ACEBC6C0E}"/>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1" name="RectangleLegend5" hidden="1">
              <a:extLst>
                <a:ext uri="{FF2B5EF4-FFF2-40B4-BE49-F238E27FC236}">
                  <a16:creationId xmlns:a16="http://schemas.microsoft.com/office/drawing/2014/main" id="{0C165F8A-A7DE-FB32-E8A4-E45A5B958085}"/>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2" name="Legend1" hidden="1">
              <a:extLst>
                <a:ext uri="{FF2B5EF4-FFF2-40B4-BE49-F238E27FC236}">
                  <a16:creationId xmlns:a16="http://schemas.microsoft.com/office/drawing/2014/main" id="{A76FCE33-0B2A-424D-B607-F2A26E140F22}"/>
                </a:ext>
              </a:extLst>
            </p:cNvPr>
            <p:cNvSpPr txBox="1"/>
            <p:nvPr/>
          </p:nvSpPr>
          <p:spPr>
            <a:xfrm>
              <a:off x="10880916" y="4322824"/>
              <a:ext cx="652423"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3" name="Legend2" hidden="1">
              <a:extLst>
                <a:ext uri="{FF2B5EF4-FFF2-40B4-BE49-F238E27FC236}">
                  <a16:creationId xmlns:a16="http://schemas.microsoft.com/office/drawing/2014/main" id="{674F79A0-6BAA-6F87-5D52-E5BD93957FC9}"/>
                </a:ext>
              </a:extLst>
            </p:cNvPr>
            <p:cNvSpPr txBox="1"/>
            <p:nvPr/>
          </p:nvSpPr>
          <p:spPr>
            <a:xfrm>
              <a:off x="10880916" y="4702322"/>
              <a:ext cx="652423"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 name="Legend3" hidden="1">
              <a:extLst>
                <a:ext uri="{FF2B5EF4-FFF2-40B4-BE49-F238E27FC236}">
                  <a16:creationId xmlns:a16="http://schemas.microsoft.com/office/drawing/2014/main" id="{464DC14B-D0E5-AFF7-DF05-137B37508C0C}"/>
                </a:ext>
              </a:extLst>
            </p:cNvPr>
            <p:cNvSpPr txBox="1"/>
            <p:nvPr/>
          </p:nvSpPr>
          <p:spPr>
            <a:xfrm>
              <a:off x="10880916" y="5081820"/>
              <a:ext cx="652423"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 name="Legend4" hidden="1">
              <a:extLst>
                <a:ext uri="{FF2B5EF4-FFF2-40B4-BE49-F238E27FC236}">
                  <a16:creationId xmlns:a16="http://schemas.microsoft.com/office/drawing/2014/main" id="{C8A03350-EF61-ECF0-F046-053CB1A84372}"/>
                </a:ext>
              </a:extLst>
            </p:cNvPr>
            <p:cNvSpPr txBox="1"/>
            <p:nvPr/>
          </p:nvSpPr>
          <p:spPr>
            <a:xfrm>
              <a:off x="10880916" y="5453241"/>
              <a:ext cx="652423"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 name="Legend5" hidden="1">
              <a:extLst>
                <a:ext uri="{FF2B5EF4-FFF2-40B4-BE49-F238E27FC236}">
                  <a16:creationId xmlns:a16="http://schemas.microsoft.com/office/drawing/2014/main" id="{4D3F333E-2BB1-DB3A-2BD1-6A1B8A608C23}"/>
                </a:ext>
              </a:extLst>
            </p:cNvPr>
            <p:cNvSpPr txBox="1"/>
            <p:nvPr/>
          </p:nvSpPr>
          <p:spPr>
            <a:xfrm>
              <a:off x="10880915" y="5824662"/>
              <a:ext cx="652423"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grpSp>
        <p:nvGrpSpPr>
          <p:cNvPr id="17" name="LegendLines" hidden="1">
            <a:extLst>
              <a:ext uri="{FF2B5EF4-FFF2-40B4-BE49-F238E27FC236}">
                <a16:creationId xmlns:a16="http://schemas.microsoft.com/office/drawing/2014/main" id="{E933D0DF-E0AD-B621-77AD-EE75E6F3AFEF}"/>
              </a:ext>
            </a:extLst>
          </p:cNvPr>
          <p:cNvGrpSpPr/>
          <p:nvPr userDrawn="1"/>
        </p:nvGrpSpPr>
        <p:grpSpPr>
          <a:xfrm>
            <a:off x="10317304" y="3355023"/>
            <a:ext cx="1376066" cy="958286"/>
            <a:chOff x="10162879" y="3243772"/>
            <a:chExt cx="1376066" cy="958286"/>
          </a:xfrm>
        </p:grpSpPr>
        <p:sp>
          <p:nvSpPr>
            <p:cNvPr id="18" name="Legend1" hidden="1">
              <a:extLst>
                <a:ext uri="{FF2B5EF4-FFF2-40B4-BE49-F238E27FC236}">
                  <a16:creationId xmlns:a16="http://schemas.microsoft.com/office/drawing/2014/main" id="{B0707CD8-5E6D-5A78-CDFB-B55B00418681}"/>
                </a:ext>
              </a:extLst>
            </p:cNvPr>
            <p:cNvSpPr txBox="1"/>
            <p:nvPr/>
          </p:nvSpPr>
          <p:spPr>
            <a:xfrm>
              <a:off x="10886522" y="3243772"/>
              <a:ext cx="652423"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 name="Legend2" hidden="1">
              <a:extLst>
                <a:ext uri="{FF2B5EF4-FFF2-40B4-BE49-F238E27FC236}">
                  <a16:creationId xmlns:a16="http://schemas.microsoft.com/office/drawing/2014/main" id="{401E1E06-E0A3-E25C-E989-B1AB4FB722B2}"/>
                </a:ext>
              </a:extLst>
            </p:cNvPr>
            <p:cNvSpPr txBox="1"/>
            <p:nvPr/>
          </p:nvSpPr>
          <p:spPr>
            <a:xfrm>
              <a:off x="10886522" y="3615193"/>
              <a:ext cx="652423"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 name="Legend3" hidden="1">
              <a:extLst>
                <a:ext uri="{FF2B5EF4-FFF2-40B4-BE49-F238E27FC236}">
                  <a16:creationId xmlns:a16="http://schemas.microsoft.com/office/drawing/2014/main" id="{E9A71071-947C-180B-B4E3-FB0E865592A5}"/>
                </a:ext>
              </a:extLst>
            </p:cNvPr>
            <p:cNvSpPr txBox="1"/>
            <p:nvPr/>
          </p:nvSpPr>
          <p:spPr>
            <a:xfrm>
              <a:off x="10886522" y="3986614"/>
              <a:ext cx="652423"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1" name="LineLegend3" hidden="1">
              <a:extLst>
                <a:ext uri="{FF2B5EF4-FFF2-40B4-BE49-F238E27FC236}">
                  <a16:creationId xmlns:a16="http://schemas.microsoft.com/office/drawing/2014/main" id="{2E6C2BE8-ED6A-31EA-980A-361FAD884D39}"/>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sp>
          <p:nvSpPr>
            <p:cNvPr id="22" name="LineLegend2" hidden="1">
              <a:extLst>
                <a:ext uri="{FF2B5EF4-FFF2-40B4-BE49-F238E27FC236}">
                  <a16:creationId xmlns:a16="http://schemas.microsoft.com/office/drawing/2014/main" id="{3CFC52AA-5B54-1D6D-3B8D-56A5F4BE692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sp>
          <p:nvSpPr>
            <p:cNvPr id="23" name="LineLegend1" hidden="1">
              <a:extLst>
                <a:ext uri="{FF2B5EF4-FFF2-40B4-BE49-F238E27FC236}">
                  <a16:creationId xmlns:a16="http://schemas.microsoft.com/office/drawing/2014/main" id="{604A4BE8-7645-216C-52CA-216F72B0DA38}"/>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grpSp>
      <p:grpSp>
        <p:nvGrpSpPr>
          <p:cNvPr id="24" name="LegendMoons" hidden="1">
            <a:extLst>
              <a:ext uri="{FF2B5EF4-FFF2-40B4-BE49-F238E27FC236}">
                <a16:creationId xmlns:a16="http://schemas.microsoft.com/office/drawing/2014/main" id="{262DC66E-6AFC-97FE-F42C-177711F5B1A6}"/>
              </a:ext>
            </a:extLst>
          </p:cNvPr>
          <p:cNvGrpSpPr/>
          <p:nvPr userDrawn="1"/>
        </p:nvGrpSpPr>
        <p:grpSpPr>
          <a:xfrm>
            <a:off x="10688315" y="1415983"/>
            <a:ext cx="1005055" cy="1731859"/>
            <a:chOff x="7716535" y="2630582"/>
            <a:chExt cx="1005055" cy="1731859"/>
          </a:xfrm>
        </p:grpSpPr>
        <p:sp>
          <p:nvSpPr>
            <p:cNvPr id="25" name="Legend1" hidden="1">
              <a:extLst>
                <a:ext uri="{FF2B5EF4-FFF2-40B4-BE49-F238E27FC236}">
                  <a16:creationId xmlns:a16="http://schemas.microsoft.com/office/drawing/2014/main" id="{E9BC877D-ACD7-0305-D262-29BF20C4F94D}"/>
                </a:ext>
              </a:extLst>
            </p:cNvPr>
            <p:cNvSpPr txBox="1"/>
            <p:nvPr/>
          </p:nvSpPr>
          <p:spPr>
            <a:xfrm>
              <a:off x="8069167" y="2637941"/>
              <a:ext cx="652423"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6" name="Legend2" hidden="1">
              <a:extLst>
                <a:ext uri="{FF2B5EF4-FFF2-40B4-BE49-F238E27FC236}">
                  <a16:creationId xmlns:a16="http://schemas.microsoft.com/office/drawing/2014/main" id="{BDE3B767-B1BA-AE6E-5A65-68711575E518}"/>
                </a:ext>
              </a:extLst>
            </p:cNvPr>
            <p:cNvSpPr txBox="1"/>
            <p:nvPr/>
          </p:nvSpPr>
          <p:spPr>
            <a:xfrm>
              <a:off x="8069167" y="3013400"/>
              <a:ext cx="652423"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7" name="Legend3" hidden="1">
              <a:extLst>
                <a:ext uri="{FF2B5EF4-FFF2-40B4-BE49-F238E27FC236}">
                  <a16:creationId xmlns:a16="http://schemas.microsoft.com/office/drawing/2014/main" id="{D2AD04E9-921E-C8C8-9599-A265F42761C8}"/>
                </a:ext>
              </a:extLst>
            </p:cNvPr>
            <p:cNvSpPr txBox="1"/>
            <p:nvPr/>
          </p:nvSpPr>
          <p:spPr>
            <a:xfrm>
              <a:off x="8069167" y="3388859"/>
              <a:ext cx="652423"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8" name="Legend4" hidden="1">
              <a:extLst>
                <a:ext uri="{FF2B5EF4-FFF2-40B4-BE49-F238E27FC236}">
                  <a16:creationId xmlns:a16="http://schemas.microsoft.com/office/drawing/2014/main" id="{22504A07-6AF8-9683-EABF-3112494096F8}"/>
                </a:ext>
              </a:extLst>
            </p:cNvPr>
            <p:cNvSpPr txBox="1"/>
            <p:nvPr/>
          </p:nvSpPr>
          <p:spPr>
            <a:xfrm>
              <a:off x="8069167" y="3764318"/>
              <a:ext cx="652423"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9" name="Legend5" hidden="1">
              <a:extLst>
                <a:ext uri="{FF2B5EF4-FFF2-40B4-BE49-F238E27FC236}">
                  <a16:creationId xmlns:a16="http://schemas.microsoft.com/office/drawing/2014/main" id="{8F68DBBE-89A0-DE2C-A0A7-84DF47962973}"/>
                </a:ext>
              </a:extLst>
            </p:cNvPr>
            <p:cNvSpPr txBox="1"/>
            <p:nvPr/>
          </p:nvSpPr>
          <p:spPr>
            <a:xfrm>
              <a:off x="8069167" y="4139779"/>
              <a:ext cx="652423"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30" name="MoonLegend1" hidden="1">
              <a:extLst>
                <a:ext uri="{FF2B5EF4-FFF2-40B4-BE49-F238E27FC236}">
                  <a16:creationId xmlns:a16="http://schemas.microsoft.com/office/drawing/2014/main" id="{E509F80C-E410-6A18-378C-34772699BBCB}"/>
                </a:ext>
              </a:extLst>
            </p:cNvPr>
            <p:cNvGrpSpPr>
              <a:grpSpLocks noChangeAspect="1"/>
            </p:cNvGrpSpPr>
            <p:nvPr>
              <p:custDataLst>
                <p:tags r:id="rId25"/>
              </p:custDataLst>
            </p:nvPr>
          </p:nvGrpSpPr>
          <p:grpSpPr>
            <a:xfrm>
              <a:off x="7716535" y="2630582"/>
              <a:ext cx="228600" cy="228600"/>
              <a:chOff x="762000" y="1270000"/>
              <a:chExt cx="254000" cy="254000"/>
            </a:xfrm>
          </p:grpSpPr>
          <p:sp>
            <p:nvSpPr>
              <p:cNvPr id="43" name="Oval 42" hidden="1">
                <a:extLst>
                  <a:ext uri="{FF2B5EF4-FFF2-40B4-BE49-F238E27FC236}">
                    <a16:creationId xmlns:a16="http://schemas.microsoft.com/office/drawing/2014/main" id="{30948EFE-531F-12F2-4441-B1F40471545C}"/>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4" name="Arc 43" hidden="1">
                <a:extLst>
                  <a:ext uri="{FF2B5EF4-FFF2-40B4-BE49-F238E27FC236}">
                    <a16:creationId xmlns:a16="http://schemas.microsoft.com/office/drawing/2014/main" id="{5E3A196D-2A3B-C63B-B9CE-204BAEFC3FA9}"/>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31" name="MoonLegend2" hidden="1">
              <a:extLst>
                <a:ext uri="{FF2B5EF4-FFF2-40B4-BE49-F238E27FC236}">
                  <a16:creationId xmlns:a16="http://schemas.microsoft.com/office/drawing/2014/main" id="{15165204-5368-FF8A-7303-717B251E39D9}"/>
                </a:ext>
              </a:extLst>
            </p:cNvPr>
            <p:cNvGrpSpPr>
              <a:grpSpLocks noChangeAspect="1"/>
            </p:cNvGrpSpPr>
            <p:nvPr>
              <p:custDataLst>
                <p:tags r:id="rId26"/>
              </p:custDataLst>
            </p:nvPr>
          </p:nvGrpSpPr>
          <p:grpSpPr>
            <a:xfrm>
              <a:off x="7716535" y="3006395"/>
              <a:ext cx="228600" cy="228600"/>
              <a:chOff x="762000" y="1270000"/>
              <a:chExt cx="254000" cy="254000"/>
            </a:xfrm>
          </p:grpSpPr>
          <p:sp>
            <p:nvSpPr>
              <p:cNvPr id="41" name="Oval 40" hidden="1">
                <a:extLst>
                  <a:ext uri="{FF2B5EF4-FFF2-40B4-BE49-F238E27FC236}">
                    <a16:creationId xmlns:a16="http://schemas.microsoft.com/office/drawing/2014/main" id="{01567826-7E86-4872-E365-3D9B936FB7F5}"/>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2" name="Arc 41" hidden="1">
                <a:extLst>
                  <a:ext uri="{FF2B5EF4-FFF2-40B4-BE49-F238E27FC236}">
                    <a16:creationId xmlns:a16="http://schemas.microsoft.com/office/drawing/2014/main" id="{7212C95C-0429-3A19-538F-AACEBB6E9885}"/>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32" name="MoonLegend3" hidden="1">
              <a:extLst>
                <a:ext uri="{FF2B5EF4-FFF2-40B4-BE49-F238E27FC236}">
                  <a16:creationId xmlns:a16="http://schemas.microsoft.com/office/drawing/2014/main" id="{B9BDCA7C-674F-117C-AF5E-F09ADE52E80F}"/>
                </a:ext>
              </a:extLst>
            </p:cNvPr>
            <p:cNvGrpSpPr>
              <a:grpSpLocks noChangeAspect="1"/>
            </p:cNvGrpSpPr>
            <p:nvPr>
              <p:custDataLst>
                <p:tags r:id="rId27"/>
              </p:custDataLst>
            </p:nvPr>
          </p:nvGrpSpPr>
          <p:grpSpPr>
            <a:xfrm>
              <a:off x="7716535" y="3382210"/>
              <a:ext cx="228600" cy="228600"/>
              <a:chOff x="762000" y="1270000"/>
              <a:chExt cx="254000" cy="254000"/>
            </a:xfrm>
          </p:grpSpPr>
          <p:sp>
            <p:nvSpPr>
              <p:cNvPr id="39" name="Oval 38" hidden="1">
                <a:extLst>
                  <a:ext uri="{FF2B5EF4-FFF2-40B4-BE49-F238E27FC236}">
                    <a16:creationId xmlns:a16="http://schemas.microsoft.com/office/drawing/2014/main" id="{942923EF-DA9C-91DB-B6C2-6F6BE4555653}"/>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0" name="Arc 39" hidden="1">
                <a:extLst>
                  <a:ext uri="{FF2B5EF4-FFF2-40B4-BE49-F238E27FC236}">
                    <a16:creationId xmlns:a16="http://schemas.microsoft.com/office/drawing/2014/main" id="{08A99F4A-3566-4E39-3F75-115F2BDF0209}"/>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33" name="MoonLegend4" hidden="1">
              <a:extLst>
                <a:ext uri="{FF2B5EF4-FFF2-40B4-BE49-F238E27FC236}">
                  <a16:creationId xmlns:a16="http://schemas.microsoft.com/office/drawing/2014/main" id="{09D84105-53D3-2D17-1E34-F512BED89FB8}"/>
                </a:ext>
              </a:extLst>
            </p:cNvPr>
            <p:cNvGrpSpPr>
              <a:grpSpLocks noChangeAspect="1"/>
            </p:cNvGrpSpPr>
            <p:nvPr>
              <p:custDataLst>
                <p:tags r:id="rId28"/>
              </p:custDataLst>
            </p:nvPr>
          </p:nvGrpSpPr>
          <p:grpSpPr>
            <a:xfrm>
              <a:off x="7716535" y="3758025"/>
              <a:ext cx="228600" cy="228600"/>
              <a:chOff x="762000" y="1270000"/>
              <a:chExt cx="254000" cy="254000"/>
            </a:xfrm>
          </p:grpSpPr>
          <p:sp>
            <p:nvSpPr>
              <p:cNvPr id="37" name="Oval 36" hidden="1">
                <a:extLst>
                  <a:ext uri="{FF2B5EF4-FFF2-40B4-BE49-F238E27FC236}">
                    <a16:creationId xmlns:a16="http://schemas.microsoft.com/office/drawing/2014/main" id="{9BAAFB66-096D-B9D1-73B3-F0C877E8CDC1}"/>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8" name="Arc 37" hidden="1">
                <a:extLst>
                  <a:ext uri="{FF2B5EF4-FFF2-40B4-BE49-F238E27FC236}">
                    <a16:creationId xmlns:a16="http://schemas.microsoft.com/office/drawing/2014/main" id="{826FD085-FAD0-CC08-122A-51A0ED7191AF}"/>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34" name="MoonLegend5" hidden="1">
              <a:extLst>
                <a:ext uri="{FF2B5EF4-FFF2-40B4-BE49-F238E27FC236}">
                  <a16:creationId xmlns:a16="http://schemas.microsoft.com/office/drawing/2014/main" id="{2B314AFB-15E6-106D-4B5A-E564F2476E3D}"/>
                </a:ext>
              </a:extLst>
            </p:cNvPr>
            <p:cNvGrpSpPr>
              <a:grpSpLocks noChangeAspect="1"/>
            </p:cNvGrpSpPr>
            <p:nvPr>
              <p:custDataLst>
                <p:tags r:id="rId29"/>
              </p:custDataLst>
            </p:nvPr>
          </p:nvGrpSpPr>
          <p:grpSpPr>
            <a:xfrm>
              <a:off x="7716535" y="4133841"/>
              <a:ext cx="228600" cy="228600"/>
              <a:chOff x="762000" y="1270000"/>
              <a:chExt cx="254000" cy="254000"/>
            </a:xfrm>
          </p:grpSpPr>
          <p:sp>
            <p:nvSpPr>
              <p:cNvPr id="35" name="Oval 34" hidden="1">
                <a:extLst>
                  <a:ext uri="{FF2B5EF4-FFF2-40B4-BE49-F238E27FC236}">
                    <a16:creationId xmlns:a16="http://schemas.microsoft.com/office/drawing/2014/main" id="{EA9D6766-62F6-C087-9FF9-7CF0F33E9304}"/>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6" name="Arc 35" hidden="1">
                <a:extLst>
                  <a:ext uri="{FF2B5EF4-FFF2-40B4-BE49-F238E27FC236}">
                    <a16:creationId xmlns:a16="http://schemas.microsoft.com/office/drawing/2014/main" id="{8085C979-3F3E-F4C8-5229-6BA6E7D2836D}"/>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pic>
        <p:nvPicPr>
          <p:cNvPr id="5" name="Picture 4" descr="Vitafoods Asia | 17 - 19 Sept 2025 | Nutraceutical Trade Show">
            <a:extLst>
              <a:ext uri="{FF2B5EF4-FFF2-40B4-BE49-F238E27FC236}">
                <a16:creationId xmlns:a16="http://schemas.microsoft.com/office/drawing/2014/main" id="{A07B3A61-0910-CE39-B3D3-1EE774299175}"/>
              </a:ext>
            </a:extLst>
          </p:cNvPr>
          <p:cNvPicPr>
            <a:picLocks noChangeAspect="1" noChangeArrowheads="1"/>
          </p:cNvPicPr>
          <p:nvPr userDrawn="1"/>
        </p:nvPicPr>
        <p:blipFill rotWithShape="1">
          <a:blip r:embed="rId42" cstate="print">
            <a:extLst>
              <a:ext uri="{BEBA8EAE-BF5A-486C-A8C5-ECC9F3942E4B}">
                <a14:imgProps xmlns:a14="http://schemas.microsoft.com/office/drawing/2010/main">
                  <a14:imgLayer r:embed="rId43">
                    <a14:imgEffect>
                      <a14:brightnessContrast bright="100000"/>
                    </a14:imgEffect>
                  </a14:imgLayer>
                </a14:imgProps>
              </a:ext>
              <a:ext uri="{28A0092B-C50C-407E-A947-70E740481C1C}">
                <a14:useLocalDpi xmlns:a14="http://schemas.microsoft.com/office/drawing/2010/main" val="0"/>
              </a:ext>
            </a:extLst>
          </a:blip>
          <a:srcRect l="10354" t="12333" r="10254" b="23240"/>
          <a:stretch/>
        </p:blipFill>
        <p:spPr bwMode="ltGray">
          <a:xfrm>
            <a:off x="10878885" y="6310312"/>
            <a:ext cx="758380" cy="3983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6721936"/>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69" r:id="rId3"/>
    <p:sldLayoutId id="2147483870" r:id="rId4"/>
    <p:sldLayoutId id="2147483871" r:id="rId5"/>
    <p:sldLayoutId id="2147483872" r:id="rId6"/>
    <p:sldLayoutId id="2147483873" r:id="rId7"/>
    <p:sldLayoutId id="2147483874" r:id="rId8"/>
    <p:sldLayoutId id="2147483875" r:id="rId9"/>
    <p:sldLayoutId id="2147483876" r:id="rId10"/>
    <p:sldLayoutId id="2147483877" r:id="rId11"/>
    <p:sldLayoutId id="2147483878" r:id="rId12"/>
    <p:sldLayoutId id="2147483879" r:id="rId13"/>
    <p:sldLayoutId id="2147483880" r:id="rId14"/>
    <p:sldLayoutId id="2147483881" r:id="rId15"/>
    <p:sldLayoutId id="2147483882" r:id="rId16"/>
    <p:sldLayoutId id="2147483883" r:id="rId17"/>
    <p:sldLayoutId id="2147483884" r:id="rId18"/>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71">
          <p15:clr>
            <a:srgbClr val="5ACBF0"/>
          </p15:clr>
        </p15:guide>
        <p15:guide id="3" orient="horz" pos="3912">
          <p15:clr>
            <a:srgbClr val="5ACBF0"/>
          </p15:clr>
        </p15:guide>
        <p15:guide id="4" orient="horz" pos="883">
          <p15:clr>
            <a:srgbClr val="F26B43"/>
          </p15:clr>
        </p15:guide>
        <p15:guide id="5" pos="7329">
          <p15:clr>
            <a:srgbClr val="F26B43"/>
          </p15:clr>
        </p15:guide>
        <p15:guide id="6" pos="345">
          <p15:clr>
            <a:srgbClr val="F26B43"/>
          </p15:clr>
        </p15:guide>
        <p15:guide id="8" orient="horz" pos="397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BECBC96-058A-65B9-0F26-AF6B34DD0379}"/>
              </a:ext>
            </a:extLst>
          </p:cNvPr>
          <p:cNvGraphicFramePr>
            <a:graphicFrameLocks noChangeAspect="1"/>
          </p:cNvGraphicFramePr>
          <p:nvPr userDrawn="1">
            <p:custDataLst>
              <p:tags r:id="rId66"/>
            </p:custDataLst>
            <p:extLst>
              <p:ext uri="{D42A27DB-BD31-4B8C-83A1-F6EECF244321}">
                <p14:modId xmlns:p14="http://schemas.microsoft.com/office/powerpoint/2010/main" val="952801610"/>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67" imgW="395" imgH="394" progId="TCLayout.ActiveDocument.1">
                  <p:embed/>
                </p:oleObj>
              </mc:Choice>
              <mc:Fallback>
                <p:oleObj name="think-cell Slide" r:id="rId67" imgW="395" imgH="394" progId="TCLayout.ActiveDocument.1">
                  <p:embed/>
                  <p:pic>
                    <p:nvPicPr>
                      <p:cNvPr id="8" name="think-cell data - do not delete" hidden="1">
                        <a:extLst>
                          <a:ext uri="{FF2B5EF4-FFF2-40B4-BE49-F238E27FC236}">
                            <a16:creationId xmlns:a16="http://schemas.microsoft.com/office/drawing/2014/main" id="{3BECBC96-058A-65B9-0F26-AF6B34DD0379}"/>
                          </a:ext>
                        </a:extLst>
                      </p:cNvPr>
                      <p:cNvPicPr/>
                      <p:nvPr/>
                    </p:nvPicPr>
                    <p:blipFill>
                      <a:blip r:embed="rId68"/>
                      <a:stretch>
                        <a:fillRect/>
                      </a:stretch>
                    </p:blipFill>
                    <p:spPr>
                      <a:xfrm>
                        <a:off x="2119" y="2119"/>
                        <a:ext cx="2117" cy="2117"/>
                      </a:xfrm>
                      <a:prstGeom prst="rect">
                        <a:avLst/>
                      </a:prstGeom>
                    </p:spPr>
                  </p:pic>
                </p:oleObj>
              </mc:Fallback>
            </mc:AlternateContent>
          </a:graphicData>
        </a:graphic>
      </p:graphicFrame>
      <p:sp>
        <p:nvSpPr>
          <p:cNvPr id="2" name="Title Placeholder 1"/>
          <p:cNvSpPr>
            <a:spLocks noGrp="1"/>
          </p:cNvSpPr>
          <p:nvPr>
            <p:ph type="title"/>
          </p:nvPr>
        </p:nvSpPr>
        <p:spPr>
          <a:xfrm>
            <a:off x="575735" y="548219"/>
            <a:ext cx="11040532" cy="1036965"/>
          </a:xfrm>
          <a:prstGeom prst="rect">
            <a:avLst/>
          </a:prstGeom>
        </p:spPr>
        <p:txBody>
          <a:bodyPr vert="horz" lIns="0" tIns="0" rIns="0" bIns="0" rtlCol="0" anchor="t" anchorCtr="0">
            <a:noAutofit/>
          </a:bodyPr>
          <a:lstStyle/>
          <a:p>
            <a:r>
              <a:rPr lang="en-GB"/>
              <a:t>Click to edit Master title style</a:t>
            </a:r>
          </a:p>
        </p:txBody>
      </p:sp>
      <p:sp>
        <p:nvSpPr>
          <p:cNvPr id="3" name="Text Placeholder 2"/>
          <p:cNvSpPr>
            <a:spLocks noGrp="1"/>
          </p:cNvSpPr>
          <p:nvPr>
            <p:ph type="body" idx="1"/>
          </p:nvPr>
        </p:nvSpPr>
        <p:spPr>
          <a:xfrm>
            <a:off x="580293" y="1701801"/>
            <a:ext cx="11035975" cy="4176184"/>
          </a:xfrm>
          <a:prstGeom prst="rect">
            <a:avLst/>
          </a:prstGeom>
        </p:spPr>
        <p:txBody>
          <a:bodyPr vert="horz" lIns="0" tIns="0" rIns="0" bIns="0" rtlCol="0">
            <a:noAutofit/>
          </a:bodyPr>
          <a:lstStyle/>
          <a:p>
            <a:pPr lvl="0"/>
            <a:r>
              <a:rPr lang="en-GB" err="1"/>
              <a:t>Klikken</a:t>
            </a:r>
            <a:r>
              <a:rPr lang="en-GB"/>
              <a:t> om de </a:t>
            </a:r>
            <a:r>
              <a:rPr lang="en-GB" err="1"/>
              <a:t>tekststijl</a:t>
            </a:r>
            <a:r>
              <a:rPr lang="en-GB"/>
              <a:t> van het model te </a:t>
            </a:r>
            <a:r>
              <a:rPr lang="en-GB" err="1"/>
              <a:t>bewerken</a:t>
            </a:r>
            <a:endParaRPr lang="en-GB"/>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2"/>
          </p:nvPr>
        </p:nvSpPr>
        <p:spPr>
          <a:xfrm>
            <a:off x="10237639" y="6491401"/>
            <a:ext cx="458459" cy="102657"/>
          </a:xfrm>
          <a:prstGeom prst="rect">
            <a:avLst/>
          </a:prstGeom>
        </p:spPr>
        <p:txBody>
          <a:bodyPr vert="horz" wrap="none" lIns="0" tIns="0" rIns="0" bIns="0" rtlCol="0" anchor="ctr">
            <a:spAutoFit/>
          </a:bodyPr>
          <a:lstStyle>
            <a:lvl1pPr algn="r">
              <a:defRPr sz="667">
                <a:solidFill>
                  <a:schemeClr val="tx1">
                    <a:tint val="75000"/>
                  </a:schemeClr>
                </a:solidFill>
              </a:defRPr>
            </a:lvl1pPr>
          </a:lstStyle>
          <a:p>
            <a:fld id="{BDFE072C-9B69-4F2B-BBB2-A5FF552F2D72}" type="datetime1">
              <a:rPr lang="en-US" smtClean="0"/>
              <a:t>4/18/2025</a:t>
            </a:fld>
            <a:endParaRPr lang="en-GB"/>
          </a:p>
        </p:txBody>
      </p:sp>
      <p:sp>
        <p:nvSpPr>
          <p:cNvPr id="5" name="Footer Placeholder 4"/>
          <p:cNvSpPr>
            <a:spLocks noGrp="1"/>
          </p:cNvSpPr>
          <p:nvPr>
            <p:ph type="ftr" sz="quarter" idx="3"/>
          </p:nvPr>
        </p:nvSpPr>
        <p:spPr>
          <a:xfrm>
            <a:off x="848861" y="6491432"/>
            <a:ext cx="1652163" cy="102592"/>
          </a:xfrm>
          <a:prstGeom prst="rect">
            <a:avLst/>
          </a:prstGeom>
        </p:spPr>
        <p:txBody>
          <a:bodyPr vert="horz" wrap="none" lIns="0" tIns="0" rIns="0" bIns="0" rtlCol="0" anchor="ctr">
            <a:spAutoFit/>
          </a:bodyPr>
          <a:lstStyle>
            <a:lvl1pPr algn="l">
              <a:defRPr sz="667">
                <a:solidFill>
                  <a:schemeClr val="tx1">
                    <a:tint val="75000"/>
                  </a:schemeClr>
                </a:solidFill>
              </a:defRPr>
            </a:lvl1pPr>
          </a:lstStyle>
          <a:p>
            <a:r>
              <a:rPr lang="en-GB"/>
              <a:t>Draft | Internal use only | Confidential</a:t>
            </a:r>
          </a:p>
        </p:txBody>
      </p:sp>
      <p:sp>
        <p:nvSpPr>
          <p:cNvPr id="6" name="Slide Number Placeholder 5"/>
          <p:cNvSpPr>
            <a:spLocks noGrp="1"/>
          </p:cNvSpPr>
          <p:nvPr>
            <p:ph type="sldNum" sz="quarter" idx="4"/>
          </p:nvPr>
        </p:nvSpPr>
        <p:spPr>
          <a:xfrm>
            <a:off x="580292" y="6491432"/>
            <a:ext cx="147477" cy="102592"/>
          </a:xfrm>
          <a:prstGeom prst="rect">
            <a:avLst/>
          </a:prstGeom>
        </p:spPr>
        <p:txBody>
          <a:bodyPr vert="horz" wrap="none" lIns="0" tIns="0" rIns="0" bIns="0" rtlCol="0" anchor="ctr">
            <a:spAutoFit/>
          </a:bodyPr>
          <a:lstStyle>
            <a:lvl1pPr algn="l">
              <a:defRPr sz="667">
                <a:solidFill>
                  <a:schemeClr val="tx1">
                    <a:tint val="75000"/>
                  </a:schemeClr>
                </a:solidFill>
              </a:defRPr>
            </a:lvl1pPr>
          </a:lstStyle>
          <a:p>
            <a:fld id="{9BE0E23E-9022-4929-B297-EB2777CDBB1F}" type="slidenum">
              <a:rPr lang="en-GB" smtClean="0"/>
              <a:pPr/>
              <a:t>‹#›</a:t>
            </a:fld>
            <a:endParaRPr lang="en-GB"/>
          </a:p>
        </p:txBody>
      </p:sp>
      <p:pic>
        <p:nvPicPr>
          <p:cNvPr id="11" name="Picture 4">
            <a:extLst>
              <a:ext uri="{FF2B5EF4-FFF2-40B4-BE49-F238E27FC236}">
                <a16:creationId xmlns:a16="http://schemas.microsoft.com/office/drawing/2014/main" id="{A15E03F2-BDA0-49BB-AA14-A24C0CBB1FA7}"/>
              </a:ext>
            </a:extLst>
          </p:cNvPr>
          <p:cNvPicPr>
            <a:picLocks noChangeAspect="1"/>
          </p:cNvPicPr>
          <p:nvPr userDrawn="1"/>
        </p:nvPicPr>
        <p:blipFill>
          <a:blip r:embed="rId69" cstate="print">
            <a:extLst>
              <a:ext uri="{28A0092B-C50C-407E-A947-70E740481C1C}">
                <a14:useLocalDpi xmlns:a14="http://schemas.microsoft.com/office/drawing/2010/main" val="0"/>
              </a:ext>
            </a:extLst>
          </a:blip>
          <a:stretch>
            <a:fillRect/>
          </a:stretch>
        </p:blipFill>
        <p:spPr>
          <a:xfrm>
            <a:off x="10698280" y="6001372"/>
            <a:ext cx="1173195" cy="600904"/>
          </a:xfrm>
          <a:prstGeom prst="rect">
            <a:avLst/>
          </a:prstGeom>
        </p:spPr>
      </p:pic>
    </p:spTree>
    <p:extLst>
      <p:ext uri="{BB962C8B-B14F-4D97-AF65-F5344CB8AC3E}">
        <p14:creationId xmlns:p14="http://schemas.microsoft.com/office/powerpoint/2010/main" val="1127076020"/>
      </p:ext>
    </p:extLst>
  </p:cSld>
  <p:clrMap bg1="lt1" tx1="dk1" bg2="lt2" tx2="dk2" accent1="accent1" accent2="accent2" accent3="accent3" accent4="accent4" accent5="accent5" accent6="accent6" hlink="hlink" folHlink="folHlink"/>
  <p:sldLayoutIdLst>
    <p:sldLayoutId id="2147483888" r:id="rId1"/>
    <p:sldLayoutId id="2147483889" r:id="rId2"/>
    <p:sldLayoutId id="2147483890" r:id="rId3"/>
    <p:sldLayoutId id="2147483891" r:id="rId4"/>
    <p:sldLayoutId id="2147483892" r:id="rId5"/>
    <p:sldLayoutId id="2147483893" r:id="rId6"/>
    <p:sldLayoutId id="2147483894" r:id="rId7"/>
    <p:sldLayoutId id="2147483895" r:id="rId8"/>
    <p:sldLayoutId id="2147483896" r:id="rId9"/>
    <p:sldLayoutId id="2147483897" r:id="rId10"/>
    <p:sldLayoutId id="2147483898" r:id="rId11"/>
    <p:sldLayoutId id="2147483899" r:id="rId12"/>
    <p:sldLayoutId id="2147483900" r:id="rId13"/>
    <p:sldLayoutId id="2147483901" r:id="rId14"/>
    <p:sldLayoutId id="2147483902" r:id="rId15"/>
    <p:sldLayoutId id="2147483903" r:id="rId16"/>
    <p:sldLayoutId id="2147483904" r:id="rId17"/>
    <p:sldLayoutId id="2147483905" r:id="rId18"/>
    <p:sldLayoutId id="2147483906" r:id="rId19"/>
    <p:sldLayoutId id="2147483907" r:id="rId20"/>
    <p:sldLayoutId id="2147483908" r:id="rId21"/>
    <p:sldLayoutId id="2147483909" r:id="rId22"/>
    <p:sldLayoutId id="2147483910" r:id="rId23"/>
    <p:sldLayoutId id="2147483911" r:id="rId24"/>
    <p:sldLayoutId id="2147483912" r:id="rId25"/>
    <p:sldLayoutId id="2147483913" r:id="rId26"/>
    <p:sldLayoutId id="2147483914" r:id="rId27"/>
    <p:sldLayoutId id="2147483915" r:id="rId28"/>
    <p:sldLayoutId id="2147483916" r:id="rId29"/>
    <p:sldLayoutId id="2147483917" r:id="rId30"/>
    <p:sldLayoutId id="2147483918" r:id="rId31"/>
    <p:sldLayoutId id="2147483919" r:id="rId32"/>
    <p:sldLayoutId id="2147483920" r:id="rId33"/>
    <p:sldLayoutId id="2147483921" r:id="rId34"/>
    <p:sldLayoutId id="2147483922" r:id="rId35"/>
    <p:sldLayoutId id="2147483923" r:id="rId36"/>
    <p:sldLayoutId id="2147483924" r:id="rId37"/>
    <p:sldLayoutId id="2147483925" r:id="rId38"/>
    <p:sldLayoutId id="2147483926" r:id="rId39"/>
    <p:sldLayoutId id="2147483927" r:id="rId40"/>
    <p:sldLayoutId id="2147483928" r:id="rId41"/>
    <p:sldLayoutId id="2147483929" r:id="rId42"/>
    <p:sldLayoutId id="2147483930" r:id="rId43"/>
    <p:sldLayoutId id="2147483931" r:id="rId44"/>
    <p:sldLayoutId id="2147483932" r:id="rId45"/>
    <p:sldLayoutId id="2147483933" r:id="rId46"/>
    <p:sldLayoutId id="2147483934" r:id="rId47"/>
    <p:sldLayoutId id="2147483935" r:id="rId48"/>
    <p:sldLayoutId id="2147483936" r:id="rId49"/>
    <p:sldLayoutId id="2147483937" r:id="rId50"/>
    <p:sldLayoutId id="2147483938" r:id="rId51"/>
    <p:sldLayoutId id="2147483939" r:id="rId52"/>
    <p:sldLayoutId id="2147483940" r:id="rId53"/>
    <p:sldLayoutId id="2147483941" r:id="rId54"/>
    <p:sldLayoutId id="2147483942" r:id="rId55"/>
    <p:sldLayoutId id="2147483943" r:id="rId56"/>
    <p:sldLayoutId id="2147483944" r:id="rId57"/>
    <p:sldLayoutId id="2147483945" r:id="rId58"/>
    <p:sldLayoutId id="2147483946" r:id="rId59"/>
    <p:sldLayoutId id="2147483947" r:id="rId60"/>
    <p:sldLayoutId id="2147483948" r:id="rId61"/>
    <p:sldLayoutId id="2147483949" r:id="rId62"/>
    <p:sldLayoutId id="2147483950" r:id="rId63"/>
    <p:sldLayoutId id="2147483951" r:id="rId6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54" rtl="0" eaLnBrk="1" latinLnBrk="0" hangingPunct="1">
        <a:lnSpc>
          <a:spcPct val="90000"/>
        </a:lnSpc>
        <a:spcBef>
          <a:spcPct val="0"/>
        </a:spcBef>
        <a:buNone/>
        <a:defRPr sz="2667" kern="1200">
          <a:solidFill>
            <a:schemeClr val="accent1"/>
          </a:solidFill>
          <a:latin typeface="+mj-lt"/>
          <a:ea typeface="+mj-ea"/>
          <a:cs typeface="+mj-cs"/>
        </a:defRPr>
      </a:lvl1pPr>
    </p:titleStyle>
    <p:bodyStyle>
      <a:lvl1pPr marL="234939" indent="-234939" algn="l" defTabSz="914354" rtl="0" eaLnBrk="1" latinLnBrk="0" hangingPunct="1">
        <a:lnSpc>
          <a:spcPct val="113000"/>
        </a:lnSpc>
        <a:spcBef>
          <a:spcPts val="1600"/>
        </a:spcBef>
        <a:buClr>
          <a:schemeClr val="tx1"/>
        </a:buClr>
        <a:buFont typeface="Arial" panose="020B0604020202020204" pitchFamily="34" charset="0"/>
        <a:buChar char="•"/>
        <a:defRPr sz="1867" kern="1200">
          <a:solidFill>
            <a:schemeClr val="tx1"/>
          </a:solidFill>
          <a:latin typeface="+mn-lt"/>
          <a:ea typeface="+mn-ea"/>
          <a:cs typeface="+mn-cs"/>
        </a:defRPr>
      </a:lvl1pPr>
      <a:lvl2pPr marL="480460"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2pPr>
      <a:lvl3pPr marL="71539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3pPr>
      <a:lvl4pPr marL="960919"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4pPr>
      <a:lvl5pPr marL="119585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488">
          <p15:clr>
            <a:srgbClr val="F26B43"/>
          </p15:clr>
        </p15:guide>
        <p15:guide id="3" pos="272">
          <p15:clr>
            <a:srgbClr val="F26B43"/>
          </p15:clr>
        </p15:guide>
        <p15:guide id="5" orient="horz" pos="2777">
          <p15:clr>
            <a:srgbClr val="F26B43"/>
          </p15:clr>
        </p15:guide>
        <p15:guide id="6" orient="horz" pos="804">
          <p15:clr>
            <a:srgbClr val="F26B43"/>
          </p15:clr>
        </p15:guide>
        <p15:guide id="7" orient="horz" pos="758">
          <p15:clr>
            <a:srgbClr val="F26B43"/>
          </p15:clr>
        </p15:guide>
        <p15:guide id="8" orient="horz" pos="259">
          <p15:clr>
            <a:srgbClr val="F26B43"/>
          </p15:clr>
        </p15:guide>
        <p15:guide id="9" pos="2880">
          <p15:clr>
            <a:srgbClr val="F26B43"/>
          </p15:clr>
        </p15:guide>
        <p15:guide id="10" pos="1973">
          <p15:clr>
            <a:srgbClr val="F26B43"/>
          </p15:clr>
        </p15:guide>
        <p15:guide id="11" pos="2132">
          <p15:clr>
            <a:srgbClr val="F26B43"/>
          </p15:clr>
        </p15:guide>
        <p15:guide id="12" pos="3628">
          <p15:clr>
            <a:srgbClr val="F26B43"/>
          </p15:clr>
        </p15:guide>
        <p15:guide id="13" pos="3787">
          <p15:clr>
            <a:srgbClr val="F26B43"/>
          </p15:clr>
        </p15:guide>
        <p15:guide id="14" orient="horz" pos="1915">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B815E82-C153-1543-79E3-D8DEC1C6948C}"/>
              </a:ext>
            </a:extLst>
          </p:cNvPr>
          <p:cNvGraphicFramePr>
            <a:graphicFrameLocks noChangeAspect="1"/>
          </p:cNvGraphicFramePr>
          <p:nvPr userDrawn="1">
            <p:custDataLst>
              <p:tags r:id="rId64"/>
            </p:custDataLst>
            <p:extLst>
              <p:ext uri="{D42A27DB-BD31-4B8C-83A1-F6EECF244321}">
                <p14:modId xmlns:p14="http://schemas.microsoft.com/office/powerpoint/2010/main" val="4163711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5" imgW="395" imgH="396" progId="TCLayout.ActiveDocument.1">
                  <p:embed/>
                </p:oleObj>
              </mc:Choice>
              <mc:Fallback>
                <p:oleObj name="think-cell Slide" r:id="rId65" imgW="395" imgH="396" progId="TCLayout.ActiveDocument.1">
                  <p:embed/>
                  <p:pic>
                    <p:nvPicPr>
                      <p:cNvPr id="8" name="think-cell data - do not delete" hidden="1">
                        <a:extLst>
                          <a:ext uri="{FF2B5EF4-FFF2-40B4-BE49-F238E27FC236}">
                            <a16:creationId xmlns:a16="http://schemas.microsoft.com/office/drawing/2014/main" id="{4B815E82-C153-1543-79E3-D8DEC1C6948C}"/>
                          </a:ext>
                        </a:extLst>
                      </p:cNvPr>
                      <p:cNvPicPr/>
                      <p:nvPr/>
                    </p:nvPicPr>
                    <p:blipFill>
                      <a:blip r:embed="rId6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75734" y="548218"/>
            <a:ext cx="11040532" cy="1036965"/>
          </a:xfrm>
          <a:prstGeom prst="rect">
            <a:avLst/>
          </a:prstGeom>
        </p:spPr>
        <p:txBody>
          <a:bodyPr vert="horz" lIns="0" tIns="0" rIns="0" bIns="0" rtlCol="0" anchor="t" anchorCtr="0">
            <a:noAutofit/>
          </a:bodyPr>
          <a:lstStyle/>
          <a:p>
            <a:r>
              <a:rPr lang="en-GB"/>
              <a:t>Click to edit Master title style</a:t>
            </a:r>
          </a:p>
        </p:txBody>
      </p:sp>
      <p:sp>
        <p:nvSpPr>
          <p:cNvPr id="3" name="Text Placeholder 2"/>
          <p:cNvSpPr>
            <a:spLocks noGrp="1"/>
          </p:cNvSpPr>
          <p:nvPr>
            <p:ph type="body" idx="1"/>
          </p:nvPr>
        </p:nvSpPr>
        <p:spPr>
          <a:xfrm>
            <a:off x="580291" y="1701801"/>
            <a:ext cx="11035975" cy="4176184"/>
          </a:xfrm>
          <a:prstGeom prst="rect">
            <a:avLst/>
          </a:prstGeom>
        </p:spPr>
        <p:txBody>
          <a:bodyPr vert="horz" lIns="0" tIns="0" rIns="0" bIns="0" rtlCol="0">
            <a:noAutofit/>
          </a:bodyPr>
          <a:lstStyle/>
          <a:p>
            <a:pPr lvl="0"/>
            <a:r>
              <a:rPr lang="en-GB" err="1"/>
              <a:t>Klikken</a:t>
            </a:r>
            <a:r>
              <a:rPr lang="en-GB"/>
              <a:t> om de </a:t>
            </a:r>
            <a:r>
              <a:rPr lang="en-GB" err="1"/>
              <a:t>tekststijl</a:t>
            </a:r>
            <a:r>
              <a:rPr lang="en-GB"/>
              <a:t> van het model te </a:t>
            </a:r>
            <a:r>
              <a:rPr lang="en-GB" err="1"/>
              <a:t>bewerken</a:t>
            </a:r>
            <a:endParaRPr lang="en-GB"/>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2"/>
          </p:nvPr>
        </p:nvSpPr>
        <p:spPr>
          <a:xfrm>
            <a:off x="10237638" y="6491400"/>
            <a:ext cx="458459" cy="102657"/>
          </a:xfrm>
          <a:prstGeom prst="rect">
            <a:avLst/>
          </a:prstGeom>
        </p:spPr>
        <p:txBody>
          <a:bodyPr vert="horz" wrap="none" lIns="0" tIns="0" rIns="0" bIns="0" rtlCol="0" anchor="ctr">
            <a:spAutoFit/>
          </a:bodyPr>
          <a:lstStyle>
            <a:lvl1pPr algn="r">
              <a:defRPr sz="667">
                <a:solidFill>
                  <a:schemeClr val="tx1">
                    <a:tint val="75000"/>
                  </a:schemeClr>
                </a:solidFill>
              </a:defRPr>
            </a:lvl1pPr>
          </a:lstStyle>
          <a:p>
            <a:fld id="{BEA43329-F713-4951-98D1-84A1B4189598}" type="datetime1">
              <a:rPr lang="en-US" smtClean="0"/>
              <a:t>4/18/2025</a:t>
            </a:fld>
            <a:endParaRPr lang="en-GB"/>
          </a:p>
        </p:txBody>
      </p:sp>
      <p:sp>
        <p:nvSpPr>
          <p:cNvPr id="5" name="Footer Placeholder 4"/>
          <p:cNvSpPr>
            <a:spLocks noGrp="1"/>
          </p:cNvSpPr>
          <p:nvPr>
            <p:ph type="ftr" sz="quarter" idx="3"/>
          </p:nvPr>
        </p:nvSpPr>
        <p:spPr>
          <a:xfrm>
            <a:off x="848861" y="6491400"/>
            <a:ext cx="65" cy="102657"/>
          </a:xfrm>
          <a:prstGeom prst="rect">
            <a:avLst/>
          </a:prstGeom>
        </p:spPr>
        <p:txBody>
          <a:bodyPr vert="horz" wrap="none" lIns="0" tIns="0" rIns="0" bIns="0" rtlCol="0" anchor="ctr">
            <a:spAutoFit/>
          </a:bodyPr>
          <a:lstStyle>
            <a:lvl1pPr algn="l">
              <a:defRPr sz="667">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580291" y="6491432"/>
            <a:ext cx="147477" cy="102592"/>
          </a:xfrm>
          <a:prstGeom prst="rect">
            <a:avLst/>
          </a:prstGeom>
        </p:spPr>
        <p:txBody>
          <a:bodyPr vert="horz" wrap="none" lIns="0" tIns="0" rIns="0" bIns="0" rtlCol="0" anchor="ctr">
            <a:spAutoFit/>
          </a:bodyPr>
          <a:lstStyle>
            <a:lvl1pPr algn="l">
              <a:defRPr sz="667">
                <a:solidFill>
                  <a:schemeClr val="tx1">
                    <a:tint val="75000"/>
                  </a:schemeClr>
                </a:solidFill>
              </a:defRPr>
            </a:lvl1pPr>
          </a:lstStyle>
          <a:p>
            <a:fld id="{9BE0E23E-9022-4929-B297-EB2777CDBB1F}" type="slidenum">
              <a:rPr lang="en-GB" smtClean="0"/>
              <a:pPr/>
              <a:t>‹#›</a:t>
            </a:fld>
            <a:endParaRPr lang="en-GB"/>
          </a:p>
        </p:txBody>
      </p:sp>
      <p:pic>
        <p:nvPicPr>
          <p:cNvPr id="11" name="Picture 4">
            <a:extLst>
              <a:ext uri="{FF2B5EF4-FFF2-40B4-BE49-F238E27FC236}">
                <a16:creationId xmlns:a16="http://schemas.microsoft.com/office/drawing/2014/main" id="{A15E03F2-BDA0-49BB-AA14-A24C0CBB1FA7}"/>
              </a:ext>
            </a:extLst>
          </p:cNvPr>
          <p:cNvPicPr>
            <a:picLocks noChangeAspect="1"/>
          </p:cNvPicPr>
          <p:nvPr userDrawn="1"/>
        </p:nvPicPr>
        <p:blipFill>
          <a:blip r:embed="rId67" cstate="screen">
            <a:extLst>
              <a:ext uri="{28A0092B-C50C-407E-A947-70E740481C1C}">
                <a14:useLocalDpi xmlns:a14="http://schemas.microsoft.com/office/drawing/2010/main"/>
              </a:ext>
            </a:extLst>
          </a:blip>
          <a:stretch>
            <a:fillRect/>
          </a:stretch>
        </p:blipFill>
        <p:spPr>
          <a:xfrm>
            <a:off x="10698279" y="6001372"/>
            <a:ext cx="1173195" cy="600904"/>
          </a:xfrm>
          <a:prstGeom prst="rect">
            <a:avLst/>
          </a:prstGeom>
        </p:spPr>
      </p:pic>
    </p:spTree>
    <p:extLst>
      <p:ext uri="{BB962C8B-B14F-4D97-AF65-F5344CB8AC3E}">
        <p14:creationId xmlns:p14="http://schemas.microsoft.com/office/powerpoint/2010/main" val="3183419522"/>
      </p:ext>
    </p:extLst>
  </p:cSld>
  <p:clrMap bg1="lt1" tx1="dk1" bg2="lt2" tx2="dk2" accent1="accent1" accent2="accent2" accent3="accent3" accent4="accent4" accent5="accent5" accent6="accent6" hlink="hlink" folHlink="folHlink"/>
  <p:sldLayoutIdLst>
    <p:sldLayoutId id="2147483953" r:id="rId1"/>
    <p:sldLayoutId id="2147483954" r:id="rId2"/>
    <p:sldLayoutId id="2147483955" r:id="rId3"/>
    <p:sldLayoutId id="2147483956" r:id="rId4"/>
    <p:sldLayoutId id="2147483957" r:id="rId5"/>
    <p:sldLayoutId id="2147483958" r:id="rId6"/>
    <p:sldLayoutId id="2147483959" r:id="rId7"/>
    <p:sldLayoutId id="2147483960" r:id="rId8"/>
    <p:sldLayoutId id="2147483961" r:id="rId9"/>
    <p:sldLayoutId id="2147483962" r:id="rId10"/>
    <p:sldLayoutId id="2147483963" r:id="rId11"/>
    <p:sldLayoutId id="2147483964" r:id="rId12"/>
    <p:sldLayoutId id="2147483965" r:id="rId13"/>
    <p:sldLayoutId id="2147483966" r:id="rId14"/>
    <p:sldLayoutId id="2147483967" r:id="rId15"/>
    <p:sldLayoutId id="2147483968" r:id="rId16"/>
    <p:sldLayoutId id="2147483969" r:id="rId17"/>
    <p:sldLayoutId id="2147483970" r:id="rId18"/>
    <p:sldLayoutId id="2147483971" r:id="rId19"/>
    <p:sldLayoutId id="2147483972" r:id="rId20"/>
    <p:sldLayoutId id="2147483973" r:id="rId21"/>
    <p:sldLayoutId id="2147483974" r:id="rId22"/>
    <p:sldLayoutId id="2147483975" r:id="rId23"/>
    <p:sldLayoutId id="2147483976" r:id="rId24"/>
    <p:sldLayoutId id="2147483977" r:id="rId25"/>
    <p:sldLayoutId id="2147483978" r:id="rId26"/>
    <p:sldLayoutId id="2147483979" r:id="rId27"/>
    <p:sldLayoutId id="2147483980" r:id="rId28"/>
    <p:sldLayoutId id="2147483981" r:id="rId29"/>
    <p:sldLayoutId id="2147483982" r:id="rId30"/>
    <p:sldLayoutId id="2147483983" r:id="rId31"/>
    <p:sldLayoutId id="2147483984" r:id="rId32"/>
    <p:sldLayoutId id="2147483985" r:id="rId33"/>
    <p:sldLayoutId id="2147483986" r:id="rId34"/>
    <p:sldLayoutId id="2147483987" r:id="rId35"/>
    <p:sldLayoutId id="2147483988" r:id="rId36"/>
    <p:sldLayoutId id="2147483989" r:id="rId37"/>
    <p:sldLayoutId id="2147483990" r:id="rId38"/>
    <p:sldLayoutId id="2147483991" r:id="rId39"/>
    <p:sldLayoutId id="2147483992" r:id="rId40"/>
    <p:sldLayoutId id="2147483993" r:id="rId41"/>
    <p:sldLayoutId id="2147483994" r:id="rId42"/>
    <p:sldLayoutId id="2147483995" r:id="rId43"/>
    <p:sldLayoutId id="2147483996" r:id="rId44"/>
    <p:sldLayoutId id="2147483997" r:id="rId45"/>
    <p:sldLayoutId id="2147483998" r:id="rId46"/>
    <p:sldLayoutId id="2147483999" r:id="rId47"/>
    <p:sldLayoutId id="2147484000" r:id="rId48"/>
    <p:sldLayoutId id="2147484001" r:id="rId49"/>
    <p:sldLayoutId id="2147484002" r:id="rId50"/>
    <p:sldLayoutId id="2147484003" r:id="rId51"/>
    <p:sldLayoutId id="2147484004" r:id="rId52"/>
    <p:sldLayoutId id="2147484005" r:id="rId53"/>
    <p:sldLayoutId id="2147484006" r:id="rId54"/>
    <p:sldLayoutId id="2147484007" r:id="rId55"/>
    <p:sldLayoutId id="2147484008" r:id="rId56"/>
    <p:sldLayoutId id="2147484009" r:id="rId57"/>
    <p:sldLayoutId id="2147484010" r:id="rId58"/>
    <p:sldLayoutId id="2147484011" r:id="rId59"/>
    <p:sldLayoutId id="2147484012" r:id="rId60"/>
    <p:sldLayoutId id="2147484013" r:id="rId61"/>
    <p:sldLayoutId id="2147484014" r:id="rId6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7" rtl="0" eaLnBrk="1" latinLnBrk="0" hangingPunct="1">
        <a:lnSpc>
          <a:spcPct val="90000"/>
        </a:lnSpc>
        <a:spcBef>
          <a:spcPct val="0"/>
        </a:spcBef>
        <a:buNone/>
        <a:defRPr sz="2667" kern="1200">
          <a:solidFill>
            <a:schemeClr val="accent1"/>
          </a:solidFill>
          <a:latin typeface="+mj-lt"/>
          <a:ea typeface="+mj-ea"/>
          <a:cs typeface="+mj-cs"/>
        </a:defRPr>
      </a:lvl1pPr>
    </p:titleStyle>
    <p:bodyStyle>
      <a:lvl1pPr marL="234945" indent="-234945" algn="l" defTabSz="914377" rtl="0" eaLnBrk="1" latinLnBrk="0" hangingPunct="1">
        <a:lnSpc>
          <a:spcPct val="113000"/>
        </a:lnSpc>
        <a:spcBef>
          <a:spcPts val="1600"/>
        </a:spcBef>
        <a:buClr>
          <a:schemeClr val="tx1"/>
        </a:buClr>
        <a:buFont typeface="Arial" panose="020B0604020202020204" pitchFamily="34" charset="0"/>
        <a:buChar char="•"/>
        <a:defRPr sz="1867" kern="1200">
          <a:solidFill>
            <a:schemeClr val="tx1"/>
          </a:solidFill>
          <a:latin typeface="+mn-lt"/>
          <a:ea typeface="+mn-ea"/>
          <a:cs typeface="+mn-cs"/>
        </a:defRPr>
      </a:lvl1pPr>
      <a:lvl2pPr marL="480472" indent="-228594" algn="l" defTabSz="914377"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2pPr>
      <a:lvl3pPr marL="715415" indent="-228594" algn="l" defTabSz="914377"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3pPr>
      <a:lvl4pPr marL="960943" indent="-228594" algn="l" defTabSz="914377"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4pPr>
      <a:lvl5pPr marL="1195887" indent="-228594" algn="l" defTabSz="914377"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488">
          <p15:clr>
            <a:srgbClr val="F26B43"/>
          </p15:clr>
        </p15:guide>
        <p15:guide id="3" pos="272">
          <p15:clr>
            <a:srgbClr val="F26B43"/>
          </p15:clr>
        </p15:guide>
        <p15:guide id="5" orient="horz" pos="2777">
          <p15:clr>
            <a:srgbClr val="F26B43"/>
          </p15:clr>
        </p15:guide>
        <p15:guide id="6" orient="horz" pos="804">
          <p15:clr>
            <a:srgbClr val="F26B43"/>
          </p15:clr>
        </p15:guide>
        <p15:guide id="7" orient="horz" pos="758">
          <p15:clr>
            <a:srgbClr val="F26B43"/>
          </p15:clr>
        </p15:guide>
        <p15:guide id="8" orient="horz" pos="259">
          <p15:clr>
            <a:srgbClr val="F26B43"/>
          </p15:clr>
        </p15:guide>
        <p15:guide id="9" pos="2880">
          <p15:clr>
            <a:srgbClr val="F26B43"/>
          </p15:clr>
        </p15:guide>
        <p15:guide id="10" pos="1973">
          <p15:clr>
            <a:srgbClr val="F26B43"/>
          </p15:clr>
        </p15:guide>
        <p15:guide id="11" pos="2132">
          <p15:clr>
            <a:srgbClr val="F26B43"/>
          </p15:clr>
        </p15:guide>
        <p15:guide id="12" pos="3628">
          <p15:clr>
            <a:srgbClr val="F26B43"/>
          </p15:clr>
        </p15:guide>
        <p15:guide id="13" pos="3787">
          <p15:clr>
            <a:srgbClr val="F26B43"/>
          </p15:clr>
        </p15:guide>
        <p15:guide id="14" orient="horz" pos="1915">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0D81E03-4668-4C71-97F7-C395B8264DF5}"/>
              </a:ext>
            </a:extLst>
          </p:cNvPr>
          <p:cNvGraphicFramePr>
            <a:graphicFrameLocks noChangeAspect="1"/>
          </p:cNvGraphicFramePr>
          <p:nvPr userDrawn="1">
            <p:custDataLst>
              <p:tags r:id="rId21"/>
            </p:custDataLst>
            <p:extLst>
              <p:ext uri="{D42A27DB-BD31-4B8C-83A1-F6EECF244321}">
                <p14:modId xmlns:p14="http://schemas.microsoft.com/office/powerpoint/2010/main" val="616941225"/>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23" imgW="472" imgH="484" progId="TCLayout.ActiveDocument.1">
                  <p:embed/>
                </p:oleObj>
              </mc:Choice>
              <mc:Fallback>
                <p:oleObj name="think-cell Slide" r:id="rId23" imgW="472" imgH="484" progId="TCLayout.ActiveDocument.1">
                  <p:embed/>
                  <p:pic>
                    <p:nvPicPr>
                      <p:cNvPr id="8" name="Object 7" hidden="1">
                        <a:extLst>
                          <a:ext uri="{FF2B5EF4-FFF2-40B4-BE49-F238E27FC236}">
                            <a16:creationId xmlns:a16="http://schemas.microsoft.com/office/drawing/2014/main" id="{D0D81E03-4668-4C71-97F7-C395B8264DF5}"/>
                          </a:ext>
                        </a:extLst>
                      </p:cNvPr>
                      <p:cNvPicPr/>
                      <p:nvPr/>
                    </p:nvPicPr>
                    <p:blipFill>
                      <a:blip r:embed="rId24"/>
                      <a:stretch>
                        <a:fillRect/>
                      </a:stretch>
                    </p:blipFill>
                    <p:spPr>
                      <a:xfrm>
                        <a:off x="2119" y="2119"/>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189B27E-BE12-4997-BCEE-BA4372B09D16}"/>
              </a:ext>
            </a:extLst>
          </p:cNvPr>
          <p:cNvSpPr/>
          <p:nvPr userDrawn="1">
            <p:custDataLst>
              <p:tags r:id="rId22"/>
            </p:custDataLst>
          </p:nvPr>
        </p:nvSpPr>
        <p:spPr>
          <a:xfrm>
            <a:off x="1" y="1"/>
            <a:ext cx="211667" cy="211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lnSpc>
                <a:spcPct val="112000"/>
              </a:lnSpc>
            </a:pPr>
            <a:endParaRPr lang="en-US" sz="2667" b="0" i="0" baseline="0">
              <a:latin typeface="Verdana" panose="020B0604030504040204" pitchFamily="34" charset="0"/>
              <a:ea typeface="+mj-ea"/>
              <a:cs typeface="+mj-cs"/>
              <a:sym typeface="Verdana" panose="020B0604030504040204" pitchFamily="34" charset="0"/>
            </a:endParaRPr>
          </a:p>
        </p:txBody>
      </p:sp>
      <p:sp>
        <p:nvSpPr>
          <p:cNvPr id="2" name="Title Placeholder 1"/>
          <p:cNvSpPr>
            <a:spLocks noGrp="1"/>
          </p:cNvSpPr>
          <p:nvPr>
            <p:ph type="title"/>
          </p:nvPr>
        </p:nvSpPr>
        <p:spPr>
          <a:xfrm>
            <a:off x="575735" y="548219"/>
            <a:ext cx="11040532" cy="1036965"/>
          </a:xfrm>
          <a:prstGeom prst="rect">
            <a:avLst/>
          </a:prstGeom>
        </p:spPr>
        <p:txBody>
          <a:bodyPr vert="horz"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580293" y="1701801"/>
            <a:ext cx="11035975" cy="4176184"/>
          </a:xfrm>
          <a:prstGeom prst="rect">
            <a:avLst/>
          </a:prstGeom>
        </p:spPr>
        <p:txBody>
          <a:bodyPr vert="horz" lIns="0" tIns="0" rIns="0" bIns="0" rtlCol="0">
            <a:noAutofit/>
          </a:bodyPr>
          <a:lstStyle/>
          <a:p>
            <a:pPr lvl="0"/>
            <a:r>
              <a:rPr lang="nl-NL"/>
              <a:t>Klikken om de tekststijl van het model te bewerken</a:t>
            </a:r>
          </a:p>
          <a:p>
            <a:pPr lvl="1"/>
            <a:r>
              <a:rPr lang="nl-NL"/>
              <a:t>Second Level</a:t>
            </a:r>
          </a:p>
          <a:p>
            <a:pPr lvl="2"/>
            <a:r>
              <a:rPr lang="nl-NL"/>
              <a:t>Third Level</a:t>
            </a:r>
          </a:p>
          <a:p>
            <a:pPr lvl="3"/>
            <a:r>
              <a:rPr lang="nl-NL"/>
              <a:t>Fourth Level</a:t>
            </a:r>
          </a:p>
          <a:p>
            <a:pPr lvl="4"/>
            <a:r>
              <a:rPr lang="nl-NL"/>
              <a:t>Fifth Level</a:t>
            </a:r>
            <a:endParaRPr lang="en-US"/>
          </a:p>
        </p:txBody>
      </p:sp>
      <p:sp>
        <p:nvSpPr>
          <p:cNvPr id="4" name="Date Placeholder 3"/>
          <p:cNvSpPr>
            <a:spLocks noGrp="1"/>
          </p:cNvSpPr>
          <p:nvPr>
            <p:ph type="dt" sz="half" idx="2"/>
          </p:nvPr>
        </p:nvSpPr>
        <p:spPr>
          <a:xfrm>
            <a:off x="10237639" y="6491401"/>
            <a:ext cx="458459" cy="102657"/>
          </a:xfrm>
          <a:prstGeom prst="rect">
            <a:avLst/>
          </a:prstGeom>
        </p:spPr>
        <p:txBody>
          <a:bodyPr vert="horz" wrap="none" lIns="0" tIns="0" rIns="0" bIns="0" rtlCol="0" anchor="ctr">
            <a:spAutoFit/>
          </a:bodyPr>
          <a:lstStyle>
            <a:lvl1pPr algn="r">
              <a:defRPr sz="667">
                <a:solidFill>
                  <a:schemeClr val="tx1">
                    <a:tint val="75000"/>
                  </a:schemeClr>
                </a:solidFill>
              </a:defRPr>
            </a:lvl1pPr>
          </a:lstStyle>
          <a:p>
            <a:fld id="{DC32741C-D9D6-4815-A3D6-486E05009909}" type="datetime1">
              <a:rPr lang="en-US" smtClean="0"/>
              <a:t>4/18/2025</a:t>
            </a:fld>
            <a:endParaRPr lang="en-US"/>
          </a:p>
        </p:txBody>
      </p:sp>
      <p:sp>
        <p:nvSpPr>
          <p:cNvPr id="5" name="Footer Placeholder 4"/>
          <p:cNvSpPr>
            <a:spLocks noGrp="1"/>
          </p:cNvSpPr>
          <p:nvPr>
            <p:ph type="ftr" sz="quarter" idx="3"/>
          </p:nvPr>
        </p:nvSpPr>
        <p:spPr>
          <a:xfrm>
            <a:off x="848861" y="6491400"/>
            <a:ext cx="65" cy="102657"/>
          </a:xfrm>
          <a:prstGeom prst="rect">
            <a:avLst/>
          </a:prstGeom>
        </p:spPr>
        <p:txBody>
          <a:bodyPr vert="horz" wrap="none" lIns="0" tIns="0" rIns="0" bIns="0" rtlCol="0" anchor="ctr">
            <a:spAutoFit/>
          </a:bodyPr>
          <a:lstStyle>
            <a:lvl1pPr algn="l">
              <a:defRPr sz="667">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580291" y="6491401"/>
            <a:ext cx="147476" cy="102657"/>
          </a:xfrm>
          <a:prstGeom prst="rect">
            <a:avLst/>
          </a:prstGeom>
        </p:spPr>
        <p:txBody>
          <a:bodyPr vert="horz" wrap="none" lIns="0" tIns="0" rIns="0" bIns="0" rtlCol="0" anchor="ctr">
            <a:spAutoFit/>
          </a:bodyPr>
          <a:lstStyle>
            <a:lvl1pPr algn="l">
              <a:defRPr sz="667">
                <a:solidFill>
                  <a:schemeClr val="tx1">
                    <a:tint val="75000"/>
                  </a:schemeClr>
                </a:solidFill>
              </a:defRPr>
            </a:lvl1pPr>
          </a:lstStyle>
          <a:p>
            <a:fld id="{9BE0E23E-9022-4929-B297-EB2777CDBB1F}" type="slidenum">
              <a:rPr lang="en-US" smtClean="0"/>
              <a:pPr/>
              <a:t>‹#›</a:t>
            </a:fld>
            <a:endParaRPr lang="en-US"/>
          </a:p>
        </p:txBody>
      </p:sp>
      <p:pic>
        <p:nvPicPr>
          <p:cNvPr id="11" name="Picture 4">
            <a:extLst>
              <a:ext uri="{FF2B5EF4-FFF2-40B4-BE49-F238E27FC236}">
                <a16:creationId xmlns:a16="http://schemas.microsoft.com/office/drawing/2014/main" id="{A15E03F2-BDA0-49BB-AA14-A24C0CBB1FA7}"/>
              </a:ext>
            </a:extLst>
          </p:cNvPr>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a:off x="10698280" y="6001372"/>
            <a:ext cx="1173195" cy="600904"/>
          </a:xfrm>
          <a:prstGeom prst="rect">
            <a:avLst/>
          </a:prstGeom>
        </p:spPr>
      </p:pic>
    </p:spTree>
    <p:extLst>
      <p:ext uri="{BB962C8B-B14F-4D97-AF65-F5344CB8AC3E}">
        <p14:creationId xmlns:p14="http://schemas.microsoft.com/office/powerpoint/2010/main" val="3179608633"/>
      </p:ext>
    </p:extLst>
  </p:cSld>
  <p:clrMap bg1="lt1" tx1="dk1" bg2="lt2" tx2="dk2" accent1="accent1" accent2="accent2" accent3="accent3" accent4="accent4" accent5="accent5" accent6="accent6" hlink="hlink" folHlink="folHlink"/>
  <p:sldLayoutIdLst>
    <p:sldLayoutId id="2147484191" r:id="rId1"/>
    <p:sldLayoutId id="2147484192" r:id="rId2"/>
    <p:sldLayoutId id="2147484193" r:id="rId3"/>
    <p:sldLayoutId id="2147484194" r:id="rId4"/>
    <p:sldLayoutId id="2147484195" r:id="rId5"/>
    <p:sldLayoutId id="2147484196" r:id="rId6"/>
    <p:sldLayoutId id="2147484197" r:id="rId7"/>
    <p:sldLayoutId id="2147484198" r:id="rId8"/>
    <p:sldLayoutId id="2147484199" r:id="rId9"/>
    <p:sldLayoutId id="2147484200" r:id="rId10"/>
    <p:sldLayoutId id="2147484201" r:id="rId11"/>
    <p:sldLayoutId id="2147484202" r:id="rId12"/>
    <p:sldLayoutId id="2147484203" r:id="rId13"/>
    <p:sldLayoutId id="2147484204" r:id="rId14"/>
    <p:sldLayoutId id="2147484205" r:id="rId15"/>
    <p:sldLayoutId id="2147484206" r:id="rId16"/>
    <p:sldLayoutId id="2147484207" r:id="rId17"/>
    <p:sldLayoutId id="2147484208" r:id="rId18"/>
    <p:sldLayoutId id="2147484209" r:id="rId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54" rtl="0" eaLnBrk="1" latinLnBrk="0" hangingPunct="1">
        <a:lnSpc>
          <a:spcPct val="90000"/>
        </a:lnSpc>
        <a:spcBef>
          <a:spcPct val="0"/>
        </a:spcBef>
        <a:buNone/>
        <a:defRPr sz="2667" kern="1200">
          <a:solidFill>
            <a:schemeClr val="accent1"/>
          </a:solidFill>
          <a:latin typeface="+mj-lt"/>
          <a:ea typeface="+mj-ea"/>
          <a:cs typeface="+mj-cs"/>
        </a:defRPr>
      </a:lvl1pPr>
    </p:titleStyle>
    <p:bodyStyle>
      <a:lvl1pPr marL="234939" indent="-234939" algn="l" defTabSz="914354" rtl="0" eaLnBrk="1" latinLnBrk="0" hangingPunct="1">
        <a:lnSpc>
          <a:spcPct val="113000"/>
        </a:lnSpc>
        <a:spcBef>
          <a:spcPts val="1600"/>
        </a:spcBef>
        <a:buClr>
          <a:schemeClr val="tx1"/>
        </a:buClr>
        <a:buFont typeface="Arial" panose="020B0604020202020204" pitchFamily="34" charset="0"/>
        <a:buChar char="•"/>
        <a:defRPr sz="1867" kern="1200">
          <a:solidFill>
            <a:schemeClr val="tx1"/>
          </a:solidFill>
          <a:latin typeface="+mn-lt"/>
          <a:ea typeface="+mn-ea"/>
          <a:cs typeface="+mn-cs"/>
        </a:defRPr>
      </a:lvl1pPr>
      <a:lvl2pPr marL="480460"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2pPr>
      <a:lvl3pPr marL="71539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3pPr>
      <a:lvl4pPr marL="960919"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4pPr>
      <a:lvl5pPr marL="119585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488">
          <p15:clr>
            <a:srgbClr val="F26B43"/>
          </p15:clr>
        </p15:guide>
        <p15:guide id="3" pos="272">
          <p15:clr>
            <a:srgbClr val="F26B43"/>
          </p15:clr>
        </p15:guide>
        <p15:guide id="5" orient="horz" pos="2777">
          <p15:clr>
            <a:srgbClr val="F26B43"/>
          </p15:clr>
        </p15:guide>
        <p15:guide id="6" orient="horz" pos="804">
          <p15:clr>
            <a:srgbClr val="F26B43"/>
          </p15:clr>
        </p15:guide>
        <p15:guide id="7" orient="horz" pos="758">
          <p15:clr>
            <a:srgbClr val="F26B43"/>
          </p15:clr>
        </p15:guide>
        <p15:guide id="8" orient="horz" pos="259">
          <p15:clr>
            <a:srgbClr val="F26B43"/>
          </p15:clr>
        </p15:guide>
        <p15:guide id="9" pos="2880">
          <p15:clr>
            <a:srgbClr val="F26B43"/>
          </p15:clr>
        </p15:guide>
        <p15:guide id="10" pos="1973">
          <p15:clr>
            <a:srgbClr val="F26B43"/>
          </p15:clr>
        </p15:guide>
        <p15:guide id="11" pos="2132">
          <p15:clr>
            <a:srgbClr val="F26B43"/>
          </p15:clr>
        </p15:guide>
        <p15:guide id="12" pos="3628">
          <p15:clr>
            <a:srgbClr val="F26B43"/>
          </p15:clr>
        </p15:guide>
        <p15:guide id="13" pos="3787">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0D81E03-4668-4C71-97F7-C395B8264DF5}"/>
              </a:ext>
            </a:extLst>
          </p:cNvPr>
          <p:cNvGraphicFramePr>
            <a:graphicFrameLocks noChangeAspect="1"/>
          </p:cNvGraphicFramePr>
          <p:nvPr userDrawn="1">
            <p:custDataLst>
              <p:tags r:id="rId21"/>
            </p:custDataLst>
            <p:extLst>
              <p:ext uri="{D42A27DB-BD31-4B8C-83A1-F6EECF244321}">
                <p14:modId xmlns:p14="http://schemas.microsoft.com/office/powerpoint/2010/main" val="616941225"/>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23" imgW="472" imgH="484" progId="TCLayout.ActiveDocument.1">
                  <p:embed/>
                </p:oleObj>
              </mc:Choice>
              <mc:Fallback>
                <p:oleObj name="think-cell Slide" r:id="rId23" imgW="472" imgH="484" progId="TCLayout.ActiveDocument.1">
                  <p:embed/>
                  <p:pic>
                    <p:nvPicPr>
                      <p:cNvPr id="8" name="Object 7" hidden="1">
                        <a:extLst>
                          <a:ext uri="{FF2B5EF4-FFF2-40B4-BE49-F238E27FC236}">
                            <a16:creationId xmlns:a16="http://schemas.microsoft.com/office/drawing/2014/main" id="{D0D81E03-4668-4C71-97F7-C395B8264DF5}"/>
                          </a:ext>
                        </a:extLst>
                      </p:cNvPr>
                      <p:cNvPicPr/>
                      <p:nvPr/>
                    </p:nvPicPr>
                    <p:blipFill>
                      <a:blip r:embed="rId24"/>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189B27E-BE12-4997-BCEE-BA4372B09D16}"/>
              </a:ext>
            </a:extLst>
          </p:cNvPr>
          <p:cNvSpPr/>
          <p:nvPr userDrawn="1">
            <p:custDataLst>
              <p:tags r:id="rId22"/>
            </p:custDataLst>
          </p:nvPr>
        </p:nvSpPr>
        <p:spPr>
          <a:xfrm>
            <a:off x="0" y="0"/>
            <a:ext cx="211667" cy="211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lnSpc>
                <a:spcPct val="112000"/>
              </a:lnSpc>
            </a:pPr>
            <a:endParaRPr lang="en-US" sz="2667" b="0" i="0" baseline="0">
              <a:latin typeface="Verdana" panose="020B0604030504040204" pitchFamily="34" charset="0"/>
              <a:ea typeface="+mj-ea"/>
              <a:cs typeface="+mj-cs"/>
              <a:sym typeface="Verdana" panose="020B0604030504040204" pitchFamily="34" charset="0"/>
            </a:endParaRPr>
          </a:p>
        </p:txBody>
      </p:sp>
      <p:sp>
        <p:nvSpPr>
          <p:cNvPr id="2" name="Title Placeholder 1"/>
          <p:cNvSpPr>
            <a:spLocks noGrp="1"/>
          </p:cNvSpPr>
          <p:nvPr>
            <p:ph type="title"/>
          </p:nvPr>
        </p:nvSpPr>
        <p:spPr>
          <a:xfrm>
            <a:off x="575734" y="548218"/>
            <a:ext cx="11040532" cy="1036965"/>
          </a:xfrm>
          <a:prstGeom prst="rect">
            <a:avLst/>
          </a:prstGeom>
        </p:spPr>
        <p:txBody>
          <a:bodyPr vert="horz"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580291" y="1701801"/>
            <a:ext cx="11035975" cy="4176184"/>
          </a:xfrm>
          <a:prstGeom prst="rect">
            <a:avLst/>
          </a:prstGeom>
        </p:spPr>
        <p:txBody>
          <a:bodyPr vert="horz" lIns="0" tIns="0" rIns="0" bIns="0" rtlCol="0">
            <a:noAutofit/>
          </a:bodyPr>
          <a:lstStyle/>
          <a:p>
            <a:pPr lvl="0"/>
            <a:r>
              <a:rPr lang="nl-NL"/>
              <a:t>Klikken om de tekststijl van het model te bewerken</a:t>
            </a:r>
          </a:p>
          <a:p>
            <a:pPr lvl="1"/>
            <a:r>
              <a:rPr lang="nl-NL"/>
              <a:t>Second Level</a:t>
            </a:r>
          </a:p>
          <a:p>
            <a:pPr lvl="2"/>
            <a:r>
              <a:rPr lang="nl-NL"/>
              <a:t>Third Level</a:t>
            </a:r>
          </a:p>
          <a:p>
            <a:pPr lvl="3"/>
            <a:r>
              <a:rPr lang="nl-NL"/>
              <a:t>Fourth Level</a:t>
            </a:r>
          </a:p>
          <a:p>
            <a:pPr lvl="4"/>
            <a:r>
              <a:rPr lang="nl-NL"/>
              <a:t>Fifth Level</a:t>
            </a:r>
            <a:endParaRPr lang="en-US"/>
          </a:p>
        </p:txBody>
      </p:sp>
      <p:sp>
        <p:nvSpPr>
          <p:cNvPr id="4" name="Date Placeholder 3"/>
          <p:cNvSpPr>
            <a:spLocks noGrp="1"/>
          </p:cNvSpPr>
          <p:nvPr>
            <p:ph type="dt" sz="half" idx="2"/>
          </p:nvPr>
        </p:nvSpPr>
        <p:spPr>
          <a:xfrm>
            <a:off x="10237638" y="6491400"/>
            <a:ext cx="458459" cy="102657"/>
          </a:xfrm>
          <a:prstGeom prst="rect">
            <a:avLst/>
          </a:prstGeom>
        </p:spPr>
        <p:txBody>
          <a:bodyPr vert="horz" wrap="none" lIns="0" tIns="0" rIns="0" bIns="0" rtlCol="0" anchor="ctr">
            <a:spAutoFit/>
          </a:bodyPr>
          <a:lstStyle>
            <a:lvl1pPr algn="r">
              <a:defRPr sz="667">
                <a:solidFill>
                  <a:schemeClr val="tx1">
                    <a:tint val="75000"/>
                  </a:schemeClr>
                </a:solidFill>
              </a:defRPr>
            </a:lvl1pPr>
          </a:lstStyle>
          <a:p>
            <a:fld id="{7EABE325-5B6A-4C85-AE8E-0A017F8CF567}" type="datetime1">
              <a:rPr lang="en-US" smtClean="0"/>
              <a:t>4/18/2025</a:t>
            </a:fld>
            <a:endParaRPr lang="en-US"/>
          </a:p>
        </p:txBody>
      </p:sp>
      <p:sp>
        <p:nvSpPr>
          <p:cNvPr id="5" name="Footer Placeholder 4"/>
          <p:cNvSpPr>
            <a:spLocks noGrp="1"/>
          </p:cNvSpPr>
          <p:nvPr>
            <p:ph type="ftr" sz="quarter" idx="3"/>
          </p:nvPr>
        </p:nvSpPr>
        <p:spPr>
          <a:xfrm>
            <a:off x="848861" y="6491432"/>
            <a:ext cx="1652163" cy="102592"/>
          </a:xfrm>
          <a:prstGeom prst="rect">
            <a:avLst/>
          </a:prstGeom>
        </p:spPr>
        <p:txBody>
          <a:bodyPr vert="horz" wrap="none" lIns="0" tIns="0" rIns="0" bIns="0" rtlCol="0" anchor="ctr">
            <a:spAutoFit/>
          </a:bodyPr>
          <a:lstStyle>
            <a:lvl1pPr algn="l">
              <a:defRPr sz="667">
                <a:solidFill>
                  <a:schemeClr val="tx1">
                    <a:tint val="75000"/>
                  </a:schemeClr>
                </a:solidFill>
              </a:defRPr>
            </a:lvl1pPr>
          </a:lstStyle>
          <a:p>
            <a:r>
              <a:rPr lang="en-US"/>
              <a:t>Draft | Internal use only | Confidential</a:t>
            </a:r>
          </a:p>
        </p:txBody>
      </p:sp>
      <p:sp>
        <p:nvSpPr>
          <p:cNvPr id="6" name="Slide Number Placeholder 5"/>
          <p:cNvSpPr>
            <a:spLocks noGrp="1"/>
          </p:cNvSpPr>
          <p:nvPr>
            <p:ph type="sldNum" sz="quarter" idx="4"/>
          </p:nvPr>
        </p:nvSpPr>
        <p:spPr>
          <a:xfrm>
            <a:off x="580291" y="6491400"/>
            <a:ext cx="147476" cy="102657"/>
          </a:xfrm>
          <a:prstGeom prst="rect">
            <a:avLst/>
          </a:prstGeom>
        </p:spPr>
        <p:txBody>
          <a:bodyPr vert="horz" wrap="none" lIns="0" tIns="0" rIns="0" bIns="0" rtlCol="0" anchor="ctr">
            <a:spAutoFit/>
          </a:bodyPr>
          <a:lstStyle>
            <a:lvl1pPr algn="l">
              <a:defRPr sz="667">
                <a:solidFill>
                  <a:schemeClr val="tx1">
                    <a:tint val="75000"/>
                  </a:schemeClr>
                </a:solidFill>
              </a:defRPr>
            </a:lvl1pPr>
          </a:lstStyle>
          <a:p>
            <a:fld id="{9BE0E23E-9022-4929-B297-EB2777CDBB1F}" type="slidenum">
              <a:rPr lang="en-US" smtClean="0"/>
              <a:pPr/>
              <a:t>‹#›</a:t>
            </a:fld>
            <a:endParaRPr lang="en-US"/>
          </a:p>
        </p:txBody>
      </p:sp>
      <p:pic>
        <p:nvPicPr>
          <p:cNvPr id="11" name="Picture 4">
            <a:extLst>
              <a:ext uri="{FF2B5EF4-FFF2-40B4-BE49-F238E27FC236}">
                <a16:creationId xmlns:a16="http://schemas.microsoft.com/office/drawing/2014/main" id="{A15E03F2-BDA0-49BB-AA14-A24C0CBB1FA7}"/>
              </a:ext>
            </a:extLst>
          </p:cNvPr>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a:off x="10698279" y="6001372"/>
            <a:ext cx="1173195" cy="600904"/>
          </a:xfrm>
          <a:prstGeom prst="rect">
            <a:avLst/>
          </a:prstGeom>
        </p:spPr>
      </p:pic>
    </p:spTree>
    <p:extLst>
      <p:ext uri="{BB962C8B-B14F-4D97-AF65-F5344CB8AC3E}">
        <p14:creationId xmlns:p14="http://schemas.microsoft.com/office/powerpoint/2010/main" val="3256635418"/>
      </p:ext>
    </p:extLst>
  </p:cSld>
  <p:clrMap bg1="lt1" tx1="dk1" bg2="lt2" tx2="dk2" accent1="accent1" accent2="accent2" accent3="accent3" accent4="accent4" accent5="accent5" accent6="accent6" hlink="hlink" folHlink="folHlink"/>
  <p:sldLayoutIdLst>
    <p:sldLayoutId id="2147484212" r:id="rId1"/>
    <p:sldLayoutId id="2147484213" r:id="rId2"/>
    <p:sldLayoutId id="2147484214" r:id="rId3"/>
    <p:sldLayoutId id="2147484215" r:id="rId4"/>
    <p:sldLayoutId id="2147484216" r:id="rId5"/>
    <p:sldLayoutId id="2147484217" r:id="rId6"/>
    <p:sldLayoutId id="2147484218" r:id="rId7"/>
    <p:sldLayoutId id="2147484219" r:id="rId8"/>
    <p:sldLayoutId id="2147484220" r:id="rId9"/>
    <p:sldLayoutId id="2147484221" r:id="rId10"/>
    <p:sldLayoutId id="2147484222" r:id="rId11"/>
    <p:sldLayoutId id="2147484223" r:id="rId12"/>
    <p:sldLayoutId id="2147484224" r:id="rId13"/>
    <p:sldLayoutId id="2147484225" r:id="rId14"/>
    <p:sldLayoutId id="2147484226" r:id="rId15"/>
    <p:sldLayoutId id="2147484227" r:id="rId16"/>
    <p:sldLayoutId id="2147484228" r:id="rId17"/>
    <p:sldLayoutId id="2147484229" r:id="rId18"/>
    <p:sldLayoutId id="2147484230" r:id="rId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7" rtl="0" eaLnBrk="1" latinLnBrk="0" hangingPunct="1">
        <a:lnSpc>
          <a:spcPct val="90000"/>
        </a:lnSpc>
        <a:spcBef>
          <a:spcPct val="0"/>
        </a:spcBef>
        <a:buNone/>
        <a:defRPr sz="2667" kern="1200">
          <a:solidFill>
            <a:schemeClr val="accent1"/>
          </a:solidFill>
          <a:latin typeface="+mj-lt"/>
          <a:ea typeface="+mj-ea"/>
          <a:cs typeface="+mj-cs"/>
        </a:defRPr>
      </a:lvl1pPr>
    </p:titleStyle>
    <p:bodyStyle>
      <a:lvl1pPr marL="234945" indent="-234945" algn="l" defTabSz="914377" rtl="0" eaLnBrk="1" latinLnBrk="0" hangingPunct="1">
        <a:lnSpc>
          <a:spcPct val="113000"/>
        </a:lnSpc>
        <a:spcBef>
          <a:spcPts val="1600"/>
        </a:spcBef>
        <a:buClr>
          <a:schemeClr val="tx1"/>
        </a:buClr>
        <a:buFont typeface="Arial" panose="020B0604020202020204" pitchFamily="34" charset="0"/>
        <a:buChar char="•"/>
        <a:defRPr sz="1867" kern="1200">
          <a:solidFill>
            <a:schemeClr val="tx1"/>
          </a:solidFill>
          <a:latin typeface="+mn-lt"/>
          <a:ea typeface="+mn-ea"/>
          <a:cs typeface="+mn-cs"/>
        </a:defRPr>
      </a:lvl1pPr>
      <a:lvl2pPr marL="480472" indent="-228594" algn="l" defTabSz="914377"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2pPr>
      <a:lvl3pPr marL="715415" indent="-228594" algn="l" defTabSz="914377"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3pPr>
      <a:lvl4pPr marL="960943" indent="-228594" algn="l" defTabSz="914377"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4pPr>
      <a:lvl5pPr marL="1195887" indent="-228594" algn="l" defTabSz="914377"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488">
          <p15:clr>
            <a:srgbClr val="F26B43"/>
          </p15:clr>
        </p15:guide>
        <p15:guide id="3" pos="272">
          <p15:clr>
            <a:srgbClr val="F26B43"/>
          </p15:clr>
        </p15:guide>
        <p15:guide id="5" orient="horz" pos="2777">
          <p15:clr>
            <a:srgbClr val="F26B43"/>
          </p15:clr>
        </p15:guide>
        <p15:guide id="6" orient="horz" pos="804">
          <p15:clr>
            <a:srgbClr val="F26B43"/>
          </p15:clr>
        </p15:guide>
        <p15:guide id="7" orient="horz" pos="758">
          <p15:clr>
            <a:srgbClr val="F26B43"/>
          </p15:clr>
        </p15:guide>
        <p15:guide id="8" orient="horz" pos="259">
          <p15:clr>
            <a:srgbClr val="F26B43"/>
          </p15:clr>
        </p15:guide>
        <p15:guide id="9" pos="2880">
          <p15:clr>
            <a:srgbClr val="F26B43"/>
          </p15:clr>
        </p15:guide>
        <p15:guide id="10" pos="1973">
          <p15:clr>
            <a:srgbClr val="F26B43"/>
          </p15:clr>
        </p15:guide>
        <p15:guide id="11" pos="2132">
          <p15:clr>
            <a:srgbClr val="F26B43"/>
          </p15:clr>
        </p15:guide>
        <p15:guide id="12" pos="3628">
          <p15:clr>
            <a:srgbClr val="F26B43"/>
          </p15:clr>
        </p15:guide>
        <p15:guide id="13" pos="378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48.xml"/><Relationship Id="rId2" Type="http://schemas.openxmlformats.org/officeDocument/2006/relationships/image" Target="../media/image145.jpeg"/></Relationships>
</file>

<file path=ppt/slides/_rels/slide10.xml.rels><?xml version='1.0' encoding='UTF-8' standalone='yes'?>
<Relationships xmlns="http://schemas.openxmlformats.org/package/2006/relationships"><Relationship Id="rId1" Type="http://schemas.openxmlformats.org/officeDocument/2006/relationships/tags" Target="../tags/tag460.xml"/><Relationship Id="rId2" Type="http://schemas.openxmlformats.org/officeDocument/2006/relationships/slideLayout" Target="../slideLayouts/slideLayout140.xml"/><Relationship Id="rId3" Type="http://schemas.openxmlformats.org/officeDocument/2006/relationships/notesSlide" Target="../notesSlides/notesSlide6.xml"/><Relationship Id="rId4" Type="http://schemas.openxmlformats.org/officeDocument/2006/relationships/oleObject" Target="../embeddings/oleObject52.bin"/><Relationship Id="rId5" Type="http://schemas.openxmlformats.org/officeDocument/2006/relationships/image" Target="../media/image64.emf"/><Relationship Id="rId6" Type="http://schemas.openxmlformats.org/officeDocument/2006/relationships/image" Target="../media/image156.png"/><Relationship Id="rId7" Type="http://schemas.openxmlformats.org/officeDocument/2006/relationships/image" Target="../media/image157.png"/><Relationship Id="rId8" Type="http://schemas.openxmlformats.org/officeDocument/2006/relationships/image" Target="../media/image158.png"/><Relationship Id="rId9" Type="http://schemas.openxmlformats.org/officeDocument/2006/relationships/image" Target="../media/image159.png"/><Relationship Id="rId10" Type="http://schemas.openxmlformats.org/officeDocument/2006/relationships/image" Target="../media/image160.png"/><Relationship Id="rId11" Type="http://schemas.openxmlformats.org/officeDocument/2006/relationships/image" Target="../media/image161.png"/><Relationship Id="rId12" Type="http://schemas.openxmlformats.org/officeDocument/2006/relationships/image" Target="../media/image162.png"/><Relationship Id="rId13" Type="http://schemas.openxmlformats.org/officeDocument/2006/relationships/image" Target="../media/image163.png"/><Relationship Id="rId14" Type="http://schemas.openxmlformats.org/officeDocument/2006/relationships/image" Target="../media/image154.jpeg"/></Relationships>
</file>

<file path=ppt/slides/_rels/slide11.xml.rels><?xml version='1.0' encoding='UTF-8' standalone='yes'?>
<Relationships xmlns="http://schemas.openxmlformats.org/package/2006/relationships"><Relationship Id="rId1" Type="http://schemas.openxmlformats.org/officeDocument/2006/relationships/tags" Target="../tags/tag461.xml"/><Relationship Id="rId2" Type="http://schemas.openxmlformats.org/officeDocument/2006/relationships/slideLayout" Target="../slideLayouts/slideLayout140.xml"/><Relationship Id="rId3" Type="http://schemas.openxmlformats.org/officeDocument/2006/relationships/notesSlide" Target="../notesSlides/notesSlide7.xml"/><Relationship Id="rId4" Type="http://schemas.openxmlformats.org/officeDocument/2006/relationships/oleObject" Target="../embeddings/oleObject52.bin"/><Relationship Id="rId5" Type="http://schemas.openxmlformats.org/officeDocument/2006/relationships/image" Target="../media/image64.emf"/><Relationship Id="rId6" Type="http://schemas.openxmlformats.org/officeDocument/2006/relationships/hyperlink" Target="https://www.un.org/en/development/desa/population/publications/pdf/ageing/WorldPopulationAgeing2019-Highlights.pdf" TargetMode="External"/><Relationship Id="rId7" Type="http://schemas.openxmlformats.org/officeDocument/2006/relationships/chart" Target="../charts/chart5.xml"/><Relationship Id="rId8" Type="http://schemas.openxmlformats.org/officeDocument/2006/relationships/image" Target="../media/image154.jpeg"/></Relationships>
</file>

<file path=ppt/slides/_rels/slide12.xml.rels><?xml version='1.0' encoding='UTF-8' standalone='yes'?>
<Relationships xmlns="http://schemas.openxmlformats.org/package/2006/relationships"><Relationship Id="rId1" Type="http://schemas.openxmlformats.org/officeDocument/2006/relationships/tags" Target="../tags/tag462.xml"/><Relationship Id="rId2" Type="http://schemas.openxmlformats.org/officeDocument/2006/relationships/slideLayout" Target="../slideLayouts/slideLayout140.xml"/><Relationship Id="rId3" Type="http://schemas.openxmlformats.org/officeDocument/2006/relationships/notesSlide" Target="../notesSlides/notesSlide8.xml"/><Relationship Id="rId4" Type="http://schemas.openxmlformats.org/officeDocument/2006/relationships/oleObject" Target="../embeddings/oleObject52.bin"/><Relationship Id="rId5" Type="http://schemas.openxmlformats.org/officeDocument/2006/relationships/image" Target="../media/image64.emf"/><Relationship Id="rId6" Type="http://schemas.openxmlformats.org/officeDocument/2006/relationships/chart" Target="../charts/chart6.xml"/><Relationship Id="rId7" Type="http://schemas.openxmlformats.org/officeDocument/2006/relationships/chart" Target="../charts/chart7.xml"/><Relationship Id="rId8" Type="http://schemas.openxmlformats.org/officeDocument/2006/relationships/hyperlink" Target="https://www.un.org/development/desa/dspd/wp-content/uploads/sites/22/2023/01/2023wsr-chapter1-.pdf" TargetMode="External"/><Relationship Id="rId9" Type="http://schemas.openxmlformats.org/officeDocument/2006/relationships/image" Target="../media/image154.jpeg"/></Relationships>
</file>

<file path=ppt/slides/_rels/slide13.xml.rels><?xml version='1.0' encoding='UTF-8' standalone='yes'?>
<Relationships xmlns="http://schemas.openxmlformats.org/package/2006/relationships"><Relationship Id="rId1" Type="http://schemas.openxmlformats.org/officeDocument/2006/relationships/tags" Target="../tags/tag463.xml"/><Relationship Id="rId2" Type="http://schemas.openxmlformats.org/officeDocument/2006/relationships/slideLayout" Target="../slideLayouts/slideLayout140.xml"/><Relationship Id="rId3" Type="http://schemas.openxmlformats.org/officeDocument/2006/relationships/oleObject" Target="../embeddings/oleObject52.bin"/><Relationship Id="rId4" Type="http://schemas.openxmlformats.org/officeDocument/2006/relationships/image" Target="../media/image64.emf"/><Relationship Id="rId5" Type="http://schemas.openxmlformats.org/officeDocument/2006/relationships/image" Target="../media/image164.png"/><Relationship Id="rId6" Type="http://schemas.openxmlformats.org/officeDocument/2006/relationships/image" Target="../media/image165.png"/><Relationship Id="rId7" Type="http://schemas.openxmlformats.org/officeDocument/2006/relationships/image" Target="../media/image166.png"/><Relationship Id="rId8" Type="http://schemas.openxmlformats.org/officeDocument/2006/relationships/image" Target="../media/image167.png"/><Relationship Id="rId9" Type="http://schemas.openxmlformats.org/officeDocument/2006/relationships/image" Target="../media/image168.png"/><Relationship Id="rId10" Type="http://schemas.openxmlformats.org/officeDocument/2006/relationships/image" Target="../media/image169.png"/><Relationship Id="rId11" Type="http://schemas.openxmlformats.org/officeDocument/2006/relationships/image" Target="../media/image170.png"/><Relationship Id="rId12" Type="http://schemas.openxmlformats.org/officeDocument/2006/relationships/image" Target="../media/image171.png"/><Relationship Id="rId13" Type="http://schemas.openxmlformats.org/officeDocument/2006/relationships/image" Target="../media/image172.png"/><Relationship Id="rId14" Type="http://schemas.openxmlformats.org/officeDocument/2006/relationships/image" Target="../media/image154.jpeg"/></Relationships>
</file>

<file path=ppt/slides/_rels/slide14.xml.rels><?xml version='1.0' encoding='UTF-8' standalone='yes'?>
<Relationships xmlns="http://schemas.openxmlformats.org/package/2006/relationships"><Relationship Id="rId1" Type="http://schemas.openxmlformats.org/officeDocument/2006/relationships/tags" Target="../tags/tag464.xml"/><Relationship Id="rId2" Type="http://schemas.openxmlformats.org/officeDocument/2006/relationships/tags" Target="../tags/tag465.xml"/><Relationship Id="rId3" Type="http://schemas.openxmlformats.org/officeDocument/2006/relationships/tags" Target="../tags/tag466.xml"/><Relationship Id="rId4" Type="http://schemas.openxmlformats.org/officeDocument/2006/relationships/tags" Target="../tags/tag467.xml"/><Relationship Id="rId5" Type="http://schemas.openxmlformats.org/officeDocument/2006/relationships/tags" Target="../tags/tag468.xml"/><Relationship Id="rId6" Type="http://schemas.openxmlformats.org/officeDocument/2006/relationships/tags" Target="../tags/tag469.xml"/><Relationship Id="rId7" Type="http://schemas.openxmlformats.org/officeDocument/2006/relationships/tags" Target="../tags/tag470.xml"/><Relationship Id="rId8" Type="http://schemas.openxmlformats.org/officeDocument/2006/relationships/tags" Target="../tags/tag471.xml"/><Relationship Id="rId9" Type="http://schemas.openxmlformats.org/officeDocument/2006/relationships/tags" Target="../tags/tag472.xml"/><Relationship Id="rId10" Type="http://schemas.openxmlformats.org/officeDocument/2006/relationships/tags" Target="../tags/tag473.xml"/><Relationship Id="rId11" Type="http://schemas.openxmlformats.org/officeDocument/2006/relationships/tags" Target="../tags/tag474.xml"/><Relationship Id="rId12" Type="http://schemas.openxmlformats.org/officeDocument/2006/relationships/tags" Target="../tags/tag475.xml"/><Relationship Id="rId13" Type="http://schemas.openxmlformats.org/officeDocument/2006/relationships/tags" Target="../tags/tag476.xml"/><Relationship Id="rId14" Type="http://schemas.openxmlformats.org/officeDocument/2006/relationships/tags" Target="../tags/tag477.xml"/><Relationship Id="rId15" Type="http://schemas.openxmlformats.org/officeDocument/2006/relationships/tags" Target="../tags/tag478.xml"/><Relationship Id="rId16" Type="http://schemas.openxmlformats.org/officeDocument/2006/relationships/tags" Target="../tags/tag479.xml"/><Relationship Id="rId17" Type="http://schemas.openxmlformats.org/officeDocument/2006/relationships/tags" Target="../tags/tag480.xml"/><Relationship Id="rId18" Type="http://schemas.openxmlformats.org/officeDocument/2006/relationships/tags" Target="../tags/tag481.xml"/><Relationship Id="rId19" Type="http://schemas.openxmlformats.org/officeDocument/2006/relationships/tags" Target="../tags/tag482.xml"/><Relationship Id="rId20" Type="http://schemas.openxmlformats.org/officeDocument/2006/relationships/tags" Target="../tags/tag483.xml"/><Relationship Id="rId21" Type="http://schemas.openxmlformats.org/officeDocument/2006/relationships/tags" Target="../tags/tag484.xml"/><Relationship Id="rId22" Type="http://schemas.openxmlformats.org/officeDocument/2006/relationships/tags" Target="../tags/tag485.xml"/><Relationship Id="rId23" Type="http://schemas.openxmlformats.org/officeDocument/2006/relationships/tags" Target="../tags/tag486.xml"/><Relationship Id="rId24" Type="http://schemas.openxmlformats.org/officeDocument/2006/relationships/tags" Target="../tags/tag487.xml"/><Relationship Id="rId25" Type="http://schemas.openxmlformats.org/officeDocument/2006/relationships/tags" Target="../tags/tag488.xml"/><Relationship Id="rId26" Type="http://schemas.openxmlformats.org/officeDocument/2006/relationships/tags" Target="../tags/tag489.xml"/><Relationship Id="rId27" Type="http://schemas.openxmlformats.org/officeDocument/2006/relationships/tags" Target="../tags/tag490.xml"/><Relationship Id="rId28" Type="http://schemas.openxmlformats.org/officeDocument/2006/relationships/tags" Target="../tags/tag491.xml"/><Relationship Id="rId29" Type="http://schemas.openxmlformats.org/officeDocument/2006/relationships/tags" Target="../tags/tag492.xml"/><Relationship Id="rId30" Type="http://schemas.openxmlformats.org/officeDocument/2006/relationships/tags" Target="../tags/tag493.xml"/><Relationship Id="rId31" Type="http://schemas.openxmlformats.org/officeDocument/2006/relationships/tags" Target="../tags/tag494.xml"/><Relationship Id="rId32" Type="http://schemas.openxmlformats.org/officeDocument/2006/relationships/tags" Target="../tags/tag495.xml"/><Relationship Id="rId33" Type="http://schemas.openxmlformats.org/officeDocument/2006/relationships/tags" Target="../tags/tag496.xml"/><Relationship Id="rId34" Type="http://schemas.openxmlformats.org/officeDocument/2006/relationships/tags" Target="../tags/tag497.xml"/><Relationship Id="rId35" Type="http://schemas.openxmlformats.org/officeDocument/2006/relationships/tags" Target="../tags/tag498.xml"/><Relationship Id="rId36" Type="http://schemas.openxmlformats.org/officeDocument/2006/relationships/tags" Target="../tags/tag499.xml"/><Relationship Id="rId37" Type="http://schemas.openxmlformats.org/officeDocument/2006/relationships/tags" Target="../tags/tag500.xml"/><Relationship Id="rId38" Type="http://schemas.openxmlformats.org/officeDocument/2006/relationships/tags" Target="../tags/tag501.xml"/><Relationship Id="rId39" Type="http://schemas.openxmlformats.org/officeDocument/2006/relationships/tags" Target="../tags/tag502.xml"/><Relationship Id="rId40" Type="http://schemas.openxmlformats.org/officeDocument/2006/relationships/tags" Target="../tags/tag503.xml"/><Relationship Id="rId41" Type="http://schemas.openxmlformats.org/officeDocument/2006/relationships/tags" Target="../tags/tag504.xml"/><Relationship Id="rId42" Type="http://schemas.openxmlformats.org/officeDocument/2006/relationships/tags" Target="../tags/tag505.xml"/><Relationship Id="rId43" Type="http://schemas.openxmlformats.org/officeDocument/2006/relationships/tags" Target="../tags/tag506.xml"/><Relationship Id="rId44" Type="http://schemas.openxmlformats.org/officeDocument/2006/relationships/tags" Target="../tags/tag507.xml"/><Relationship Id="rId45" Type="http://schemas.openxmlformats.org/officeDocument/2006/relationships/tags" Target="../tags/tag508.xml"/><Relationship Id="rId46" Type="http://schemas.openxmlformats.org/officeDocument/2006/relationships/tags" Target="../tags/tag509.xml"/><Relationship Id="rId47" Type="http://schemas.openxmlformats.org/officeDocument/2006/relationships/tags" Target="../tags/tag510.xml"/><Relationship Id="rId48" Type="http://schemas.openxmlformats.org/officeDocument/2006/relationships/tags" Target="../tags/tag511.xml"/><Relationship Id="rId49" Type="http://schemas.openxmlformats.org/officeDocument/2006/relationships/tags" Target="../tags/tag512.xml"/><Relationship Id="rId50" Type="http://schemas.openxmlformats.org/officeDocument/2006/relationships/tags" Target="../tags/tag513.xml"/><Relationship Id="rId51" Type="http://schemas.openxmlformats.org/officeDocument/2006/relationships/tags" Target="../tags/tag514.xml"/><Relationship Id="rId52" Type="http://schemas.openxmlformats.org/officeDocument/2006/relationships/tags" Target="../tags/tag515.xml"/><Relationship Id="rId53" Type="http://schemas.openxmlformats.org/officeDocument/2006/relationships/tags" Target="../tags/tag516.xml"/><Relationship Id="rId54" Type="http://schemas.openxmlformats.org/officeDocument/2006/relationships/tags" Target="../tags/tag517.xml"/><Relationship Id="rId55" Type="http://schemas.openxmlformats.org/officeDocument/2006/relationships/tags" Target="../tags/tag518.xml"/><Relationship Id="rId56" Type="http://schemas.openxmlformats.org/officeDocument/2006/relationships/tags" Target="../tags/tag519.xml"/><Relationship Id="rId57" Type="http://schemas.openxmlformats.org/officeDocument/2006/relationships/tags" Target="../tags/tag520.xml"/><Relationship Id="rId58" Type="http://schemas.openxmlformats.org/officeDocument/2006/relationships/tags" Target="../tags/tag521.xml"/><Relationship Id="rId59" Type="http://schemas.openxmlformats.org/officeDocument/2006/relationships/tags" Target="../tags/tag522.xml"/><Relationship Id="rId60" Type="http://schemas.openxmlformats.org/officeDocument/2006/relationships/tags" Target="../tags/tag523.xml"/><Relationship Id="rId61" Type="http://schemas.openxmlformats.org/officeDocument/2006/relationships/slideLayout" Target="../slideLayouts/slideLayout138.xml"/><Relationship Id="rId62" Type="http://schemas.openxmlformats.org/officeDocument/2006/relationships/notesSlide" Target="../notesSlides/notesSlide9.xml"/><Relationship Id="rId63" Type="http://schemas.microsoft.com/office/2018/10/relationships/comments" Target="../comments/modernComment_7FFFFF46_65528789.xml"/><Relationship Id="rId64" Type="http://schemas.openxmlformats.org/officeDocument/2006/relationships/oleObject" Target="../embeddings/oleObject56.bin"/><Relationship Id="rId65" Type="http://schemas.openxmlformats.org/officeDocument/2006/relationships/image" Target="../media/image64.emf"/><Relationship Id="rId66" Type="http://schemas.openxmlformats.org/officeDocument/2006/relationships/chart" Target="../charts/chart8.xml"/><Relationship Id="rId67" Type="http://schemas.openxmlformats.org/officeDocument/2006/relationships/chart" Target="../charts/chart9.xml"/><Relationship Id="rId68" Type="http://schemas.openxmlformats.org/officeDocument/2006/relationships/chart" Target="../charts/chart10.xml"/><Relationship Id="rId69" Type="http://schemas.openxmlformats.org/officeDocument/2006/relationships/chart" Target="../charts/chart11.xml"/><Relationship Id="rId70" Type="http://schemas.openxmlformats.org/officeDocument/2006/relationships/image" Target="../media/image153.jpeg"/></Relationships>
</file>

<file path=ppt/slides/_rels/slide15.xml.rels><?xml version='1.0' encoding='UTF-8' standalone='yes'?>
<Relationships xmlns="http://schemas.openxmlformats.org/package/2006/relationships"><Relationship Id="rId1" Type="http://schemas.openxmlformats.org/officeDocument/2006/relationships/tags" Target="../tags/tag524.xml"/><Relationship Id="rId2" Type="http://schemas.openxmlformats.org/officeDocument/2006/relationships/tags" Target="../tags/tag525.xml"/><Relationship Id="rId3" Type="http://schemas.openxmlformats.org/officeDocument/2006/relationships/tags" Target="../tags/tag526.xml"/><Relationship Id="rId4" Type="http://schemas.openxmlformats.org/officeDocument/2006/relationships/tags" Target="../tags/tag527.xml"/><Relationship Id="rId5" Type="http://schemas.openxmlformats.org/officeDocument/2006/relationships/tags" Target="../tags/tag528.xml"/><Relationship Id="rId6" Type="http://schemas.openxmlformats.org/officeDocument/2006/relationships/tags" Target="../tags/tag529.xml"/><Relationship Id="rId7" Type="http://schemas.openxmlformats.org/officeDocument/2006/relationships/tags" Target="../tags/tag530.xml"/><Relationship Id="rId8" Type="http://schemas.openxmlformats.org/officeDocument/2006/relationships/tags" Target="../tags/tag531.xml"/><Relationship Id="rId9" Type="http://schemas.openxmlformats.org/officeDocument/2006/relationships/tags" Target="../tags/tag532.xml"/><Relationship Id="rId10" Type="http://schemas.openxmlformats.org/officeDocument/2006/relationships/tags" Target="../tags/tag533.xml"/><Relationship Id="rId11" Type="http://schemas.openxmlformats.org/officeDocument/2006/relationships/tags" Target="../tags/tag534.xml"/><Relationship Id="rId12" Type="http://schemas.openxmlformats.org/officeDocument/2006/relationships/tags" Target="../tags/tag535.xml"/><Relationship Id="rId13" Type="http://schemas.openxmlformats.org/officeDocument/2006/relationships/tags" Target="../tags/tag536.xml"/><Relationship Id="rId14" Type="http://schemas.openxmlformats.org/officeDocument/2006/relationships/tags" Target="../tags/tag537.xml"/><Relationship Id="rId15" Type="http://schemas.openxmlformats.org/officeDocument/2006/relationships/tags" Target="../tags/tag538.xml"/><Relationship Id="rId16" Type="http://schemas.openxmlformats.org/officeDocument/2006/relationships/tags" Target="../tags/tag539.xml"/><Relationship Id="rId17" Type="http://schemas.openxmlformats.org/officeDocument/2006/relationships/tags" Target="../tags/tag540.xml"/><Relationship Id="rId18" Type="http://schemas.openxmlformats.org/officeDocument/2006/relationships/tags" Target="../tags/tag541.xml"/><Relationship Id="rId19" Type="http://schemas.openxmlformats.org/officeDocument/2006/relationships/tags" Target="../tags/tag542.xml"/><Relationship Id="rId20" Type="http://schemas.openxmlformats.org/officeDocument/2006/relationships/tags" Target="../tags/tag543.xml"/><Relationship Id="rId21" Type="http://schemas.openxmlformats.org/officeDocument/2006/relationships/tags" Target="../tags/tag544.xml"/><Relationship Id="rId22" Type="http://schemas.openxmlformats.org/officeDocument/2006/relationships/tags" Target="../tags/tag545.xml"/><Relationship Id="rId23" Type="http://schemas.openxmlformats.org/officeDocument/2006/relationships/tags" Target="../tags/tag546.xml"/><Relationship Id="rId24" Type="http://schemas.openxmlformats.org/officeDocument/2006/relationships/tags" Target="../tags/tag547.xml"/><Relationship Id="rId25" Type="http://schemas.openxmlformats.org/officeDocument/2006/relationships/tags" Target="../tags/tag548.xml"/><Relationship Id="rId26" Type="http://schemas.openxmlformats.org/officeDocument/2006/relationships/tags" Target="../tags/tag549.xml"/><Relationship Id="rId27" Type="http://schemas.openxmlformats.org/officeDocument/2006/relationships/tags" Target="../tags/tag550.xml"/><Relationship Id="rId28" Type="http://schemas.openxmlformats.org/officeDocument/2006/relationships/tags" Target="../tags/tag551.xml"/><Relationship Id="rId29" Type="http://schemas.openxmlformats.org/officeDocument/2006/relationships/tags" Target="../tags/tag552.xml"/><Relationship Id="rId30" Type="http://schemas.openxmlformats.org/officeDocument/2006/relationships/tags" Target="../tags/tag553.xml"/><Relationship Id="rId31" Type="http://schemas.openxmlformats.org/officeDocument/2006/relationships/tags" Target="../tags/tag554.xml"/><Relationship Id="rId32" Type="http://schemas.openxmlformats.org/officeDocument/2006/relationships/tags" Target="../tags/tag555.xml"/><Relationship Id="rId33" Type="http://schemas.openxmlformats.org/officeDocument/2006/relationships/tags" Target="../tags/tag556.xml"/><Relationship Id="rId34" Type="http://schemas.openxmlformats.org/officeDocument/2006/relationships/tags" Target="../tags/tag557.xml"/><Relationship Id="rId35" Type="http://schemas.openxmlformats.org/officeDocument/2006/relationships/tags" Target="../tags/tag558.xml"/><Relationship Id="rId36" Type="http://schemas.openxmlformats.org/officeDocument/2006/relationships/tags" Target="../tags/tag559.xml"/><Relationship Id="rId37" Type="http://schemas.openxmlformats.org/officeDocument/2006/relationships/tags" Target="../tags/tag560.xml"/><Relationship Id="rId38" Type="http://schemas.openxmlformats.org/officeDocument/2006/relationships/tags" Target="../tags/tag561.xml"/><Relationship Id="rId39" Type="http://schemas.openxmlformats.org/officeDocument/2006/relationships/slideLayout" Target="../slideLayouts/slideLayout9.xml"/><Relationship Id="rId40" Type="http://schemas.openxmlformats.org/officeDocument/2006/relationships/image" Target="../media/image173.emf"/><Relationship Id="rId41" Type="http://schemas.openxmlformats.org/officeDocument/2006/relationships/image" Target="../media/image153.jpeg"/></Relationships>
</file>

<file path=ppt/slides/_rels/slide16.xml.rels><?xml version='1.0' encoding='UTF-8' standalone='yes'?>
<Relationships xmlns="http://schemas.openxmlformats.org/package/2006/relationships"><Relationship Id="rId1" Type="http://schemas.openxmlformats.org/officeDocument/2006/relationships/tags" Target="../tags/tag562.xml"/><Relationship Id="rId2" Type="http://schemas.openxmlformats.org/officeDocument/2006/relationships/slideLayout" Target="../slideLayouts/slideLayout21.xml"/><Relationship Id="rId3" Type="http://schemas.openxmlformats.org/officeDocument/2006/relationships/notesSlide" Target="../notesSlides/notesSlide10.xml"/><Relationship Id="rId4" Type="http://schemas.openxmlformats.org/officeDocument/2006/relationships/oleObject" Target="../embeddings/oleObject57.bin"/><Relationship Id="rId5" Type="http://schemas.openxmlformats.org/officeDocument/2006/relationships/image" Target="../media/image64.emf"/><Relationship Id="rId6" Type="http://schemas.openxmlformats.org/officeDocument/2006/relationships/image" Target="../media/image174.jpeg"/></Relationships>
</file>

<file path=ppt/slides/_rels/slide17.xml.rels><?xml version='1.0' encoding='UTF-8' standalone='yes'?>
<Relationships xmlns="http://schemas.openxmlformats.org/package/2006/relationships"><Relationship Id="rId1" Type="http://schemas.openxmlformats.org/officeDocument/2006/relationships/tags" Target="../tags/tag563.xml"/><Relationship Id="rId2" Type="http://schemas.openxmlformats.org/officeDocument/2006/relationships/slideLayout" Target="../slideLayouts/slideLayout163.xml"/><Relationship Id="rId3" Type="http://schemas.openxmlformats.org/officeDocument/2006/relationships/notesSlide" Target="../notesSlides/notesSlide11.xml"/><Relationship Id="rId4" Type="http://schemas.openxmlformats.org/officeDocument/2006/relationships/oleObject" Target="../embeddings/oleObject58.bin"/><Relationship Id="rId5" Type="http://schemas.openxmlformats.org/officeDocument/2006/relationships/image" Target="../media/image64.emf"/><Relationship Id="rId6" Type="http://schemas.openxmlformats.org/officeDocument/2006/relationships/image" Target="../media/image175.jpeg"/><Relationship Id="rId7" Type="http://schemas.openxmlformats.org/officeDocument/2006/relationships/image" Target="../media/image176.png"/><Relationship Id="rId8" Type="http://schemas.openxmlformats.org/officeDocument/2006/relationships/image" Target="../media/image177.png"/><Relationship Id="rId9" Type="http://schemas.openxmlformats.org/officeDocument/2006/relationships/image" Target="../media/image178.png"/><Relationship Id="rId10" Type="http://schemas.openxmlformats.org/officeDocument/2006/relationships/image" Target="../media/image179.png"/><Relationship Id="rId11" Type="http://schemas.openxmlformats.org/officeDocument/2006/relationships/hyperlink" Target="https://isearch.frieslandcampina.com/app/home/view/doc/rabobank-anti-obesity-medications-will-the-food?referrer=sharedLink&amp;contentId=19b39db8-2d76-4f1e-9d68-c0053407a0cf&amp;documentType=report" TargetMode="External"/></Relationships>
</file>

<file path=ppt/slides/_rels/slide18.xml.rels><?xml version='1.0' encoding='UTF-8' standalone='yes'?>
<Relationships xmlns="http://schemas.openxmlformats.org/package/2006/relationships"><Relationship Id="rId1" Type="http://schemas.openxmlformats.org/officeDocument/2006/relationships/tags" Target="../tags/tag564.xml"/><Relationship Id="rId2" Type="http://schemas.openxmlformats.org/officeDocument/2006/relationships/slideLayout" Target="../slideLayouts/slideLayout164.xml"/><Relationship Id="rId3" Type="http://schemas.openxmlformats.org/officeDocument/2006/relationships/notesSlide" Target="../notesSlides/notesSlide12.xml"/><Relationship Id="rId4" Type="http://schemas.microsoft.com/office/2018/10/relationships/comments" Target="../comments/modernComment_7FFFEEBB_C936FDB1.xml"/><Relationship Id="rId5" Type="http://schemas.openxmlformats.org/officeDocument/2006/relationships/oleObject" Target="../embeddings/oleObject59.bin"/><Relationship Id="rId6" Type="http://schemas.openxmlformats.org/officeDocument/2006/relationships/image" Target="../media/image66.emf"/><Relationship Id="rId7" Type="http://schemas.openxmlformats.org/officeDocument/2006/relationships/hyperlink" Target="https://my.clevelandclinic.org/health/treatments/13901-glp-1-agonists" TargetMode="External"/><Relationship Id="rId8" Type="http://schemas.openxmlformats.org/officeDocument/2006/relationships/image" Target="../media/image180.png"/><Relationship Id="rId9" Type="http://schemas.openxmlformats.org/officeDocument/2006/relationships/image" Target="../media/image181.png"/><Relationship Id="rId10" Type="http://schemas.openxmlformats.org/officeDocument/2006/relationships/image" Target="../media/image182.png"/><Relationship Id="rId11" Type="http://schemas.openxmlformats.org/officeDocument/2006/relationships/image" Target="../media/image183.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64.xml"/><Relationship Id="rId2" Type="http://schemas.openxmlformats.org/officeDocument/2006/relationships/image" Target="../media/image184.jpeg"/></Relationships>
</file>

<file path=ppt/slides/_rels/slide2.xml.rels><?xml version='1.0' encoding='UTF-8' standalone='yes'?>
<Relationships xmlns="http://schemas.openxmlformats.org/package/2006/relationships"><Relationship Id="rId1" Type="http://schemas.openxmlformats.org/officeDocument/2006/relationships/tags" Target="../tags/tag345.xml"/><Relationship Id="rId2" Type="http://schemas.openxmlformats.org/officeDocument/2006/relationships/slideLayout" Target="../slideLayouts/slideLayout298.xml"/><Relationship Id="rId3" Type="http://schemas.openxmlformats.org/officeDocument/2006/relationships/notesSlide" Target="../notesSlides/notesSlide1.xml"/><Relationship Id="rId4" Type="http://schemas.openxmlformats.org/officeDocument/2006/relationships/oleObject" Target="../embeddings/oleObject51.bin"/><Relationship Id="rId5" Type="http://schemas.openxmlformats.org/officeDocument/2006/relationships/image" Target="../media/image64.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64.xml"/><Relationship Id="rId2" Type="http://schemas.openxmlformats.org/officeDocument/2006/relationships/image" Target="../media/image185.jpeg"/></Relationships>
</file>

<file path=ppt/slides/_rels/slide21.xml.rels><?xml version='1.0' encoding='UTF-8' standalone='yes'?>
<Relationships xmlns="http://schemas.openxmlformats.org/package/2006/relationships"><Relationship Id="rId1" Type="http://schemas.openxmlformats.org/officeDocument/2006/relationships/tags" Target="../tags/tag565.xml"/><Relationship Id="rId2" Type="http://schemas.openxmlformats.org/officeDocument/2006/relationships/slideLayout" Target="../slideLayouts/slideLayout164.xml"/><Relationship Id="rId3" Type="http://schemas.microsoft.com/office/2018/10/relationships/comments" Target="../comments/modernComment_7FFFFFF3_C8BC88B5.xml"/><Relationship Id="rId4" Type="http://schemas.openxmlformats.org/officeDocument/2006/relationships/oleObject" Target="../embeddings/oleObject52.bin"/><Relationship Id="rId5" Type="http://schemas.openxmlformats.org/officeDocument/2006/relationships/image" Target="../media/image64.emf"/><Relationship Id="rId6" Type="http://schemas.openxmlformats.org/officeDocument/2006/relationships/image" Target="../media/image186.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40.xml"/><Relationship Id="rId2" Type="http://schemas.openxmlformats.org/officeDocument/2006/relationships/notesSlide" Target="../notesSlides/notesSlide13.xml"/><Relationship Id="rId3" Type="http://schemas.openxmlformats.org/officeDocument/2006/relationships/image" Target="../media/image187.jpeg"/><Relationship Id="rId4" Type="http://schemas.openxmlformats.org/officeDocument/2006/relationships/image" Target="../media/image188.jpeg"/><Relationship Id="rId5" Type="http://schemas.openxmlformats.org/officeDocument/2006/relationships/image" Target="../media/image189.jpeg"/><Relationship Id="rId6" Type="http://schemas.openxmlformats.org/officeDocument/2006/relationships/image" Target="../media/image190.jpeg"/><Relationship Id="rId7" Type="http://schemas.openxmlformats.org/officeDocument/2006/relationships/image" Target="../media/image191.png"/><Relationship Id="rId8" Type="http://schemas.openxmlformats.org/officeDocument/2006/relationships/image" Target="../media/image192.svg"/></Relationships>
</file>

<file path=ppt/slides/_rels/slide23.xml.rels><?xml version='1.0' encoding='UTF-8' standalone='yes'?>
<Relationships xmlns="http://schemas.openxmlformats.org/package/2006/relationships"><Relationship Id="rId1" Type="http://schemas.openxmlformats.org/officeDocument/2006/relationships/tags" Target="../tags/tag566.xml"/><Relationship Id="rId2" Type="http://schemas.openxmlformats.org/officeDocument/2006/relationships/slideLayout" Target="../slideLayouts/slideLayout121.xml"/><Relationship Id="rId3" Type="http://schemas.microsoft.com/office/2018/10/relationships/comments" Target="../comments/modernComment_7FFFFFFC_D2783892.xml"/><Relationship Id="rId4" Type="http://schemas.openxmlformats.org/officeDocument/2006/relationships/oleObject" Target="../embeddings/oleObject52.bin"/><Relationship Id="rId5" Type="http://schemas.openxmlformats.org/officeDocument/2006/relationships/image" Target="../media/image64.emf"/><Relationship Id="rId6" Type="http://schemas.openxmlformats.org/officeDocument/2006/relationships/image" Target="../media/image193.png"/><Relationship Id="rId7" Type="http://schemas.openxmlformats.org/officeDocument/2006/relationships/image" Target="../media/image194.jpeg"/><Relationship Id="rId8" Type="http://schemas.openxmlformats.org/officeDocument/2006/relationships/image" Target="../media/image195.jpeg"/><Relationship Id="rId9" Type="http://schemas.openxmlformats.org/officeDocument/2006/relationships/image" Target="../media/image196.png"/><Relationship Id="rId10" Type="http://schemas.openxmlformats.org/officeDocument/2006/relationships/image" Target="../media/image197.png"/><Relationship Id="rId11" Type="http://schemas.openxmlformats.org/officeDocument/2006/relationships/image" Target="../media/image198.png"/><Relationship Id="rId12" Type="http://schemas.openxmlformats.org/officeDocument/2006/relationships/image" Target="../media/image199.png"/><Relationship Id="rId13" Type="http://schemas.openxmlformats.org/officeDocument/2006/relationships/image" Target="../media/image200.png"/></Relationships>
</file>

<file path=ppt/slides/_rels/slide24.xml.rels><?xml version='1.0' encoding='UTF-8' standalone='yes'?>
<Relationships xmlns="http://schemas.openxmlformats.org/package/2006/relationships"><Relationship Id="rId1" Type="http://schemas.openxmlformats.org/officeDocument/2006/relationships/tags" Target="../tags/tag567.xml"/><Relationship Id="rId2" Type="http://schemas.openxmlformats.org/officeDocument/2006/relationships/slideLayout" Target="../slideLayouts/slideLayout120.xml"/><Relationship Id="rId3" Type="http://schemas.openxmlformats.org/officeDocument/2006/relationships/notesSlide" Target="../notesSlides/notesSlide14.xml"/><Relationship Id="rId4" Type="http://schemas.openxmlformats.org/officeDocument/2006/relationships/oleObject" Target="../embeddings/oleObject55.bin"/><Relationship Id="rId5" Type="http://schemas.openxmlformats.org/officeDocument/2006/relationships/image" Target="../media/image66.emf"/><Relationship Id="rId6" Type="http://schemas.openxmlformats.org/officeDocument/2006/relationships/image" Target="../media/image201.jpeg"/><Relationship Id="rId7" Type="http://schemas.openxmlformats.org/officeDocument/2006/relationships/image" Target="../media/image202.png"/><Relationship Id="rId8" Type="http://schemas.openxmlformats.org/officeDocument/2006/relationships/image" Target="../media/image203.png"/><Relationship Id="rId9" Type="http://schemas.openxmlformats.org/officeDocument/2006/relationships/image" Target="../media/image204.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98.xml"/><Relationship Id="rId2" Type="http://schemas.openxmlformats.org/officeDocument/2006/relationships/image" Target="../media/image205.png"/><Relationship Id="rId3" Type="http://schemas.openxmlformats.org/officeDocument/2006/relationships/image" Target="../media/image206.png"/><Relationship Id="rId4" Type="http://schemas.openxmlformats.org/officeDocument/2006/relationships/image" Target="../media/image207.sv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83.xml"/><Relationship Id="rId2" Type="http://schemas.openxmlformats.org/officeDocument/2006/relationships/image" Target="../media/image208.jpeg"/></Relationships>
</file>

<file path=ppt/slides/_rels/slide27.xml.rels><?xml version='1.0' encoding='UTF-8' standalone='yes'?>
<Relationships xmlns="http://schemas.openxmlformats.org/package/2006/relationships"><Relationship Id="rId1" Type="http://schemas.openxmlformats.org/officeDocument/2006/relationships/tags" Target="../tags/tag568.xml"/><Relationship Id="rId2" Type="http://schemas.openxmlformats.org/officeDocument/2006/relationships/slideLayout" Target="../slideLayouts/slideLayout398.xml"/><Relationship Id="rId3" Type="http://schemas.openxmlformats.org/officeDocument/2006/relationships/notesSlide" Target="../notesSlides/notesSlide15.xml"/><Relationship Id="rId4" Type="http://schemas.microsoft.com/office/2018/10/relationships/comments" Target="../comments/modernComment_7FFFE97C_8FCDDA8B.xml"/><Relationship Id="rId5" Type="http://schemas.openxmlformats.org/officeDocument/2006/relationships/oleObject" Target="../embeddings/oleObject52.bin"/><Relationship Id="rId6" Type="http://schemas.openxmlformats.org/officeDocument/2006/relationships/image" Target="../media/image64.emf"/><Relationship Id="rId7" Type="http://schemas.openxmlformats.org/officeDocument/2006/relationships/image" Target="../media/image209.png"/><Relationship Id="rId8" Type="http://schemas.openxmlformats.org/officeDocument/2006/relationships/image" Target="../media/image210.png"/><Relationship Id="rId9" Type="http://schemas.openxmlformats.org/officeDocument/2006/relationships/image" Target="../media/image211.png"/><Relationship Id="rId10" Type="http://schemas.openxmlformats.org/officeDocument/2006/relationships/image" Target="../media/image212.png"/><Relationship Id="rId11" Type="http://schemas.openxmlformats.org/officeDocument/2006/relationships/image" Target="../media/image213.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98.xml"/><Relationship Id="rId2" Type="http://schemas.openxmlformats.org/officeDocument/2006/relationships/notesSlide" Target="../notesSlides/notesSlide16.xml"/><Relationship Id="rId3" Type="http://schemas.openxmlformats.org/officeDocument/2006/relationships/image" Target="../media/image214.png"/><Relationship Id="rId4" Type="http://schemas.openxmlformats.org/officeDocument/2006/relationships/image" Target="../media/image215.jpeg"/><Relationship Id="rId5" Type="http://schemas.openxmlformats.org/officeDocument/2006/relationships/image" Target="../media/image216.jpeg"/><Relationship Id="rId6" Type="http://schemas.openxmlformats.org/officeDocument/2006/relationships/image" Target="../media/image217.jpeg"/><Relationship Id="rId7" Type="http://schemas.openxmlformats.org/officeDocument/2006/relationships/image" Target="../media/image218.jpeg"/><Relationship Id="rId8" Type="http://schemas.openxmlformats.org/officeDocument/2006/relationships/image" Target="../media/image219.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98.xml"/><Relationship Id="rId2" Type="http://schemas.openxmlformats.org/officeDocument/2006/relationships/image" Target="../media/image220.jpeg"/><Relationship Id="rId3" Type="http://schemas.openxmlformats.org/officeDocument/2006/relationships/image" Target="../media/image221.jpeg"/><Relationship Id="rId4" Type="http://schemas.openxmlformats.org/officeDocument/2006/relationships/image" Target="../media/image222.jpeg"/><Relationship Id="rId5" Type="http://schemas.openxmlformats.org/officeDocument/2006/relationships/image" Target="../media/image223.jpeg"/></Relationships>
</file>

<file path=ppt/slides/_rels/slide3.xml.rels><?xml version='1.0' encoding='UTF-8' standalone='yes'?>
<Relationships xmlns="http://schemas.openxmlformats.org/package/2006/relationships"><Relationship Id="rId1" Type="http://schemas.openxmlformats.org/officeDocument/2006/relationships/tags" Target="../tags/tag346.xml"/><Relationship Id="rId2" Type="http://schemas.openxmlformats.org/officeDocument/2006/relationships/slideLayout" Target="../slideLayouts/slideLayout317.xml"/><Relationship Id="rId3" Type="http://schemas.openxmlformats.org/officeDocument/2006/relationships/notesSlide" Target="../notesSlides/notesSlide2.xml"/><Relationship Id="rId4" Type="http://schemas.openxmlformats.org/officeDocument/2006/relationships/oleObject" Target="../embeddings/oleObject52.bin"/><Relationship Id="rId5" Type="http://schemas.openxmlformats.org/officeDocument/2006/relationships/image" Target="../media/image64.emf"/><Relationship Id="rId6" Type="http://schemas.openxmlformats.org/officeDocument/2006/relationships/image" Target="../media/image146.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03.xml"/><Relationship Id="rId2" Type="http://schemas.openxmlformats.org/officeDocument/2006/relationships/notesSlide" Target="../notesSlides/notesSlide17.xml"/><Relationship Id="rId3" Type="http://schemas.openxmlformats.org/officeDocument/2006/relationships/image" Target="../media/image224.jpeg"/><Relationship Id="rId4" Type="http://schemas.openxmlformats.org/officeDocument/2006/relationships/image" Target="../media/image225.png"/><Relationship Id="rId5" Type="http://schemas.openxmlformats.org/officeDocument/2006/relationships/image" Target="../media/image226.png"/><Relationship Id="rId6" Type="http://schemas.openxmlformats.org/officeDocument/2006/relationships/image" Target="../media/image227.png"/><Relationship Id="rId7" Type="http://schemas.openxmlformats.org/officeDocument/2006/relationships/image" Target="../media/image228.png"/><Relationship Id="rId8" Type="http://schemas.openxmlformats.org/officeDocument/2006/relationships/image" Target="../media/image229.png"/></Relationships>
</file>

<file path=ppt/slides/_rels/slide31.xml.rels><?xml version='1.0' encoding='UTF-8' standalone='yes'?>
<Relationships xmlns="http://schemas.openxmlformats.org/package/2006/relationships"><Relationship Id="rId1" Type="http://schemas.openxmlformats.org/officeDocument/2006/relationships/tags" Target="../tags/tag569.xml"/><Relationship Id="rId2" Type="http://schemas.openxmlformats.org/officeDocument/2006/relationships/slideLayout" Target="../slideLayouts/slideLayout234.xml"/><Relationship Id="rId3" Type="http://schemas.openxmlformats.org/officeDocument/2006/relationships/notesSlide" Target="../notesSlides/notesSlide18.xml"/><Relationship Id="rId4" Type="http://schemas.openxmlformats.org/officeDocument/2006/relationships/oleObject" Target="../embeddings/oleObject60.bin"/><Relationship Id="rId5" Type="http://schemas.openxmlformats.org/officeDocument/2006/relationships/image" Target="../media/image66.emf"/><Relationship Id="rId6" Type="http://schemas.openxmlformats.org/officeDocument/2006/relationships/image" Target="../media/image230.png"/><Relationship Id="rId7" Type="http://schemas.openxmlformats.org/officeDocument/2006/relationships/image" Target="../media/image231.png"/><Relationship Id="rId8" Type="http://schemas.openxmlformats.org/officeDocument/2006/relationships/image" Target="../media/image232.png"/><Relationship Id="rId9" Type="http://schemas.openxmlformats.org/officeDocument/2006/relationships/image" Target="../media/image233.png"/><Relationship Id="rId10" Type="http://schemas.openxmlformats.org/officeDocument/2006/relationships/image" Target="../media/image234.png"/><Relationship Id="rId11" Type="http://schemas.openxmlformats.org/officeDocument/2006/relationships/image" Target="../media/image235.svg"/><Relationship Id="rId12" Type="http://schemas.openxmlformats.org/officeDocument/2006/relationships/image" Target="../media/image236.png"/><Relationship Id="rId13" Type="http://schemas.openxmlformats.org/officeDocument/2006/relationships/image" Target="../media/image237.svg"/><Relationship Id="rId14" Type="http://schemas.openxmlformats.org/officeDocument/2006/relationships/image" Target="../media/image238.png"/><Relationship Id="rId15" Type="http://schemas.openxmlformats.org/officeDocument/2006/relationships/image" Target="../media/image239.svg"/><Relationship Id="rId16" Type="http://schemas.openxmlformats.org/officeDocument/2006/relationships/image" Target="../media/image240.png"/><Relationship Id="rId17" Type="http://schemas.openxmlformats.org/officeDocument/2006/relationships/image" Target="../media/image241.svg"/><Relationship Id="rId18" Type="http://schemas.openxmlformats.org/officeDocument/2006/relationships/image" Target="../media/image242.png"/><Relationship Id="rId19" Type="http://schemas.microsoft.com/office/2007/relationships/hdphoto" Target="../media/hdphoto2.wdp"/><Relationship Id="rId20" Type="http://schemas.openxmlformats.org/officeDocument/2006/relationships/image" Target="../media/image243.png"/><Relationship Id="rId21" Type="http://schemas.openxmlformats.org/officeDocument/2006/relationships/image" Target="../media/image244.sv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31.xml"/><Relationship Id="rId2" Type="http://schemas.openxmlformats.org/officeDocument/2006/relationships/image" Target="../media/image245.jpeg"/></Relationships>
</file>

<file path=ppt/slides/_rels/slide4.xml.rels><?xml version='1.0' encoding='UTF-8' standalone='yes'?>
<Relationships xmlns="http://schemas.openxmlformats.org/package/2006/relationships"><Relationship Id="rId1" Type="http://schemas.openxmlformats.org/officeDocument/2006/relationships/tags" Target="../tags/tag347.xml"/><Relationship Id="rId2" Type="http://schemas.openxmlformats.org/officeDocument/2006/relationships/tags" Target="../tags/tag348.xml"/><Relationship Id="rId3" Type="http://schemas.openxmlformats.org/officeDocument/2006/relationships/tags" Target="../tags/tag349.xml"/><Relationship Id="rId4" Type="http://schemas.openxmlformats.org/officeDocument/2006/relationships/tags" Target="../tags/tag350.xml"/><Relationship Id="rId5" Type="http://schemas.openxmlformats.org/officeDocument/2006/relationships/tags" Target="../tags/tag351.xml"/><Relationship Id="rId6" Type="http://schemas.openxmlformats.org/officeDocument/2006/relationships/tags" Target="../tags/tag352.xml"/><Relationship Id="rId7" Type="http://schemas.openxmlformats.org/officeDocument/2006/relationships/tags" Target="../tags/tag353.xml"/><Relationship Id="rId8" Type="http://schemas.openxmlformats.org/officeDocument/2006/relationships/tags" Target="../tags/tag354.xml"/><Relationship Id="rId9" Type="http://schemas.openxmlformats.org/officeDocument/2006/relationships/tags" Target="../tags/tag355.xml"/><Relationship Id="rId10" Type="http://schemas.openxmlformats.org/officeDocument/2006/relationships/tags" Target="../tags/tag356.xml"/><Relationship Id="rId11" Type="http://schemas.openxmlformats.org/officeDocument/2006/relationships/tags" Target="../tags/tag357.xml"/><Relationship Id="rId12" Type="http://schemas.openxmlformats.org/officeDocument/2006/relationships/tags" Target="../tags/tag358.xml"/><Relationship Id="rId13" Type="http://schemas.openxmlformats.org/officeDocument/2006/relationships/tags" Target="../tags/tag359.xml"/><Relationship Id="rId14" Type="http://schemas.openxmlformats.org/officeDocument/2006/relationships/tags" Target="../tags/tag360.xml"/><Relationship Id="rId15" Type="http://schemas.openxmlformats.org/officeDocument/2006/relationships/tags" Target="../tags/tag361.xml"/><Relationship Id="rId16" Type="http://schemas.openxmlformats.org/officeDocument/2006/relationships/tags" Target="../tags/tag362.xml"/><Relationship Id="rId17" Type="http://schemas.openxmlformats.org/officeDocument/2006/relationships/tags" Target="../tags/tag363.xml"/><Relationship Id="rId18" Type="http://schemas.openxmlformats.org/officeDocument/2006/relationships/tags" Target="../tags/tag364.xml"/><Relationship Id="rId19" Type="http://schemas.openxmlformats.org/officeDocument/2006/relationships/tags" Target="../tags/tag365.xml"/><Relationship Id="rId20" Type="http://schemas.openxmlformats.org/officeDocument/2006/relationships/tags" Target="../tags/tag366.xml"/><Relationship Id="rId21" Type="http://schemas.openxmlformats.org/officeDocument/2006/relationships/tags" Target="../tags/tag367.xml"/><Relationship Id="rId22" Type="http://schemas.openxmlformats.org/officeDocument/2006/relationships/tags" Target="../tags/tag368.xml"/><Relationship Id="rId23" Type="http://schemas.openxmlformats.org/officeDocument/2006/relationships/tags" Target="../tags/tag369.xml"/><Relationship Id="rId24" Type="http://schemas.openxmlformats.org/officeDocument/2006/relationships/tags" Target="../tags/tag370.xml"/><Relationship Id="rId25" Type="http://schemas.openxmlformats.org/officeDocument/2006/relationships/tags" Target="../tags/tag371.xml"/><Relationship Id="rId26" Type="http://schemas.openxmlformats.org/officeDocument/2006/relationships/tags" Target="../tags/tag372.xml"/><Relationship Id="rId27" Type="http://schemas.openxmlformats.org/officeDocument/2006/relationships/tags" Target="../tags/tag373.xml"/><Relationship Id="rId28" Type="http://schemas.openxmlformats.org/officeDocument/2006/relationships/tags" Target="../tags/tag374.xml"/><Relationship Id="rId29" Type="http://schemas.openxmlformats.org/officeDocument/2006/relationships/tags" Target="../tags/tag375.xml"/><Relationship Id="rId30" Type="http://schemas.openxmlformats.org/officeDocument/2006/relationships/tags" Target="../tags/tag376.xml"/><Relationship Id="rId31" Type="http://schemas.openxmlformats.org/officeDocument/2006/relationships/tags" Target="../tags/tag377.xml"/><Relationship Id="rId32" Type="http://schemas.openxmlformats.org/officeDocument/2006/relationships/tags" Target="../tags/tag378.xml"/><Relationship Id="rId33" Type="http://schemas.openxmlformats.org/officeDocument/2006/relationships/tags" Target="../tags/tag379.xml"/><Relationship Id="rId34" Type="http://schemas.openxmlformats.org/officeDocument/2006/relationships/tags" Target="../tags/tag380.xml"/><Relationship Id="rId35" Type="http://schemas.openxmlformats.org/officeDocument/2006/relationships/tags" Target="../tags/tag381.xml"/><Relationship Id="rId36" Type="http://schemas.openxmlformats.org/officeDocument/2006/relationships/tags" Target="../tags/tag382.xml"/><Relationship Id="rId37" Type="http://schemas.openxmlformats.org/officeDocument/2006/relationships/tags" Target="../tags/tag383.xml"/><Relationship Id="rId38" Type="http://schemas.openxmlformats.org/officeDocument/2006/relationships/tags" Target="../tags/tag384.xml"/><Relationship Id="rId39" Type="http://schemas.openxmlformats.org/officeDocument/2006/relationships/slideLayout" Target="../slideLayouts/slideLayout133.xml"/><Relationship Id="rId40" Type="http://schemas.openxmlformats.org/officeDocument/2006/relationships/notesSlide" Target="../notesSlides/notesSlide3.xml"/><Relationship Id="rId41" Type="http://schemas.openxmlformats.org/officeDocument/2006/relationships/oleObject" Target="../embeddings/oleObject53.bin"/><Relationship Id="rId42" Type="http://schemas.openxmlformats.org/officeDocument/2006/relationships/image" Target="../media/image12.emf"/><Relationship Id="rId43" Type="http://schemas.openxmlformats.org/officeDocument/2006/relationships/chart" Target="../charts/chart1.xml"/></Relationships>
</file>

<file path=ppt/slides/_rels/slide5.xml.rels><?xml version='1.0' encoding='UTF-8' standalone='yes'?>
<Relationships xmlns="http://schemas.openxmlformats.org/package/2006/relationships"><Relationship Id="rId1" Type="http://schemas.openxmlformats.org/officeDocument/2006/relationships/tags" Target="../tags/tag385.xml"/><Relationship Id="rId2" Type="http://schemas.openxmlformats.org/officeDocument/2006/relationships/tags" Target="../tags/tag386.xml"/><Relationship Id="rId3" Type="http://schemas.openxmlformats.org/officeDocument/2006/relationships/tags" Target="../tags/tag387.xml"/><Relationship Id="rId4" Type="http://schemas.openxmlformats.org/officeDocument/2006/relationships/tags" Target="../tags/tag388.xml"/><Relationship Id="rId5" Type="http://schemas.openxmlformats.org/officeDocument/2006/relationships/tags" Target="../tags/tag389.xml"/><Relationship Id="rId6" Type="http://schemas.openxmlformats.org/officeDocument/2006/relationships/tags" Target="../tags/tag390.xml"/><Relationship Id="rId7" Type="http://schemas.openxmlformats.org/officeDocument/2006/relationships/tags" Target="../tags/tag391.xml"/><Relationship Id="rId8" Type="http://schemas.openxmlformats.org/officeDocument/2006/relationships/tags" Target="../tags/tag392.xml"/><Relationship Id="rId9" Type="http://schemas.openxmlformats.org/officeDocument/2006/relationships/tags" Target="../tags/tag393.xml"/><Relationship Id="rId10" Type="http://schemas.openxmlformats.org/officeDocument/2006/relationships/tags" Target="../tags/tag394.xml"/><Relationship Id="rId11" Type="http://schemas.openxmlformats.org/officeDocument/2006/relationships/tags" Target="../tags/tag395.xml"/><Relationship Id="rId12" Type="http://schemas.openxmlformats.org/officeDocument/2006/relationships/tags" Target="../tags/tag396.xml"/><Relationship Id="rId13" Type="http://schemas.openxmlformats.org/officeDocument/2006/relationships/tags" Target="../tags/tag397.xml"/><Relationship Id="rId14" Type="http://schemas.openxmlformats.org/officeDocument/2006/relationships/tags" Target="../tags/tag398.xml"/><Relationship Id="rId15" Type="http://schemas.openxmlformats.org/officeDocument/2006/relationships/tags" Target="../tags/tag399.xml"/><Relationship Id="rId16" Type="http://schemas.openxmlformats.org/officeDocument/2006/relationships/tags" Target="../tags/tag400.xml"/><Relationship Id="rId17" Type="http://schemas.openxmlformats.org/officeDocument/2006/relationships/tags" Target="../tags/tag401.xml"/><Relationship Id="rId18" Type="http://schemas.openxmlformats.org/officeDocument/2006/relationships/tags" Target="../tags/tag402.xml"/><Relationship Id="rId19" Type="http://schemas.openxmlformats.org/officeDocument/2006/relationships/tags" Target="../tags/tag403.xml"/><Relationship Id="rId20" Type="http://schemas.openxmlformats.org/officeDocument/2006/relationships/tags" Target="../tags/tag404.xml"/><Relationship Id="rId21" Type="http://schemas.openxmlformats.org/officeDocument/2006/relationships/tags" Target="../tags/tag405.xml"/><Relationship Id="rId22" Type="http://schemas.openxmlformats.org/officeDocument/2006/relationships/tags" Target="../tags/tag406.xml"/><Relationship Id="rId23" Type="http://schemas.openxmlformats.org/officeDocument/2006/relationships/tags" Target="../tags/tag407.xml"/><Relationship Id="rId24" Type="http://schemas.openxmlformats.org/officeDocument/2006/relationships/tags" Target="../tags/tag408.xml"/><Relationship Id="rId25" Type="http://schemas.openxmlformats.org/officeDocument/2006/relationships/tags" Target="../tags/tag409.xml"/><Relationship Id="rId26" Type="http://schemas.openxmlformats.org/officeDocument/2006/relationships/tags" Target="../tags/tag410.xml"/><Relationship Id="rId27" Type="http://schemas.openxmlformats.org/officeDocument/2006/relationships/tags" Target="../tags/tag411.xml"/><Relationship Id="rId28" Type="http://schemas.openxmlformats.org/officeDocument/2006/relationships/tags" Target="../tags/tag412.xml"/><Relationship Id="rId29" Type="http://schemas.openxmlformats.org/officeDocument/2006/relationships/tags" Target="../tags/tag413.xml"/><Relationship Id="rId30" Type="http://schemas.openxmlformats.org/officeDocument/2006/relationships/tags" Target="../tags/tag414.xml"/><Relationship Id="rId31" Type="http://schemas.openxmlformats.org/officeDocument/2006/relationships/tags" Target="../tags/tag415.xml"/><Relationship Id="rId32" Type="http://schemas.openxmlformats.org/officeDocument/2006/relationships/tags" Target="../tags/tag416.xml"/><Relationship Id="rId33" Type="http://schemas.openxmlformats.org/officeDocument/2006/relationships/tags" Target="../tags/tag417.xml"/><Relationship Id="rId34" Type="http://schemas.openxmlformats.org/officeDocument/2006/relationships/tags" Target="../tags/tag418.xml"/><Relationship Id="rId35" Type="http://schemas.openxmlformats.org/officeDocument/2006/relationships/tags" Target="../tags/tag419.xml"/><Relationship Id="rId36" Type="http://schemas.openxmlformats.org/officeDocument/2006/relationships/tags" Target="../tags/tag420.xml"/><Relationship Id="rId37" Type="http://schemas.openxmlformats.org/officeDocument/2006/relationships/tags" Target="../tags/tag421.xml"/><Relationship Id="rId38" Type="http://schemas.openxmlformats.org/officeDocument/2006/relationships/tags" Target="../tags/tag422.xml"/><Relationship Id="rId39" Type="http://schemas.openxmlformats.org/officeDocument/2006/relationships/tags" Target="../tags/tag423.xml"/><Relationship Id="rId40" Type="http://schemas.openxmlformats.org/officeDocument/2006/relationships/tags" Target="../tags/tag424.xml"/><Relationship Id="rId41" Type="http://schemas.openxmlformats.org/officeDocument/2006/relationships/tags" Target="../tags/tag425.xml"/><Relationship Id="rId42" Type="http://schemas.openxmlformats.org/officeDocument/2006/relationships/tags" Target="../tags/tag426.xml"/><Relationship Id="rId43" Type="http://schemas.openxmlformats.org/officeDocument/2006/relationships/tags" Target="../tags/tag427.xml"/><Relationship Id="rId44" Type="http://schemas.openxmlformats.org/officeDocument/2006/relationships/tags" Target="../tags/tag428.xml"/><Relationship Id="rId45" Type="http://schemas.openxmlformats.org/officeDocument/2006/relationships/tags" Target="../tags/tag429.xml"/><Relationship Id="rId46" Type="http://schemas.openxmlformats.org/officeDocument/2006/relationships/tags" Target="../tags/tag430.xml"/><Relationship Id="rId47" Type="http://schemas.openxmlformats.org/officeDocument/2006/relationships/tags" Target="../tags/tag431.xml"/><Relationship Id="rId48" Type="http://schemas.openxmlformats.org/officeDocument/2006/relationships/tags" Target="../tags/tag432.xml"/><Relationship Id="rId49" Type="http://schemas.openxmlformats.org/officeDocument/2006/relationships/tags" Target="../tags/tag433.xml"/><Relationship Id="rId50" Type="http://schemas.openxmlformats.org/officeDocument/2006/relationships/tags" Target="../tags/tag434.xml"/><Relationship Id="rId51" Type="http://schemas.openxmlformats.org/officeDocument/2006/relationships/tags" Target="../tags/tag435.xml"/><Relationship Id="rId52" Type="http://schemas.openxmlformats.org/officeDocument/2006/relationships/tags" Target="../tags/tag436.xml"/><Relationship Id="rId53" Type="http://schemas.openxmlformats.org/officeDocument/2006/relationships/tags" Target="../tags/tag437.xml"/><Relationship Id="rId54" Type="http://schemas.openxmlformats.org/officeDocument/2006/relationships/tags" Target="../tags/tag438.xml"/><Relationship Id="rId55" Type="http://schemas.openxmlformats.org/officeDocument/2006/relationships/tags" Target="../tags/tag439.xml"/><Relationship Id="rId56" Type="http://schemas.openxmlformats.org/officeDocument/2006/relationships/tags" Target="../tags/tag440.xml"/><Relationship Id="rId57" Type="http://schemas.openxmlformats.org/officeDocument/2006/relationships/tags" Target="../tags/tag441.xml"/><Relationship Id="rId58" Type="http://schemas.openxmlformats.org/officeDocument/2006/relationships/tags" Target="../tags/tag442.xml"/><Relationship Id="rId59" Type="http://schemas.openxmlformats.org/officeDocument/2006/relationships/tags" Target="../tags/tag443.xml"/><Relationship Id="rId60" Type="http://schemas.openxmlformats.org/officeDocument/2006/relationships/tags" Target="../tags/tag444.xml"/><Relationship Id="rId61" Type="http://schemas.openxmlformats.org/officeDocument/2006/relationships/tags" Target="../tags/tag445.xml"/><Relationship Id="rId62" Type="http://schemas.openxmlformats.org/officeDocument/2006/relationships/tags" Target="../tags/tag446.xml"/><Relationship Id="rId63" Type="http://schemas.openxmlformats.org/officeDocument/2006/relationships/slideLayout" Target="../slideLayouts/slideLayout133.xml"/><Relationship Id="rId64" Type="http://schemas.openxmlformats.org/officeDocument/2006/relationships/notesSlide" Target="../notesSlides/notesSlide4.xml"/><Relationship Id="rId65" Type="http://schemas.microsoft.com/office/2018/10/relationships/comments" Target="../comments/modernComment_7FFFFF45_4547B095.xml"/><Relationship Id="rId66" Type="http://schemas.openxmlformats.org/officeDocument/2006/relationships/oleObject" Target="../embeddings/oleObject54.bin"/><Relationship Id="rId67" Type="http://schemas.openxmlformats.org/officeDocument/2006/relationships/image" Target="../media/image12.emf"/><Relationship Id="rId68" Type="http://schemas.openxmlformats.org/officeDocument/2006/relationships/chart" Target="../charts/chart2.xml"/></Relationships>
</file>

<file path=ppt/slides/_rels/slide6.xml.rels><?xml version='1.0' encoding='UTF-8' standalone='yes'?>
<Relationships xmlns="http://schemas.openxmlformats.org/package/2006/relationships"><Relationship Id="rId1" Type="http://schemas.openxmlformats.org/officeDocument/2006/relationships/tags" Target="../tags/tag447.xml"/><Relationship Id="rId2" Type="http://schemas.openxmlformats.org/officeDocument/2006/relationships/slideLayout" Target="../slideLayouts/slideLayout21.xml"/><Relationship Id="rId3" Type="http://schemas.openxmlformats.org/officeDocument/2006/relationships/oleObject" Target="../embeddings/oleObject52.bin"/><Relationship Id="rId4" Type="http://schemas.openxmlformats.org/officeDocument/2006/relationships/image" Target="../media/image64.emf"/><Relationship Id="rId5" Type="http://schemas.openxmlformats.org/officeDocument/2006/relationships/image" Target="../media/image147.jpeg"/><Relationship Id="rId6" Type="http://schemas.openxmlformats.org/officeDocument/2006/relationships/image" Target="../media/image148.png"/><Relationship Id="rId7" Type="http://schemas.openxmlformats.org/officeDocument/2006/relationships/image" Target="../media/image149.jpeg"/></Relationships>
</file>

<file path=ppt/slides/_rels/slide7.xml.rels><?xml version='1.0' encoding='UTF-8' standalone='yes'?>
<Relationships xmlns="http://schemas.openxmlformats.org/package/2006/relationships"><Relationship Id="rId1" Type="http://schemas.openxmlformats.org/officeDocument/2006/relationships/tags" Target="../tags/tag448.xml"/><Relationship Id="rId2" Type="http://schemas.openxmlformats.org/officeDocument/2006/relationships/tags" Target="../tags/tag449.xml"/><Relationship Id="rId3" Type="http://schemas.openxmlformats.org/officeDocument/2006/relationships/tags" Target="../tags/tag450.xml"/><Relationship Id="rId4" Type="http://schemas.openxmlformats.org/officeDocument/2006/relationships/tags" Target="../tags/tag451.xml"/><Relationship Id="rId5" Type="http://schemas.openxmlformats.org/officeDocument/2006/relationships/tags" Target="../tags/tag452.xml"/><Relationship Id="rId6" Type="http://schemas.openxmlformats.org/officeDocument/2006/relationships/tags" Target="../tags/tag453.xml"/><Relationship Id="rId7" Type="http://schemas.openxmlformats.org/officeDocument/2006/relationships/tags" Target="../tags/tag454.xml"/><Relationship Id="rId8" Type="http://schemas.openxmlformats.org/officeDocument/2006/relationships/tags" Target="../tags/tag455.xml"/><Relationship Id="rId9" Type="http://schemas.openxmlformats.org/officeDocument/2006/relationships/tags" Target="../tags/tag456.xml"/><Relationship Id="rId10" Type="http://schemas.openxmlformats.org/officeDocument/2006/relationships/slideLayout" Target="../slideLayouts/slideLayout74.xml"/><Relationship Id="rId11" Type="http://schemas.openxmlformats.org/officeDocument/2006/relationships/oleObject" Target="../embeddings/oleObject52.bin"/><Relationship Id="rId12" Type="http://schemas.openxmlformats.org/officeDocument/2006/relationships/image" Target="../media/image64.emf"/><Relationship Id="rId13" Type="http://schemas.openxmlformats.org/officeDocument/2006/relationships/image" Target="../media/image150.jpeg"/><Relationship Id="rId14" Type="http://schemas.openxmlformats.org/officeDocument/2006/relationships/chart" Target="../charts/chart3.xml"/><Relationship Id="rId15" Type="http://schemas.openxmlformats.org/officeDocument/2006/relationships/chart" Target="../charts/chart4.xml"/><Relationship Id="rId16" Type="http://schemas.openxmlformats.org/officeDocument/2006/relationships/image" Target="../media/image151.png"/><Relationship Id="rId17" Type="http://schemas.openxmlformats.org/officeDocument/2006/relationships/image" Target="../media/image152.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9.xml"/><Relationship Id="rId2" Type="http://schemas.openxmlformats.org/officeDocument/2006/relationships/image" Target="../media/image148.png"/><Relationship Id="rId3" Type="http://schemas.openxmlformats.org/officeDocument/2006/relationships/image" Target="../media/image153.jpeg"/><Relationship Id="rId4" Type="http://schemas.openxmlformats.org/officeDocument/2006/relationships/image" Target="../media/image154.jpeg"/></Relationships>
</file>

<file path=ppt/slides/_rels/slide9.xml.rels><?xml version='1.0' encoding='UTF-8' standalone='yes'?>
<Relationships xmlns="http://schemas.openxmlformats.org/package/2006/relationships"><Relationship Id="rId1" Type="http://schemas.openxmlformats.org/officeDocument/2006/relationships/tags" Target="../tags/tag457.xml"/><Relationship Id="rId2" Type="http://schemas.openxmlformats.org/officeDocument/2006/relationships/tags" Target="../tags/tag458.xml"/><Relationship Id="rId3" Type="http://schemas.openxmlformats.org/officeDocument/2006/relationships/tags" Target="../tags/tag459.xml"/><Relationship Id="rId4" Type="http://schemas.openxmlformats.org/officeDocument/2006/relationships/slideLayout" Target="../slideLayouts/slideLayout140.xml"/><Relationship Id="rId5" Type="http://schemas.openxmlformats.org/officeDocument/2006/relationships/notesSlide" Target="../notesSlides/notesSlide5.xml"/><Relationship Id="rId6" Type="http://schemas.openxmlformats.org/officeDocument/2006/relationships/image" Target="../media/image155.jpeg"/><Relationship Id="rId7" Type="http://schemas.openxmlformats.org/officeDocument/2006/relationships/oleObject" Target="../embeddings/oleObject55.bin"/><Relationship Id="rId8" Type="http://schemas.openxmlformats.org/officeDocument/2006/relationships/image" Target="../media/image64.emf"/><Relationship Id="rId9" Type="http://schemas.openxmlformats.org/officeDocument/2006/relationships/image" Target="../media/image15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a:extLst>
              <a:ext uri="{FF2B5EF4-FFF2-40B4-BE49-F238E27FC236}">
                <a16:creationId xmlns:a16="http://schemas.microsoft.com/office/drawing/2014/main" id="{73515A06-BD32-47EA-5411-F4382F39D7AD}"/>
              </a:ext>
            </a:extLst>
          </p:cNvPr>
          <p:cNvPicPr>
            <a:picLocks noGrp="1" noChangeAspect="1"/>
          </p:cNvPicPr>
          <p:nvPr>
            <p:ph type="pic" sz="quarter" idx="13"/>
          </p:nvPr>
        </p:nvPicPr>
        <p:blipFill>
          <a:blip r:embed="rId2" cstate="screen">
            <a:extLst>
              <a:ext uri="{28A0092B-C50C-407E-A947-70E740481C1C}">
                <a14:useLocalDpi xmlns:a14="http://schemas.microsoft.com/office/drawing/2010/main"/>
              </a:ext>
            </a:extLst>
          </a:blip>
          <a:srcRect/>
          <a:stretch>
            <a:fillRect/>
          </a:stretch>
        </p:blipFill>
        <p:spPr/>
      </p:pic>
      <p:sp>
        <p:nvSpPr>
          <p:cNvPr id="7" name="Text Placeholder 6">
            <a:extLst>
              <a:ext uri="{FF2B5EF4-FFF2-40B4-BE49-F238E27FC236}">
                <a16:creationId xmlns:a16="http://schemas.microsoft.com/office/drawing/2014/main" id="{E0720BFE-EFA9-6A91-9B8A-B6C4C9FD8B37}"/>
              </a:ext>
            </a:extLst>
          </p:cNvPr>
          <p:cNvSpPr>
            <a:spLocks noGrp="1"/>
          </p:cNvSpPr>
          <p:nvPr>
            <p:ph type="body" sz="quarter" idx="18"/>
          </p:nvPr>
        </p:nvSpPr>
        <p:spPr/>
        <p:txBody>
          <a:bodyPr>
            <a:normAutofit/>
          </a:bodyPr>
          <a:lstStyle/>
          <a:p>
            <a:pPr marL="0" marR="0" lvl="0" indent="0" algn="l" defTabSz="914377" rtl="0" eaLnBrk="1" fontAlgn="auto" latinLnBrk="0" hangingPunct="1">
              <a:lnSpc>
                <a:spcPct val="90000"/>
              </a:lnSpc>
              <a:spcBef>
                <a:spcPct val="0"/>
              </a:spcBef>
              <a:spcAft>
                <a:spcPts val="0"/>
              </a:spcAft>
              <a:buClrTx/>
              <a:buSzTx/>
              <a:buFontTx/>
              <a:buNone/>
              <a:tabLst/>
              <a:defRPr/>
            </a:pPr>
            <a:endParaRPr kumimoji="0" lang="en-US" sz="3200" b="0" i="0" u="none" strike="noStrike" kern="1200" cap="none" spc="0" normalizeH="0" baseline="0" noProof="0">
              <a:ln>
                <a:noFill/>
              </a:ln>
              <a:solidFill>
                <a:srgbClr val="0094D9"/>
              </a:solidFill>
              <a:effectLst/>
              <a:uLnTx/>
              <a:uFillTx/>
              <a:latin typeface="Verdana"/>
              <a:ea typeface="+mj-ea"/>
              <a:cs typeface="+mj-cs"/>
            </a:endParaRPr>
          </a:p>
          <a:p>
            <a:pPr marL="0" marR="0" lvl="0" indent="0" algn="l" defTabSz="914377" rtl="0" eaLnBrk="1" fontAlgn="auto" latinLnBrk="0" hangingPunct="1">
              <a:lnSpc>
                <a:spcPct val="90000"/>
              </a:lnSpc>
              <a:spcBef>
                <a:spcPct val="0"/>
              </a:spcBef>
              <a:spcAft>
                <a:spcPts val="0"/>
              </a:spcAft>
              <a:buClrTx/>
              <a:buSzTx/>
              <a:buFontTx/>
              <a:buNone/>
              <a:tabLst/>
              <a:defRPr/>
            </a:pPr>
            <a:r>
              <a:t>Supercharge every spoonful</a:t>
            </a:r>
            <a:br/>
            <a:r>
              <a:t>每一勺都充满活力</a:t>
            </a:r>
          </a:p>
          <a:p>
            <a:pPr marL="0" marR="0" lvl="0" indent="0" algn="l" defTabSz="914377" rtl="0" eaLnBrk="1" fontAlgn="auto" latinLnBrk="0" hangingPunct="1">
              <a:lnSpc>
                <a:spcPct val="90000"/>
              </a:lnSpc>
              <a:spcBef>
                <a:spcPct val="0"/>
              </a:spcBef>
              <a:spcAft>
                <a:spcPts val="0"/>
              </a:spcAft>
              <a:buClrTx/>
              <a:buSzTx/>
              <a:buFontTx/>
              <a:buNone/>
              <a:tabLst/>
              <a:defRPr/>
            </a:pPr>
            <a:endParaRPr kumimoji="0" lang="en-US" sz="3200" b="0" i="0" u="none" strike="noStrike" kern="1200" cap="none" spc="0" normalizeH="0" baseline="0" noProof="0">
              <a:ln>
                <a:noFill/>
              </a:ln>
              <a:solidFill>
                <a:srgbClr val="0094D9"/>
              </a:solidFill>
              <a:effectLst/>
              <a:uLnTx/>
              <a:uFillTx/>
              <a:latin typeface="Verdana"/>
              <a:ea typeface="+mj-ea"/>
              <a:cs typeface="+mj-cs"/>
            </a:endParaRPr>
          </a:p>
        </p:txBody>
      </p:sp>
      <p:sp>
        <p:nvSpPr>
          <p:cNvPr id="8" name="Text Placeholder 7">
            <a:extLst>
              <a:ext uri="{FF2B5EF4-FFF2-40B4-BE49-F238E27FC236}">
                <a16:creationId xmlns:a16="http://schemas.microsoft.com/office/drawing/2014/main" id="{CB14BA49-C719-8F6A-5B5D-FAAD550EBA09}"/>
              </a:ext>
            </a:extLst>
          </p:cNvPr>
          <p:cNvSpPr>
            <a:spLocks noGrp="1"/>
          </p:cNvSpPr>
          <p:nvPr>
            <p:ph type="body" sz="quarter" idx="19"/>
          </p:nvPr>
        </p:nvSpPr>
        <p:spPr/>
        <p:txBody>
          <a:bodyPr>
            <a:normAutofit/>
          </a:bodyPr>
          <a:lstStyle/>
          <a:p>
            <a:endParaRPr lang="en-NL"/>
          </a:p>
        </p:txBody>
      </p:sp>
      <p:sp>
        <p:nvSpPr>
          <p:cNvPr id="4" name="Subtitle 3">
            <a:extLst>
              <a:ext uri="{FF2B5EF4-FFF2-40B4-BE49-F238E27FC236}">
                <a16:creationId xmlns:a16="http://schemas.microsoft.com/office/drawing/2014/main" id="{291D9652-6890-B6FC-31F4-5E8548031A78}"/>
              </a:ext>
            </a:extLst>
          </p:cNvPr>
          <p:cNvSpPr>
            <a:spLocks noGrp="1"/>
          </p:cNvSpPr>
          <p:nvPr>
            <p:ph type="subTitle" idx="1"/>
          </p:nvPr>
        </p:nvSpPr>
        <p:spPr>
          <a:xfrm>
            <a:off x="815674" y="3647374"/>
            <a:ext cx="3168651" cy="298696"/>
          </a:xfrm>
        </p:spPr>
        <p:txBody>
          <a:bodyPr>
            <a:normAutofit/>
          </a:bodyPr>
          <a:lstStyle/>
          <a:p>
            <a:r>
              <a:t>Innovative pairings for yoghurt to break through – FBIF, May 8, 2025</a:t>
            </a:r>
            <a:br/>
            <a:r>
              <a:t>创新酸奶搭配突破传统 – FBIF，2025年5月8日</a:t>
            </a:r>
            <a:endParaRPr lang="en-US">
              <a:solidFill>
                <a:schemeClr val="tx2"/>
              </a:solidFill>
              <a:highlight>
                <a:srgbClr val="FFFF00"/>
              </a:highlight>
            </a:endParaRPr>
          </a:p>
        </p:txBody>
      </p:sp>
    </p:spTree>
    <p:extLst>
      <p:ext uri="{BB962C8B-B14F-4D97-AF65-F5344CB8AC3E}">
        <p14:creationId xmlns:p14="http://schemas.microsoft.com/office/powerpoint/2010/main" val="1204025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DCEE038-95A7-6550-FC1D-3D65A322ECDC}"/>
              </a:ext>
            </a:extLst>
          </p:cNvPr>
          <p:cNvGraphicFramePr>
            <a:graphicFrameLocks noChangeAspect="1"/>
          </p:cNvGraphicFramePr>
          <p:nvPr>
            <p:custDataLst>
              <p:tags r:id="rId1"/>
            </p:custDataLst>
            <p:extLst>
              <p:ext uri="{D42A27DB-BD31-4B8C-83A1-F6EECF244321}">
                <p14:modId xmlns:p14="http://schemas.microsoft.com/office/powerpoint/2010/main" val="2226404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think-cell data - do not delete" hidden="1">
                        <a:extLst>
                          <a:ext uri="{FF2B5EF4-FFF2-40B4-BE49-F238E27FC236}">
                            <a16:creationId xmlns:a16="http://schemas.microsoft.com/office/drawing/2014/main" id="{4DCEE038-95A7-6550-FC1D-3D65A322ECD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73" name="Rectangle 1072">
            <a:extLst>
              <a:ext uri="{FF2B5EF4-FFF2-40B4-BE49-F238E27FC236}">
                <a16:creationId xmlns:a16="http://schemas.microsoft.com/office/drawing/2014/main" id="{0632A41C-5CA7-C1AF-9B4F-7039D00897E4}"/>
              </a:ext>
            </a:extLst>
          </p:cNvPr>
          <p:cNvSpPr/>
          <p:nvPr/>
        </p:nvSpPr>
        <p:spPr>
          <a:xfrm rot="5400000">
            <a:off x="5563598" y="2721796"/>
            <a:ext cx="902194" cy="6675752"/>
          </a:xfrm>
          <a:prstGeom prst="rect">
            <a:avLst/>
          </a:prstGeom>
          <a:gradFill>
            <a:gsLst>
              <a:gs pos="0">
                <a:schemeClr val="bg1">
                  <a:alpha val="0"/>
                </a:schemeClr>
              </a:gs>
              <a:gs pos="87000">
                <a:schemeClr val="accent3">
                  <a:lumMod val="20000"/>
                  <a:lumOff val="8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609585" rtl="0" eaLnBrk="1" fontAlgn="auto" latinLnBrk="0" hangingPunct="1">
              <a:lnSpc>
                <a:spcPct val="112000"/>
              </a:lnSpc>
              <a:spcBef>
                <a:spcPts val="0"/>
              </a:spcBef>
              <a:spcAft>
                <a:spcPts val="0"/>
              </a:spcAft>
              <a:buClrTx/>
              <a:buSzTx/>
              <a:buFontTx/>
              <a:buNone/>
              <a:tabLst/>
              <a:defRPr/>
            </a:pPr>
            <a:endParaRPr kumimoji="0" lang="en-NL" sz="1867" b="0" i="0" u="none" strike="noStrike" kern="1200" cap="none" spc="0" normalizeH="0" baseline="0" noProof="0">
              <a:ln>
                <a:noFill/>
              </a:ln>
              <a:solidFill>
                <a:srgbClr val="FFFFFF"/>
              </a:solidFill>
              <a:effectLst/>
              <a:uLnTx/>
              <a:uFillTx/>
              <a:latin typeface="Verdana"/>
              <a:ea typeface="+mn-ea"/>
              <a:cs typeface="+mn-cs"/>
            </a:endParaRPr>
          </a:p>
        </p:txBody>
      </p:sp>
      <p:sp>
        <p:nvSpPr>
          <p:cNvPr id="1067" name="Rectangle 1066">
            <a:extLst>
              <a:ext uri="{FF2B5EF4-FFF2-40B4-BE49-F238E27FC236}">
                <a16:creationId xmlns:a16="http://schemas.microsoft.com/office/drawing/2014/main" id="{8D268717-C98B-8B1E-3D7B-DAED7860DB3E}"/>
              </a:ext>
            </a:extLst>
          </p:cNvPr>
          <p:cNvSpPr/>
          <p:nvPr/>
        </p:nvSpPr>
        <p:spPr>
          <a:xfrm>
            <a:off x="7605648" y="2354730"/>
            <a:ext cx="3110129" cy="2691221"/>
          </a:xfrm>
          <a:prstGeom prst="rect">
            <a:avLst/>
          </a:prstGeom>
          <a:gradFill>
            <a:gsLst>
              <a:gs pos="0">
                <a:schemeClr val="bg1">
                  <a:alpha val="0"/>
                </a:schemeClr>
              </a:gs>
              <a:gs pos="87000">
                <a:schemeClr val="accent2">
                  <a:lumMod val="20000"/>
                  <a:lumOff val="8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609585" rtl="0" eaLnBrk="1" fontAlgn="auto" latinLnBrk="0" hangingPunct="1">
              <a:lnSpc>
                <a:spcPct val="112000"/>
              </a:lnSpc>
              <a:spcBef>
                <a:spcPts val="0"/>
              </a:spcBef>
              <a:spcAft>
                <a:spcPts val="0"/>
              </a:spcAft>
              <a:buClrTx/>
              <a:buSzTx/>
              <a:buFontTx/>
              <a:buNone/>
              <a:tabLst/>
              <a:defRPr/>
            </a:pPr>
            <a:endParaRPr kumimoji="0" lang="en-NL" sz="1867" b="0" i="0" u="none" strike="noStrike" kern="1200" cap="none" spc="0" normalizeH="0" baseline="0" noProof="0">
              <a:ln>
                <a:noFill/>
              </a:ln>
              <a:solidFill>
                <a:srgbClr val="FFFFFF"/>
              </a:solidFill>
              <a:effectLst/>
              <a:uLnTx/>
              <a:uFillTx/>
              <a:latin typeface="Verdana"/>
              <a:ea typeface="+mn-ea"/>
              <a:cs typeface="+mn-cs"/>
            </a:endParaRPr>
          </a:p>
        </p:txBody>
      </p:sp>
      <p:sp>
        <p:nvSpPr>
          <p:cNvPr id="1066" name="Rectangle 1065">
            <a:extLst>
              <a:ext uri="{FF2B5EF4-FFF2-40B4-BE49-F238E27FC236}">
                <a16:creationId xmlns:a16="http://schemas.microsoft.com/office/drawing/2014/main" id="{6376497A-5366-8BEF-DAC2-5F78365379B3}"/>
              </a:ext>
            </a:extLst>
          </p:cNvPr>
          <p:cNvSpPr/>
          <p:nvPr/>
        </p:nvSpPr>
        <p:spPr>
          <a:xfrm rot="10800000">
            <a:off x="885940" y="2354730"/>
            <a:ext cx="3110129" cy="2691221"/>
          </a:xfrm>
          <a:prstGeom prst="rect">
            <a:avLst/>
          </a:prstGeom>
          <a:gradFill>
            <a:gsLst>
              <a:gs pos="0">
                <a:schemeClr val="bg1">
                  <a:alpha val="0"/>
                </a:schemeClr>
              </a:gs>
              <a:gs pos="87000">
                <a:schemeClr val="accent1">
                  <a:lumMod val="20000"/>
                  <a:lumOff val="8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609585" rtl="0" eaLnBrk="1" fontAlgn="auto" latinLnBrk="0" hangingPunct="1">
              <a:lnSpc>
                <a:spcPct val="112000"/>
              </a:lnSpc>
              <a:spcBef>
                <a:spcPts val="0"/>
              </a:spcBef>
              <a:spcAft>
                <a:spcPts val="0"/>
              </a:spcAft>
              <a:buClrTx/>
              <a:buSzTx/>
              <a:buFontTx/>
              <a:buNone/>
              <a:tabLst/>
              <a:defRPr/>
            </a:pPr>
            <a:endParaRPr kumimoji="0" lang="en-NL" sz="1867" b="0" i="0" u="none" strike="noStrike" kern="1200" cap="none" spc="0" normalizeH="0" baseline="0" noProof="0">
              <a:ln>
                <a:noFill/>
              </a:ln>
              <a:solidFill>
                <a:srgbClr val="FFFFFF"/>
              </a:solidFill>
              <a:effectLst/>
              <a:uLnTx/>
              <a:uFillTx/>
              <a:latin typeface="Verdana"/>
              <a:ea typeface="+mn-ea"/>
              <a:cs typeface="+mn-cs"/>
            </a:endParaRPr>
          </a:p>
        </p:txBody>
      </p:sp>
      <p:cxnSp>
        <p:nvCxnSpPr>
          <p:cNvPr id="1032" name="Straight Connector 1031">
            <a:extLst>
              <a:ext uri="{FF2B5EF4-FFF2-40B4-BE49-F238E27FC236}">
                <a16:creationId xmlns:a16="http://schemas.microsoft.com/office/drawing/2014/main" id="{019653A4-356D-29D0-985F-49523507636E}"/>
              </a:ext>
            </a:extLst>
          </p:cNvPr>
          <p:cNvCxnSpPr>
            <a:cxnSpLocks/>
          </p:cNvCxnSpPr>
          <p:nvPr/>
        </p:nvCxnSpPr>
        <p:spPr>
          <a:xfrm>
            <a:off x="2676819" y="5863701"/>
            <a:ext cx="6675752" cy="0"/>
          </a:xfrm>
          <a:prstGeom prst="line">
            <a:avLst/>
          </a:prstGeom>
          <a:ln w="127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9511FA6D-A35D-26A5-51CB-E98B3E492CA6}"/>
              </a:ext>
            </a:extLst>
          </p:cNvPr>
          <p:cNvGrpSpPr/>
          <p:nvPr/>
        </p:nvGrpSpPr>
        <p:grpSpPr>
          <a:xfrm>
            <a:off x="3935447" y="2238398"/>
            <a:ext cx="3917124" cy="3335709"/>
            <a:chOff x="3755070" y="2057990"/>
            <a:chExt cx="3917124" cy="3335709"/>
          </a:xfrm>
        </p:grpSpPr>
        <p:sp>
          <p:nvSpPr>
            <p:cNvPr id="28" name="Teardrop 27">
              <a:extLst>
                <a:ext uri="{FF2B5EF4-FFF2-40B4-BE49-F238E27FC236}">
                  <a16:creationId xmlns:a16="http://schemas.microsoft.com/office/drawing/2014/main" id="{DF6F4BCD-6956-F136-9533-39FD07B5B47B}"/>
                </a:ext>
              </a:extLst>
            </p:cNvPr>
            <p:cNvSpPr/>
            <p:nvPr/>
          </p:nvSpPr>
          <p:spPr>
            <a:xfrm rot="309899">
              <a:off x="5126973" y="2063880"/>
              <a:ext cx="2545221" cy="2545221"/>
            </a:xfrm>
            <a:prstGeom prst="teardrop">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2000"/>
                </a:lnSpc>
                <a:spcBef>
                  <a:spcPts val="0"/>
                </a:spcBef>
                <a:spcAft>
                  <a:spcPts val="0"/>
                </a:spcAft>
                <a:buClrTx/>
                <a:buSzTx/>
                <a:buFontTx/>
                <a:buNone/>
                <a:tabLst/>
                <a:defRPr/>
              </a:pPr>
              <a:endParaRPr kumimoji="0" lang="en-NL" sz="1400" b="0" i="0" u="none" strike="noStrike" kern="1200" cap="none" spc="0" normalizeH="0" baseline="0" noProof="0">
                <a:ln>
                  <a:noFill/>
                </a:ln>
                <a:solidFill>
                  <a:srgbClr val="FFFFFF"/>
                </a:solidFill>
                <a:effectLst/>
                <a:uLnTx/>
                <a:uFillTx/>
                <a:latin typeface="Verdana"/>
                <a:ea typeface="+mn-ea"/>
                <a:cs typeface="+mn-cs"/>
              </a:endParaRPr>
            </a:p>
          </p:txBody>
        </p:sp>
        <p:sp>
          <p:nvSpPr>
            <p:cNvPr id="31" name="Teardrop 30">
              <a:extLst>
                <a:ext uri="{FF2B5EF4-FFF2-40B4-BE49-F238E27FC236}">
                  <a16:creationId xmlns:a16="http://schemas.microsoft.com/office/drawing/2014/main" id="{1E558F4A-FB44-C630-776B-7AB556F3BCC8}"/>
                </a:ext>
              </a:extLst>
            </p:cNvPr>
            <p:cNvSpPr/>
            <p:nvPr/>
          </p:nvSpPr>
          <p:spPr>
            <a:xfrm rot="15899200">
              <a:off x="3755070" y="2057990"/>
              <a:ext cx="2545221" cy="2545221"/>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2000"/>
                </a:lnSpc>
                <a:spcBef>
                  <a:spcPts val="0"/>
                </a:spcBef>
                <a:spcAft>
                  <a:spcPts val="0"/>
                </a:spcAft>
                <a:buClrTx/>
                <a:buSzTx/>
                <a:buFontTx/>
                <a:buNone/>
                <a:tabLst/>
                <a:defRPr/>
              </a:pPr>
              <a:endParaRPr kumimoji="0" lang="en-NL" sz="1400" b="0" i="0" u="none" strike="noStrike" kern="1200" cap="none" spc="0" normalizeH="0" baseline="0" noProof="0">
                <a:ln>
                  <a:noFill/>
                </a:ln>
                <a:solidFill>
                  <a:srgbClr val="FFFFFF"/>
                </a:solidFill>
                <a:effectLst/>
                <a:uLnTx/>
                <a:uFillTx/>
                <a:latin typeface="Verdana"/>
                <a:ea typeface="+mn-ea"/>
                <a:cs typeface="+mn-cs"/>
              </a:endParaRPr>
            </a:p>
          </p:txBody>
        </p:sp>
        <p:sp>
          <p:nvSpPr>
            <p:cNvPr id="33" name="Teardrop 32">
              <a:extLst>
                <a:ext uri="{FF2B5EF4-FFF2-40B4-BE49-F238E27FC236}">
                  <a16:creationId xmlns:a16="http://schemas.microsoft.com/office/drawing/2014/main" id="{59EC8B4B-521D-9238-C226-71DB863865BD}"/>
                </a:ext>
              </a:extLst>
            </p:cNvPr>
            <p:cNvSpPr/>
            <p:nvPr/>
          </p:nvSpPr>
          <p:spPr>
            <a:xfrm rot="8100000">
              <a:off x="4519145" y="2848478"/>
              <a:ext cx="2545221" cy="2545221"/>
            </a:xfrm>
            <a:prstGeom prst="teardrop">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2000"/>
                </a:lnSpc>
                <a:spcBef>
                  <a:spcPts val="0"/>
                </a:spcBef>
                <a:spcAft>
                  <a:spcPts val="0"/>
                </a:spcAft>
                <a:buClrTx/>
                <a:buSzTx/>
                <a:buFontTx/>
                <a:buNone/>
                <a:tabLst/>
                <a:defRPr/>
              </a:pPr>
              <a:endParaRPr kumimoji="0" lang="en-NL" sz="1400" b="0" i="0" u="none" strike="noStrike" kern="1200" cap="none" spc="0" normalizeH="0" baseline="0" noProof="0">
                <a:ln>
                  <a:noFill/>
                </a:ln>
                <a:solidFill>
                  <a:srgbClr val="FFFFFF"/>
                </a:solidFill>
                <a:effectLst/>
                <a:uLnTx/>
                <a:uFillTx/>
                <a:latin typeface="Verdana"/>
                <a:ea typeface="+mn-ea"/>
                <a:cs typeface="+mn-cs"/>
              </a:endParaRPr>
            </a:p>
          </p:txBody>
        </p:sp>
      </p:grpSp>
      <p:pic>
        <p:nvPicPr>
          <p:cNvPr id="35" name="Picture 34">
            <a:extLst>
              <a:ext uri="{FF2B5EF4-FFF2-40B4-BE49-F238E27FC236}">
                <a16:creationId xmlns:a16="http://schemas.microsoft.com/office/drawing/2014/main" id="{D3004509-FD4E-1CF5-2A51-642AFB68DC0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1508057" y="242124"/>
            <a:ext cx="390988" cy="258052"/>
          </a:xfrm>
          <a:prstGeom prst="rect">
            <a:avLst/>
          </a:prstGeom>
        </p:spPr>
      </p:pic>
      <p:sp>
        <p:nvSpPr>
          <p:cNvPr id="5" name="Title 4">
            <a:extLst>
              <a:ext uri="{FF2B5EF4-FFF2-40B4-BE49-F238E27FC236}">
                <a16:creationId xmlns:a16="http://schemas.microsoft.com/office/drawing/2014/main" id="{F3BB52AA-1825-F799-A4A7-7C64B99F51A4}"/>
              </a:ext>
            </a:extLst>
          </p:cNvPr>
          <p:cNvSpPr>
            <a:spLocks noGrp="1"/>
          </p:cNvSpPr>
          <p:nvPr>
            <p:ph type="title"/>
          </p:nvPr>
        </p:nvSpPr>
        <p:spPr>
          <a:xfrm>
            <a:off x="581010" y="558153"/>
            <a:ext cx="9444339" cy="821763"/>
          </a:xfrm>
        </p:spPr>
        <p:txBody>
          <a:bodyPr vert="horz">
            <a:normAutofit/>
          </a:bodyPr>
          <a:lstStyle/>
          <a:p>
            <a:r>
              <a:t>Market China | An “all-in-one” solution is desired from the Chinese parents</a:t>
            </a:r>
            <a:br/>
            <a:r>
              <a:t>中国市场 | 中国家长希望获得“一站式”解决方案</a:t>
            </a:r>
            <a:endParaRPr lang="en-NL" sz="2670"/>
          </a:p>
        </p:txBody>
      </p:sp>
      <p:grpSp>
        <p:nvGrpSpPr>
          <p:cNvPr id="16" name="Group 15">
            <a:extLst>
              <a:ext uri="{FF2B5EF4-FFF2-40B4-BE49-F238E27FC236}">
                <a16:creationId xmlns:a16="http://schemas.microsoft.com/office/drawing/2014/main" id="{6022BA58-DB74-A0F9-319B-1ADCDD2BCD9B}"/>
              </a:ext>
            </a:extLst>
          </p:cNvPr>
          <p:cNvGrpSpPr/>
          <p:nvPr/>
        </p:nvGrpSpPr>
        <p:grpSpPr>
          <a:xfrm>
            <a:off x="2039845" y="3852683"/>
            <a:ext cx="655150" cy="655150"/>
            <a:chOff x="10956578" y="2952094"/>
            <a:chExt cx="655150" cy="655150"/>
          </a:xfrm>
        </p:grpSpPr>
        <p:sp>
          <p:nvSpPr>
            <p:cNvPr id="38" name="Oval 37">
              <a:extLst>
                <a:ext uri="{FF2B5EF4-FFF2-40B4-BE49-F238E27FC236}">
                  <a16:creationId xmlns:a16="http://schemas.microsoft.com/office/drawing/2014/main" id="{E7EBA6BD-5700-970E-CCCB-15C5A680208F}"/>
                </a:ext>
              </a:extLst>
            </p:cNvPr>
            <p:cNvSpPr/>
            <p:nvPr/>
          </p:nvSpPr>
          <p:spPr>
            <a:xfrm>
              <a:off x="10956578" y="2952094"/>
              <a:ext cx="655150" cy="655150"/>
            </a:xfrm>
            <a:prstGeom prst="ellipse">
              <a:avLst/>
            </a:prstGeom>
            <a:solidFill>
              <a:schemeClr val="accent6"/>
            </a:solidFill>
            <a:ln w="12700">
              <a:solidFill>
                <a:schemeClr val="accent6">
                  <a:lumMod val="20000"/>
                  <a:lumOff val="80000"/>
                </a:schemeClr>
              </a:solidFill>
            </a:ln>
            <a:effectLst>
              <a:outerShdw blurRad="1016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2000"/>
                </a:lnSpc>
                <a:spcBef>
                  <a:spcPts val="0"/>
                </a:spcBef>
                <a:spcAft>
                  <a:spcPts val="0"/>
                </a:spcAft>
                <a:buClrTx/>
                <a:buSzTx/>
                <a:buFontTx/>
                <a:buNone/>
                <a:tabLst/>
                <a:defRPr/>
              </a:pPr>
              <a:endParaRPr kumimoji="0" lang="en-NL" sz="1400" b="0" i="0" u="none" strike="noStrike" kern="1200" cap="none" spc="0" normalizeH="0" baseline="0" noProof="0">
                <a:ln>
                  <a:noFill/>
                </a:ln>
                <a:solidFill>
                  <a:srgbClr val="FFFFFF"/>
                </a:solidFill>
                <a:effectLst/>
                <a:uLnTx/>
                <a:uFillTx/>
                <a:latin typeface="Verdana"/>
                <a:ea typeface="+mn-ea"/>
                <a:cs typeface="+mn-cs"/>
              </a:endParaRPr>
            </a:p>
          </p:txBody>
        </p:sp>
        <p:pic>
          <p:nvPicPr>
            <p:cNvPr id="41" name="Picture 40">
              <a:extLst>
                <a:ext uri="{FF2B5EF4-FFF2-40B4-BE49-F238E27FC236}">
                  <a16:creationId xmlns:a16="http://schemas.microsoft.com/office/drawing/2014/main" id="{3AB9FF0A-2E86-84CF-52CE-E7A76BD8131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1000171" y="3037996"/>
              <a:ext cx="598107" cy="498423"/>
            </a:xfrm>
            <a:prstGeom prst="rect">
              <a:avLst/>
            </a:prstGeom>
          </p:spPr>
        </p:pic>
      </p:grpSp>
      <p:grpSp>
        <p:nvGrpSpPr>
          <p:cNvPr id="14" name="Group 13">
            <a:extLst>
              <a:ext uri="{FF2B5EF4-FFF2-40B4-BE49-F238E27FC236}">
                <a16:creationId xmlns:a16="http://schemas.microsoft.com/office/drawing/2014/main" id="{1030E45D-C2B2-26AA-3461-856095059F86}"/>
              </a:ext>
            </a:extLst>
          </p:cNvPr>
          <p:cNvGrpSpPr/>
          <p:nvPr/>
        </p:nvGrpSpPr>
        <p:grpSpPr>
          <a:xfrm>
            <a:off x="2039845" y="2527146"/>
            <a:ext cx="655150" cy="655150"/>
            <a:chOff x="9439260" y="2952094"/>
            <a:chExt cx="655150" cy="655150"/>
          </a:xfrm>
        </p:grpSpPr>
        <p:sp>
          <p:nvSpPr>
            <p:cNvPr id="34" name="Oval 33">
              <a:extLst>
                <a:ext uri="{FF2B5EF4-FFF2-40B4-BE49-F238E27FC236}">
                  <a16:creationId xmlns:a16="http://schemas.microsoft.com/office/drawing/2014/main" id="{1271DF31-039E-64F1-785E-AB047D1E3BC6}"/>
                </a:ext>
              </a:extLst>
            </p:cNvPr>
            <p:cNvSpPr/>
            <p:nvPr/>
          </p:nvSpPr>
          <p:spPr>
            <a:xfrm>
              <a:off x="9439260" y="2952094"/>
              <a:ext cx="655150" cy="655150"/>
            </a:xfrm>
            <a:prstGeom prst="ellipse">
              <a:avLst/>
            </a:prstGeom>
            <a:solidFill>
              <a:schemeClr val="accent3"/>
            </a:solidFill>
            <a:ln w="12700">
              <a:solidFill>
                <a:schemeClr val="accent3">
                  <a:lumMod val="20000"/>
                  <a:lumOff val="80000"/>
                </a:schemeClr>
              </a:solidFill>
            </a:ln>
            <a:effectLst>
              <a:outerShdw blurRad="1016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2000"/>
                </a:lnSpc>
                <a:spcBef>
                  <a:spcPts val="0"/>
                </a:spcBef>
                <a:spcAft>
                  <a:spcPts val="0"/>
                </a:spcAft>
                <a:buClrTx/>
                <a:buSzTx/>
                <a:buFontTx/>
                <a:buNone/>
                <a:tabLst/>
                <a:defRPr/>
              </a:pPr>
              <a:endParaRPr kumimoji="0" lang="en-NL" sz="1400" b="0" i="0" u="none" strike="noStrike" kern="1200" cap="none" spc="0" normalizeH="0" baseline="0" noProof="0">
                <a:ln>
                  <a:noFill/>
                </a:ln>
                <a:solidFill>
                  <a:srgbClr val="FFFFFF"/>
                </a:solidFill>
                <a:effectLst/>
                <a:uLnTx/>
                <a:uFillTx/>
                <a:latin typeface="Verdana"/>
                <a:ea typeface="+mn-ea"/>
                <a:cs typeface="+mn-cs"/>
              </a:endParaRPr>
            </a:p>
          </p:txBody>
        </p:sp>
        <p:pic>
          <p:nvPicPr>
            <p:cNvPr id="42" name="Picture 41">
              <a:extLst>
                <a:ext uri="{FF2B5EF4-FFF2-40B4-BE49-F238E27FC236}">
                  <a16:creationId xmlns:a16="http://schemas.microsoft.com/office/drawing/2014/main" id="{366BFE35-E840-1110-1BF0-D435B1B7BF8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471532" y="3052283"/>
              <a:ext cx="558412" cy="465344"/>
            </a:xfrm>
            <a:prstGeom prst="rect">
              <a:avLst/>
            </a:prstGeom>
          </p:spPr>
        </p:pic>
      </p:grpSp>
      <p:grpSp>
        <p:nvGrpSpPr>
          <p:cNvPr id="15" name="Group 14">
            <a:extLst>
              <a:ext uri="{FF2B5EF4-FFF2-40B4-BE49-F238E27FC236}">
                <a16:creationId xmlns:a16="http://schemas.microsoft.com/office/drawing/2014/main" id="{D6AE1F3D-23E6-ECA4-5BAC-7B6D082D19C3}"/>
              </a:ext>
            </a:extLst>
          </p:cNvPr>
          <p:cNvGrpSpPr/>
          <p:nvPr/>
        </p:nvGrpSpPr>
        <p:grpSpPr>
          <a:xfrm>
            <a:off x="997137" y="3826832"/>
            <a:ext cx="655150" cy="655150"/>
            <a:chOff x="10199494" y="2952095"/>
            <a:chExt cx="655150" cy="655150"/>
          </a:xfrm>
        </p:grpSpPr>
        <p:sp>
          <p:nvSpPr>
            <p:cNvPr id="37" name="Oval 36">
              <a:extLst>
                <a:ext uri="{FF2B5EF4-FFF2-40B4-BE49-F238E27FC236}">
                  <a16:creationId xmlns:a16="http://schemas.microsoft.com/office/drawing/2014/main" id="{A0A475D7-C40E-CE07-F393-384461960026}"/>
                </a:ext>
              </a:extLst>
            </p:cNvPr>
            <p:cNvSpPr/>
            <p:nvPr/>
          </p:nvSpPr>
          <p:spPr>
            <a:xfrm>
              <a:off x="10199494" y="2952095"/>
              <a:ext cx="655150" cy="655150"/>
            </a:xfrm>
            <a:prstGeom prst="ellipse">
              <a:avLst/>
            </a:prstGeom>
            <a:solidFill>
              <a:schemeClr val="accent2"/>
            </a:solidFill>
            <a:ln w="12700">
              <a:solidFill>
                <a:schemeClr val="accent2">
                  <a:lumMod val="20000"/>
                  <a:lumOff val="80000"/>
                </a:schemeClr>
              </a:solidFill>
            </a:ln>
            <a:effectLst>
              <a:outerShdw blurRad="1016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2000"/>
                </a:lnSpc>
                <a:spcBef>
                  <a:spcPts val="0"/>
                </a:spcBef>
                <a:spcAft>
                  <a:spcPts val="0"/>
                </a:spcAft>
                <a:buClrTx/>
                <a:buSzTx/>
                <a:buFontTx/>
                <a:buNone/>
                <a:tabLst/>
                <a:defRPr/>
              </a:pPr>
              <a:endParaRPr kumimoji="0" lang="en-NL" sz="1400" b="0" i="0" u="none" strike="noStrike" kern="1200" cap="none" spc="0" normalizeH="0" baseline="0" noProof="0">
                <a:ln>
                  <a:noFill/>
                </a:ln>
                <a:solidFill>
                  <a:srgbClr val="FFFFFF"/>
                </a:solidFill>
                <a:effectLst/>
                <a:uLnTx/>
                <a:uFillTx/>
                <a:latin typeface="Verdana"/>
                <a:ea typeface="+mn-ea"/>
                <a:cs typeface="+mn-cs"/>
              </a:endParaRPr>
            </a:p>
          </p:txBody>
        </p:sp>
        <p:pic>
          <p:nvPicPr>
            <p:cNvPr id="43" name="Picture 42">
              <a:extLst>
                <a:ext uri="{FF2B5EF4-FFF2-40B4-BE49-F238E27FC236}">
                  <a16:creationId xmlns:a16="http://schemas.microsoft.com/office/drawing/2014/main" id="{3C982FCD-3F40-AD8A-51D2-D88D9AC989C0}"/>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0239937" y="3052283"/>
              <a:ext cx="555847" cy="463206"/>
            </a:xfrm>
            <a:prstGeom prst="rect">
              <a:avLst/>
            </a:prstGeom>
          </p:spPr>
        </p:pic>
      </p:grpSp>
      <p:grpSp>
        <p:nvGrpSpPr>
          <p:cNvPr id="13" name="Group 12">
            <a:extLst>
              <a:ext uri="{FF2B5EF4-FFF2-40B4-BE49-F238E27FC236}">
                <a16:creationId xmlns:a16="http://schemas.microsoft.com/office/drawing/2014/main" id="{8694473B-A562-3878-B2E3-3083FD3E6C00}"/>
              </a:ext>
            </a:extLst>
          </p:cNvPr>
          <p:cNvGrpSpPr/>
          <p:nvPr/>
        </p:nvGrpSpPr>
        <p:grpSpPr>
          <a:xfrm>
            <a:off x="957254" y="2550084"/>
            <a:ext cx="742843" cy="670078"/>
            <a:chOff x="8667199" y="2962406"/>
            <a:chExt cx="742843" cy="670078"/>
          </a:xfrm>
        </p:grpSpPr>
        <p:sp>
          <p:nvSpPr>
            <p:cNvPr id="39" name="Oval 38">
              <a:extLst>
                <a:ext uri="{FF2B5EF4-FFF2-40B4-BE49-F238E27FC236}">
                  <a16:creationId xmlns:a16="http://schemas.microsoft.com/office/drawing/2014/main" id="{02A37EED-33BF-2AF6-E6B8-90383303389B}"/>
                </a:ext>
              </a:extLst>
            </p:cNvPr>
            <p:cNvSpPr/>
            <p:nvPr/>
          </p:nvSpPr>
          <p:spPr>
            <a:xfrm>
              <a:off x="8667199" y="2962406"/>
              <a:ext cx="670078" cy="670078"/>
            </a:xfrm>
            <a:prstGeom prst="ellipse">
              <a:avLst/>
            </a:prstGeom>
            <a:solidFill>
              <a:srgbClr val="7030A0"/>
            </a:solidFill>
            <a:ln w="12700">
              <a:solidFill>
                <a:srgbClr val="E8CEFD"/>
              </a:solidFill>
            </a:ln>
            <a:effectLst>
              <a:outerShdw blurRad="1016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2000"/>
                </a:lnSpc>
                <a:spcBef>
                  <a:spcPts val="0"/>
                </a:spcBef>
                <a:spcAft>
                  <a:spcPts val="0"/>
                </a:spcAft>
                <a:buClrTx/>
                <a:buSzTx/>
                <a:buFontTx/>
                <a:buNone/>
                <a:tabLst/>
                <a:defRPr/>
              </a:pPr>
              <a:endParaRPr kumimoji="0" lang="en-NL" sz="1400" b="0" i="0" u="none" strike="noStrike" kern="1200" cap="none" spc="0" normalizeH="0" baseline="0" noProof="0">
                <a:ln>
                  <a:noFill/>
                </a:ln>
                <a:solidFill>
                  <a:srgbClr val="FFFFFF"/>
                </a:solidFill>
                <a:effectLst/>
                <a:uLnTx/>
                <a:uFillTx/>
                <a:latin typeface="Verdana"/>
                <a:ea typeface="+mn-ea"/>
                <a:cs typeface="+mn-cs"/>
              </a:endParaRPr>
            </a:p>
          </p:txBody>
        </p:sp>
        <p:pic>
          <p:nvPicPr>
            <p:cNvPr id="44" name="Picture 43">
              <a:extLst>
                <a:ext uri="{FF2B5EF4-FFF2-40B4-BE49-F238E27FC236}">
                  <a16:creationId xmlns:a16="http://schemas.microsoft.com/office/drawing/2014/main" id="{CAD1D6D5-CE58-B7B4-6B6F-B96025689333}"/>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8720791" y="3016595"/>
              <a:ext cx="689251" cy="574376"/>
            </a:xfrm>
            <a:prstGeom prst="rect">
              <a:avLst/>
            </a:prstGeom>
          </p:spPr>
        </p:pic>
      </p:grpSp>
      <p:sp>
        <p:nvSpPr>
          <p:cNvPr id="47" name="TextBox 46">
            <a:extLst>
              <a:ext uri="{FF2B5EF4-FFF2-40B4-BE49-F238E27FC236}">
                <a16:creationId xmlns:a16="http://schemas.microsoft.com/office/drawing/2014/main" id="{8D7A8836-21A9-D996-8889-A4A224D4DF72}"/>
              </a:ext>
            </a:extLst>
          </p:cNvPr>
          <p:cNvSpPr txBox="1"/>
          <p:nvPr/>
        </p:nvSpPr>
        <p:spPr>
          <a:xfrm>
            <a:off x="957253" y="3313378"/>
            <a:ext cx="670079" cy="328167"/>
          </a:xfrm>
          <a:prstGeom prst="rect">
            <a:avLst/>
          </a:prstGeom>
          <a:noFill/>
        </p:spPr>
        <p:txBody>
          <a:bodyPr wrap="square" lIns="0" tIns="0" rIns="0" bIns="0" rtlCol="0">
            <a:normAutofit/>
          </a:bodyPr>
          <a:lstStyle/>
          <a:p>
            <a:pPr marL="0" marR="0" lvl="0" indent="0" algn="ctr" defTabSz="914400" rtl="0" eaLnBrk="1" fontAlgn="auto" latinLnBrk="0" hangingPunct="1">
              <a:lnSpc>
                <a:spcPct val="112000"/>
              </a:lnSpc>
              <a:spcBef>
                <a:spcPts val="0"/>
              </a:spcBef>
              <a:spcAft>
                <a:spcPts val="0"/>
              </a:spcAft>
              <a:buClrTx/>
              <a:buSzTx/>
              <a:buFontTx/>
              <a:buNone/>
              <a:tabLst/>
              <a:defRPr/>
            </a:pPr>
            <a:r>
              <a:t>Brain health</a:t>
            </a:r>
            <a:br/>
            <a:r>
              <a:t>大脑健康</a:t>
            </a:r>
          </a:p>
        </p:txBody>
      </p:sp>
      <p:sp>
        <p:nvSpPr>
          <p:cNvPr id="48" name="TextBox 47">
            <a:extLst>
              <a:ext uri="{FF2B5EF4-FFF2-40B4-BE49-F238E27FC236}">
                <a16:creationId xmlns:a16="http://schemas.microsoft.com/office/drawing/2014/main" id="{0D6D1BD2-FACF-C0D3-279C-451E82E52FF5}"/>
              </a:ext>
            </a:extLst>
          </p:cNvPr>
          <p:cNvSpPr txBox="1"/>
          <p:nvPr/>
        </p:nvSpPr>
        <p:spPr>
          <a:xfrm>
            <a:off x="2032381" y="3300752"/>
            <a:ext cx="670079" cy="328231"/>
          </a:xfrm>
          <a:prstGeom prst="rect">
            <a:avLst/>
          </a:prstGeom>
          <a:noFill/>
        </p:spPr>
        <p:txBody>
          <a:bodyPr wrap="square" lIns="0" tIns="0" rIns="0" bIns="0" rtlCol="0">
            <a:normAutofit/>
          </a:bodyPr>
          <a:lstStyle/>
          <a:p>
            <a:pPr marL="0" marR="0" lvl="0" indent="0" algn="ctr" defTabSz="914400" rtl="0" eaLnBrk="1" fontAlgn="auto" latinLnBrk="0" hangingPunct="1">
              <a:lnSpc>
                <a:spcPct val="112000"/>
              </a:lnSpc>
              <a:spcBef>
                <a:spcPts val="0"/>
              </a:spcBef>
              <a:spcAft>
                <a:spcPts val="0"/>
              </a:spcAft>
              <a:buClrTx/>
              <a:buSzTx/>
              <a:buFontTx/>
              <a:buNone/>
              <a:tabLst/>
              <a:defRPr/>
            </a:pPr>
            <a:r>
              <a:t>Gut health</a:t>
            </a:r>
            <a:br/>
            <a:r>
              <a:t>肠道健康</a:t>
            </a:r>
          </a:p>
        </p:txBody>
      </p:sp>
      <p:sp>
        <p:nvSpPr>
          <p:cNvPr id="49" name="TextBox 48">
            <a:extLst>
              <a:ext uri="{FF2B5EF4-FFF2-40B4-BE49-F238E27FC236}">
                <a16:creationId xmlns:a16="http://schemas.microsoft.com/office/drawing/2014/main" id="{12C7F89F-DAF2-F29B-C876-8A4902E52CA9}"/>
              </a:ext>
            </a:extLst>
          </p:cNvPr>
          <p:cNvSpPr txBox="1"/>
          <p:nvPr/>
        </p:nvSpPr>
        <p:spPr>
          <a:xfrm>
            <a:off x="999727" y="4600437"/>
            <a:ext cx="670079" cy="328231"/>
          </a:xfrm>
          <a:prstGeom prst="rect">
            <a:avLst/>
          </a:prstGeom>
          <a:noFill/>
        </p:spPr>
        <p:txBody>
          <a:bodyPr wrap="square" lIns="0" tIns="0" rIns="0" bIns="0" rtlCol="0">
            <a:normAutofit/>
          </a:bodyPr>
          <a:lstStyle/>
          <a:p>
            <a:pPr marL="0" marR="0" lvl="0" indent="0" algn="ctr" defTabSz="914400" rtl="0" eaLnBrk="1" fontAlgn="auto" latinLnBrk="0" hangingPunct="1">
              <a:lnSpc>
                <a:spcPct val="112000"/>
              </a:lnSpc>
              <a:spcBef>
                <a:spcPts val="0"/>
              </a:spcBef>
              <a:spcAft>
                <a:spcPts val="0"/>
              </a:spcAft>
              <a:buClrTx/>
              <a:buSzTx/>
              <a:buFontTx/>
              <a:buNone/>
              <a:tabLst/>
              <a:defRPr/>
            </a:pPr>
            <a:r>
              <a:t>Growth &amp; height</a:t>
            </a:r>
            <a:br/>
            <a:r>
              <a:t>生长与身高</a:t>
            </a:r>
          </a:p>
        </p:txBody>
      </p:sp>
      <p:sp>
        <p:nvSpPr>
          <p:cNvPr id="50" name="TextBox 49">
            <a:extLst>
              <a:ext uri="{FF2B5EF4-FFF2-40B4-BE49-F238E27FC236}">
                <a16:creationId xmlns:a16="http://schemas.microsoft.com/office/drawing/2014/main" id="{3A540B3A-FA5B-1C32-2B87-02FE7F935753}"/>
              </a:ext>
            </a:extLst>
          </p:cNvPr>
          <p:cNvSpPr txBox="1"/>
          <p:nvPr/>
        </p:nvSpPr>
        <p:spPr>
          <a:xfrm>
            <a:off x="2021748" y="4626289"/>
            <a:ext cx="670079" cy="328231"/>
          </a:xfrm>
          <a:prstGeom prst="rect">
            <a:avLst/>
          </a:prstGeom>
          <a:noFill/>
        </p:spPr>
        <p:txBody>
          <a:bodyPr wrap="square" lIns="0" tIns="0" rIns="0" bIns="0" rtlCol="0">
            <a:normAutofit/>
          </a:bodyPr>
          <a:lstStyle/>
          <a:p>
            <a:pPr marL="0" marR="0" lvl="0" indent="0" algn="ctr" defTabSz="914400" rtl="0" eaLnBrk="1" fontAlgn="auto" latinLnBrk="0" hangingPunct="1">
              <a:lnSpc>
                <a:spcPct val="112000"/>
              </a:lnSpc>
              <a:spcBef>
                <a:spcPts val="0"/>
              </a:spcBef>
              <a:spcAft>
                <a:spcPts val="0"/>
              </a:spcAft>
              <a:buClrTx/>
              <a:buSzTx/>
              <a:buFontTx/>
              <a:buNone/>
              <a:tabLst/>
              <a:defRPr/>
            </a:pPr>
            <a:r>
              <a:t>Immune</a:t>
            </a:r>
            <a:br/>
            <a:r>
              <a:t>免疫</a:t>
            </a:r>
          </a:p>
          <a:p>
            <a:pPr marL="0" marR="0" lvl="0" indent="0" algn="ctr" defTabSz="914400" rtl="0" eaLnBrk="1" fontAlgn="auto" latinLnBrk="0" hangingPunct="1">
              <a:lnSpc>
                <a:spcPct val="112000"/>
              </a:lnSpc>
              <a:spcBef>
                <a:spcPts val="0"/>
              </a:spcBef>
              <a:spcAft>
                <a:spcPts val="0"/>
              </a:spcAft>
              <a:buClrTx/>
              <a:buSzTx/>
              <a:buFontTx/>
              <a:buNone/>
              <a:tabLst/>
              <a:defRPr/>
            </a:pPr>
            <a:r>
              <a:t>health</a:t>
            </a:r>
            <a:br/>
            <a:r>
              <a:t>健康</a:t>
            </a:r>
          </a:p>
        </p:txBody>
      </p:sp>
      <p:grpSp>
        <p:nvGrpSpPr>
          <p:cNvPr id="46" name="Group 45">
            <a:extLst>
              <a:ext uri="{FF2B5EF4-FFF2-40B4-BE49-F238E27FC236}">
                <a16:creationId xmlns:a16="http://schemas.microsoft.com/office/drawing/2014/main" id="{29AF015A-FB7D-9E9D-FD6C-7E7DCE3F7990}"/>
              </a:ext>
            </a:extLst>
          </p:cNvPr>
          <p:cNvGrpSpPr/>
          <p:nvPr/>
        </p:nvGrpSpPr>
        <p:grpSpPr>
          <a:xfrm>
            <a:off x="3937327" y="2227175"/>
            <a:ext cx="3917124" cy="3335709"/>
            <a:chOff x="3602670" y="1905590"/>
            <a:chExt cx="3917124" cy="3335709"/>
          </a:xfrm>
        </p:grpSpPr>
        <p:sp>
          <p:nvSpPr>
            <p:cNvPr id="1030" name="Teardrop 1029">
              <a:extLst>
                <a:ext uri="{FF2B5EF4-FFF2-40B4-BE49-F238E27FC236}">
                  <a16:creationId xmlns:a16="http://schemas.microsoft.com/office/drawing/2014/main" id="{B60C3424-D601-2D05-659F-F75823391EF8}"/>
                </a:ext>
              </a:extLst>
            </p:cNvPr>
            <p:cNvSpPr/>
            <p:nvPr/>
          </p:nvSpPr>
          <p:spPr>
            <a:xfrm rot="309899">
              <a:off x="4974573" y="1911480"/>
              <a:ext cx="2545221" cy="2545221"/>
            </a:xfrm>
            <a:prstGeom prst="teardrop">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2000"/>
                </a:lnSpc>
                <a:spcBef>
                  <a:spcPts val="0"/>
                </a:spcBef>
                <a:spcAft>
                  <a:spcPts val="0"/>
                </a:spcAft>
                <a:buClrTx/>
                <a:buSzTx/>
                <a:buFontTx/>
                <a:buNone/>
                <a:tabLst/>
                <a:defRPr/>
              </a:pPr>
              <a:endParaRPr kumimoji="0" lang="en-NL" sz="1400" b="0" i="0" u="none" strike="noStrike" kern="1200" cap="none" spc="0" normalizeH="0" baseline="0" noProof="0">
                <a:ln>
                  <a:noFill/>
                </a:ln>
                <a:solidFill>
                  <a:srgbClr val="FFFFFF"/>
                </a:solidFill>
                <a:effectLst/>
                <a:uLnTx/>
                <a:uFillTx/>
                <a:latin typeface="Verdana"/>
                <a:ea typeface="+mn-ea"/>
                <a:cs typeface="+mn-cs"/>
              </a:endParaRPr>
            </a:p>
          </p:txBody>
        </p:sp>
        <p:sp>
          <p:nvSpPr>
            <p:cNvPr id="6" name="Teardrop 5">
              <a:extLst>
                <a:ext uri="{FF2B5EF4-FFF2-40B4-BE49-F238E27FC236}">
                  <a16:creationId xmlns:a16="http://schemas.microsoft.com/office/drawing/2014/main" id="{DFEEC879-F90E-32FD-5A58-BF628929537B}"/>
                </a:ext>
              </a:extLst>
            </p:cNvPr>
            <p:cNvSpPr/>
            <p:nvPr/>
          </p:nvSpPr>
          <p:spPr>
            <a:xfrm rot="15899200">
              <a:off x="3602670" y="1905590"/>
              <a:ext cx="2545221" cy="2545221"/>
            </a:xfrm>
            <a:prstGeom prst="teardrop">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2000"/>
                </a:lnSpc>
                <a:spcBef>
                  <a:spcPts val="0"/>
                </a:spcBef>
                <a:spcAft>
                  <a:spcPts val="0"/>
                </a:spcAft>
                <a:buClrTx/>
                <a:buSzTx/>
                <a:buFontTx/>
                <a:buNone/>
                <a:tabLst/>
                <a:defRPr/>
              </a:pPr>
              <a:endParaRPr kumimoji="0" lang="en-NL" sz="1400" b="0" i="0" u="none" strike="noStrike" kern="1200" cap="none" spc="0" normalizeH="0" baseline="0" noProof="0">
                <a:ln>
                  <a:noFill/>
                </a:ln>
                <a:solidFill>
                  <a:srgbClr val="FFFFFF"/>
                </a:solidFill>
                <a:effectLst/>
                <a:uLnTx/>
                <a:uFillTx/>
                <a:latin typeface="Verdana"/>
                <a:ea typeface="+mn-ea"/>
                <a:cs typeface="+mn-cs"/>
              </a:endParaRPr>
            </a:p>
          </p:txBody>
        </p:sp>
        <p:sp>
          <p:nvSpPr>
            <p:cNvPr id="7" name="Teardrop 6">
              <a:extLst>
                <a:ext uri="{FF2B5EF4-FFF2-40B4-BE49-F238E27FC236}">
                  <a16:creationId xmlns:a16="http://schemas.microsoft.com/office/drawing/2014/main" id="{DBB8BAC1-BF1A-51C4-5956-73546BC7E2D9}"/>
                </a:ext>
              </a:extLst>
            </p:cNvPr>
            <p:cNvSpPr/>
            <p:nvPr/>
          </p:nvSpPr>
          <p:spPr>
            <a:xfrm rot="8100000">
              <a:off x="4366745" y="2696078"/>
              <a:ext cx="2545221" cy="2545221"/>
            </a:xfrm>
            <a:prstGeom prst="teardrop">
              <a:avLst/>
            </a:prstGeom>
            <a:solidFill>
              <a:schemeClr val="accent3">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2000"/>
                </a:lnSpc>
                <a:spcBef>
                  <a:spcPts val="0"/>
                </a:spcBef>
                <a:spcAft>
                  <a:spcPts val="0"/>
                </a:spcAft>
                <a:buClrTx/>
                <a:buSzTx/>
                <a:buFontTx/>
                <a:buNone/>
                <a:tabLst/>
                <a:defRPr/>
              </a:pPr>
              <a:endParaRPr kumimoji="0" lang="en-NL" sz="1400" b="0" i="0" u="none" strike="noStrike" kern="1200" cap="none" spc="0" normalizeH="0" baseline="0" noProof="0">
                <a:ln>
                  <a:noFill/>
                </a:ln>
                <a:solidFill>
                  <a:srgbClr val="FFFFFF"/>
                </a:solidFill>
                <a:effectLst/>
                <a:uLnTx/>
                <a:uFillTx/>
                <a:latin typeface="Verdana"/>
                <a:ea typeface="+mn-ea"/>
                <a:cs typeface="+mn-cs"/>
              </a:endParaRPr>
            </a:p>
          </p:txBody>
        </p:sp>
      </p:grpSp>
      <p:cxnSp>
        <p:nvCxnSpPr>
          <p:cNvPr id="9" name="Straight Connector 8">
            <a:extLst>
              <a:ext uri="{FF2B5EF4-FFF2-40B4-BE49-F238E27FC236}">
                <a16:creationId xmlns:a16="http://schemas.microsoft.com/office/drawing/2014/main" id="{A31296CC-4887-9551-20FB-7C08628DAFDE}"/>
              </a:ext>
            </a:extLst>
          </p:cNvPr>
          <p:cNvCxnSpPr>
            <a:cxnSpLocks/>
          </p:cNvCxnSpPr>
          <p:nvPr/>
        </p:nvCxnSpPr>
        <p:spPr>
          <a:xfrm>
            <a:off x="871909" y="2352798"/>
            <a:ext cx="3436308" cy="0"/>
          </a:xfrm>
          <a:prstGeom prst="line">
            <a:avLst/>
          </a:prstGeom>
          <a:ln/>
        </p:spPr>
        <p:style>
          <a:lnRef idx="1">
            <a:schemeClr val="accent1"/>
          </a:lnRef>
          <a:fillRef idx="0">
            <a:schemeClr val="accent1"/>
          </a:fillRef>
          <a:effectRef idx="0">
            <a:schemeClr val="accent1"/>
          </a:effectRef>
          <a:fontRef idx="minor">
            <a:schemeClr val="tx1"/>
          </a:fontRef>
        </p:style>
      </p:cxnSp>
      <p:sp>
        <p:nvSpPr>
          <p:cNvPr id="10" name="Rounded Rectangle 9">
            <a:extLst>
              <a:ext uri="{FF2B5EF4-FFF2-40B4-BE49-F238E27FC236}">
                <a16:creationId xmlns:a16="http://schemas.microsoft.com/office/drawing/2014/main" id="{96BFCD0E-7E5F-D142-37B7-922E1E2745AD}"/>
              </a:ext>
            </a:extLst>
          </p:cNvPr>
          <p:cNvSpPr/>
          <p:nvPr/>
        </p:nvSpPr>
        <p:spPr>
          <a:xfrm>
            <a:off x="265592" y="2020039"/>
            <a:ext cx="2991749" cy="342276"/>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rmAutofit/>
          </a:bodyPr>
          <a:lstStyle/>
          <a:p>
            <a:pPr marL="0" marR="0" lvl="0" indent="0" algn="r" defTabSz="914400" rtl="0" eaLnBrk="1" fontAlgn="auto" latinLnBrk="0" hangingPunct="1">
              <a:lnSpc>
                <a:spcPct val="112000"/>
              </a:lnSpc>
              <a:spcBef>
                <a:spcPts val="0"/>
              </a:spcBef>
              <a:spcAft>
                <a:spcPts val="0"/>
              </a:spcAft>
              <a:buClrTx/>
              <a:buSzTx/>
              <a:buFontTx/>
              <a:buNone/>
              <a:tabLst/>
              <a:defRPr/>
            </a:pPr>
            <a:r>
              <a:t>Multiple health Benefits</a:t>
            </a:r>
            <a:br/>
            <a:r>
              <a:t>多种健康益处</a:t>
            </a:r>
          </a:p>
        </p:txBody>
      </p:sp>
      <p:sp>
        <p:nvSpPr>
          <p:cNvPr id="26" name="Rounded Rectangle 25">
            <a:extLst>
              <a:ext uri="{FF2B5EF4-FFF2-40B4-BE49-F238E27FC236}">
                <a16:creationId xmlns:a16="http://schemas.microsoft.com/office/drawing/2014/main" id="{D41A8C50-BC4F-88A3-A8B4-D471D6D0297F}"/>
              </a:ext>
            </a:extLst>
          </p:cNvPr>
          <p:cNvSpPr/>
          <p:nvPr/>
        </p:nvSpPr>
        <p:spPr>
          <a:xfrm>
            <a:off x="8015024" y="1993393"/>
            <a:ext cx="2796219" cy="361336"/>
          </a:xfrm>
          <a:prstGeom prst="roundRect">
            <a:avLst>
              <a:gd name="adj" fmla="val 29825"/>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rmAutofit/>
          </a:bodyPr>
          <a:lstStyle/>
          <a:p>
            <a:pPr marL="0" marR="0" lvl="0" indent="0" algn="l" defTabSz="914400" rtl="0" eaLnBrk="1" fontAlgn="auto" latinLnBrk="0" hangingPunct="1">
              <a:lnSpc>
                <a:spcPct val="112000"/>
              </a:lnSpc>
              <a:spcBef>
                <a:spcPts val="0"/>
              </a:spcBef>
              <a:spcAft>
                <a:spcPts val="0"/>
              </a:spcAft>
              <a:buClrTx/>
              <a:buSzTx/>
              <a:buFontTx/>
              <a:buNone/>
              <a:tabLst/>
              <a:defRPr/>
            </a:pPr>
            <a:r>
              <a:t>Well resonated Ingredients</a:t>
            </a:r>
            <a:br/>
            <a:r>
              <a:t>广受认可的成分</a:t>
            </a:r>
          </a:p>
        </p:txBody>
      </p:sp>
      <p:cxnSp>
        <p:nvCxnSpPr>
          <p:cNvPr id="1031" name="Straight Connector 1030">
            <a:extLst>
              <a:ext uri="{FF2B5EF4-FFF2-40B4-BE49-F238E27FC236}">
                <a16:creationId xmlns:a16="http://schemas.microsoft.com/office/drawing/2014/main" id="{C6CC6822-1976-1044-86FB-EFDCE47FF6E5}"/>
              </a:ext>
            </a:extLst>
          </p:cNvPr>
          <p:cNvCxnSpPr>
            <a:cxnSpLocks/>
          </p:cNvCxnSpPr>
          <p:nvPr/>
        </p:nvCxnSpPr>
        <p:spPr>
          <a:xfrm>
            <a:off x="7244247" y="2354730"/>
            <a:ext cx="3456000" cy="0"/>
          </a:xfrm>
          <a:prstGeom prst="line">
            <a:avLst/>
          </a:prstGeom>
          <a:ln/>
        </p:spPr>
        <p:style>
          <a:lnRef idx="1">
            <a:schemeClr val="accent2"/>
          </a:lnRef>
          <a:fillRef idx="0">
            <a:schemeClr val="accent2"/>
          </a:fillRef>
          <a:effectRef idx="0">
            <a:schemeClr val="accent2"/>
          </a:effectRef>
          <a:fontRef idx="minor">
            <a:schemeClr val="tx1"/>
          </a:fontRef>
        </p:style>
      </p:cxnSp>
      <p:sp>
        <p:nvSpPr>
          <p:cNvPr id="1033" name="Rounded Rectangle 1032">
            <a:extLst>
              <a:ext uri="{FF2B5EF4-FFF2-40B4-BE49-F238E27FC236}">
                <a16:creationId xmlns:a16="http://schemas.microsoft.com/office/drawing/2014/main" id="{37E5E6CE-B141-3D06-26F4-97C67422DCB3}"/>
              </a:ext>
            </a:extLst>
          </p:cNvPr>
          <p:cNvSpPr/>
          <p:nvPr/>
        </p:nvSpPr>
        <p:spPr>
          <a:xfrm>
            <a:off x="5056970" y="5024758"/>
            <a:ext cx="1859164" cy="41238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rmAutofit/>
          </a:bodyPr>
          <a:lstStyle/>
          <a:p>
            <a:pPr marL="0" marR="0" lvl="0" indent="0" algn="ctr" defTabSz="914400" rtl="0" eaLnBrk="1" fontAlgn="auto" latinLnBrk="0" hangingPunct="1">
              <a:lnSpc>
                <a:spcPct val="112000"/>
              </a:lnSpc>
              <a:spcBef>
                <a:spcPts val="0"/>
              </a:spcBef>
              <a:spcAft>
                <a:spcPts val="0"/>
              </a:spcAft>
              <a:buClrTx/>
              <a:buSzTx/>
              <a:buFontTx/>
              <a:buNone/>
              <a:tabLst/>
              <a:defRPr/>
            </a:pPr>
            <a:r>
              <a:t>Formats</a:t>
            </a:r>
            <a:br/>
            <a:r>
              <a:t>形式</a:t>
            </a:r>
          </a:p>
        </p:txBody>
      </p:sp>
      <p:pic>
        <p:nvPicPr>
          <p:cNvPr id="1039" name="Picture 1038">
            <a:extLst>
              <a:ext uri="{FF2B5EF4-FFF2-40B4-BE49-F238E27FC236}">
                <a16:creationId xmlns:a16="http://schemas.microsoft.com/office/drawing/2014/main" id="{89C012A7-96AD-AABD-4905-FACD53029AAF}"/>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6755153" y="5089611"/>
            <a:ext cx="860715" cy="717263"/>
          </a:xfrm>
          <a:prstGeom prst="rect">
            <a:avLst/>
          </a:prstGeom>
        </p:spPr>
      </p:pic>
      <p:sp>
        <p:nvSpPr>
          <p:cNvPr id="1040" name="TextBox 1039">
            <a:extLst>
              <a:ext uri="{FF2B5EF4-FFF2-40B4-BE49-F238E27FC236}">
                <a16:creationId xmlns:a16="http://schemas.microsoft.com/office/drawing/2014/main" id="{54326FFD-CC0D-218D-3C49-B387EDE01483}"/>
              </a:ext>
            </a:extLst>
          </p:cNvPr>
          <p:cNvSpPr txBox="1"/>
          <p:nvPr/>
        </p:nvSpPr>
        <p:spPr>
          <a:xfrm>
            <a:off x="4293051" y="5993166"/>
            <a:ext cx="850738" cy="328231"/>
          </a:xfrm>
          <a:prstGeom prst="rect">
            <a:avLst/>
          </a:prstGeom>
          <a:noFill/>
        </p:spPr>
        <p:txBody>
          <a:bodyPr wrap="square" lIns="0" tIns="0" rIns="0" bIns="0" rtlCol="0">
            <a:normAutofit/>
          </a:bodyPr>
          <a:lstStyle/>
          <a:p>
            <a:pPr marL="0" marR="0" lvl="0" indent="0" algn="ctr" defTabSz="914400" rtl="0" eaLnBrk="1" fontAlgn="auto" latinLnBrk="0" hangingPunct="1">
              <a:lnSpc>
                <a:spcPct val="112000"/>
              </a:lnSpc>
              <a:spcBef>
                <a:spcPts val="0"/>
              </a:spcBef>
              <a:spcAft>
                <a:spcPts val="0"/>
              </a:spcAft>
              <a:buClrTx/>
              <a:buSzTx/>
              <a:buFontTx/>
              <a:buNone/>
              <a:tabLst/>
              <a:defRPr/>
            </a:pPr>
            <a:r>
              <a:t>Spoonable yoghurt</a:t>
            </a:r>
            <a:br/>
            <a:r>
              <a:t>勺食酸奶</a:t>
            </a:r>
            <a:endParaRPr kumimoji="0" lang="en-NL" sz="1000" b="1" i="0" u="none" strike="noStrike" kern="1200" cap="none" spc="0" normalizeH="0" baseline="0" noProof="0">
              <a:ln>
                <a:noFill/>
              </a:ln>
              <a:solidFill>
                <a:srgbClr val="3F4043"/>
              </a:solidFill>
              <a:effectLst/>
              <a:uLnTx/>
              <a:uFillTx/>
              <a:latin typeface="Verdana"/>
              <a:ea typeface="+mn-ea"/>
              <a:cs typeface="+mn-cs"/>
            </a:endParaRPr>
          </a:p>
        </p:txBody>
      </p:sp>
      <p:sp>
        <p:nvSpPr>
          <p:cNvPr id="1041" name="TextBox 1040">
            <a:extLst>
              <a:ext uri="{FF2B5EF4-FFF2-40B4-BE49-F238E27FC236}">
                <a16:creationId xmlns:a16="http://schemas.microsoft.com/office/drawing/2014/main" id="{FFCB1D2C-8B30-FC70-414E-332B7A91DCAA}"/>
              </a:ext>
            </a:extLst>
          </p:cNvPr>
          <p:cNvSpPr txBox="1"/>
          <p:nvPr/>
        </p:nvSpPr>
        <p:spPr>
          <a:xfrm>
            <a:off x="6755153" y="5993166"/>
            <a:ext cx="850738" cy="328167"/>
          </a:xfrm>
          <a:prstGeom prst="rect">
            <a:avLst/>
          </a:prstGeom>
          <a:noFill/>
        </p:spPr>
        <p:txBody>
          <a:bodyPr wrap="square" lIns="0" tIns="0" rIns="0" bIns="0" rtlCol="0">
            <a:normAutofit/>
          </a:bodyPr>
          <a:lstStyle/>
          <a:p>
            <a:pPr marL="0" marR="0" lvl="0" indent="0" algn="ctr" defTabSz="914400" rtl="0" eaLnBrk="1" fontAlgn="auto" latinLnBrk="0" hangingPunct="1">
              <a:lnSpc>
                <a:spcPct val="112000"/>
              </a:lnSpc>
              <a:spcBef>
                <a:spcPts val="0"/>
              </a:spcBef>
              <a:spcAft>
                <a:spcPts val="0"/>
              </a:spcAft>
              <a:buClrTx/>
              <a:buSzTx/>
              <a:buFontTx/>
              <a:buNone/>
              <a:tabLst/>
              <a:defRPr/>
            </a:pPr>
            <a:r>
              <a:t>Ready-to-drink</a:t>
            </a:r>
            <a:br/>
            <a:r>
              <a:t>即饮型</a:t>
            </a:r>
            <a:endParaRPr kumimoji="0" lang="en-NL" sz="1000" b="1" i="0" u="none" strike="noStrike" kern="1200" cap="none" spc="0" normalizeH="0" baseline="0" noProof="0">
              <a:ln>
                <a:noFill/>
              </a:ln>
              <a:solidFill>
                <a:srgbClr val="3F4043"/>
              </a:solidFill>
              <a:effectLst/>
              <a:uLnTx/>
              <a:uFillTx/>
              <a:latin typeface="Verdana"/>
              <a:ea typeface="+mn-ea"/>
              <a:cs typeface="+mn-cs"/>
            </a:endParaRPr>
          </a:p>
        </p:txBody>
      </p:sp>
      <p:pic>
        <p:nvPicPr>
          <p:cNvPr id="1047" name="Picture 1046">
            <a:extLst>
              <a:ext uri="{FF2B5EF4-FFF2-40B4-BE49-F238E27FC236}">
                <a16:creationId xmlns:a16="http://schemas.microsoft.com/office/drawing/2014/main" id="{0A6759B6-E814-0E13-33C7-4062C6647274}"/>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4300803" y="5121937"/>
            <a:ext cx="815043" cy="679203"/>
          </a:xfrm>
          <a:prstGeom prst="rect">
            <a:avLst/>
          </a:prstGeom>
        </p:spPr>
      </p:pic>
      <p:sp>
        <p:nvSpPr>
          <p:cNvPr id="1049" name="TextBox 1048">
            <a:extLst>
              <a:ext uri="{FF2B5EF4-FFF2-40B4-BE49-F238E27FC236}">
                <a16:creationId xmlns:a16="http://schemas.microsoft.com/office/drawing/2014/main" id="{9929F22D-87A3-E59E-6E10-6DE5066F527A}"/>
              </a:ext>
            </a:extLst>
          </p:cNvPr>
          <p:cNvSpPr txBox="1"/>
          <p:nvPr/>
        </p:nvSpPr>
        <p:spPr>
          <a:xfrm>
            <a:off x="5549029" y="3487915"/>
            <a:ext cx="712948" cy="490712"/>
          </a:xfrm>
          <a:prstGeom prst="rect">
            <a:avLst/>
          </a:prstGeom>
          <a:noFill/>
        </p:spPr>
        <p:txBody>
          <a:bodyPr wrap="square" lIns="0" tIns="0" rIns="0" bIns="0" rtlCol="0">
            <a:normAutofit/>
          </a:bodyPr>
          <a:lstStyle/>
          <a:p>
            <a:pPr marL="0" marR="0" lvl="0" indent="0" algn="ctr" defTabSz="914400" rtl="0" eaLnBrk="1" fontAlgn="auto" latinLnBrk="0" hangingPunct="1">
              <a:lnSpc>
                <a:spcPct val="112000"/>
              </a:lnSpc>
              <a:spcBef>
                <a:spcPts val="0"/>
              </a:spcBef>
              <a:spcAft>
                <a:spcPts val="0"/>
              </a:spcAft>
              <a:buClrTx/>
              <a:buSzTx/>
              <a:buFontTx/>
              <a:buNone/>
              <a:tabLst/>
              <a:defRPr/>
            </a:pPr>
            <a:r>
              <a:t>All in one</a:t>
            </a:r>
            <a:br/>
            <a:r>
              <a:t>一站式</a:t>
            </a:r>
          </a:p>
        </p:txBody>
      </p:sp>
      <p:sp>
        <p:nvSpPr>
          <p:cNvPr id="1050" name="Arc 1049">
            <a:extLst>
              <a:ext uri="{FF2B5EF4-FFF2-40B4-BE49-F238E27FC236}">
                <a16:creationId xmlns:a16="http://schemas.microsoft.com/office/drawing/2014/main" id="{797B96FE-543F-CABB-BEB8-A2B14C8E06C9}"/>
              </a:ext>
            </a:extLst>
          </p:cNvPr>
          <p:cNvSpPr/>
          <p:nvPr/>
        </p:nvSpPr>
        <p:spPr>
          <a:xfrm>
            <a:off x="4655286" y="3020128"/>
            <a:ext cx="2588447" cy="2588447"/>
          </a:xfrm>
          <a:prstGeom prst="arc">
            <a:avLst>
              <a:gd name="adj1" fmla="val 14092319"/>
              <a:gd name="adj2" fmla="val 18158778"/>
            </a:avLst>
          </a:prstGeom>
          <a:ln w="38100" cap="rnd">
            <a:solidFill>
              <a:schemeClr val="bg1"/>
            </a:solidFill>
            <a:prstDash val="dash"/>
          </a:ln>
        </p:spPr>
        <p:style>
          <a:lnRef idx="1">
            <a:schemeClr val="accent1"/>
          </a:lnRef>
          <a:fillRef idx="0">
            <a:schemeClr val="accent1"/>
          </a:fillRef>
          <a:effectRef idx="0">
            <a:schemeClr val="accent1"/>
          </a:effectRef>
          <a:fontRef idx="minor">
            <a:schemeClr val="tx1"/>
          </a:fontRef>
        </p:style>
        <p:txBody>
          <a:bodyPr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L" sz="1800" b="0" i="0" u="none" strike="noStrike" kern="1200" cap="none" spc="0" normalizeH="0" baseline="0" noProof="0">
              <a:ln>
                <a:noFill/>
              </a:ln>
              <a:solidFill>
                <a:srgbClr val="3F4043"/>
              </a:solidFill>
              <a:effectLst/>
              <a:uLnTx/>
              <a:uFillTx/>
              <a:latin typeface="Verdana"/>
              <a:ea typeface="+mn-ea"/>
              <a:cs typeface="+mn-cs"/>
            </a:endParaRPr>
          </a:p>
        </p:txBody>
      </p:sp>
      <p:sp>
        <p:nvSpPr>
          <p:cNvPr id="1051" name="Arc 1050">
            <a:extLst>
              <a:ext uri="{FF2B5EF4-FFF2-40B4-BE49-F238E27FC236}">
                <a16:creationId xmlns:a16="http://schemas.microsoft.com/office/drawing/2014/main" id="{CADAA417-DEC6-74B0-3B9A-1C4945965705}"/>
              </a:ext>
            </a:extLst>
          </p:cNvPr>
          <p:cNvSpPr/>
          <p:nvPr/>
        </p:nvSpPr>
        <p:spPr>
          <a:xfrm rot="14202975">
            <a:off x="5320222" y="1907462"/>
            <a:ext cx="2588447" cy="2588447"/>
          </a:xfrm>
          <a:prstGeom prst="arc">
            <a:avLst>
              <a:gd name="adj1" fmla="val 14346623"/>
              <a:gd name="adj2" fmla="val 19854832"/>
            </a:avLst>
          </a:prstGeom>
          <a:ln w="38100" cap="rnd">
            <a:solidFill>
              <a:schemeClr val="bg1"/>
            </a:solidFill>
            <a:prstDash val="dash"/>
          </a:ln>
        </p:spPr>
        <p:style>
          <a:lnRef idx="1">
            <a:schemeClr val="accent1"/>
          </a:lnRef>
          <a:fillRef idx="0">
            <a:schemeClr val="accent1"/>
          </a:fillRef>
          <a:effectRef idx="0">
            <a:schemeClr val="accent1"/>
          </a:effectRef>
          <a:fontRef idx="minor">
            <a:schemeClr val="tx1"/>
          </a:fontRef>
        </p:style>
        <p:txBody>
          <a:bodyPr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L" sz="1800" b="0" i="0" u="none" strike="noStrike" kern="1200" cap="none" spc="0" normalizeH="0" baseline="0" noProof="0">
              <a:ln>
                <a:noFill/>
              </a:ln>
              <a:solidFill>
                <a:srgbClr val="3F4043"/>
              </a:solidFill>
              <a:effectLst/>
              <a:uLnTx/>
              <a:uFillTx/>
              <a:latin typeface="Verdana"/>
              <a:ea typeface="+mn-ea"/>
              <a:cs typeface="+mn-cs"/>
            </a:endParaRPr>
          </a:p>
        </p:txBody>
      </p:sp>
      <p:sp>
        <p:nvSpPr>
          <p:cNvPr id="1052" name="Arc 1051">
            <a:extLst>
              <a:ext uri="{FF2B5EF4-FFF2-40B4-BE49-F238E27FC236}">
                <a16:creationId xmlns:a16="http://schemas.microsoft.com/office/drawing/2014/main" id="{381C98D0-504B-948B-20A2-C735EC8BC050}"/>
              </a:ext>
            </a:extLst>
          </p:cNvPr>
          <p:cNvSpPr/>
          <p:nvPr/>
        </p:nvSpPr>
        <p:spPr>
          <a:xfrm rot="7397025" flipH="1">
            <a:off x="3895458" y="1915070"/>
            <a:ext cx="2588447" cy="2588447"/>
          </a:xfrm>
          <a:prstGeom prst="arc">
            <a:avLst>
              <a:gd name="adj1" fmla="val 14375471"/>
              <a:gd name="adj2" fmla="val 19923383"/>
            </a:avLst>
          </a:prstGeom>
          <a:ln w="38100" cap="rnd">
            <a:solidFill>
              <a:schemeClr val="bg1"/>
            </a:solidFill>
            <a:prstDash val="dash"/>
          </a:ln>
        </p:spPr>
        <p:style>
          <a:lnRef idx="1">
            <a:schemeClr val="accent1"/>
          </a:lnRef>
          <a:fillRef idx="0">
            <a:schemeClr val="accent1"/>
          </a:fillRef>
          <a:effectRef idx="0">
            <a:schemeClr val="accent1"/>
          </a:effectRef>
          <a:fontRef idx="minor">
            <a:schemeClr val="tx1"/>
          </a:fontRef>
        </p:style>
        <p:txBody>
          <a:bodyPr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L" sz="1800" b="0" i="0" u="none" strike="noStrike" kern="1200" cap="none" spc="0" normalizeH="0" baseline="0" noProof="0">
              <a:ln>
                <a:noFill/>
              </a:ln>
              <a:solidFill>
                <a:srgbClr val="3F4043"/>
              </a:solidFill>
              <a:effectLst/>
              <a:uLnTx/>
              <a:uFillTx/>
              <a:latin typeface="Verdana"/>
              <a:ea typeface="+mn-ea"/>
              <a:cs typeface="+mn-cs"/>
            </a:endParaRPr>
          </a:p>
        </p:txBody>
      </p:sp>
      <p:sp>
        <p:nvSpPr>
          <p:cNvPr id="1053" name="TextBox 1052">
            <a:extLst>
              <a:ext uri="{FF2B5EF4-FFF2-40B4-BE49-F238E27FC236}">
                <a16:creationId xmlns:a16="http://schemas.microsoft.com/office/drawing/2014/main" id="{5D6A40FE-1C86-3968-97E9-59E14EAA2DD7}"/>
              </a:ext>
            </a:extLst>
          </p:cNvPr>
          <p:cNvSpPr txBox="1"/>
          <p:nvPr/>
        </p:nvSpPr>
        <p:spPr>
          <a:xfrm>
            <a:off x="9099000" y="2490530"/>
            <a:ext cx="1714410" cy="2148537"/>
          </a:xfrm>
          <a:prstGeom prst="rect">
            <a:avLst/>
          </a:prstGeom>
          <a:noFill/>
        </p:spPr>
        <p:txBody>
          <a:bodyPr wrap="square" lIns="0" tIns="0" rIns="0" bIns="0" rtlCol="0">
            <a:normAutofit/>
          </a:bodyPr>
          <a:lstStyle/>
          <a:p>
            <a:pPr marL="285750" marR="0" lvl="0" indent="-285750" algn="l" defTabSz="914400" rtl="0" eaLnBrk="1" fontAlgn="auto" latinLnBrk="0" hangingPunct="1">
              <a:lnSpc>
                <a:spcPct val="112000"/>
              </a:lnSpc>
              <a:spcBef>
                <a:spcPts val="0"/>
              </a:spcBef>
              <a:spcAft>
                <a:spcPts val="0"/>
              </a:spcAft>
              <a:buClrTx/>
              <a:buSzTx/>
              <a:buFont typeface="Arial" panose="020B0604020202020204" pitchFamily="34" charset="0"/>
              <a:buChar char="•"/>
              <a:tabLst/>
              <a:defRPr/>
            </a:pPr>
            <a:r>
              <a:rPr kumimoji="0" lang="en-NL" sz="1400" b="1" i="0" u="none" strike="noStrike" kern="1200" cap="none" spc="0" normalizeH="0" baseline="0" noProof="0">
                <a:ln>
                  <a:noFill/>
                </a:ln>
                <a:solidFill>
                  <a:srgbClr val="3F4043"/>
                </a:solidFill>
                <a:effectLst/>
                <a:uLnTx/>
                <a:uFillTx/>
                <a:latin typeface="Verdana"/>
                <a:ea typeface="+mn-ea"/>
                <a:cs typeface="+mn-cs"/>
              </a:rPr>
              <a:t>DHA</a:t>
            </a:r>
            <a:endParaRPr kumimoji="0" lang="nl-NL" sz="1400" b="1" i="0" u="none" strike="noStrike" kern="1200" cap="none" spc="0" normalizeH="0" baseline="0" noProof="0">
              <a:ln>
                <a:noFill/>
              </a:ln>
              <a:solidFill>
                <a:srgbClr val="3F4043"/>
              </a:solidFill>
              <a:effectLst/>
              <a:uLnTx/>
              <a:uFillTx/>
              <a:latin typeface="Verdana"/>
              <a:ea typeface="+mn-ea"/>
              <a:cs typeface="+mn-cs"/>
            </a:endParaRPr>
          </a:p>
          <a:p>
            <a:pPr marL="285750" marR="0" lvl="0" indent="-285750" algn="l" defTabSz="914400" rtl="0" eaLnBrk="1" fontAlgn="auto" latinLnBrk="0" hangingPunct="1">
              <a:lnSpc>
                <a:spcPct val="112000"/>
              </a:lnSpc>
              <a:spcBef>
                <a:spcPts val="0"/>
              </a:spcBef>
              <a:spcAft>
                <a:spcPts val="0"/>
              </a:spcAft>
              <a:buClrTx/>
              <a:buSzTx/>
              <a:buFont typeface="Arial" panose="020B0604020202020204" pitchFamily="34" charset="0"/>
              <a:buChar char="•"/>
              <a:tabLst/>
              <a:defRPr/>
            </a:pPr>
            <a:r>
              <a:t>Protein</a:t>
            </a:r>
            <a:br/>
            <a:r>
              <a:t>蛋白质</a:t>
            </a:r>
            <a:endParaRPr kumimoji="0" lang="en-NL" sz="1400" b="1" i="0" u="none" strike="noStrike" kern="1200" cap="none" spc="0" normalizeH="0" baseline="0" noProof="0">
              <a:ln>
                <a:noFill/>
              </a:ln>
              <a:solidFill>
                <a:srgbClr val="3F4043"/>
              </a:solidFill>
              <a:effectLst/>
              <a:uLnTx/>
              <a:uFillTx/>
              <a:latin typeface="Verdana"/>
              <a:ea typeface="+mn-ea"/>
              <a:cs typeface="+mn-cs"/>
            </a:endParaRPr>
          </a:p>
          <a:p>
            <a:pPr marL="285750" marR="0" lvl="0" indent="-285750" algn="l" defTabSz="914400" rtl="0" eaLnBrk="1" fontAlgn="auto" latinLnBrk="0" hangingPunct="1">
              <a:lnSpc>
                <a:spcPct val="112000"/>
              </a:lnSpc>
              <a:spcBef>
                <a:spcPts val="0"/>
              </a:spcBef>
              <a:spcAft>
                <a:spcPts val="0"/>
              </a:spcAft>
              <a:buClrTx/>
              <a:buSzTx/>
              <a:buFont typeface="Arial" panose="020B0604020202020204" pitchFamily="34" charset="0"/>
              <a:buChar char="•"/>
              <a:tabLst/>
              <a:defRPr/>
            </a:pPr>
            <a:r>
              <a:t>Lactoferrin</a:t>
            </a:r>
            <a:br/>
            <a:r>
              <a:t>乳铁蛋白</a:t>
            </a:r>
          </a:p>
          <a:p>
            <a:pPr marL="285750" marR="0" lvl="0" indent="-285750" algn="l" defTabSz="914400" rtl="0" eaLnBrk="1" fontAlgn="auto" latinLnBrk="0" hangingPunct="1">
              <a:lnSpc>
                <a:spcPct val="112000"/>
              </a:lnSpc>
              <a:spcBef>
                <a:spcPts val="0"/>
              </a:spcBef>
              <a:spcAft>
                <a:spcPts val="0"/>
              </a:spcAft>
              <a:buClrTx/>
              <a:buSzTx/>
              <a:buFont typeface="Arial" panose="020B0604020202020204" pitchFamily="34" charset="0"/>
              <a:buChar char="•"/>
              <a:tabLst/>
              <a:defRPr/>
            </a:pPr>
            <a:r>
              <a:t>Prebiotics</a:t>
            </a:r>
            <a:br/>
            <a:r>
              <a:t>益生元</a:t>
            </a:r>
            <a:endParaRPr kumimoji="0" lang="en-NL" sz="1400" b="1" i="0" u="none" strike="noStrike" kern="1200" cap="none" spc="0" normalizeH="0" baseline="0" noProof="0">
              <a:ln>
                <a:noFill/>
              </a:ln>
              <a:solidFill>
                <a:srgbClr val="3F4043"/>
              </a:solidFill>
              <a:effectLst/>
              <a:uLnTx/>
              <a:uFillTx/>
              <a:latin typeface="Verdana"/>
              <a:ea typeface="+mn-ea"/>
              <a:cs typeface="+mn-cs"/>
            </a:endParaRPr>
          </a:p>
          <a:p>
            <a:pPr marL="285750" marR="0" lvl="0" indent="-285750" algn="l" defTabSz="914400" rtl="0" eaLnBrk="1" fontAlgn="auto" latinLnBrk="0" hangingPunct="1">
              <a:lnSpc>
                <a:spcPct val="112000"/>
              </a:lnSpc>
              <a:spcBef>
                <a:spcPts val="0"/>
              </a:spcBef>
              <a:spcAft>
                <a:spcPts val="0"/>
              </a:spcAft>
              <a:buClrTx/>
              <a:buSzTx/>
              <a:buFont typeface="Arial" panose="020B0604020202020204" pitchFamily="34" charset="0"/>
              <a:buChar char="•"/>
              <a:tabLst/>
              <a:defRPr/>
            </a:pPr>
            <a:r>
              <a:t>Lutein</a:t>
            </a:r>
            <a:br/>
            <a:r>
              <a:t>叶黄素</a:t>
            </a:r>
          </a:p>
          <a:p>
            <a:pPr marL="285750" marR="0" lvl="0" indent="-285750" algn="l" defTabSz="914400" rtl="0" eaLnBrk="1" fontAlgn="auto" latinLnBrk="0" hangingPunct="1">
              <a:lnSpc>
                <a:spcPct val="112000"/>
              </a:lnSpc>
              <a:spcBef>
                <a:spcPts val="0"/>
              </a:spcBef>
              <a:spcAft>
                <a:spcPts val="0"/>
              </a:spcAft>
              <a:buClrTx/>
              <a:buSzTx/>
              <a:buFont typeface="Arial" panose="020B0604020202020204" pitchFamily="34" charset="0"/>
              <a:buChar char="•"/>
              <a:tabLst/>
              <a:defRPr/>
            </a:pPr>
            <a:r>
              <a:t>Probiotics</a:t>
            </a:r>
            <a:br/>
            <a:r>
              <a:t>益生菌</a:t>
            </a:r>
            <a:endParaRPr kumimoji="0" lang="nl-NL" sz="1400" b="1" i="0" u="none" strike="noStrike" kern="1200" cap="none" spc="0" normalizeH="0" baseline="0" noProof="0">
              <a:ln>
                <a:noFill/>
              </a:ln>
              <a:solidFill>
                <a:srgbClr val="3F4043"/>
              </a:solidFill>
              <a:effectLst/>
              <a:uLnTx/>
              <a:uFillTx/>
              <a:latin typeface="Verdana"/>
              <a:ea typeface="+mn-ea"/>
              <a:cs typeface="+mn-cs"/>
            </a:endParaRPr>
          </a:p>
          <a:p>
            <a:pPr marL="285750" marR="0" lvl="0" indent="-285750" algn="l" defTabSz="914400" rtl="0" eaLnBrk="1" fontAlgn="auto" latinLnBrk="0" hangingPunct="1">
              <a:lnSpc>
                <a:spcPct val="112000"/>
              </a:lnSpc>
              <a:spcBef>
                <a:spcPts val="0"/>
              </a:spcBef>
              <a:spcAft>
                <a:spcPts val="0"/>
              </a:spcAft>
              <a:buClrTx/>
              <a:buSzTx/>
              <a:buFont typeface="Arial" panose="020B0604020202020204" pitchFamily="34" charset="0"/>
              <a:buChar char="•"/>
              <a:tabLst/>
              <a:defRPr/>
            </a:pPr>
            <a:r>
              <a:t>Vitamins</a:t>
            </a:r>
            <a:br/>
            <a:r>
              <a:t>维生素</a:t>
            </a:r>
            <a:endParaRPr kumimoji="0" lang="nl-NL" sz="1400" b="1" i="0" u="none" strike="noStrike" kern="1200" cap="none" spc="0" normalizeH="0" baseline="0" noProof="0">
              <a:ln>
                <a:noFill/>
              </a:ln>
              <a:solidFill>
                <a:srgbClr val="3F4043"/>
              </a:solidFill>
              <a:effectLst/>
              <a:uLnTx/>
              <a:uFillTx/>
              <a:latin typeface="Verdana"/>
              <a:ea typeface="+mn-ea"/>
              <a:cs typeface="+mn-cs"/>
            </a:endParaRPr>
          </a:p>
          <a:p>
            <a:pPr marL="285750" marR="0" lvl="0" indent="-285750" algn="l" defTabSz="914400" rtl="0" eaLnBrk="1" fontAlgn="auto" latinLnBrk="0" hangingPunct="1">
              <a:lnSpc>
                <a:spcPct val="112000"/>
              </a:lnSpc>
              <a:spcBef>
                <a:spcPts val="0"/>
              </a:spcBef>
              <a:spcAft>
                <a:spcPts val="0"/>
              </a:spcAft>
              <a:buClrTx/>
              <a:buSzTx/>
              <a:buFont typeface="Arial" panose="020B0604020202020204" pitchFamily="34" charset="0"/>
              <a:buChar char="•"/>
              <a:tabLst/>
              <a:defRPr/>
            </a:pPr>
            <a:r>
              <a:t>Minerals</a:t>
            </a:r>
            <a:br/>
            <a:r>
              <a:t>矿物质</a:t>
            </a:r>
            <a:endParaRPr kumimoji="0" lang="nl-NL" sz="1400" b="1" i="0" u="none" strike="noStrike" kern="1200" cap="none" spc="0" normalizeH="0" baseline="0" noProof="0">
              <a:ln>
                <a:noFill/>
              </a:ln>
              <a:solidFill>
                <a:srgbClr val="3F4043"/>
              </a:solidFill>
              <a:effectLst/>
              <a:uLnTx/>
              <a:uFillTx/>
              <a:latin typeface="Verdana"/>
              <a:ea typeface="+mn-ea"/>
              <a:cs typeface="+mn-cs"/>
            </a:endParaRPr>
          </a:p>
          <a:p>
            <a:pPr marL="0" marR="0" lvl="0" indent="0" algn="l" defTabSz="914400" rtl="0" eaLnBrk="1" fontAlgn="auto" latinLnBrk="0" hangingPunct="1">
              <a:lnSpc>
                <a:spcPct val="112000"/>
              </a:lnSpc>
              <a:spcBef>
                <a:spcPts val="0"/>
              </a:spcBef>
              <a:spcAft>
                <a:spcPts val="0"/>
              </a:spcAft>
              <a:buClrTx/>
              <a:buSzTx/>
              <a:buFontTx/>
              <a:buNone/>
              <a:tabLst/>
              <a:defRPr/>
            </a:pPr>
            <a:endParaRPr kumimoji="0" lang="en-NL" sz="1400" b="1" i="0" u="none" strike="noStrike" kern="1200" cap="none" spc="0" normalizeH="0" baseline="0" noProof="0">
              <a:ln>
                <a:noFill/>
              </a:ln>
              <a:solidFill>
                <a:srgbClr val="3F4043"/>
              </a:solidFill>
              <a:effectLst/>
              <a:uLnTx/>
              <a:uFillTx/>
              <a:latin typeface="Verdana"/>
              <a:ea typeface="+mn-ea"/>
              <a:cs typeface="+mn-cs"/>
            </a:endParaRPr>
          </a:p>
        </p:txBody>
      </p:sp>
      <p:sp>
        <p:nvSpPr>
          <p:cNvPr id="1063" name="TextBox 1062">
            <a:extLst>
              <a:ext uri="{FF2B5EF4-FFF2-40B4-BE49-F238E27FC236}">
                <a16:creationId xmlns:a16="http://schemas.microsoft.com/office/drawing/2014/main" id="{9E766CF1-5B2C-742A-5AE2-FE7558771061}"/>
              </a:ext>
            </a:extLst>
          </p:cNvPr>
          <p:cNvSpPr txBox="1"/>
          <p:nvPr/>
        </p:nvSpPr>
        <p:spPr>
          <a:xfrm>
            <a:off x="3033136" y="4647792"/>
            <a:ext cx="670079" cy="328231"/>
          </a:xfrm>
          <a:prstGeom prst="rect">
            <a:avLst/>
          </a:prstGeom>
          <a:noFill/>
        </p:spPr>
        <p:txBody>
          <a:bodyPr wrap="square" lIns="0" tIns="0" rIns="0" bIns="0" rtlCol="0">
            <a:normAutofit/>
          </a:bodyPr>
          <a:lstStyle/>
          <a:p>
            <a:pPr marL="0" marR="0" lvl="0" indent="0" algn="ctr" defTabSz="914400" rtl="0" eaLnBrk="1" fontAlgn="auto" latinLnBrk="0" hangingPunct="1">
              <a:lnSpc>
                <a:spcPct val="112000"/>
              </a:lnSpc>
              <a:spcBef>
                <a:spcPts val="0"/>
              </a:spcBef>
              <a:spcAft>
                <a:spcPts val="0"/>
              </a:spcAft>
              <a:buClrTx/>
              <a:buSzTx/>
              <a:buFontTx/>
              <a:buNone/>
              <a:tabLst/>
              <a:defRPr/>
            </a:pPr>
            <a:r>
              <a:t>Eye health</a:t>
            </a:r>
            <a:br/>
            <a:r>
              <a:t>眼睛健康</a:t>
            </a:r>
            <a:endParaRPr kumimoji="0" lang="en-NL" sz="1000" b="1" i="0" u="none" strike="noStrike" kern="1200" cap="none" spc="0" normalizeH="0" baseline="0" noProof="0">
              <a:ln>
                <a:noFill/>
              </a:ln>
              <a:solidFill>
                <a:srgbClr val="EC008C"/>
              </a:solidFill>
              <a:effectLst/>
              <a:uLnTx/>
              <a:uFillTx/>
              <a:latin typeface="Verdana"/>
              <a:ea typeface="+mn-ea"/>
              <a:cs typeface="+mn-cs"/>
            </a:endParaRPr>
          </a:p>
        </p:txBody>
      </p:sp>
      <p:sp>
        <p:nvSpPr>
          <p:cNvPr id="1064" name="Oval 1063">
            <a:extLst>
              <a:ext uri="{FF2B5EF4-FFF2-40B4-BE49-F238E27FC236}">
                <a16:creationId xmlns:a16="http://schemas.microsoft.com/office/drawing/2014/main" id="{098F34C1-AEFA-FC2F-38C6-9D1154AC1579}"/>
              </a:ext>
            </a:extLst>
          </p:cNvPr>
          <p:cNvSpPr/>
          <p:nvPr/>
        </p:nvSpPr>
        <p:spPr>
          <a:xfrm>
            <a:off x="3028514" y="3882175"/>
            <a:ext cx="655150" cy="655150"/>
          </a:xfrm>
          <a:prstGeom prst="ellipse">
            <a:avLst/>
          </a:prstGeom>
          <a:solidFill>
            <a:schemeClr val="accent4"/>
          </a:solidFill>
          <a:ln w="12700">
            <a:solidFill>
              <a:schemeClr val="accent6">
                <a:lumMod val="20000"/>
                <a:lumOff val="80000"/>
              </a:schemeClr>
            </a:solidFill>
          </a:ln>
          <a:effectLst>
            <a:outerShdw blurRad="1016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112000"/>
              </a:lnSpc>
              <a:spcBef>
                <a:spcPts val="0"/>
              </a:spcBef>
              <a:spcAft>
                <a:spcPts val="0"/>
              </a:spcAft>
              <a:buClrTx/>
              <a:buSzTx/>
              <a:buFontTx/>
              <a:buNone/>
              <a:tabLst/>
              <a:defRPr/>
            </a:pPr>
            <a:endParaRPr kumimoji="0" lang="en-NL" sz="1400" b="0" i="0" u="none" strike="noStrike" kern="1200" cap="none" spc="0" normalizeH="0" baseline="0" noProof="0">
              <a:ln>
                <a:noFill/>
              </a:ln>
              <a:solidFill>
                <a:srgbClr val="FFFFFF"/>
              </a:solidFill>
              <a:effectLst/>
              <a:uLnTx/>
              <a:uFillTx/>
              <a:latin typeface="Verdana"/>
              <a:ea typeface="+mn-ea"/>
              <a:cs typeface="+mn-cs"/>
            </a:endParaRPr>
          </a:p>
        </p:txBody>
      </p:sp>
      <p:pic>
        <p:nvPicPr>
          <p:cNvPr id="1065" name="Picture 1064">
            <a:extLst>
              <a:ext uri="{FF2B5EF4-FFF2-40B4-BE49-F238E27FC236}">
                <a16:creationId xmlns:a16="http://schemas.microsoft.com/office/drawing/2014/main" id="{F1756AF5-3DBC-569A-35A4-701A59E4CBD0}"/>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2994567" y="3897213"/>
            <a:ext cx="723044" cy="602537"/>
          </a:xfrm>
          <a:prstGeom prst="rect">
            <a:avLst/>
          </a:prstGeom>
        </p:spPr>
      </p:pic>
      <p:sp>
        <p:nvSpPr>
          <p:cNvPr id="4" name="Rectangle 3">
            <a:extLst>
              <a:ext uri="{FF2B5EF4-FFF2-40B4-BE49-F238E27FC236}">
                <a16:creationId xmlns:a16="http://schemas.microsoft.com/office/drawing/2014/main" id="{7072D924-CA0D-98EF-C0DB-2FBA200912EC}"/>
              </a:ext>
            </a:extLst>
          </p:cNvPr>
          <p:cNvSpPr/>
          <p:nvPr/>
        </p:nvSpPr>
        <p:spPr>
          <a:xfrm>
            <a:off x="-7339" y="-8695"/>
            <a:ext cx="2455569" cy="39727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112000"/>
              </a:lnSpc>
            </a:pPr>
            <a:r>
              <a:t>KIDS</a:t>
            </a:r>
            <a:br/>
            <a:r>
              <a:t>儿童</a:t>
            </a:r>
            <a:endParaRPr lang="en-NL" sz="1600" b="1"/>
          </a:p>
        </p:txBody>
      </p:sp>
      <p:pic>
        <p:nvPicPr>
          <p:cNvPr id="12" name="Picture Placeholder 27">
            <a:extLst>
              <a:ext uri="{FF2B5EF4-FFF2-40B4-BE49-F238E27FC236}">
                <a16:creationId xmlns:a16="http://schemas.microsoft.com/office/drawing/2014/main" id="{5C008106-6D8B-8DDB-D6B8-035929D2A441}"/>
              </a:ext>
            </a:extLst>
          </p:cNvPr>
          <p:cNvPicPr>
            <a:picLocks noChangeAspect="1"/>
          </p:cNvPicPr>
          <p:nvPr/>
        </p:nvPicPr>
        <p:blipFill>
          <a:blip r:embed="rId14">
            <a:extLst>
              <a:ext uri="{28A0092B-C50C-407E-A947-70E740481C1C}">
                <a14:useLocalDpi xmlns:a14="http://schemas.microsoft.com/office/drawing/2010/main" val="0"/>
              </a:ext>
            </a:extLst>
          </a:blip>
          <a:srcRect t="3811" b="3811"/>
          <a:stretch/>
        </p:blipFill>
        <p:spPr>
          <a:xfrm>
            <a:off x="10324030" y="-1"/>
            <a:ext cx="1912937" cy="1870075"/>
          </a:xfrm>
          <a:custGeom>
            <a:avLst/>
            <a:gdLst>
              <a:gd name="connsiteX0" fmla="*/ 0 w 3132137"/>
              <a:gd name="connsiteY0" fmla="*/ 0 h 4408488"/>
              <a:gd name="connsiteX1" fmla="*/ 3132137 w 3132137"/>
              <a:gd name="connsiteY1" fmla="*/ 0 h 4408488"/>
              <a:gd name="connsiteX2" fmla="*/ 3132137 w 3132137"/>
              <a:gd name="connsiteY2" fmla="*/ 1 h 4408488"/>
              <a:gd name="connsiteX3" fmla="*/ 3132137 w 3132137"/>
              <a:gd name="connsiteY3" fmla="*/ 2356339 h 4408488"/>
              <a:gd name="connsiteX4" fmla="*/ 3132137 w 3132137"/>
              <a:gd name="connsiteY4" fmla="*/ 4408488 h 4408488"/>
              <a:gd name="connsiteX5" fmla="*/ 522033 w 3132137"/>
              <a:gd name="connsiteY5" fmla="*/ 4408488 h 4408488"/>
              <a:gd name="connsiteX6" fmla="*/ 0 w 3132137"/>
              <a:gd name="connsiteY6" fmla="*/ 3886455 h 4408488"/>
              <a:gd name="connsiteX7" fmla="*/ 0 w 3132137"/>
              <a:gd name="connsiteY7" fmla="*/ 2356339 h 4408488"/>
              <a:gd name="connsiteX8" fmla="*/ 0 w 3132137"/>
              <a:gd name="connsiteY8" fmla="*/ 1 h 4408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2137" h="4408488">
                <a:moveTo>
                  <a:pt x="0" y="0"/>
                </a:moveTo>
                <a:lnTo>
                  <a:pt x="3132137" y="0"/>
                </a:lnTo>
                <a:lnTo>
                  <a:pt x="3132137" y="1"/>
                </a:lnTo>
                <a:lnTo>
                  <a:pt x="3132137" y="2356339"/>
                </a:lnTo>
                <a:lnTo>
                  <a:pt x="3132137" y="4408488"/>
                </a:lnTo>
                <a:lnTo>
                  <a:pt x="522033" y="4408488"/>
                </a:lnTo>
                <a:cubicBezTo>
                  <a:pt x="233722" y="4408488"/>
                  <a:pt x="0" y="4174766"/>
                  <a:pt x="0" y="3886455"/>
                </a:cubicBezTo>
                <a:lnTo>
                  <a:pt x="0" y="2356339"/>
                </a:lnTo>
                <a:lnTo>
                  <a:pt x="0" y="1"/>
                </a:lnTo>
                <a:close/>
              </a:path>
            </a:pathLst>
          </a:custGeom>
        </p:spPr>
      </p:pic>
    </p:spTree>
    <p:extLst>
      <p:ext uri="{BB962C8B-B14F-4D97-AF65-F5344CB8AC3E}">
        <p14:creationId xmlns:p14="http://schemas.microsoft.com/office/powerpoint/2010/main" val="2558594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254515F9-CE38-D656-B2E8-2103BD4E9181}"/>
              </a:ext>
            </a:extLst>
          </p:cNvPr>
          <p:cNvGraphicFramePr>
            <a:graphicFrameLocks noChangeAspect="1"/>
          </p:cNvGraphicFramePr>
          <p:nvPr>
            <p:custDataLst>
              <p:tags r:id="rId1"/>
            </p:custDataLst>
            <p:extLst>
              <p:ext uri="{D42A27DB-BD31-4B8C-83A1-F6EECF244321}">
                <p14:modId xmlns:p14="http://schemas.microsoft.com/office/powerpoint/2010/main" val="37088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0" name="think-cell data - do not delete" hidden="1">
                        <a:extLst>
                          <a:ext uri="{FF2B5EF4-FFF2-40B4-BE49-F238E27FC236}">
                            <a16:creationId xmlns:a16="http://schemas.microsoft.com/office/drawing/2014/main" id="{254515F9-CE38-D656-B2E8-2103BD4E91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0" name="Rectangle 29">
            <a:extLst>
              <a:ext uri="{FF2B5EF4-FFF2-40B4-BE49-F238E27FC236}">
                <a16:creationId xmlns:a16="http://schemas.microsoft.com/office/drawing/2014/main" id="{E67D6482-E3AD-D40C-B523-058749D0E399}"/>
              </a:ext>
            </a:extLst>
          </p:cNvPr>
          <p:cNvSpPr/>
          <p:nvPr/>
        </p:nvSpPr>
        <p:spPr>
          <a:xfrm>
            <a:off x="6550271" y="1749473"/>
            <a:ext cx="2505275" cy="1856360"/>
          </a:xfrm>
          <a:prstGeom prst="rect">
            <a:avLst/>
          </a:prstGeom>
          <a:solidFill>
            <a:schemeClr val="bg1"/>
          </a:solidFill>
          <a:ln>
            <a:noFill/>
          </a:ln>
          <a:effectLst>
            <a:outerShdw blurRad="1016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112000"/>
              </a:lnSpc>
            </a:pPr>
            <a:endParaRPr lang="en-NL" sz="1867"/>
          </a:p>
        </p:txBody>
      </p:sp>
      <p:sp>
        <p:nvSpPr>
          <p:cNvPr id="31" name="Rectangle 30">
            <a:extLst>
              <a:ext uri="{FF2B5EF4-FFF2-40B4-BE49-F238E27FC236}">
                <a16:creationId xmlns:a16="http://schemas.microsoft.com/office/drawing/2014/main" id="{B11FC755-8A9C-10B2-3614-353076834A06}"/>
              </a:ext>
            </a:extLst>
          </p:cNvPr>
          <p:cNvSpPr/>
          <p:nvPr/>
        </p:nvSpPr>
        <p:spPr>
          <a:xfrm>
            <a:off x="6560372" y="3819996"/>
            <a:ext cx="2518597" cy="2028055"/>
          </a:xfrm>
          <a:prstGeom prst="rect">
            <a:avLst/>
          </a:prstGeom>
          <a:solidFill>
            <a:schemeClr val="bg1"/>
          </a:solidFill>
          <a:ln>
            <a:noFill/>
          </a:ln>
          <a:effectLst>
            <a:outerShdw blurRad="1016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112000"/>
              </a:lnSpc>
            </a:pPr>
            <a:endParaRPr lang="en-NL" sz="1867"/>
          </a:p>
        </p:txBody>
      </p:sp>
      <p:sp>
        <p:nvSpPr>
          <p:cNvPr id="5" name="Rectangle 4">
            <a:extLst>
              <a:ext uri="{FF2B5EF4-FFF2-40B4-BE49-F238E27FC236}">
                <a16:creationId xmlns:a16="http://schemas.microsoft.com/office/drawing/2014/main" id="{44BA98FD-367E-F8B0-B375-DE9AED20240B}"/>
              </a:ext>
            </a:extLst>
          </p:cNvPr>
          <p:cNvSpPr/>
          <p:nvPr/>
        </p:nvSpPr>
        <p:spPr>
          <a:xfrm>
            <a:off x="6550271" y="3819996"/>
            <a:ext cx="2529628" cy="8626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112000"/>
              </a:lnSpc>
            </a:pPr>
            <a:endParaRPr lang="en-NL" sz="1867"/>
          </a:p>
        </p:txBody>
      </p:sp>
      <p:sp>
        <p:nvSpPr>
          <p:cNvPr id="2" name="Title 1">
            <a:extLst>
              <a:ext uri="{FF2B5EF4-FFF2-40B4-BE49-F238E27FC236}">
                <a16:creationId xmlns:a16="http://schemas.microsoft.com/office/drawing/2014/main" id="{0F65823A-6E8C-C09A-FDBB-751DBD735053}"/>
              </a:ext>
            </a:extLst>
          </p:cNvPr>
          <p:cNvSpPr>
            <a:spLocks noGrp="1"/>
          </p:cNvSpPr>
          <p:nvPr>
            <p:ph type="title"/>
          </p:nvPr>
        </p:nvSpPr>
        <p:spPr>
          <a:xfrm>
            <a:off x="575733" y="548218"/>
            <a:ext cx="9748297" cy="769441"/>
          </a:xfrm>
        </p:spPr>
        <p:txBody>
          <a:bodyPr vert="horz">
            <a:normAutofit/>
          </a:bodyPr>
          <a:lstStyle/>
          <a:p>
            <a:r>
              <a:t>Consumers are changing their attitude towards a more preventative &amp; holistic approach to health</a:t>
            </a:r>
            <a:br/>
            <a:r>
              <a:t>消费者正在改变他们的态度，转向更加预防性和全面的健康方法</a:t>
            </a:r>
            <a:endParaRPr lang="nl-NL"/>
          </a:p>
        </p:txBody>
      </p:sp>
      <p:sp>
        <p:nvSpPr>
          <p:cNvPr id="4" name="Slide Number Placeholder 3">
            <a:extLst>
              <a:ext uri="{FF2B5EF4-FFF2-40B4-BE49-F238E27FC236}">
                <a16:creationId xmlns:a16="http://schemas.microsoft.com/office/drawing/2014/main" id="{AA9D2934-B278-6105-42ED-97A7FB5618B7}"/>
              </a:ext>
            </a:extLst>
          </p:cNvPr>
          <p:cNvSpPr>
            <a:spLocks noGrp="1"/>
          </p:cNvSpPr>
          <p:nvPr>
            <p:ph type="sldNum" sz="quarter" idx="12"/>
          </p:nvPr>
        </p:nvSpPr>
        <p:spPr/>
        <p:txBody>
          <a:bodyPr>
            <a:normAutofit/>
          </a:bodyPr>
          <a:lstStyle/>
          <a:p>
            <a:fld id="{9BE0E23E-9022-4929-B297-EB2777CDBB1F}" type="slidenum">
              <a:rPr lang="en-GB" smtClean="0"/>
              <a:t>11</a:t>
            </a:fld>
            <a:endParaRPr lang="en-GB"/>
          </a:p>
        </p:txBody>
      </p:sp>
      <p:sp>
        <p:nvSpPr>
          <p:cNvPr id="11" name="TextBox 10">
            <a:extLst>
              <a:ext uri="{FF2B5EF4-FFF2-40B4-BE49-F238E27FC236}">
                <a16:creationId xmlns:a16="http://schemas.microsoft.com/office/drawing/2014/main" id="{670B0826-F6B2-BBB8-8B6A-E75705AE9BF6}"/>
              </a:ext>
            </a:extLst>
          </p:cNvPr>
          <p:cNvSpPr txBox="1"/>
          <p:nvPr/>
        </p:nvSpPr>
        <p:spPr>
          <a:xfrm>
            <a:off x="773557" y="6530740"/>
            <a:ext cx="6096000" cy="400302"/>
          </a:xfrm>
          <a:prstGeom prst="rect">
            <a:avLst/>
          </a:prstGeom>
          <a:noFill/>
        </p:spPr>
        <p:txBody>
          <a:bodyPr wrap="square">
            <a:normAutofit/>
          </a:bodyPr>
          <a:lstStyle/>
          <a:p>
            <a:r>
              <a:t>1. Innova market research, 2023</a:t>
            </a:r>
            <a:br/>
            <a:r>
              <a:t>1. Innova 市场研究，2023</a:t>
            </a:r>
          </a:p>
          <a:p>
            <a:r>
              <a:t>2. “World population ageing 2019: Highlights,” United Nations, Department of Economic and Social Affairs, 2019</a:t>
            </a:r>
            <a:br/>
            <a:r>
              <a:t>2. “世界人口老龄化 2019：亮点”，联合国经济和社会事务部，2019</a:t>
            </a:r>
          </a:p>
          <a:p>
            <a:endParaRPr lang="nl-NL" sz="667">
              <a:latin typeface="+mj-lt"/>
            </a:endParaRPr>
          </a:p>
        </p:txBody>
      </p:sp>
      <p:sp>
        <p:nvSpPr>
          <p:cNvPr id="14" name="TextBox 13">
            <a:extLst>
              <a:ext uri="{FF2B5EF4-FFF2-40B4-BE49-F238E27FC236}">
                <a16:creationId xmlns:a16="http://schemas.microsoft.com/office/drawing/2014/main" id="{BED216A6-A542-ACD4-D3B1-D58E54A57A99}"/>
              </a:ext>
            </a:extLst>
          </p:cNvPr>
          <p:cNvSpPr txBox="1"/>
          <p:nvPr/>
        </p:nvSpPr>
        <p:spPr>
          <a:xfrm>
            <a:off x="6683319" y="2230004"/>
            <a:ext cx="2276052" cy="1240211"/>
          </a:xfrm>
          <a:prstGeom prst="rect">
            <a:avLst/>
          </a:prstGeom>
          <a:noFill/>
        </p:spPr>
        <p:txBody>
          <a:bodyPr wrap="square" lIns="0" tIns="0" rIns="0" bIns="0" rtlCol="0">
            <a:normAutofit/>
          </a:bodyPr>
          <a:lstStyle/>
          <a:p>
            <a:pPr>
              <a:lnSpc>
                <a:spcPct val="112000"/>
              </a:lnSpc>
            </a:pPr>
            <a:r>
              <a:t>Younger people increasingly consider their current lifestyle choices might affect their long-term health</a:t>
            </a:r>
            <a:br/>
            <a:r>
              <a:t>年轻人越来越意识到他们当前的生活方式选择可能会影响他们的长期健康</a:t>
            </a:r>
            <a:endParaRPr lang="nl-NL" sz="1467"/>
          </a:p>
        </p:txBody>
      </p:sp>
      <p:sp>
        <p:nvSpPr>
          <p:cNvPr id="18" name="TextBox 17">
            <a:extLst>
              <a:ext uri="{FF2B5EF4-FFF2-40B4-BE49-F238E27FC236}">
                <a16:creationId xmlns:a16="http://schemas.microsoft.com/office/drawing/2014/main" id="{A3CC7005-676F-1618-BBDE-C80DCF35C669}"/>
              </a:ext>
            </a:extLst>
          </p:cNvPr>
          <p:cNvSpPr txBox="1"/>
          <p:nvPr/>
        </p:nvSpPr>
        <p:spPr>
          <a:xfrm>
            <a:off x="6676830" y="4861461"/>
            <a:ext cx="2345636" cy="734432"/>
          </a:xfrm>
          <a:prstGeom prst="rect">
            <a:avLst/>
          </a:prstGeom>
          <a:noFill/>
        </p:spPr>
        <p:txBody>
          <a:bodyPr wrap="square" lIns="0" tIns="0" rIns="0" bIns="0" rtlCol="0">
            <a:normAutofit/>
          </a:bodyPr>
          <a:lstStyle/>
          <a:p>
            <a:pPr>
              <a:lnSpc>
                <a:spcPct val="112000"/>
              </a:lnSpc>
            </a:pPr>
            <a:r>
              <a:t>In the population over age 65 expected between 1990 and 2050</a:t>
            </a:r>
            <a:br/>
            <a:r>
              <a:t>预计1990年至2050年间65岁以上人口</a:t>
            </a:r>
            <a:endParaRPr lang="nl-NL" sz="1467"/>
          </a:p>
        </p:txBody>
      </p:sp>
      <p:graphicFrame>
        <p:nvGraphicFramePr>
          <p:cNvPr id="3" name="Chart 2">
            <a:extLst>
              <a:ext uri="{FF2B5EF4-FFF2-40B4-BE49-F238E27FC236}">
                <a16:creationId xmlns:a16="http://schemas.microsoft.com/office/drawing/2014/main" id="{754C4296-3FE4-54E0-33D1-D812D6AE22C6}"/>
              </a:ext>
            </a:extLst>
          </p:cNvPr>
          <p:cNvGraphicFramePr/>
          <p:nvPr>
            <p:extLst>
              <p:ext uri="{D42A27DB-BD31-4B8C-83A1-F6EECF244321}">
                <p14:modId xmlns:p14="http://schemas.microsoft.com/office/powerpoint/2010/main" val="2872376730"/>
              </p:ext>
            </p:extLst>
          </p:nvPr>
        </p:nvGraphicFramePr>
        <p:xfrm>
          <a:off x="1329447" y="2616088"/>
          <a:ext cx="4984221" cy="3597927"/>
        </p:xfrm>
        <a:graphic>
          <a:graphicData uri="http://schemas.openxmlformats.org/drawingml/2006/chart">
            <c:chart xmlns:c="http://schemas.openxmlformats.org/drawingml/2006/chart" xmlns:r="http://schemas.openxmlformats.org/officeDocument/2006/relationships" r:id="rId7"/>
          </a:graphicData>
        </a:graphic>
      </p:graphicFrame>
      <p:sp>
        <p:nvSpPr>
          <p:cNvPr id="7" name="TextBox 6">
            <a:extLst>
              <a:ext uri="{FF2B5EF4-FFF2-40B4-BE49-F238E27FC236}">
                <a16:creationId xmlns:a16="http://schemas.microsoft.com/office/drawing/2014/main" id="{639C0603-2286-2F8A-EC45-5E6A28B5FBA4}"/>
              </a:ext>
            </a:extLst>
          </p:cNvPr>
          <p:cNvSpPr txBox="1"/>
          <p:nvPr/>
        </p:nvSpPr>
        <p:spPr>
          <a:xfrm>
            <a:off x="7008054" y="3919683"/>
            <a:ext cx="1812727" cy="636200"/>
          </a:xfrm>
          <a:prstGeom prst="rect">
            <a:avLst/>
          </a:prstGeom>
          <a:noFill/>
        </p:spPr>
        <p:txBody>
          <a:bodyPr wrap="square" lIns="0" tIns="0" rIns="0" bIns="0" rtlCol="0">
            <a:normAutofit/>
          </a:bodyPr>
          <a:lstStyle/>
          <a:p>
            <a:pPr algn="ctr"/>
            <a:r>
              <a:t>2,7X</a:t>
            </a:r>
            <a:br/>
            <a:r>
              <a:t>2,7倍</a:t>
            </a:r>
          </a:p>
          <a:p>
            <a:pPr algn="ctr"/>
            <a:r>
              <a:t>Population growth</a:t>
            </a:r>
            <a:br/>
            <a:r>
              <a:t>人口增长</a:t>
            </a:r>
          </a:p>
        </p:txBody>
      </p:sp>
      <p:sp>
        <p:nvSpPr>
          <p:cNvPr id="15" name="TextBox 14">
            <a:extLst>
              <a:ext uri="{FF2B5EF4-FFF2-40B4-BE49-F238E27FC236}">
                <a16:creationId xmlns:a16="http://schemas.microsoft.com/office/drawing/2014/main" id="{C0360EA6-BBC9-785B-AD76-36126C855A70}"/>
              </a:ext>
            </a:extLst>
          </p:cNvPr>
          <p:cNvSpPr txBox="1"/>
          <p:nvPr/>
        </p:nvSpPr>
        <p:spPr>
          <a:xfrm>
            <a:off x="2724677" y="1773499"/>
            <a:ext cx="3606800" cy="734432"/>
          </a:xfrm>
          <a:prstGeom prst="rect">
            <a:avLst/>
          </a:prstGeom>
          <a:noFill/>
        </p:spPr>
        <p:txBody>
          <a:bodyPr wrap="square" lIns="0" tIns="0" rIns="0" bIns="0" rtlCol="0">
            <a:normAutofit/>
          </a:bodyPr>
          <a:lstStyle/>
          <a:p>
            <a:pPr algn="l">
              <a:lnSpc>
                <a:spcPct val="112000"/>
              </a:lnSpc>
            </a:pPr>
            <a:r>
              <a:t>In order to live healthily, which approach do you tend to follow? (global,2024)</a:t>
            </a:r>
            <a:br/>
            <a:r>
              <a:t>为了健康生活，你倾向于遵循哪种方法？（全球，2024）</a:t>
            </a:r>
          </a:p>
        </p:txBody>
      </p:sp>
      <p:sp>
        <p:nvSpPr>
          <p:cNvPr id="19" name="Rectangle 18">
            <a:extLst>
              <a:ext uri="{FF2B5EF4-FFF2-40B4-BE49-F238E27FC236}">
                <a16:creationId xmlns:a16="http://schemas.microsoft.com/office/drawing/2014/main" id="{38099B47-AE9F-B9C8-E3B9-5CCD3E0C44AE}"/>
              </a:ext>
            </a:extLst>
          </p:cNvPr>
          <p:cNvSpPr/>
          <p:nvPr/>
        </p:nvSpPr>
        <p:spPr>
          <a:xfrm>
            <a:off x="2651808" y="3469745"/>
            <a:ext cx="2189296" cy="439184"/>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112000"/>
              </a:lnSpc>
            </a:pPr>
            <a:endParaRPr lang="en-NL" sz="1867"/>
          </a:p>
        </p:txBody>
      </p:sp>
      <p:cxnSp>
        <p:nvCxnSpPr>
          <p:cNvPr id="21" name="Straight Arrow Connector 20">
            <a:extLst>
              <a:ext uri="{FF2B5EF4-FFF2-40B4-BE49-F238E27FC236}">
                <a16:creationId xmlns:a16="http://schemas.microsoft.com/office/drawing/2014/main" id="{A91CE96A-CA2B-4C59-EBBA-88BD337D1CD5}"/>
              </a:ext>
            </a:extLst>
          </p:cNvPr>
          <p:cNvCxnSpPr>
            <a:cxnSpLocks/>
          </p:cNvCxnSpPr>
          <p:nvPr/>
        </p:nvCxnSpPr>
        <p:spPr>
          <a:xfrm>
            <a:off x="4841104" y="2600216"/>
            <a:ext cx="0" cy="869529"/>
          </a:xfrm>
          <a:prstGeom prst="straightConnector1">
            <a:avLst/>
          </a:prstGeom>
          <a:ln w="19050">
            <a:solidFill>
              <a:schemeClr val="bg1">
                <a:lumMod val="6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441E4682-98F4-0600-EB59-9C89058E13E6}"/>
              </a:ext>
            </a:extLst>
          </p:cNvPr>
          <p:cNvCxnSpPr>
            <a:cxnSpLocks/>
          </p:cNvCxnSpPr>
          <p:nvPr/>
        </p:nvCxnSpPr>
        <p:spPr>
          <a:xfrm flipH="1">
            <a:off x="4841105" y="2600215"/>
            <a:ext cx="1709167" cy="0"/>
          </a:xfrm>
          <a:prstGeom prst="straightConnector1">
            <a:avLst/>
          </a:prstGeom>
          <a:ln w="19050">
            <a:solidFill>
              <a:schemeClr val="bg1">
                <a:lumMod val="65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35" name="Pie 34">
            <a:extLst>
              <a:ext uri="{FF2B5EF4-FFF2-40B4-BE49-F238E27FC236}">
                <a16:creationId xmlns:a16="http://schemas.microsoft.com/office/drawing/2014/main" id="{7962F858-668F-ABD9-A9E5-CB4EC53F6D2A}"/>
              </a:ext>
            </a:extLst>
          </p:cNvPr>
          <p:cNvSpPr/>
          <p:nvPr/>
        </p:nvSpPr>
        <p:spPr>
          <a:xfrm>
            <a:off x="6242677" y="1443440"/>
            <a:ext cx="612063" cy="612063"/>
          </a:xfrm>
          <a:prstGeom prst="pie">
            <a:avLst>
              <a:gd name="adj1" fmla="val 0"/>
              <a:gd name="adj2" fmla="val 542419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112000"/>
              </a:lnSpc>
            </a:pPr>
            <a:endParaRPr lang="en-NL" sz="1867">
              <a:solidFill>
                <a:schemeClr val="tx1"/>
              </a:solidFill>
            </a:endParaRPr>
          </a:p>
        </p:txBody>
      </p:sp>
      <p:sp>
        <p:nvSpPr>
          <p:cNvPr id="36" name="TextBox 35">
            <a:extLst>
              <a:ext uri="{FF2B5EF4-FFF2-40B4-BE49-F238E27FC236}">
                <a16:creationId xmlns:a16="http://schemas.microsoft.com/office/drawing/2014/main" id="{936524B1-AC07-EB9A-D7D7-7BFEB0F2EDAC}"/>
              </a:ext>
            </a:extLst>
          </p:cNvPr>
          <p:cNvSpPr txBox="1"/>
          <p:nvPr/>
        </p:nvSpPr>
        <p:spPr>
          <a:xfrm>
            <a:off x="6527975" y="1760165"/>
            <a:ext cx="297711" cy="207814"/>
          </a:xfrm>
          <a:prstGeom prst="rect">
            <a:avLst/>
          </a:prstGeom>
          <a:noFill/>
        </p:spPr>
        <p:txBody>
          <a:bodyPr wrap="square" lIns="0" tIns="0" rIns="0" bIns="0" rtlCol="0">
            <a:normAutofit/>
          </a:bodyPr>
          <a:lstStyle/>
          <a:p>
            <a:pPr algn="ctr">
              <a:lnSpc>
                <a:spcPct val="112000"/>
              </a:lnSpc>
            </a:pPr>
            <a:r>
              <a:rPr lang="en-NL" sz="1333">
                <a:solidFill>
                  <a:schemeClr val="bg1"/>
                </a:solidFill>
              </a:rPr>
              <a:t>1</a:t>
            </a:r>
          </a:p>
        </p:txBody>
      </p:sp>
      <p:sp>
        <p:nvSpPr>
          <p:cNvPr id="37" name="Pie 36">
            <a:extLst>
              <a:ext uri="{FF2B5EF4-FFF2-40B4-BE49-F238E27FC236}">
                <a16:creationId xmlns:a16="http://schemas.microsoft.com/office/drawing/2014/main" id="{F09F8B7F-AEC2-675B-EA6F-83C0C58EFA9F}"/>
              </a:ext>
            </a:extLst>
          </p:cNvPr>
          <p:cNvSpPr/>
          <p:nvPr/>
        </p:nvSpPr>
        <p:spPr>
          <a:xfrm>
            <a:off x="6242677" y="3519517"/>
            <a:ext cx="612063" cy="612063"/>
          </a:xfrm>
          <a:prstGeom prst="pie">
            <a:avLst>
              <a:gd name="adj1" fmla="val 0"/>
              <a:gd name="adj2" fmla="val 542419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112000"/>
              </a:lnSpc>
            </a:pPr>
            <a:endParaRPr lang="en-NL" sz="1867">
              <a:solidFill>
                <a:schemeClr val="tx1"/>
              </a:solidFill>
            </a:endParaRPr>
          </a:p>
        </p:txBody>
      </p:sp>
      <p:sp>
        <p:nvSpPr>
          <p:cNvPr id="38" name="TextBox 37">
            <a:extLst>
              <a:ext uri="{FF2B5EF4-FFF2-40B4-BE49-F238E27FC236}">
                <a16:creationId xmlns:a16="http://schemas.microsoft.com/office/drawing/2014/main" id="{D8FDA083-4F89-E10A-F6FD-4006C35E6FEF}"/>
              </a:ext>
            </a:extLst>
          </p:cNvPr>
          <p:cNvSpPr txBox="1"/>
          <p:nvPr/>
        </p:nvSpPr>
        <p:spPr>
          <a:xfrm>
            <a:off x="6527975" y="3836242"/>
            <a:ext cx="297711" cy="207814"/>
          </a:xfrm>
          <a:prstGeom prst="rect">
            <a:avLst/>
          </a:prstGeom>
          <a:noFill/>
        </p:spPr>
        <p:txBody>
          <a:bodyPr wrap="square" lIns="0" tIns="0" rIns="0" bIns="0" rtlCol="0">
            <a:normAutofit/>
          </a:bodyPr>
          <a:lstStyle/>
          <a:p>
            <a:pPr algn="ctr">
              <a:lnSpc>
                <a:spcPct val="112000"/>
              </a:lnSpc>
            </a:pPr>
            <a:r>
              <a:rPr lang="en-NL" sz="1333">
                <a:solidFill>
                  <a:schemeClr val="bg1"/>
                </a:solidFill>
              </a:rPr>
              <a:t>2</a:t>
            </a:r>
          </a:p>
        </p:txBody>
      </p:sp>
      <p:cxnSp>
        <p:nvCxnSpPr>
          <p:cNvPr id="43" name="Straight Arrow Connector 42">
            <a:extLst>
              <a:ext uri="{FF2B5EF4-FFF2-40B4-BE49-F238E27FC236}">
                <a16:creationId xmlns:a16="http://schemas.microsoft.com/office/drawing/2014/main" id="{2002845F-7F23-66AD-8F17-AA045078A11B}"/>
              </a:ext>
            </a:extLst>
          </p:cNvPr>
          <p:cNvCxnSpPr>
            <a:cxnSpLocks/>
          </p:cNvCxnSpPr>
          <p:nvPr/>
        </p:nvCxnSpPr>
        <p:spPr>
          <a:xfrm flipH="1">
            <a:off x="6037810" y="4930822"/>
            <a:ext cx="490165" cy="0"/>
          </a:xfrm>
          <a:prstGeom prst="straightConnector1">
            <a:avLst/>
          </a:prstGeom>
          <a:ln w="1905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B9EEDC4C-B186-ACC4-7757-7A1C5FF4CBA1}"/>
              </a:ext>
            </a:extLst>
          </p:cNvPr>
          <p:cNvSpPr/>
          <p:nvPr/>
        </p:nvSpPr>
        <p:spPr>
          <a:xfrm>
            <a:off x="-13978" y="5799"/>
            <a:ext cx="2674128" cy="4166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112000"/>
              </a:lnSpc>
            </a:pPr>
            <a:r>
              <a:t>ACTIVE AGEING</a:t>
            </a:r>
            <a:br/>
            <a:r>
              <a:t>积极老龄化</a:t>
            </a:r>
            <a:endParaRPr lang="en-NL" sz="1600" b="1"/>
          </a:p>
        </p:txBody>
      </p:sp>
      <p:pic>
        <p:nvPicPr>
          <p:cNvPr id="9" name="Picture Placeholder 27">
            <a:extLst>
              <a:ext uri="{FF2B5EF4-FFF2-40B4-BE49-F238E27FC236}">
                <a16:creationId xmlns:a16="http://schemas.microsoft.com/office/drawing/2014/main" id="{2C2B5CE4-741B-E262-0D10-471C3F5D92A9}"/>
              </a:ext>
            </a:extLst>
          </p:cNvPr>
          <p:cNvPicPr>
            <a:picLocks noChangeAspect="1"/>
          </p:cNvPicPr>
          <p:nvPr/>
        </p:nvPicPr>
        <p:blipFill>
          <a:blip r:embed="rId8">
            <a:extLst>
              <a:ext uri="{28A0092B-C50C-407E-A947-70E740481C1C}">
                <a14:useLocalDpi xmlns:a14="http://schemas.microsoft.com/office/drawing/2010/main" val="0"/>
              </a:ext>
            </a:extLst>
          </a:blip>
          <a:srcRect t="3811" b="3811"/>
          <a:stretch/>
        </p:blipFill>
        <p:spPr>
          <a:xfrm>
            <a:off x="10324030" y="-1"/>
            <a:ext cx="1912937" cy="1870075"/>
          </a:xfrm>
          <a:custGeom>
            <a:avLst/>
            <a:gdLst>
              <a:gd name="connsiteX0" fmla="*/ 0 w 3132137"/>
              <a:gd name="connsiteY0" fmla="*/ 0 h 4408488"/>
              <a:gd name="connsiteX1" fmla="*/ 3132137 w 3132137"/>
              <a:gd name="connsiteY1" fmla="*/ 0 h 4408488"/>
              <a:gd name="connsiteX2" fmla="*/ 3132137 w 3132137"/>
              <a:gd name="connsiteY2" fmla="*/ 1 h 4408488"/>
              <a:gd name="connsiteX3" fmla="*/ 3132137 w 3132137"/>
              <a:gd name="connsiteY3" fmla="*/ 2356339 h 4408488"/>
              <a:gd name="connsiteX4" fmla="*/ 3132137 w 3132137"/>
              <a:gd name="connsiteY4" fmla="*/ 4408488 h 4408488"/>
              <a:gd name="connsiteX5" fmla="*/ 522033 w 3132137"/>
              <a:gd name="connsiteY5" fmla="*/ 4408488 h 4408488"/>
              <a:gd name="connsiteX6" fmla="*/ 0 w 3132137"/>
              <a:gd name="connsiteY6" fmla="*/ 3886455 h 4408488"/>
              <a:gd name="connsiteX7" fmla="*/ 0 w 3132137"/>
              <a:gd name="connsiteY7" fmla="*/ 2356339 h 4408488"/>
              <a:gd name="connsiteX8" fmla="*/ 0 w 3132137"/>
              <a:gd name="connsiteY8" fmla="*/ 1 h 4408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2137" h="4408488">
                <a:moveTo>
                  <a:pt x="0" y="0"/>
                </a:moveTo>
                <a:lnTo>
                  <a:pt x="3132137" y="0"/>
                </a:lnTo>
                <a:lnTo>
                  <a:pt x="3132137" y="1"/>
                </a:lnTo>
                <a:lnTo>
                  <a:pt x="3132137" y="2356339"/>
                </a:lnTo>
                <a:lnTo>
                  <a:pt x="3132137" y="4408488"/>
                </a:lnTo>
                <a:lnTo>
                  <a:pt x="522033" y="4408488"/>
                </a:lnTo>
                <a:cubicBezTo>
                  <a:pt x="233722" y="4408488"/>
                  <a:pt x="0" y="4174766"/>
                  <a:pt x="0" y="3886455"/>
                </a:cubicBezTo>
                <a:lnTo>
                  <a:pt x="0" y="2356339"/>
                </a:lnTo>
                <a:lnTo>
                  <a:pt x="0" y="1"/>
                </a:lnTo>
                <a:close/>
              </a:path>
            </a:pathLst>
          </a:custGeom>
        </p:spPr>
      </p:pic>
    </p:spTree>
    <p:extLst>
      <p:ext uri="{BB962C8B-B14F-4D97-AF65-F5344CB8AC3E}">
        <p14:creationId xmlns:p14="http://schemas.microsoft.com/office/powerpoint/2010/main" val="3478062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0" name="think-cell data - do not delete" hidden="1">
            <a:extLst>
              <a:ext uri="{FF2B5EF4-FFF2-40B4-BE49-F238E27FC236}">
                <a16:creationId xmlns:a16="http://schemas.microsoft.com/office/drawing/2014/main" id="{9CEF1127-1EFD-2A35-441E-FBB043863440}"/>
              </a:ext>
            </a:extLst>
          </p:cNvPr>
          <p:cNvGraphicFramePr>
            <a:graphicFrameLocks noChangeAspect="1"/>
          </p:cNvGraphicFramePr>
          <p:nvPr>
            <p:custDataLst>
              <p:tags r:id="rId1"/>
            </p:custDataLst>
            <p:extLst>
              <p:ext uri="{D42A27DB-BD31-4B8C-83A1-F6EECF244321}">
                <p14:modId xmlns:p14="http://schemas.microsoft.com/office/powerpoint/2010/main" val="2400485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50" name="think-cell data - do not delete" hidden="1">
                        <a:extLst>
                          <a:ext uri="{FF2B5EF4-FFF2-40B4-BE49-F238E27FC236}">
                            <a16:creationId xmlns:a16="http://schemas.microsoft.com/office/drawing/2014/main" id="{9CEF1127-1EFD-2A35-441E-FBB04386344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6" name="Shape 2278">
            <a:extLst>
              <a:ext uri="{FF2B5EF4-FFF2-40B4-BE49-F238E27FC236}">
                <a16:creationId xmlns:a16="http://schemas.microsoft.com/office/drawing/2014/main" id="{E0347FAC-21FC-624E-BA68-CC0CF5FA32B2}"/>
              </a:ext>
            </a:extLst>
          </p:cNvPr>
          <p:cNvGrpSpPr/>
          <p:nvPr/>
        </p:nvGrpSpPr>
        <p:grpSpPr>
          <a:xfrm>
            <a:off x="904339" y="3040268"/>
            <a:ext cx="7670064" cy="3269515"/>
            <a:chOff x="3843490" y="3719579"/>
            <a:chExt cx="16665596" cy="8244188"/>
          </a:xfrm>
          <a:solidFill>
            <a:schemeClr val="bg1">
              <a:lumMod val="85000"/>
            </a:schemeClr>
          </a:solidFill>
          <a:effectLst/>
        </p:grpSpPr>
        <p:sp>
          <p:nvSpPr>
            <p:cNvPr id="7" name="Shape 2279">
              <a:extLst>
                <a:ext uri="{FF2B5EF4-FFF2-40B4-BE49-F238E27FC236}">
                  <a16:creationId xmlns:a16="http://schemas.microsoft.com/office/drawing/2014/main" id="{8417760D-BC75-1443-B91D-2F89EB1702DD}"/>
                </a:ext>
              </a:extLst>
            </p:cNvPr>
            <p:cNvSpPr/>
            <p:nvPr/>
          </p:nvSpPr>
          <p:spPr>
            <a:xfrm>
              <a:off x="9818010" y="3757807"/>
              <a:ext cx="85988" cy="38226"/>
            </a:xfrm>
            <a:custGeom>
              <a:avLst/>
              <a:gdLst/>
              <a:ahLst/>
              <a:cxnLst/>
              <a:rect l="0" t="0" r="0" b="0"/>
              <a:pathLst>
                <a:path w="120000" h="120000" extrusionOk="0">
                  <a:moveTo>
                    <a:pt x="53333" y="90000"/>
                  </a:moveTo>
                  <a:cubicBezTo>
                    <a:pt x="53333" y="90000"/>
                    <a:pt x="13333" y="60000"/>
                    <a:pt x="13333" y="60000"/>
                  </a:cubicBezTo>
                  <a:cubicBezTo>
                    <a:pt x="13333" y="60000"/>
                    <a:pt x="53333" y="60000"/>
                    <a:pt x="66666" y="60000"/>
                  </a:cubicBezTo>
                  <a:cubicBezTo>
                    <a:pt x="40000" y="30000"/>
                    <a:pt x="13333" y="60000"/>
                    <a:pt x="0" y="0"/>
                  </a:cubicBezTo>
                  <a:cubicBezTo>
                    <a:pt x="13333" y="30000"/>
                    <a:pt x="106666" y="0"/>
                    <a:pt x="120000" y="60000"/>
                  </a:cubicBezTo>
                  <a:cubicBezTo>
                    <a:pt x="120000" y="60000"/>
                    <a:pt x="80000" y="60000"/>
                    <a:pt x="66666" y="60000"/>
                  </a:cubicBezTo>
                  <a:cubicBezTo>
                    <a:pt x="66666" y="60000"/>
                    <a:pt x="93333" y="120000"/>
                    <a:pt x="53333" y="90000"/>
                  </a:cubicBezTo>
                  <a:cubicBezTo>
                    <a:pt x="40000" y="90000"/>
                    <a:pt x="80000" y="120000"/>
                    <a:pt x="53333" y="9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8" name="Shape 2280">
              <a:extLst>
                <a:ext uri="{FF2B5EF4-FFF2-40B4-BE49-F238E27FC236}">
                  <a16:creationId xmlns:a16="http://schemas.microsoft.com/office/drawing/2014/main" id="{11489927-ECAE-B34B-861A-0DF7D5684076}"/>
                </a:ext>
              </a:extLst>
            </p:cNvPr>
            <p:cNvSpPr/>
            <p:nvPr/>
          </p:nvSpPr>
          <p:spPr>
            <a:xfrm>
              <a:off x="16859408" y="9558681"/>
              <a:ext cx="1904457" cy="1423936"/>
            </a:xfrm>
            <a:custGeom>
              <a:avLst/>
              <a:gdLst/>
              <a:ahLst/>
              <a:cxnLst/>
              <a:rect l="0" t="0" r="0" b="0"/>
              <a:pathLst>
                <a:path w="120000" h="120000" extrusionOk="0">
                  <a:moveTo>
                    <a:pt x="59411" y="3157"/>
                  </a:moveTo>
                  <a:cubicBezTo>
                    <a:pt x="58235" y="3157"/>
                    <a:pt x="57647" y="1578"/>
                    <a:pt x="56470" y="1578"/>
                  </a:cubicBezTo>
                  <a:cubicBezTo>
                    <a:pt x="55882" y="789"/>
                    <a:pt x="55882" y="1578"/>
                    <a:pt x="56470" y="2368"/>
                  </a:cubicBezTo>
                  <a:cubicBezTo>
                    <a:pt x="56470" y="3157"/>
                    <a:pt x="57647" y="2368"/>
                    <a:pt x="57647" y="2368"/>
                  </a:cubicBezTo>
                  <a:cubicBezTo>
                    <a:pt x="58235" y="3157"/>
                    <a:pt x="57647" y="4736"/>
                    <a:pt x="58235" y="4736"/>
                  </a:cubicBezTo>
                  <a:cubicBezTo>
                    <a:pt x="58235" y="5526"/>
                    <a:pt x="57647" y="5526"/>
                    <a:pt x="57058" y="5526"/>
                  </a:cubicBezTo>
                  <a:cubicBezTo>
                    <a:pt x="56470" y="6315"/>
                    <a:pt x="55882" y="6315"/>
                    <a:pt x="55294" y="6315"/>
                  </a:cubicBezTo>
                  <a:cubicBezTo>
                    <a:pt x="54117" y="5526"/>
                    <a:pt x="54117" y="6315"/>
                    <a:pt x="52941" y="6315"/>
                  </a:cubicBezTo>
                  <a:cubicBezTo>
                    <a:pt x="51176" y="7105"/>
                    <a:pt x="51764" y="9473"/>
                    <a:pt x="50588" y="10263"/>
                  </a:cubicBezTo>
                  <a:cubicBezTo>
                    <a:pt x="49411" y="11842"/>
                    <a:pt x="48823" y="14210"/>
                    <a:pt x="49411" y="15789"/>
                  </a:cubicBezTo>
                  <a:cubicBezTo>
                    <a:pt x="50588" y="18157"/>
                    <a:pt x="47647" y="16578"/>
                    <a:pt x="47058" y="16578"/>
                  </a:cubicBezTo>
                  <a:cubicBezTo>
                    <a:pt x="46470" y="16578"/>
                    <a:pt x="44705" y="18947"/>
                    <a:pt x="44705" y="18947"/>
                  </a:cubicBezTo>
                  <a:cubicBezTo>
                    <a:pt x="44705" y="18947"/>
                    <a:pt x="44117" y="15000"/>
                    <a:pt x="43529" y="14210"/>
                  </a:cubicBezTo>
                  <a:cubicBezTo>
                    <a:pt x="43529" y="13421"/>
                    <a:pt x="42941" y="13421"/>
                    <a:pt x="42352" y="13421"/>
                  </a:cubicBezTo>
                  <a:cubicBezTo>
                    <a:pt x="41764" y="12631"/>
                    <a:pt x="41764" y="12631"/>
                    <a:pt x="41764" y="11842"/>
                  </a:cubicBezTo>
                  <a:cubicBezTo>
                    <a:pt x="41176" y="11052"/>
                    <a:pt x="41176" y="12631"/>
                    <a:pt x="41176" y="13421"/>
                  </a:cubicBezTo>
                  <a:cubicBezTo>
                    <a:pt x="40588" y="13421"/>
                    <a:pt x="40000" y="13421"/>
                    <a:pt x="40000" y="12631"/>
                  </a:cubicBezTo>
                  <a:cubicBezTo>
                    <a:pt x="38823" y="12631"/>
                    <a:pt x="39411" y="15789"/>
                    <a:pt x="38235" y="15000"/>
                  </a:cubicBezTo>
                  <a:cubicBezTo>
                    <a:pt x="38235" y="15000"/>
                    <a:pt x="37647" y="14210"/>
                    <a:pt x="37647" y="14210"/>
                  </a:cubicBezTo>
                  <a:cubicBezTo>
                    <a:pt x="37058" y="15000"/>
                    <a:pt x="37058" y="15000"/>
                    <a:pt x="37058" y="15000"/>
                  </a:cubicBezTo>
                  <a:cubicBezTo>
                    <a:pt x="35294" y="14210"/>
                    <a:pt x="36470" y="17368"/>
                    <a:pt x="36470" y="17368"/>
                  </a:cubicBezTo>
                  <a:cubicBezTo>
                    <a:pt x="36470" y="17368"/>
                    <a:pt x="35294" y="17368"/>
                    <a:pt x="35294" y="17368"/>
                  </a:cubicBezTo>
                  <a:cubicBezTo>
                    <a:pt x="35294" y="18157"/>
                    <a:pt x="35882" y="18157"/>
                    <a:pt x="35882" y="18157"/>
                  </a:cubicBezTo>
                  <a:cubicBezTo>
                    <a:pt x="35294" y="19736"/>
                    <a:pt x="34705" y="18157"/>
                    <a:pt x="34705" y="20526"/>
                  </a:cubicBezTo>
                  <a:cubicBezTo>
                    <a:pt x="34705" y="21315"/>
                    <a:pt x="35294" y="21315"/>
                    <a:pt x="35294" y="22105"/>
                  </a:cubicBezTo>
                  <a:cubicBezTo>
                    <a:pt x="35294" y="23684"/>
                    <a:pt x="31176" y="20526"/>
                    <a:pt x="31176" y="22894"/>
                  </a:cubicBezTo>
                  <a:cubicBezTo>
                    <a:pt x="31176" y="23684"/>
                    <a:pt x="33529" y="25263"/>
                    <a:pt x="32352" y="26052"/>
                  </a:cubicBezTo>
                  <a:cubicBezTo>
                    <a:pt x="31764" y="26052"/>
                    <a:pt x="31764" y="25263"/>
                    <a:pt x="31764" y="26052"/>
                  </a:cubicBezTo>
                  <a:cubicBezTo>
                    <a:pt x="31176" y="26842"/>
                    <a:pt x="31176" y="26842"/>
                    <a:pt x="30588" y="26052"/>
                  </a:cubicBezTo>
                  <a:cubicBezTo>
                    <a:pt x="30000" y="26052"/>
                    <a:pt x="30588" y="24473"/>
                    <a:pt x="30000" y="23684"/>
                  </a:cubicBezTo>
                  <a:cubicBezTo>
                    <a:pt x="29411" y="22105"/>
                    <a:pt x="28235" y="25263"/>
                    <a:pt x="27647" y="26052"/>
                  </a:cubicBezTo>
                  <a:cubicBezTo>
                    <a:pt x="27647" y="26842"/>
                    <a:pt x="27058" y="27631"/>
                    <a:pt x="27058" y="28421"/>
                  </a:cubicBezTo>
                  <a:cubicBezTo>
                    <a:pt x="27058" y="28421"/>
                    <a:pt x="27647" y="29210"/>
                    <a:pt x="27647" y="30000"/>
                  </a:cubicBezTo>
                  <a:cubicBezTo>
                    <a:pt x="27647" y="30000"/>
                    <a:pt x="26470" y="31578"/>
                    <a:pt x="25882" y="32368"/>
                  </a:cubicBezTo>
                  <a:cubicBezTo>
                    <a:pt x="24117" y="34736"/>
                    <a:pt x="22352" y="36315"/>
                    <a:pt x="20000" y="37105"/>
                  </a:cubicBezTo>
                  <a:cubicBezTo>
                    <a:pt x="18235" y="37105"/>
                    <a:pt x="16470" y="38684"/>
                    <a:pt x="14117" y="39473"/>
                  </a:cubicBezTo>
                  <a:cubicBezTo>
                    <a:pt x="12352" y="40263"/>
                    <a:pt x="10588" y="40263"/>
                    <a:pt x="8823" y="41842"/>
                  </a:cubicBezTo>
                  <a:cubicBezTo>
                    <a:pt x="7647" y="43421"/>
                    <a:pt x="7058" y="43421"/>
                    <a:pt x="5882" y="44210"/>
                  </a:cubicBezTo>
                  <a:cubicBezTo>
                    <a:pt x="5294" y="45000"/>
                    <a:pt x="4117" y="47368"/>
                    <a:pt x="4117" y="47368"/>
                  </a:cubicBezTo>
                  <a:cubicBezTo>
                    <a:pt x="3529" y="47368"/>
                    <a:pt x="4117" y="45000"/>
                    <a:pt x="4117" y="44210"/>
                  </a:cubicBezTo>
                  <a:cubicBezTo>
                    <a:pt x="2941" y="44210"/>
                    <a:pt x="2352" y="48157"/>
                    <a:pt x="2352" y="48157"/>
                  </a:cubicBezTo>
                  <a:cubicBezTo>
                    <a:pt x="2941" y="50526"/>
                    <a:pt x="1764" y="51315"/>
                    <a:pt x="1764" y="53684"/>
                  </a:cubicBezTo>
                  <a:cubicBezTo>
                    <a:pt x="1764" y="54473"/>
                    <a:pt x="4705" y="63157"/>
                    <a:pt x="3529" y="63947"/>
                  </a:cubicBezTo>
                  <a:cubicBezTo>
                    <a:pt x="3529" y="63947"/>
                    <a:pt x="1764" y="60789"/>
                    <a:pt x="1764" y="60789"/>
                  </a:cubicBezTo>
                  <a:cubicBezTo>
                    <a:pt x="1764" y="61578"/>
                    <a:pt x="3529" y="63947"/>
                    <a:pt x="2352" y="64736"/>
                  </a:cubicBezTo>
                  <a:cubicBezTo>
                    <a:pt x="1176" y="64736"/>
                    <a:pt x="1176" y="60789"/>
                    <a:pt x="0" y="60789"/>
                  </a:cubicBezTo>
                  <a:cubicBezTo>
                    <a:pt x="0" y="60789"/>
                    <a:pt x="3529" y="67105"/>
                    <a:pt x="3529" y="67894"/>
                  </a:cubicBezTo>
                  <a:cubicBezTo>
                    <a:pt x="4117" y="68684"/>
                    <a:pt x="3529" y="70263"/>
                    <a:pt x="4117" y="71842"/>
                  </a:cubicBezTo>
                  <a:cubicBezTo>
                    <a:pt x="4705" y="73421"/>
                    <a:pt x="5294" y="74210"/>
                    <a:pt x="5882" y="75789"/>
                  </a:cubicBezTo>
                  <a:cubicBezTo>
                    <a:pt x="6470" y="76578"/>
                    <a:pt x="6470" y="78947"/>
                    <a:pt x="6470" y="79736"/>
                  </a:cubicBezTo>
                  <a:cubicBezTo>
                    <a:pt x="6470" y="81315"/>
                    <a:pt x="7058" y="82894"/>
                    <a:pt x="7647" y="83684"/>
                  </a:cubicBezTo>
                  <a:cubicBezTo>
                    <a:pt x="8235" y="86052"/>
                    <a:pt x="8235" y="86842"/>
                    <a:pt x="8235" y="89210"/>
                  </a:cubicBezTo>
                  <a:cubicBezTo>
                    <a:pt x="8235" y="90000"/>
                    <a:pt x="8235" y="93947"/>
                    <a:pt x="8235" y="93947"/>
                  </a:cubicBezTo>
                  <a:cubicBezTo>
                    <a:pt x="7647" y="94736"/>
                    <a:pt x="7058" y="94736"/>
                    <a:pt x="6470" y="95526"/>
                  </a:cubicBezTo>
                  <a:cubicBezTo>
                    <a:pt x="5882" y="97894"/>
                    <a:pt x="7058" y="97894"/>
                    <a:pt x="7647" y="98684"/>
                  </a:cubicBezTo>
                  <a:cubicBezTo>
                    <a:pt x="10000" y="100263"/>
                    <a:pt x="11764" y="101842"/>
                    <a:pt x="14705" y="101052"/>
                  </a:cubicBezTo>
                  <a:cubicBezTo>
                    <a:pt x="15882" y="100263"/>
                    <a:pt x="17058" y="99473"/>
                    <a:pt x="17647" y="98684"/>
                  </a:cubicBezTo>
                  <a:cubicBezTo>
                    <a:pt x="19411" y="97894"/>
                    <a:pt x="18823" y="98684"/>
                    <a:pt x="19411" y="97105"/>
                  </a:cubicBezTo>
                  <a:cubicBezTo>
                    <a:pt x="20588" y="95526"/>
                    <a:pt x="24705" y="95526"/>
                    <a:pt x="25882" y="96315"/>
                  </a:cubicBezTo>
                  <a:cubicBezTo>
                    <a:pt x="27647" y="96315"/>
                    <a:pt x="30588" y="97894"/>
                    <a:pt x="31764" y="95526"/>
                  </a:cubicBezTo>
                  <a:cubicBezTo>
                    <a:pt x="32352" y="94736"/>
                    <a:pt x="32352" y="93157"/>
                    <a:pt x="33529" y="92368"/>
                  </a:cubicBezTo>
                  <a:cubicBezTo>
                    <a:pt x="34705" y="91578"/>
                    <a:pt x="35882" y="90789"/>
                    <a:pt x="37058" y="90000"/>
                  </a:cubicBezTo>
                  <a:cubicBezTo>
                    <a:pt x="38823" y="88421"/>
                    <a:pt x="41176" y="90000"/>
                    <a:pt x="42941" y="88421"/>
                  </a:cubicBezTo>
                  <a:cubicBezTo>
                    <a:pt x="45882" y="86842"/>
                    <a:pt x="48235" y="86842"/>
                    <a:pt x="51764" y="86052"/>
                  </a:cubicBezTo>
                  <a:cubicBezTo>
                    <a:pt x="52352" y="86052"/>
                    <a:pt x="52941" y="85263"/>
                    <a:pt x="54117" y="85263"/>
                  </a:cubicBezTo>
                  <a:cubicBezTo>
                    <a:pt x="54705" y="86052"/>
                    <a:pt x="55882" y="86842"/>
                    <a:pt x="56470" y="87631"/>
                  </a:cubicBezTo>
                  <a:cubicBezTo>
                    <a:pt x="57058" y="87631"/>
                    <a:pt x="62941" y="89210"/>
                    <a:pt x="62941" y="90000"/>
                  </a:cubicBezTo>
                  <a:cubicBezTo>
                    <a:pt x="62352" y="90789"/>
                    <a:pt x="61764" y="93157"/>
                    <a:pt x="62941" y="92368"/>
                  </a:cubicBezTo>
                  <a:cubicBezTo>
                    <a:pt x="63529" y="92368"/>
                    <a:pt x="64705" y="94736"/>
                    <a:pt x="65294" y="95526"/>
                  </a:cubicBezTo>
                  <a:cubicBezTo>
                    <a:pt x="65882" y="96315"/>
                    <a:pt x="65882" y="97105"/>
                    <a:pt x="65882" y="98684"/>
                  </a:cubicBezTo>
                  <a:cubicBezTo>
                    <a:pt x="66470" y="99473"/>
                    <a:pt x="67647" y="101052"/>
                    <a:pt x="67647" y="101052"/>
                  </a:cubicBezTo>
                  <a:cubicBezTo>
                    <a:pt x="67647" y="100263"/>
                    <a:pt x="67058" y="99473"/>
                    <a:pt x="68235" y="98684"/>
                  </a:cubicBezTo>
                  <a:cubicBezTo>
                    <a:pt x="68823" y="97894"/>
                    <a:pt x="69411" y="97105"/>
                    <a:pt x="70588" y="96315"/>
                  </a:cubicBezTo>
                  <a:cubicBezTo>
                    <a:pt x="71176" y="95526"/>
                    <a:pt x="74117" y="91578"/>
                    <a:pt x="73529" y="90789"/>
                  </a:cubicBezTo>
                  <a:cubicBezTo>
                    <a:pt x="74117" y="92368"/>
                    <a:pt x="73529" y="93157"/>
                    <a:pt x="73529" y="94736"/>
                  </a:cubicBezTo>
                  <a:cubicBezTo>
                    <a:pt x="74117" y="95526"/>
                    <a:pt x="72941" y="96315"/>
                    <a:pt x="72941" y="96315"/>
                  </a:cubicBezTo>
                  <a:cubicBezTo>
                    <a:pt x="72352" y="97894"/>
                    <a:pt x="72352" y="98684"/>
                    <a:pt x="72352" y="99473"/>
                  </a:cubicBezTo>
                  <a:cubicBezTo>
                    <a:pt x="72352" y="101052"/>
                    <a:pt x="70000" y="101842"/>
                    <a:pt x="71764" y="101842"/>
                  </a:cubicBezTo>
                  <a:cubicBezTo>
                    <a:pt x="74117" y="101842"/>
                    <a:pt x="72941" y="98684"/>
                    <a:pt x="73529" y="97105"/>
                  </a:cubicBezTo>
                  <a:cubicBezTo>
                    <a:pt x="73529" y="97105"/>
                    <a:pt x="75882" y="100263"/>
                    <a:pt x="75294" y="101842"/>
                  </a:cubicBezTo>
                  <a:cubicBezTo>
                    <a:pt x="73529" y="105000"/>
                    <a:pt x="75882" y="102631"/>
                    <a:pt x="77058" y="104210"/>
                  </a:cubicBezTo>
                  <a:cubicBezTo>
                    <a:pt x="78823" y="106578"/>
                    <a:pt x="78823" y="107368"/>
                    <a:pt x="78823" y="109736"/>
                  </a:cubicBezTo>
                  <a:cubicBezTo>
                    <a:pt x="78235" y="112105"/>
                    <a:pt x="80588" y="114473"/>
                    <a:pt x="81764" y="114473"/>
                  </a:cubicBezTo>
                  <a:cubicBezTo>
                    <a:pt x="82941" y="115263"/>
                    <a:pt x="84117" y="116052"/>
                    <a:pt x="85294" y="116052"/>
                  </a:cubicBezTo>
                  <a:cubicBezTo>
                    <a:pt x="86470" y="116052"/>
                    <a:pt x="88823" y="120000"/>
                    <a:pt x="90000" y="119210"/>
                  </a:cubicBezTo>
                  <a:cubicBezTo>
                    <a:pt x="91176" y="118421"/>
                    <a:pt x="92352" y="117631"/>
                    <a:pt x="92941" y="116052"/>
                  </a:cubicBezTo>
                  <a:cubicBezTo>
                    <a:pt x="92941" y="116052"/>
                    <a:pt x="94117" y="113684"/>
                    <a:pt x="94705" y="114473"/>
                  </a:cubicBezTo>
                  <a:cubicBezTo>
                    <a:pt x="94705" y="115263"/>
                    <a:pt x="93529" y="116052"/>
                    <a:pt x="94117" y="116842"/>
                  </a:cubicBezTo>
                  <a:cubicBezTo>
                    <a:pt x="94705" y="117631"/>
                    <a:pt x="94705" y="115263"/>
                    <a:pt x="95294" y="115263"/>
                  </a:cubicBezTo>
                  <a:cubicBezTo>
                    <a:pt x="95294" y="115263"/>
                    <a:pt x="96470" y="117631"/>
                    <a:pt x="97058" y="117631"/>
                  </a:cubicBezTo>
                  <a:cubicBezTo>
                    <a:pt x="97058" y="118421"/>
                    <a:pt x="98235" y="120000"/>
                    <a:pt x="98823" y="120000"/>
                  </a:cubicBezTo>
                  <a:cubicBezTo>
                    <a:pt x="98235" y="120000"/>
                    <a:pt x="100000" y="117631"/>
                    <a:pt x="100000" y="117631"/>
                  </a:cubicBezTo>
                  <a:cubicBezTo>
                    <a:pt x="101176" y="116842"/>
                    <a:pt x="101764" y="115263"/>
                    <a:pt x="102352" y="114473"/>
                  </a:cubicBezTo>
                  <a:cubicBezTo>
                    <a:pt x="104117" y="113684"/>
                    <a:pt x="108823" y="115263"/>
                    <a:pt x="108823" y="112105"/>
                  </a:cubicBezTo>
                  <a:cubicBezTo>
                    <a:pt x="109411" y="108157"/>
                    <a:pt x="110000" y="105789"/>
                    <a:pt x="110588" y="102631"/>
                  </a:cubicBezTo>
                  <a:cubicBezTo>
                    <a:pt x="111764" y="99473"/>
                    <a:pt x="112352" y="96315"/>
                    <a:pt x="114117" y="93157"/>
                  </a:cubicBezTo>
                  <a:cubicBezTo>
                    <a:pt x="114705" y="92368"/>
                    <a:pt x="115882" y="91578"/>
                    <a:pt x="116470" y="90000"/>
                  </a:cubicBezTo>
                  <a:cubicBezTo>
                    <a:pt x="116470" y="89210"/>
                    <a:pt x="116470" y="89210"/>
                    <a:pt x="116470" y="88421"/>
                  </a:cubicBezTo>
                  <a:cubicBezTo>
                    <a:pt x="117058" y="87631"/>
                    <a:pt x="117647" y="86842"/>
                    <a:pt x="117647" y="85263"/>
                  </a:cubicBezTo>
                  <a:cubicBezTo>
                    <a:pt x="118235" y="83684"/>
                    <a:pt x="117647" y="82105"/>
                    <a:pt x="118235" y="80526"/>
                  </a:cubicBezTo>
                  <a:cubicBezTo>
                    <a:pt x="118235" y="79736"/>
                    <a:pt x="118823" y="78947"/>
                    <a:pt x="118823" y="78157"/>
                  </a:cubicBezTo>
                  <a:cubicBezTo>
                    <a:pt x="119411" y="77368"/>
                    <a:pt x="118235" y="76578"/>
                    <a:pt x="118823" y="75789"/>
                  </a:cubicBezTo>
                  <a:cubicBezTo>
                    <a:pt x="119411" y="75000"/>
                    <a:pt x="120000" y="72631"/>
                    <a:pt x="119411" y="71842"/>
                  </a:cubicBezTo>
                  <a:cubicBezTo>
                    <a:pt x="119411" y="70263"/>
                    <a:pt x="118823" y="69473"/>
                    <a:pt x="118823" y="68684"/>
                  </a:cubicBezTo>
                  <a:cubicBezTo>
                    <a:pt x="118235" y="67894"/>
                    <a:pt x="118235" y="66315"/>
                    <a:pt x="118235" y="65526"/>
                  </a:cubicBezTo>
                  <a:cubicBezTo>
                    <a:pt x="117647" y="62368"/>
                    <a:pt x="119411" y="60789"/>
                    <a:pt x="118823" y="57631"/>
                  </a:cubicBezTo>
                  <a:cubicBezTo>
                    <a:pt x="118823" y="58421"/>
                    <a:pt x="118235" y="60000"/>
                    <a:pt x="117647" y="60000"/>
                  </a:cubicBezTo>
                  <a:cubicBezTo>
                    <a:pt x="116470" y="60000"/>
                    <a:pt x="115882" y="56842"/>
                    <a:pt x="115294" y="55263"/>
                  </a:cubicBezTo>
                  <a:cubicBezTo>
                    <a:pt x="114117" y="52894"/>
                    <a:pt x="111764" y="52894"/>
                    <a:pt x="111764" y="48947"/>
                  </a:cubicBezTo>
                  <a:cubicBezTo>
                    <a:pt x="111176" y="47368"/>
                    <a:pt x="110588" y="47368"/>
                    <a:pt x="110000" y="46578"/>
                  </a:cubicBezTo>
                  <a:cubicBezTo>
                    <a:pt x="108823" y="45789"/>
                    <a:pt x="108823" y="48157"/>
                    <a:pt x="108235" y="46578"/>
                  </a:cubicBezTo>
                  <a:cubicBezTo>
                    <a:pt x="108235" y="44210"/>
                    <a:pt x="107647" y="43421"/>
                    <a:pt x="106470" y="41842"/>
                  </a:cubicBezTo>
                  <a:cubicBezTo>
                    <a:pt x="106470" y="41842"/>
                    <a:pt x="105882" y="41052"/>
                    <a:pt x="105882" y="40263"/>
                  </a:cubicBezTo>
                  <a:cubicBezTo>
                    <a:pt x="105294" y="40263"/>
                    <a:pt x="105882" y="38684"/>
                    <a:pt x="105882" y="39473"/>
                  </a:cubicBezTo>
                  <a:cubicBezTo>
                    <a:pt x="104705" y="37894"/>
                    <a:pt x="103529" y="37105"/>
                    <a:pt x="102352" y="36315"/>
                  </a:cubicBezTo>
                  <a:cubicBezTo>
                    <a:pt x="101176" y="34736"/>
                    <a:pt x="99411" y="35526"/>
                    <a:pt x="98823" y="33947"/>
                  </a:cubicBezTo>
                  <a:cubicBezTo>
                    <a:pt x="97647" y="32368"/>
                    <a:pt x="98235" y="29210"/>
                    <a:pt x="97647" y="28421"/>
                  </a:cubicBezTo>
                  <a:cubicBezTo>
                    <a:pt x="97647" y="26842"/>
                    <a:pt x="97647" y="25263"/>
                    <a:pt x="97058" y="24473"/>
                  </a:cubicBezTo>
                  <a:cubicBezTo>
                    <a:pt x="96470" y="23684"/>
                    <a:pt x="95882" y="23684"/>
                    <a:pt x="95882" y="22105"/>
                  </a:cubicBezTo>
                  <a:cubicBezTo>
                    <a:pt x="95882" y="20526"/>
                    <a:pt x="95882" y="18157"/>
                    <a:pt x="94705" y="15789"/>
                  </a:cubicBezTo>
                  <a:cubicBezTo>
                    <a:pt x="94117" y="15789"/>
                    <a:pt x="92941" y="13421"/>
                    <a:pt x="92941" y="14210"/>
                  </a:cubicBezTo>
                  <a:cubicBezTo>
                    <a:pt x="91764" y="14210"/>
                    <a:pt x="91764" y="15000"/>
                    <a:pt x="91176" y="13421"/>
                  </a:cubicBezTo>
                  <a:cubicBezTo>
                    <a:pt x="90000" y="11842"/>
                    <a:pt x="90588" y="8684"/>
                    <a:pt x="89411" y="6315"/>
                  </a:cubicBezTo>
                  <a:cubicBezTo>
                    <a:pt x="89411" y="5526"/>
                    <a:pt x="87058" y="0"/>
                    <a:pt x="87058" y="0"/>
                  </a:cubicBezTo>
                  <a:cubicBezTo>
                    <a:pt x="86470" y="0"/>
                    <a:pt x="86470" y="1578"/>
                    <a:pt x="86470" y="2368"/>
                  </a:cubicBezTo>
                  <a:cubicBezTo>
                    <a:pt x="86470" y="3157"/>
                    <a:pt x="85882" y="3947"/>
                    <a:pt x="85294" y="4736"/>
                  </a:cubicBezTo>
                  <a:cubicBezTo>
                    <a:pt x="85294" y="4736"/>
                    <a:pt x="84117" y="6315"/>
                    <a:pt x="84705" y="7105"/>
                  </a:cubicBezTo>
                  <a:cubicBezTo>
                    <a:pt x="84705" y="7105"/>
                    <a:pt x="85882" y="7105"/>
                    <a:pt x="85294" y="7894"/>
                  </a:cubicBezTo>
                  <a:cubicBezTo>
                    <a:pt x="84705" y="7894"/>
                    <a:pt x="84117" y="11842"/>
                    <a:pt x="84117" y="12631"/>
                  </a:cubicBezTo>
                  <a:cubicBezTo>
                    <a:pt x="84705" y="14210"/>
                    <a:pt x="84705" y="15789"/>
                    <a:pt x="84705" y="17368"/>
                  </a:cubicBezTo>
                  <a:cubicBezTo>
                    <a:pt x="84117" y="20526"/>
                    <a:pt x="84117" y="28421"/>
                    <a:pt x="80588" y="28421"/>
                  </a:cubicBezTo>
                  <a:cubicBezTo>
                    <a:pt x="78235" y="28421"/>
                    <a:pt x="78235" y="25263"/>
                    <a:pt x="76470" y="24473"/>
                  </a:cubicBezTo>
                  <a:cubicBezTo>
                    <a:pt x="75294" y="23684"/>
                    <a:pt x="74117" y="23684"/>
                    <a:pt x="72941" y="22105"/>
                  </a:cubicBezTo>
                  <a:cubicBezTo>
                    <a:pt x="72352" y="21315"/>
                    <a:pt x="65882" y="16578"/>
                    <a:pt x="66470" y="15789"/>
                  </a:cubicBezTo>
                  <a:cubicBezTo>
                    <a:pt x="66470" y="15000"/>
                    <a:pt x="67058" y="14210"/>
                    <a:pt x="67647" y="13421"/>
                  </a:cubicBezTo>
                  <a:cubicBezTo>
                    <a:pt x="67647" y="12631"/>
                    <a:pt x="68823" y="12631"/>
                    <a:pt x="68823" y="11842"/>
                  </a:cubicBezTo>
                  <a:cubicBezTo>
                    <a:pt x="68823" y="11842"/>
                    <a:pt x="68235" y="11052"/>
                    <a:pt x="68235" y="10263"/>
                  </a:cubicBezTo>
                  <a:cubicBezTo>
                    <a:pt x="68823" y="9473"/>
                    <a:pt x="68823" y="9473"/>
                    <a:pt x="69411" y="8684"/>
                  </a:cubicBezTo>
                  <a:cubicBezTo>
                    <a:pt x="69411" y="7894"/>
                    <a:pt x="70588" y="7105"/>
                    <a:pt x="71176" y="6315"/>
                  </a:cubicBezTo>
                  <a:cubicBezTo>
                    <a:pt x="71176" y="5526"/>
                    <a:pt x="70000" y="3947"/>
                    <a:pt x="69411" y="4736"/>
                  </a:cubicBezTo>
                  <a:cubicBezTo>
                    <a:pt x="69411" y="4736"/>
                    <a:pt x="68823" y="6315"/>
                    <a:pt x="68823" y="6315"/>
                  </a:cubicBezTo>
                  <a:cubicBezTo>
                    <a:pt x="68235" y="5526"/>
                    <a:pt x="68235" y="5526"/>
                    <a:pt x="67647" y="4736"/>
                  </a:cubicBezTo>
                  <a:cubicBezTo>
                    <a:pt x="67647" y="3947"/>
                    <a:pt x="66470" y="5526"/>
                    <a:pt x="65882" y="5526"/>
                  </a:cubicBezTo>
                  <a:cubicBezTo>
                    <a:pt x="65294" y="6315"/>
                    <a:pt x="64705" y="5526"/>
                    <a:pt x="64117" y="5526"/>
                  </a:cubicBezTo>
                  <a:cubicBezTo>
                    <a:pt x="62941" y="4736"/>
                    <a:pt x="61176" y="3947"/>
                    <a:pt x="59411" y="3157"/>
                  </a:cubicBezTo>
                  <a:cubicBezTo>
                    <a:pt x="58235" y="3157"/>
                    <a:pt x="60588" y="3947"/>
                    <a:pt x="59411" y="3157"/>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9" name="Shape 2281">
              <a:extLst>
                <a:ext uri="{FF2B5EF4-FFF2-40B4-BE49-F238E27FC236}">
                  <a16:creationId xmlns:a16="http://schemas.microsoft.com/office/drawing/2014/main" id="{E1814A15-319D-6F41-A927-37E0A7121BE8}"/>
                </a:ext>
              </a:extLst>
            </p:cNvPr>
            <p:cNvSpPr/>
            <p:nvPr/>
          </p:nvSpPr>
          <p:spPr>
            <a:xfrm>
              <a:off x="11416735" y="5927161"/>
              <a:ext cx="372609" cy="563839"/>
            </a:xfrm>
            <a:custGeom>
              <a:avLst/>
              <a:gdLst/>
              <a:ahLst/>
              <a:cxnLst/>
              <a:rect l="0" t="0" r="0" b="0"/>
              <a:pathLst>
                <a:path w="120000" h="120000" extrusionOk="0">
                  <a:moveTo>
                    <a:pt x="45000" y="0"/>
                  </a:moveTo>
                  <a:cubicBezTo>
                    <a:pt x="36000" y="0"/>
                    <a:pt x="30000" y="2000"/>
                    <a:pt x="21000" y="0"/>
                  </a:cubicBezTo>
                  <a:cubicBezTo>
                    <a:pt x="18000" y="0"/>
                    <a:pt x="15000" y="0"/>
                    <a:pt x="15000" y="2000"/>
                  </a:cubicBezTo>
                  <a:cubicBezTo>
                    <a:pt x="18000" y="6000"/>
                    <a:pt x="15000" y="4000"/>
                    <a:pt x="12000" y="6000"/>
                  </a:cubicBezTo>
                  <a:cubicBezTo>
                    <a:pt x="15000" y="4000"/>
                    <a:pt x="15000" y="8000"/>
                    <a:pt x="15000" y="8000"/>
                  </a:cubicBezTo>
                  <a:cubicBezTo>
                    <a:pt x="12000" y="12000"/>
                    <a:pt x="3000" y="10000"/>
                    <a:pt x="6000" y="16000"/>
                  </a:cubicBezTo>
                  <a:cubicBezTo>
                    <a:pt x="12000" y="20000"/>
                    <a:pt x="9000" y="22000"/>
                    <a:pt x="6000" y="26000"/>
                  </a:cubicBezTo>
                  <a:cubicBezTo>
                    <a:pt x="6000" y="30000"/>
                    <a:pt x="12000" y="30000"/>
                    <a:pt x="15000" y="28000"/>
                  </a:cubicBezTo>
                  <a:cubicBezTo>
                    <a:pt x="12000" y="30000"/>
                    <a:pt x="15000" y="30000"/>
                    <a:pt x="15000" y="32000"/>
                  </a:cubicBezTo>
                  <a:cubicBezTo>
                    <a:pt x="15000" y="30000"/>
                    <a:pt x="9000" y="36000"/>
                    <a:pt x="9000" y="36000"/>
                  </a:cubicBezTo>
                  <a:cubicBezTo>
                    <a:pt x="6000" y="36000"/>
                    <a:pt x="0" y="36000"/>
                    <a:pt x="0" y="40000"/>
                  </a:cubicBezTo>
                  <a:cubicBezTo>
                    <a:pt x="3000" y="40000"/>
                    <a:pt x="6000" y="36000"/>
                    <a:pt x="9000" y="38000"/>
                  </a:cubicBezTo>
                  <a:cubicBezTo>
                    <a:pt x="9000" y="40000"/>
                    <a:pt x="9000" y="42000"/>
                    <a:pt x="9000" y="42000"/>
                  </a:cubicBezTo>
                  <a:cubicBezTo>
                    <a:pt x="6000" y="44000"/>
                    <a:pt x="6000" y="46000"/>
                    <a:pt x="6000" y="46000"/>
                  </a:cubicBezTo>
                  <a:cubicBezTo>
                    <a:pt x="6000" y="48000"/>
                    <a:pt x="9000" y="44000"/>
                    <a:pt x="12000" y="44000"/>
                  </a:cubicBezTo>
                  <a:cubicBezTo>
                    <a:pt x="12000" y="42000"/>
                    <a:pt x="15000" y="46000"/>
                    <a:pt x="15000" y="46000"/>
                  </a:cubicBezTo>
                  <a:cubicBezTo>
                    <a:pt x="18000" y="46000"/>
                    <a:pt x="15000" y="38000"/>
                    <a:pt x="12000" y="38000"/>
                  </a:cubicBezTo>
                  <a:cubicBezTo>
                    <a:pt x="15000" y="38000"/>
                    <a:pt x="21000" y="40000"/>
                    <a:pt x="21000" y="38000"/>
                  </a:cubicBezTo>
                  <a:cubicBezTo>
                    <a:pt x="21000" y="38000"/>
                    <a:pt x="18000" y="40000"/>
                    <a:pt x="18000" y="40000"/>
                  </a:cubicBezTo>
                  <a:cubicBezTo>
                    <a:pt x="18000" y="42000"/>
                    <a:pt x="21000" y="44000"/>
                    <a:pt x="21000" y="46000"/>
                  </a:cubicBezTo>
                  <a:cubicBezTo>
                    <a:pt x="21000" y="48000"/>
                    <a:pt x="12000" y="54000"/>
                    <a:pt x="21000" y="54000"/>
                  </a:cubicBezTo>
                  <a:cubicBezTo>
                    <a:pt x="21000" y="54000"/>
                    <a:pt x="30000" y="54000"/>
                    <a:pt x="33000" y="54000"/>
                  </a:cubicBezTo>
                  <a:cubicBezTo>
                    <a:pt x="36000" y="52000"/>
                    <a:pt x="45000" y="52000"/>
                    <a:pt x="45000" y="52000"/>
                  </a:cubicBezTo>
                  <a:cubicBezTo>
                    <a:pt x="42000" y="56000"/>
                    <a:pt x="39000" y="56000"/>
                    <a:pt x="42000" y="60000"/>
                  </a:cubicBezTo>
                  <a:cubicBezTo>
                    <a:pt x="45000" y="66000"/>
                    <a:pt x="45000" y="62000"/>
                    <a:pt x="48000" y="64000"/>
                  </a:cubicBezTo>
                  <a:cubicBezTo>
                    <a:pt x="48000" y="66000"/>
                    <a:pt x="45000" y="70000"/>
                    <a:pt x="48000" y="72000"/>
                  </a:cubicBezTo>
                  <a:cubicBezTo>
                    <a:pt x="51000" y="76000"/>
                    <a:pt x="42000" y="76000"/>
                    <a:pt x="39000" y="76000"/>
                  </a:cubicBezTo>
                  <a:cubicBezTo>
                    <a:pt x="33000" y="78000"/>
                    <a:pt x="30000" y="74000"/>
                    <a:pt x="24000" y="78000"/>
                  </a:cubicBezTo>
                  <a:cubicBezTo>
                    <a:pt x="21000" y="82000"/>
                    <a:pt x="36000" y="80000"/>
                    <a:pt x="33000" y="82000"/>
                  </a:cubicBezTo>
                  <a:cubicBezTo>
                    <a:pt x="33000" y="82000"/>
                    <a:pt x="27000" y="84000"/>
                    <a:pt x="27000" y="84000"/>
                  </a:cubicBezTo>
                  <a:cubicBezTo>
                    <a:pt x="27000" y="86000"/>
                    <a:pt x="30000" y="86000"/>
                    <a:pt x="27000" y="88000"/>
                  </a:cubicBezTo>
                  <a:cubicBezTo>
                    <a:pt x="24000" y="90000"/>
                    <a:pt x="21000" y="92000"/>
                    <a:pt x="15000" y="94000"/>
                  </a:cubicBezTo>
                  <a:cubicBezTo>
                    <a:pt x="12000" y="96000"/>
                    <a:pt x="18000" y="98000"/>
                    <a:pt x="18000" y="98000"/>
                  </a:cubicBezTo>
                  <a:cubicBezTo>
                    <a:pt x="21000" y="98000"/>
                    <a:pt x="27000" y="96000"/>
                    <a:pt x="27000" y="96000"/>
                  </a:cubicBezTo>
                  <a:cubicBezTo>
                    <a:pt x="27000" y="98000"/>
                    <a:pt x="36000" y="98000"/>
                    <a:pt x="39000" y="100000"/>
                  </a:cubicBezTo>
                  <a:cubicBezTo>
                    <a:pt x="45000" y="100000"/>
                    <a:pt x="51000" y="96000"/>
                    <a:pt x="54000" y="96000"/>
                  </a:cubicBezTo>
                  <a:cubicBezTo>
                    <a:pt x="54000" y="96000"/>
                    <a:pt x="48000" y="106000"/>
                    <a:pt x="39000" y="104000"/>
                  </a:cubicBezTo>
                  <a:cubicBezTo>
                    <a:pt x="36000" y="102000"/>
                    <a:pt x="33000" y="104000"/>
                    <a:pt x="30000" y="104000"/>
                  </a:cubicBezTo>
                  <a:cubicBezTo>
                    <a:pt x="24000" y="104000"/>
                    <a:pt x="27000" y="102000"/>
                    <a:pt x="24000" y="102000"/>
                  </a:cubicBezTo>
                  <a:cubicBezTo>
                    <a:pt x="24000" y="102000"/>
                    <a:pt x="24000" y="108000"/>
                    <a:pt x="21000" y="110000"/>
                  </a:cubicBezTo>
                  <a:cubicBezTo>
                    <a:pt x="21000" y="110000"/>
                    <a:pt x="18000" y="112000"/>
                    <a:pt x="15000" y="114000"/>
                  </a:cubicBezTo>
                  <a:cubicBezTo>
                    <a:pt x="15000" y="114000"/>
                    <a:pt x="9000" y="116000"/>
                    <a:pt x="9000" y="118000"/>
                  </a:cubicBezTo>
                  <a:cubicBezTo>
                    <a:pt x="9000" y="118000"/>
                    <a:pt x="15000" y="118000"/>
                    <a:pt x="15000" y="118000"/>
                  </a:cubicBezTo>
                  <a:cubicBezTo>
                    <a:pt x="15000" y="118000"/>
                    <a:pt x="12000" y="118000"/>
                    <a:pt x="15000" y="120000"/>
                  </a:cubicBezTo>
                  <a:cubicBezTo>
                    <a:pt x="15000" y="120000"/>
                    <a:pt x="21000" y="114000"/>
                    <a:pt x="24000" y="114000"/>
                  </a:cubicBezTo>
                  <a:cubicBezTo>
                    <a:pt x="27000" y="114000"/>
                    <a:pt x="33000" y="116000"/>
                    <a:pt x="36000" y="114000"/>
                  </a:cubicBezTo>
                  <a:cubicBezTo>
                    <a:pt x="42000" y="114000"/>
                    <a:pt x="39000" y="110000"/>
                    <a:pt x="45000" y="110000"/>
                  </a:cubicBezTo>
                  <a:cubicBezTo>
                    <a:pt x="48000" y="108000"/>
                    <a:pt x="51000" y="110000"/>
                    <a:pt x="57000" y="110000"/>
                  </a:cubicBezTo>
                  <a:cubicBezTo>
                    <a:pt x="60000" y="112000"/>
                    <a:pt x="63000" y="108000"/>
                    <a:pt x="69000" y="110000"/>
                  </a:cubicBezTo>
                  <a:cubicBezTo>
                    <a:pt x="72000" y="112000"/>
                    <a:pt x="78000" y="110000"/>
                    <a:pt x="81000" y="108000"/>
                  </a:cubicBezTo>
                  <a:cubicBezTo>
                    <a:pt x="87000" y="108000"/>
                    <a:pt x="96000" y="108000"/>
                    <a:pt x="102000" y="108000"/>
                  </a:cubicBezTo>
                  <a:cubicBezTo>
                    <a:pt x="102000" y="108000"/>
                    <a:pt x="114000" y="102000"/>
                    <a:pt x="114000" y="102000"/>
                  </a:cubicBezTo>
                  <a:cubicBezTo>
                    <a:pt x="111000" y="100000"/>
                    <a:pt x="99000" y="102000"/>
                    <a:pt x="99000" y="100000"/>
                  </a:cubicBezTo>
                  <a:cubicBezTo>
                    <a:pt x="99000" y="98000"/>
                    <a:pt x="111000" y="92000"/>
                    <a:pt x="114000" y="92000"/>
                  </a:cubicBezTo>
                  <a:cubicBezTo>
                    <a:pt x="117000" y="88000"/>
                    <a:pt x="120000" y="80000"/>
                    <a:pt x="108000" y="80000"/>
                  </a:cubicBezTo>
                  <a:cubicBezTo>
                    <a:pt x="105000" y="80000"/>
                    <a:pt x="99000" y="82000"/>
                    <a:pt x="96000" y="82000"/>
                  </a:cubicBezTo>
                  <a:cubicBezTo>
                    <a:pt x="90000" y="80000"/>
                    <a:pt x="96000" y="80000"/>
                    <a:pt x="96000" y="78000"/>
                  </a:cubicBezTo>
                  <a:cubicBezTo>
                    <a:pt x="96000" y="76000"/>
                    <a:pt x="96000" y="74000"/>
                    <a:pt x="93000" y="72000"/>
                  </a:cubicBezTo>
                  <a:cubicBezTo>
                    <a:pt x="93000" y="72000"/>
                    <a:pt x="81000" y="70000"/>
                    <a:pt x="84000" y="68000"/>
                  </a:cubicBezTo>
                  <a:cubicBezTo>
                    <a:pt x="84000" y="68000"/>
                    <a:pt x="90000" y="70000"/>
                    <a:pt x="90000" y="68000"/>
                  </a:cubicBezTo>
                  <a:cubicBezTo>
                    <a:pt x="93000" y="66000"/>
                    <a:pt x="90000" y="64000"/>
                    <a:pt x="87000" y="62000"/>
                  </a:cubicBezTo>
                  <a:cubicBezTo>
                    <a:pt x="78000" y="58000"/>
                    <a:pt x="75000" y="58000"/>
                    <a:pt x="69000" y="50000"/>
                  </a:cubicBezTo>
                  <a:cubicBezTo>
                    <a:pt x="66000" y="46000"/>
                    <a:pt x="63000" y="42000"/>
                    <a:pt x="54000" y="38000"/>
                  </a:cubicBezTo>
                  <a:cubicBezTo>
                    <a:pt x="51000" y="36000"/>
                    <a:pt x="39000" y="40000"/>
                    <a:pt x="36000" y="36000"/>
                  </a:cubicBezTo>
                  <a:cubicBezTo>
                    <a:pt x="36000" y="36000"/>
                    <a:pt x="54000" y="34000"/>
                    <a:pt x="51000" y="32000"/>
                  </a:cubicBezTo>
                  <a:cubicBezTo>
                    <a:pt x="51000" y="32000"/>
                    <a:pt x="45000" y="34000"/>
                    <a:pt x="42000" y="32000"/>
                  </a:cubicBezTo>
                  <a:cubicBezTo>
                    <a:pt x="42000" y="32000"/>
                    <a:pt x="54000" y="30000"/>
                    <a:pt x="54000" y="30000"/>
                  </a:cubicBezTo>
                  <a:cubicBezTo>
                    <a:pt x="57000" y="28000"/>
                    <a:pt x="66000" y="18000"/>
                    <a:pt x="63000" y="16000"/>
                  </a:cubicBezTo>
                  <a:cubicBezTo>
                    <a:pt x="60000" y="12000"/>
                    <a:pt x="51000" y="12000"/>
                    <a:pt x="45000" y="12000"/>
                  </a:cubicBezTo>
                  <a:cubicBezTo>
                    <a:pt x="42000" y="14000"/>
                    <a:pt x="27000" y="14000"/>
                    <a:pt x="27000" y="14000"/>
                  </a:cubicBezTo>
                  <a:cubicBezTo>
                    <a:pt x="27000" y="14000"/>
                    <a:pt x="33000" y="12000"/>
                    <a:pt x="33000" y="12000"/>
                  </a:cubicBezTo>
                  <a:cubicBezTo>
                    <a:pt x="33000" y="12000"/>
                    <a:pt x="27000" y="10000"/>
                    <a:pt x="27000" y="12000"/>
                  </a:cubicBezTo>
                  <a:cubicBezTo>
                    <a:pt x="27000" y="10000"/>
                    <a:pt x="54000" y="2000"/>
                    <a:pt x="45000" y="0"/>
                  </a:cubicBezTo>
                  <a:cubicBezTo>
                    <a:pt x="42000" y="0"/>
                    <a:pt x="51000" y="2000"/>
                    <a:pt x="45000" y="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0" name="Shape 2282">
              <a:extLst>
                <a:ext uri="{FF2B5EF4-FFF2-40B4-BE49-F238E27FC236}">
                  <a16:creationId xmlns:a16="http://schemas.microsoft.com/office/drawing/2014/main" id="{D8D95BC3-FE13-9D42-9D64-4299217FB818}"/>
                </a:ext>
              </a:extLst>
            </p:cNvPr>
            <p:cNvSpPr/>
            <p:nvPr/>
          </p:nvSpPr>
          <p:spPr>
            <a:xfrm>
              <a:off x="10566416" y="5337839"/>
              <a:ext cx="503185" cy="245288"/>
            </a:xfrm>
            <a:custGeom>
              <a:avLst/>
              <a:gdLst/>
              <a:ahLst/>
              <a:cxnLst/>
              <a:rect l="0" t="0" r="0" b="0"/>
              <a:pathLst>
                <a:path w="120000" h="120000" extrusionOk="0">
                  <a:moveTo>
                    <a:pt x="117777" y="46153"/>
                  </a:moveTo>
                  <a:cubicBezTo>
                    <a:pt x="117777" y="46153"/>
                    <a:pt x="108888" y="41538"/>
                    <a:pt x="108888" y="41538"/>
                  </a:cubicBezTo>
                  <a:cubicBezTo>
                    <a:pt x="108888" y="41538"/>
                    <a:pt x="111111" y="36923"/>
                    <a:pt x="111111" y="36923"/>
                  </a:cubicBezTo>
                  <a:cubicBezTo>
                    <a:pt x="108888" y="36923"/>
                    <a:pt x="104444" y="36923"/>
                    <a:pt x="106666" y="32307"/>
                  </a:cubicBezTo>
                  <a:cubicBezTo>
                    <a:pt x="106666" y="32307"/>
                    <a:pt x="108888" y="27692"/>
                    <a:pt x="108888" y="27692"/>
                  </a:cubicBezTo>
                  <a:cubicBezTo>
                    <a:pt x="106666" y="23076"/>
                    <a:pt x="102222" y="23076"/>
                    <a:pt x="102222" y="23076"/>
                  </a:cubicBezTo>
                  <a:cubicBezTo>
                    <a:pt x="102222" y="18461"/>
                    <a:pt x="106666" y="13846"/>
                    <a:pt x="106666" y="13846"/>
                  </a:cubicBezTo>
                  <a:cubicBezTo>
                    <a:pt x="106666" y="13846"/>
                    <a:pt x="97777" y="18461"/>
                    <a:pt x="95555" y="13846"/>
                  </a:cubicBezTo>
                  <a:cubicBezTo>
                    <a:pt x="93333" y="9230"/>
                    <a:pt x="91111" y="4615"/>
                    <a:pt x="86666" y="4615"/>
                  </a:cubicBezTo>
                  <a:cubicBezTo>
                    <a:pt x="84444" y="4615"/>
                    <a:pt x="88888" y="13846"/>
                    <a:pt x="86666" y="18461"/>
                  </a:cubicBezTo>
                  <a:cubicBezTo>
                    <a:pt x="84444" y="23076"/>
                    <a:pt x="82222" y="18461"/>
                    <a:pt x="80000" y="23076"/>
                  </a:cubicBezTo>
                  <a:cubicBezTo>
                    <a:pt x="77777" y="27692"/>
                    <a:pt x="75555" y="23076"/>
                    <a:pt x="71111" y="23076"/>
                  </a:cubicBezTo>
                  <a:cubicBezTo>
                    <a:pt x="66666" y="18461"/>
                    <a:pt x="73333" y="36923"/>
                    <a:pt x="71111" y="41538"/>
                  </a:cubicBezTo>
                  <a:cubicBezTo>
                    <a:pt x="71111" y="41538"/>
                    <a:pt x="62222" y="9230"/>
                    <a:pt x="57777" y="23076"/>
                  </a:cubicBezTo>
                  <a:cubicBezTo>
                    <a:pt x="55555" y="23076"/>
                    <a:pt x="57777" y="32307"/>
                    <a:pt x="55555" y="36923"/>
                  </a:cubicBezTo>
                  <a:cubicBezTo>
                    <a:pt x="55555" y="41538"/>
                    <a:pt x="48888" y="23076"/>
                    <a:pt x="46666" y="23076"/>
                  </a:cubicBezTo>
                  <a:cubicBezTo>
                    <a:pt x="44444" y="23076"/>
                    <a:pt x="51111" y="41538"/>
                    <a:pt x="46666" y="41538"/>
                  </a:cubicBezTo>
                  <a:cubicBezTo>
                    <a:pt x="44444" y="41538"/>
                    <a:pt x="44444" y="41538"/>
                    <a:pt x="42222" y="41538"/>
                  </a:cubicBezTo>
                  <a:cubicBezTo>
                    <a:pt x="40000" y="41538"/>
                    <a:pt x="37777" y="50769"/>
                    <a:pt x="37777" y="55384"/>
                  </a:cubicBezTo>
                  <a:cubicBezTo>
                    <a:pt x="37777" y="50769"/>
                    <a:pt x="31111" y="41538"/>
                    <a:pt x="31111" y="36923"/>
                  </a:cubicBezTo>
                  <a:cubicBezTo>
                    <a:pt x="31111" y="36923"/>
                    <a:pt x="35555" y="36923"/>
                    <a:pt x="35555" y="36923"/>
                  </a:cubicBezTo>
                  <a:cubicBezTo>
                    <a:pt x="35555" y="32307"/>
                    <a:pt x="31111" y="23076"/>
                    <a:pt x="31111" y="23076"/>
                  </a:cubicBezTo>
                  <a:cubicBezTo>
                    <a:pt x="28888" y="23076"/>
                    <a:pt x="17777" y="0"/>
                    <a:pt x="15555" y="9230"/>
                  </a:cubicBezTo>
                  <a:cubicBezTo>
                    <a:pt x="15555" y="13846"/>
                    <a:pt x="22222" y="13846"/>
                    <a:pt x="20000" y="18461"/>
                  </a:cubicBezTo>
                  <a:cubicBezTo>
                    <a:pt x="20000" y="18461"/>
                    <a:pt x="20000" y="18461"/>
                    <a:pt x="17777" y="18461"/>
                  </a:cubicBezTo>
                  <a:cubicBezTo>
                    <a:pt x="22222" y="13846"/>
                    <a:pt x="24444" y="32307"/>
                    <a:pt x="22222" y="36923"/>
                  </a:cubicBezTo>
                  <a:cubicBezTo>
                    <a:pt x="22222" y="36923"/>
                    <a:pt x="4444" y="4615"/>
                    <a:pt x="11111" y="27692"/>
                  </a:cubicBezTo>
                  <a:cubicBezTo>
                    <a:pt x="11111" y="27692"/>
                    <a:pt x="6666" y="27692"/>
                    <a:pt x="6666" y="27692"/>
                  </a:cubicBezTo>
                  <a:cubicBezTo>
                    <a:pt x="6666" y="32307"/>
                    <a:pt x="11111" y="32307"/>
                    <a:pt x="11111" y="32307"/>
                  </a:cubicBezTo>
                  <a:cubicBezTo>
                    <a:pt x="11111" y="27692"/>
                    <a:pt x="11111" y="36923"/>
                    <a:pt x="11111" y="36923"/>
                  </a:cubicBezTo>
                  <a:cubicBezTo>
                    <a:pt x="11111" y="36923"/>
                    <a:pt x="6666" y="32307"/>
                    <a:pt x="4444" y="32307"/>
                  </a:cubicBezTo>
                  <a:cubicBezTo>
                    <a:pt x="6666" y="32307"/>
                    <a:pt x="0" y="46153"/>
                    <a:pt x="2222" y="41538"/>
                  </a:cubicBezTo>
                  <a:cubicBezTo>
                    <a:pt x="0" y="50769"/>
                    <a:pt x="17777" y="46153"/>
                    <a:pt x="17777" y="46153"/>
                  </a:cubicBezTo>
                  <a:cubicBezTo>
                    <a:pt x="20000" y="46153"/>
                    <a:pt x="28888" y="50769"/>
                    <a:pt x="28888" y="50769"/>
                  </a:cubicBezTo>
                  <a:cubicBezTo>
                    <a:pt x="26666" y="50769"/>
                    <a:pt x="24444" y="50769"/>
                    <a:pt x="24444" y="55384"/>
                  </a:cubicBezTo>
                  <a:cubicBezTo>
                    <a:pt x="24444" y="55384"/>
                    <a:pt x="26666" y="60000"/>
                    <a:pt x="26666" y="60000"/>
                  </a:cubicBezTo>
                  <a:cubicBezTo>
                    <a:pt x="24444" y="64615"/>
                    <a:pt x="20000" y="64615"/>
                    <a:pt x="17777" y="64615"/>
                  </a:cubicBezTo>
                  <a:cubicBezTo>
                    <a:pt x="17777" y="64615"/>
                    <a:pt x="4444" y="69230"/>
                    <a:pt x="6666" y="69230"/>
                  </a:cubicBezTo>
                  <a:cubicBezTo>
                    <a:pt x="11111" y="73846"/>
                    <a:pt x="17777" y="69230"/>
                    <a:pt x="22222" y="73846"/>
                  </a:cubicBezTo>
                  <a:cubicBezTo>
                    <a:pt x="24444" y="78461"/>
                    <a:pt x="24444" y="83076"/>
                    <a:pt x="26666" y="83076"/>
                  </a:cubicBezTo>
                  <a:cubicBezTo>
                    <a:pt x="26666" y="83076"/>
                    <a:pt x="31111" y="78461"/>
                    <a:pt x="33333" y="78461"/>
                  </a:cubicBezTo>
                  <a:cubicBezTo>
                    <a:pt x="31111" y="78461"/>
                    <a:pt x="28888" y="83076"/>
                    <a:pt x="28888" y="83076"/>
                  </a:cubicBezTo>
                  <a:cubicBezTo>
                    <a:pt x="28888" y="87692"/>
                    <a:pt x="33333" y="83076"/>
                    <a:pt x="33333" y="83076"/>
                  </a:cubicBezTo>
                  <a:cubicBezTo>
                    <a:pt x="35555" y="87692"/>
                    <a:pt x="17777" y="106153"/>
                    <a:pt x="22222" y="106153"/>
                  </a:cubicBezTo>
                  <a:cubicBezTo>
                    <a:pt x="26666" y="110769"/>
                    <a:pt x="31111" y="106153"/>
                    <a:pt x="33333" y="106153"/>
                  </a:cubicBezTo>
                  <a:cubicBezTo>
                    <a:pt x="37777" y="106153"/>
                    <a:pt x="42222" y="106153"/>
                    <a:pt x="46666" y="110769"/>
                  </a:cubicBezTo>
                  <a:cubicBezTo>
                    <a:pt x="44444" y="106153"/>
                    <a:pt x="44444" y="110769"/>
                    <a:pt x="44444" y="110769"/>
                  </a:cubicBezTo>
                  <a:cubicBezTo>
                    <a:pt x="46666" y="115384"/>
                    <a:pt x="48888" y="115384"/>
                    <a:pt x="48888" y="115384"/>
                  </a:cubicBezTo>
                  <a:cubicBezTo>
                    <a:pt x="53333" y="120000"/>
                    <a:pt x="60000" y="120000"/>
                    <a:pt x="64444" y="120000"/>
                  </a:cubicBezTo>
                  <a:cubicBezTo>
                    <a:pt x="68888" y="120000"/>
                    <a:pt x="68888" y="115384"/>
                    <a:pt x="73333" y="115384"/>
                  </a:cubicBezTo>
                  <a:cubicBezTo>
                    <a:pt x="77777" y="110769"/>
                    <a:pt x="82222" y="110769"/>
                    <a:pt x="86666" y="106153"/>
                  </a:cubicBezTo>
                  <a:cubicBezTo>
                    <a:pt x="93333" y="96923"/>
                    <a:pt x="95555" y="92307"/>
                    <a:pt x="102222" y="87692"/>
                  </a:cubicBezTo>
                  <a:cubicBezTo>
                    <a:pt x="106666" y="87692"/>
                    <a:pt x="108888" y="73846"/>
                    <a:pt x="115555" y="73846"/>
                  </a:cubicBezTo>
                  <a:cubicBezTo>
                    <a:pt x="115555" y="69230"/>
                    <a:pt x="117777" y="69230"/>
                    <a:pt x="115555" y="64615"/>
                  </a:cubicBezTo>
                  <a:cubicBezTo>
                    <a:pt x="113333" y="60000"/>
                    <a:pt x="117777" y="60000"/>
                    <a:pt x="120000" y="60000"/>
                  </a:cubicBezTo>
                  <a:cubicBezTo>
                    <a:pt x="120000" y="60000"/>
                    <a:pt x="115555" y="55384"/>
                    <a:pt x="115555" y="55384"/>
                  </a:cubicBezTo>
                  <a:cubicBezTo>
                    <a:pt x="115555" y="50769"/>
                    <a:pt x="120000" y="46153"/>
                    <a:pt x="117777" y="46153"/>
                  </a:cubicBezTo>
                  <a:cubicBezTo>
                    <a:pt x="113333" y="41538"/>
                    <a:pt x="120000" y="46153"/>
                    <a:pt x="117777" y="46153"/>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1" name="Shape 2283">
              <a:extLst>
                <a:ext uri="{FF2B5EF4-FFF2-40B4-BE49-F238E27FC236}">
                  <a16:creationId xmlns:a16="http://schemas.microsoft.com/office/drawing/2014/main" id="{70C44214-527A-5746-BF58-558008F3A7F5}"/>
                </a:ext>
              </a:extLst>
            </p:cNvPr>
            <p:cNvSpPr/>
            <p:nvPr/>
          </p:nvSpPr>
          <p:spPr>
            <a:xfrm>
              <a:off x="14085523" y="4439514"/>
              <a:ext cx="840763" cy="579771"/>
            </a:xfrm>
            <a:custGeom>
              <a:avLst/>
              <a:gdLst/>
              <a:ahLst/>
              <a:cxnLst/>
              <a:rect l="0" t="0" r="0" b="0"/>
              <a:pathLst>
                <a:path w="120000" h="120000" extrusionOk="0">
                  <a:moveTo>
                    <a:pt x="112000" y="1935"/>
                  </a:moveTo>
                  <a:cubicBezTo>
                    <a:pt x="108000" y="1935"/>
                    <a:pt x="106666" y="0"/>
                    <a:pt x="102666" y="3870"/>
                  </a:cubicBezTo>
                  <a:cubicBezTo>
                    <a:pt x="101333" y="3870"/>
                    <a:pt x="96000" y="5806"/>
                    <a:pt x="97333" y="7741"/>
                  </a:cubicBezTo>
                  <a:cubicBezTo>
                    <a:pt x="96000" y="7741"/>
                    <a:pt x="90666" y="11612"/>
                    <a:pt x="88000" y="11612"/>
                  </a:cubicBezTo>
                  <a:cubicBezTo>
                    <a:pt x="85333" y="11612"/>
                    <a:pt x="81333" y="13548"/>
                    <a:pt x="78666" y="15483"/>
                  </a:cubicBezTo>
                  <a:cubicBezTo>
                    <a:pt x="74666" y="15483"/>
                    <a:pt x="72000" y="15483"/>
                    <a:pt x="68000" y="15483"/>
                  </a:cubicBezTo>
                  <a:cubicBezTo>
                    <a:pt x="68000" y="15483"/>
                    <a:pt x="60000" y="15483"/>
                    <a:pt x="61333" y="17419"/>
                  </a:cubicBezTo>
                  <a:cubicBezTo>
                    <a:pt x="61333" y="17419"/>
                    <a:pt x="64000" y="17419"/>
                    <a:pt x="64000" y="17419"/>
                  </a:cubicBezTo>
                  <a:cubicBezTo>
                    <a:pt x="62666" y="19354"/>
                    <a:pt x="60000" y="19354"/>
                    <a:pt x="58666" y="21290"/>
                  </a:cubicBezTo>
                  <a:cubicBezTo>
                    <a:pt x="57333" y="21290"/>
                    <a:pt x="54666" y="21290"/>
                    <a:pt x="52000" y="21290"/>
                  </a:cubicBezTo>
                  <a:cubicBezTo>
                    <a:pt x="50666" y="21290"/>
                    <a:pt x="50666" y="21290"/>
                    <a:pt x="48000" y="23225"/>
                  </a:cubicBezTo>
                  <a:cubicBezTo>
                    <a:pt x="46666" y="29032"/>
                    <a:pt x="45333" y="27096"/>
                    <a:pt x="42666" y="27096"/>
                  </a:cubicBezTo>
                  <a:cubicBezTo>
                    <a:pt x="40000" y="29032"/>
                    <a:pt x="41333" y="32903"/>
                    <a:pt x="37333" y="32903"/>
                  </a:cubicBezTo>
                  <a:cubicBezTo>
                    <a:pt x="34666" y="32903"/>
                    <a:pt x="36000" y="36774"/>
                    <a:pt x="34666" y="36774"/>
                  </a:cubicBezTo>
                  <a:cubicBezTo>
                    <a:pt x="33333" y="38709"/>
                    <a:pt x="29333" y="34838"/>
                    <a:pt x="30666" y="36774"/>
                  </a:cubicBezTo>
                  <a:cubicBezTo>
                    <a:pt x="30666" y="38709"/>
                    <a:pt x="34666" y="40645"/>
                    <a:pt x="34666" y="40645"/>
                  </a:cubicBezTo>
                  <a:cubicBezTo>
                    <a:pt x="34666" y="40645"/>
                    <a:pt x="29333" y="42580"/>
                    <a:pt x="29333" y="42580"/>
                  </a:cubicBezTo>
                  <a:cubicBezTo>
                    <a:pt x="29333" y="44516"/>
                    <a:pt x="36000" y="44516"/>
                    <a:pt x="36000" y="44516"/>
                  </a:cubicBezTo>
                  <a:cubicBezTo>
                    <a:pt x="36000" y="46451"/>
                    <a:pt x="26666" y="46451"/>
                    <a:pt x="28000" y="48387"/>
                  </a:cubicBezTo>
                  <a:cubicBezTo>
                    <a:pt x="28000" y="46451"/>
                    <a:pt x="30666" y="48387"/>
                    <a:pt x="30666" y="48387"/>
                  </a:cubicBezTo>
                  <a:cubicBezTo>
                    <a:pt x="28000" y="50322"/>
                    <a:pt x="26666" y="48387"/>
                    <a:pt x="26666" y="50322"/>
                  </a:cubicBezTo>
                  <a:cubicBezTo>
                    <a:pt x="25333" y="52258"/>
                    <a:pt x="28000" y="54193"/>
                    <a:pt x="28000" y="54193"/>
                  </a:cubicBezTo>
                  <a:cubicBezTo>
                    <a:pt x="26666" y="54193"/>
                    <a:pt x="25333" y="54193"/>
                    <a:pt x="24000" y="54193"/>
                  </a:cubicBezTo>
                  <a:cubicBezTo>
                    <a:pt x="24000" y="54193"/>
                    <a:pt x="26666" y="56129"/>
                    <a:pt x="28000" y="56129"/>
                  </a:cubicBezTo>
                  <a:cubicBezTo>
                    <a:pt x="25333" y="56129"/>
                    <a:pt x="24000" y="56129"/>
                    <a:pt x="22666" y="58064"/>
                  </a:cubicBezTo>
                  <a:cubicBezTo>
                    <a:pt x="21333" y="60000"/>
                    <a:pt x="20000" y="60000"/>
                    <a:pt x="18666" y="60000"/>
                  </a:cubicBezTo>
                  <a:cubicBezTo>
                    <a:pt x="16000" y="61935"/>
                    <a:pt x="16000" y="63870"/>
                    <a:pt x="18666" y="63870"/>
                  </a:cubicBezTo>
                  <a:cubicBezTo>
                    <a:pt x="20000" y="63870"/>
                    <a:pt x="24000" y="65806"/>
                    <a:pt x="25333" y="65806"/>
                  </a:cubicBezTo>
                  <a:cubicBezTo>
                    <a:pt x="22666" y="67741"/>
                    <a:pt x="20000" y="63870"/>
                    <a:pt x="20000" y="69677"/>
                  </a:cubicBezTo>
                  <a:cubicBezTo>
                    <a:pt x="20000" y="71612"/>
                    <a:pt x="13333" y="71612"/>
                    <a:pt x="12000" y="73548"/>
                  </a:cubicBezTo>
                  <a:cubicBezTo>
                    <a:pt x="10666" y="75483"/>
                    <a:pt x="12000" y="75483"/>
                    <a:pt x="12000" y="77419"/>
                  </a:cubicBezTo>
                  <a:cubicBezTo>
                    <a:pt x="12000" y="77419"/>
                    <a:pt x="8000" y="79354"/>
                    <a:pt x="8000" y="79354"/>
                  </a:cubicBezTo>
                  <a:cubicBezTo>
                    <a:pt x="2666" y="81290"/>
                    <a:pt x="9333" y="81290"/>
                    <a:pt x="9333" y="83225"/>
                  </a:cubicBezTo>
                  <a:cubicBezTo>
                    <a:pt x="10666" y="85161"/>
                    <a:pt x="6666" y="90967"/>
                    <a:pt x="6666" y="90967"/>
                  </a:cubicBezTo>
                  <a:cubicBezTo>
                    <a:pt x="4000" y="94838"/>
                    <a:pt x="0" y="90967"/>
                    <a:pt x="0" y="98709"/>
                  </a:cubicBezTo>
                  <a:cubicBezTo>
                    <a:pt x="0" y="106451"/>
                    <a:pt x="2666" y="102580"/>
                    <a:pt x="5333" y="102580"/>
                  </a:cubicBezTo>
                  <a:cubicBezTo>
                    <a:pt x="8000" y="104516"/>
                    <a:pt x="9333" y="106451"/>
                    <a:pt x="12000" y="104516"/>
                  </a:cubicBezTo>
                  <a:cubicBezTo>
                    <a:pt x="12000" y="104516"/>
                    <a:pt x="14666" y="108387"/>
                    <a:pt x="16000" y="106451"/>
                  </a:cubicBezTo>
                  <a:cubicBezTo>
                    <a:pt x="16000" y="106451"/>
                    <a:pt x="13333" y="106451"/>
                    <a:pt x="13333" y="108387"/>
                  </a:cubicBezTo>
                  <a:cubicBezTo>
                    <a:pt x="14666" y="108387"/>
                    <a:pt x="16000" y="108387"/>
                    <a:pt x="16000" y="108387"/>
                  </a:cubicBezTo>
                  <a:cubicBezTo>
                    <a:pt x="16000" y="108387"/>
                    <a:pt x="13333" y="116129"/>
                    <a:pt x="13333" y="116129"/>
                  </a:cubicBezTo>
                  <a:cubicBezTo>
                    <a:pt x="16000" y="118064"/>
                    <a:pt x="18666" y="118064"/>
                    <a:pt x="21333" y="120000"/>
                  </a:cubicBezTo>
                  <a:cubicBezTo>
                    <a:pt x="25333" y="120000"/>
                    <a:pt x="26666" y="120000"/>
                    <a:pt x="30666" y="120000"/>
                  </a:cubicBezTo>
                  <a:cubicBezTo>
                    <a:pt x="32000" y="118064"/>
                    <a:pt x="33333" y="118064"/>
                    <a:pt x="34666" y="118064"/>
                  </a:cubicBezTo>
                  <a:cubicBezTo>
                    <a:pt x="36000" y="120000"/>
                    <a:pt x="37333" y="120000"/>
                    <a:pt x="40000" y="120000"/>
                  </a:cubicBezTo>
                  <a:cubicBezTo>
                    <a:pt x="41333" y="120000"/>
                    <a:pt x="36000" y="114193"/>
                    <a:pt x="34666" y="114193"/>
                  </a:cubicBezTo>
                  <a:cubicBezTo>
                    <a:pt x="32000" y="110322"/>
                    <a:pt x="30666" y="106451"/>
                    <a:pt x="29333" y="102580"/>
                  </a:cubicBezTo>
                  <a:cubicBezTo>
                    <a:pt x="26666" y="98709"/>
                    <a:pt x="28000" y="96774"/>
                    <a:pt x="26666" y="92903"/>
                  </a:cubicBezTo>
                  <a:cubicBezTo>
                    <a:pt x="25333" y="87096"/>
                    <a:pt x="24000" y="87096"/>
                    <a:pt x="26666" y="83225"/>
                  </a:cubicBezTo>
                  <a:cubicBezTo>
                    <a:pt x="28000" y="83225"/>
                    <a:pt x="26666" y="83225"/>
                    <a:pt x="26666" y="81290"/>
                  </a:cubicBezTo>
                  <a:cubicBezTo>
                    <a:pt x="28000" y="79354"/>
                    <a:pt x="32000" y="81290"/>
                    <a:pt x="32000" y="79354"/>
                  </a:cubicBezTo>
                  <a:cubicBezTo>
                    <a:pt x="32000" y="79354"/>
                    <a:pt x="29333" y="77419"/>
                    <a:pt x="29333" y="77419"/>
                  </a:cubicBezTo>
                  <a:cubicBezTo>
                    <a:pt x="30666" y="75483"/>
                    <a:pt x="34666" y="77419"/>
                    <a:pt x="34666" y="75483"/>
                  </a:cubicBezTo>
                  <a:cubicBezTo>
                    <a:pt x="34666" y="73548"/>
                    <a:pt x="28000" y="71612"/>
                    <a:pt x="28000" y="69677"/>
                  </a:cubicBezTo>
                  <a:cubicBezTo>
                    <a:pt x="28000" y="69677"/>
                    <a:pt x="38666" y="71612"/>
                    <a:pt x="38666" y="71612"/>
                  </a:cubicBezTo>
                  <a:cubicBezTo>
                    <a:pt x="38666" y="69677"/>
                    <a:pt x="36000" y="67741"/>
                    <a:pt x="36000" y="65806"/>
                  </a:cubicBezTo>
                  <a:cubicBezTo>
                    <a:pt x="36000" y="63870"/>
                    <a:pt x="40000" y="67741"/>
                    <a:pt x="41333" y="65806"/>
                  </a:cubicBezTo>
                  <a:cubicBezTo>
                    <a:pt x="41333" y="63870"/>
                    <a:pt x="36000" y="60000"/>
                    <a:pt x="36000" y="61935"/>
                  </a:cubicBezTo>
                  <a:cubicBezTo>
                    <a:pt x="36000" y="60000"/>
                    <a:pt x="41333" y="63870"/>
                    <a:pt x="42666" y="61935"/>
                  </a:cubicBezTo>
                  <a:cubicBezTo>
                    <a:pt x="42666" y="61935"/>
                    <a:pt x="44000" y="60000"/>
                    <a:pt x="42666" y="60000"/>
                  </a:cubicBezTo>
                  <a:cubicBezTo>
                    <a:pt x="42666" y="60000"/>
                    <a:pt x="40000" y="56129"/>
                    <a:pt x="40000" y="56129"/>
                  </a:cubicBezTo>
                  <a:cubicBezTo>
                    <a:pt x="42666" y="56129"/>
                    <a:pt x="44000" y="58064"/>
                    <a:pt x="46666" y="56129"/>
                  </a:cubicBezTo>
                  <a:cubicBezTo>
                    <a:pt x="46666" y="54193"/>
                    <a:pt x="49333" y="52258"/>
                    <a:pt x="49333" y="52258"/>
                  </a:cubicBezTo>
                  <a:cubicBezTo>
                    <a:pt x="49333" y="50322"/>
                    <a:pt x="46666" y="50322"/>
                    <a:pt x="46666" y="50322"/>
                  </a:cubicBezTo>
                  <a:cubicBezTo>
                    <a:pt x="48000" y="50322"/>
                    <a:pt x="52000" y="50322"/>
                    <a:pt x="52000" y="46451"/>
                  </a:cubicBezTo>
                  <a:cubicBezTo>
                    <a:pt x="52000" y="42580"/>
                    <a:pt x="54666" y="48387"/>
                    <a:pt x="56000" y="46451"/>
                  </a:cubicBezTo>
                  <a:cubicBezTo>
                    <a:pt x="56000" y="46451"/>
                    <a:pt x="54666" y="44516"/>
                    <a:pt x="54666" y="44516"/>
                  </a:cubicBezTo>
                  <a:cubicBezTo>
                    <a:pt x="56000" y="42580"/>
                    <a:pt x="60000" y="44516"/>
                    <a:pt x="60000" y="42580"/>
                  </a:cubicBezTo>
                  <a:cubicBezTo>
                    <a:pt x="61333" y="40645"/>
                    <a:pt x="60000" y="38709"/>
                    <a:pt x="58666" y="38709"/>
                  </a:cubicBezTo>
                  <a:cubicBezTo>
                    <a:pt x="65333" y="34838"/>
                    <a:pt x="70666" y="30967"/>
                    <a:pt x="77333" y="29032"/>
                  </a:cubicBezTo>
                  <a:cubicBezTo>
                    <a:pt x="81333" y="27096"/>
                    <a:pt x="86666" y="25161"/>
                    <a:pt x="90666" y="23225"/>
                  </a:cubicBezTo>
                  <a:cubicBezTo>
                    <a:pt x="97333" y="21290"/>
                    <a:pt x="102666" y="19354"/>
                    <a:pt x="108000" y="15483"/>
                  </a:cubicBezTo>
                  <a:cubicBezTo>
                    <a:pt x="110666" y="15483"/>
                    <a:pt x="114666" y="11612"/>
                    <a:pt x="117333" y="7741"/>
                  </a:cubicBezTo>
                  <a:cubicBezTo>
                    <a:pt x="120000" y="3870"/>
                    <a:pt x="114666" y="1935"/>
                    <a:pt x="112000" y="1935"/>
                  </a:cubicBezTo>
                  <a:cubicBezTo>
                    <a:pt x="109333" y="1935"/>
                    <a:pt x="114666" y="1935"/>
                    <a:pt x="112000" y="1935"/>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2" name="Shape 2284">
              <a:extLst>
                <a:ext uri="{FF2B5EF4-FFF2-40B4-BE49-F238E27FC236}">
                  <a16:creationId xmlns:a16="http://schemas.microsoft.com/office/drawing/2014/main" id="{EAD0564D-E39D-144E-AEE8-CA9955901B93}"/>
                </a:ext>
              </a:extLst>
            </p:cNvPr>
            <p:cNvSpPr/>
            <p:nvPr/>
          </p:nvSpPr>
          <p:spPr>
            <a:xfrm>
              <a:off x="16241575" y="4197412"/>
              <a:ext cx="299363" cy="149719"/>
            </a:xfrm>
            <a:custGeom>
              <a:avLst/>
              <a:gdLst/>
              <a:ahLst/>
              <a:cxnLst/>
              <a:rect l="0" t="0" r="0" b="0"/>
              <a:pathLst>
                <a:path w="120000" h="120000" extrusionOk="0">
                  <a:moveTo>
                    <a:pt x="60000" y="45000"/>
                  </a:moveTo>
                  <a:cubicBezTo>
                    <a:pt x="60000" y="45000"/>
                    <a:pt x="71250" y="15000"/>
                    <a:pt x="71250" y="7500"/>
                  </a:cubicBezTo>
                  <a:cubicBezTo>
                    <a:pt x="67500" y="0"/>
                    <a:pt x="63750" y="0"/>
                    <a:pt x="60000" y="0"/>
                  </a:cubicBezTo>
                  <a:cubicBezTo>
                    <a:pt x="56250" y="0"/>
                    <a:pt x="56250" y="15000"/>
                    <a:pt x="56250" y="15000"/>
                  </a:cubicBezTo>
                  <a:cubicBezTo>
                    <a:pt x="48750" y="15000"/>
                    <a:pt x="45000" y="0"/>
                    <a:pt x="37500" y="15000"/>
                  </a:cubicBezTo>
                  <a:cubicBezTo>
                    <a:pt x="37500" y="15000"/>
                    <a:pt x="30000" y="22500"/>
                    <a:pt x="33750" y="30000"/>
                  </a:cubicBezTo>
                  <a:cubicBezTo>
                    <a:pt x="37500" y="30000"/>
                    <a:pt x="41250" y="37500"/>
                    <a:pt x="45000" y="30000"/>
                  </a:cubicBezTo>
                  <a:cubicBezTo>
                    <a:pt x="37500" y="37500"/>
                    <a:pt x="18750" y="45000"/>
                    <a:pt x="37500" y="60000"/>
                  </a:cubicBezTo>
                  <a:cubicBezTo>
                    <a:pt x="26250" y="52500"/>
                    <a:pt x="22500" y="60000"/>
                    <a:pt x="18750" y="75000"/>
                  </a:cubicBezTo>
                  <a:cubicBezTo>
                    <a:pt x="15000" y="82500"/>
                    <a:pt x="0" y="112500"/>
                    <a:pt x="3750" y="112500"/>
                  </a:cubicBezTo>
                  <a:cubicBezTo>
                    <a:pt x="11250" y="120000"/>
                    <a:pt x="22500" y="120000"/>
                    <a:pt x="30000" y="112500"/>
                  </a:cubicBezTo>
                  <a:cubicBezTo>
                    <a:pt x="41250" y="97500"/>
                    <a:pt x="52500" y="97500"/>
                    <a:pt x="63750" y="105000"/>
                  </a:cubicBezTo>
                  <a:cubicBezTo>
                    <a:pt x="78750" y="105000"/>
                    <a:pt x="90000" y="97500"/>
                    <a:pt x="105000" y="90000"/>
                  </a:cubicBezTo>
                  <a:cubicBezTo>
                    <a:pt x="112500" y="82500"/>
                    <a:pt x="120000" y="60000"/>
                    <a:pt x="108750" y="52500"/>
                  </a:cubicBezTo>
                  <a:cubicBezTo>
                    <a:pt x="101250" y="45000"/>
                    <a:pt x="90000" y="15000"/>
                    <a:pt x="82500" y="22500"/>
                  </a:cubicBezTo>
                  <a:cubicBezTo>
                    <a:pt x="75000" y="22500"/>
                    <a:pt x="67500" y="45000"/>
                    <a:pt x="60000" y="45000"/>
                  </a:cubicBezTo>
                  <a:cubicBezTo>
                    <a:pt x="56250" y="45000"/>
                    <a:pt x="63750" y="45000"/>
                    <a:pt x="60000" y="45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3" name="Shape 2285">
              <a:extLst>
                <a:ext uri="{FF2B5EF4-FFF2-40B4-BE49-F238E27FC236}">
                  <a16:creationId xmlns:a16="http://schemas.microsoft.com/office/drawing/2014/main" id="{E0B986EB-72EA-2949-9208-8BE4A42D2804}"/>
                </a:ext>
              </a:extLst>
            </p:cNvPr>
            <p:cNvSpPr/>
            <p:nvPr/>
          </p:nvSpPr>
          <p:spPr>
            <a:xfrm>
              <a:off x="15999535" y="4111403"/>
              <a:ext cx="280255" cy="149719"/>
            </a:xfrm>
            <a:custGeom>
              <a:avLst/>
              <a:gdLst/>
              <a:ahLst/>
              <a:cxnLst/>
              <a:rect l="0" t="0" r="0" b="0"/>
              <a:pathLst>
                <a:path w="120000" h="120000" extrusionOk="0">
                  <a:moveTo>
                    <a:pt x="104000" y="75000"/>
                  </a:moveTo>
                  <a:cubicBezTo>
                    <a:pt x="116000" y="82500"/>
                    <a:pt x="108000" y="67500"/>
                    <a:pt x="112000" y="52500"/>
                  </a:cubicBezTo>
                  <a:cubicBezTo>
                    <a:pt x="112000" y="45000"/>
                    <a:pt x="116000" y="45000"/>
                    <a:pt x="116000" y="37500"/>
                  </a:cubicBezTo>
                  <a:cubicBezTo>
                    <a:pt x="116000" y="30000"/>
                    <a:pt x="108000" y="22500"/>
                    <a:pt x="104000" y="22500"/>
                  </a:cubicBezTo>
                  <a:cubicBezTo>
                    <a:pt x="100000" y="15000"/>
                    <a:pt x="92000" y="15000"/>
                    <a:pt x="88000" y="22500"/>
                  </a:cubicBezTo>
                  <a:cubicBezTo>
                    <a:pt x="88000" y="22500"/>
                    <a:pt x="68000" y="30000"/>
                    <a:pt x="68000" y="30000"/>
                  </a:cubicBezTo>
                  <a:cubicBezTo>
                    <a:pt x="68000" y="30000"/>
                    <a:pt x="84000" y="15000"/>
                    <a:pt x="72000" y="7500"/>
                  </a:cubicBezTo>
                  <a:cubicBezTo>
                    <a:pt x="64000" y="0"/>
                    <a:pt x="56000" y="7500"/>
                    <a:pt x="48000" y="7500"/>
                  </a:cubicBezTo>
                  <a:cubicBezTo>
                    <a:pt x="44000" y="7500"/>
                    <a:pt x="24000" y="15000"/>
                    <a:pt x="20000" y="30000"/>
                  </a:cubicBezTo>
                  <a:cubicBezTo>
                    <a:pt x="20000" y="30000"/>
                    <a:pt x="28000" y="30000"/>
                    <a:pt x="28000" y="30000"/>
                  </a:cubicBezTo>
                  <a:cubicBezTo>
                    <a:pt x="28000" y="30000"/>
                    <a:pt x="0" y="52500"/>
                    <a:pt x="0" y="60000"/>
                  </a:cubicBezTo>
                  <a:cubicBezTo>
                    <a:pt x="0" y="60000"/>
                    <a:pt x="16000" y="67500"/>
                    <a:pt x="16000" y="67500"/>
                  </a:cubicBezTo>
                  <a:cubicBezTo>
                    <a:pt x="20000" y="67500"/>
                    <a:pt x="24000" y="82500"/>
                    <a:pt x="28000" y="90000"/>
                  </a:cubicBezTo>
                  <a:cubicBezTo>
                    <a:pt x="36000" y="97500"/>
                    <a:pt x="40000" y="97500"/>
                    <a:pt x="48000" y="97500"/>
                  </a:cubicBezTo>
                  <a:cubicBezTo>
                    <a:pt x="56000" y="105000"/>
                    <a:pt x="68000" y="120000"/>
                    <a:pt x="76000" y="120000"/>
                  </a:cubicBezTo>
                  <a:cubicBezTo>
                    <a:pt x="88000" y="120000"/>
                    <a:pt x="100000" y="120000"/>
                    <a:pt x="112000" y="112500"/>
                  </a:cubicBezTo>
                  <a:cubicBezTo>
                    <a:pt x="120000" y="112500"/>
                    <a:pt x="104000" y="75000"/>
                    <a:pt x="104000" y="75000"/>
                  </a:cubicBezTo>
                  <a:cubicBezTo>
                    <a:pt x="108000" y="75000"/>
                    <a:pt x="100000" y="75000"/>
                    <a:pt x="104000" y="75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4" name="Shape 2286">
              <a:extLst>
                <a:ext uri="{FF2B5EF4-FFF2-40B4-BE49-F238E27FC236}">
                  <a16:creationId xmlns:a16="http://schemas.microsoft.com/office/drawing/2014/main" id="{1B21D582-DE2B-814C-B04A-CEAF3BFAC9C1}"/>
                </a:ext>
              </a:extLst>
            </p:cNvPr>
            <p:cNvSpPr/>
            <p:nvPr/>
          </p:nvSpPr>
          <p:spPr>
            <a:xfrm>
              <a:off x="15916732" y="4120958"/>
              <a:ext cx="140126" cy="47785"/>
            </a:xfrm>
            <a:custGeom>
              <a:avLst/>
              <a:gdLst/>
              <a:ahLst/>
              <a:cxnLst/>
              <a:rect l="0" t="0" r="0" b="0"/>
              <a:pathLst>
                <a:path w="120000" h="120000" extrusionOk="0">
                  <a:moveTo>
                    <a:pt x="72000" y="24000"/>
                  </a:moveTo>
                  <a:cubicBezTo>
                    <a:pt x="64000" y="24000"/>
                    <a:pt x="48000" y="24000"/>
                    <a:pt x="32000" y="24000"/>
                  </a:cubicBezTo>
                  <a:cubicBezTo>
                    <a:pt x="24000" y="24000"/>
                    <a:pt x="8000" y="0"/>
                    <a:pt x="0" y="24000"/>
                  </a:cubicBezTo>
                  <a:cubicBezTo>
                    <a:pt x="0" y="24000"/>
                    <a:pt x="0" y="72000"/>
                    <a:pt x="8000" y="72000"/>
                  </a:cubicBezTo>
                  <a:cubicBezTo>
                    <a:pt x="24000" y="96000"/>
                    <a:pt x="32000" y="120000"/>
                    <a:pt x="48000" y="120000"/>
                  </a:cubicBezTo>
                  <a:cubicBezTo>
                    <a:pt x="64000" y="120000"/>
                    <a:pt x="120000" y="48000"/>
                    <a:pt x="72000" y="24000"/>
                  </a:cubicBezTo>
                  <a:cubicBezTo>
                    <a:pt x="64000" y="24000"/>
                    <a:pt x="80000" y="48000"/>
                    <a:pt x="72000" y="24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5" name="Shape 2287">
              <a:extLst>
                <a:ext uri="{FF2B5EF4-FFF2-40B4-BE49-F238E27FC236}">
                  <a16:creationId xmlns:a16="http://schemas.microsoft.com/office/drawing/2014/main" id="{9DCD713E-950F-744B-8752-5492D6C58143}"/>
                </a:ext>
              </a:extLst>
            </p:cNvPr>
            <p:cNvSpPr/>
            <p:nvPr/>
          </p:nvSpPr>
          <p:spPr>
            <a:xfrm>
              <a:off x="15942209" y="3990353"/>
              <a:ext cx="235665" cy="149719"/>
            </a:xfrm>
            <a:custGeom>
              <a:avLst/>
              <a:gdLst/>
              <a:ahLst/>
              <a:cxnLst/>
              <a:rect l="0" t="0" r="0" b="0"/>
              <a:pathLst>
                <a:path w="120000" h="120000" extrusionOk="0">
                  <a:moveTo>
                    <a:pt x="33600" y="112500"/>
                  </a:moveTo>
                  <a:cubicBezTo>
                    <a:pt x="28800" y="105000"/>
                    <a:pt x="19200" y="105000"/>
                    <a:pt x="14400" y="97500"/>
                  </a:cubicBezTo>
                  <a:cubicBezTo>
                    <a:pt x="9600" y="90000"/>
                    <a:pt x="19200" y="90000"/>
                    <a:pt x="19200" y="90000"/>
                  </a:cubicBezTo>
                  <a:cubicBezTo>
                    <a:pt x="19200" y="90000"/>
                    <a:pt x="0" y="97500"/>
                    <a:pt x="0" y="90000"/>
                  </a:cubicBezTo>
                  <a:cubicBezTo>
                    <a:pt x="0" y="75000"/>
                    <a:pt x="14400" y="82500"/>
                    <a:pt x="14400" y="82500"/>
                  </a:cubicBezTo>
                  <a:cubicBezTo>
                    <a:pt x="14400" y="75000"/>
                    <a:pt x="9600" y="75000"/>
                    <a:pt x="9600" y="75000"/>
                  </a:cubicBezTo>
                  <a:cubicBezTo>
                    <a:pt x="9600" y="75000"/>
                    <a:pt x="33600" y="52500"/>
                    <a:pt x="28800" y="45000"/>
                  </a:cubicBezTo>
                  <a:cubicBezTo>
                    <a:pt x="28800" y="45000"/>
                    <a:pt x="24000" y="45000"/>
                    <a:pt x="24000" y="45000"/>
                  </a:cubicBezTo>
                  <a:cubicBezTo>
                    <a:pt x="28800" y="30000"/>
                    <a:pt x="43200" y="30000"/>
                    <a:pt x="52800" y="22500"/>
                  </a:cubicBezTo>
                  <a:cubicBezTo>
                    <a:pt x="62400" y="15000"/>
                    <a:pt x="76800" y="7500"/>
                    <a:pt x="86400" y="0"/>
                  </a:cubicBezTo>
                  <a:cubicBezTo>
                    <a:pt x="86400" y="0"/>
                    <a:pt x="91200" y="22500"/>
                    <a:pt x="96000" y="30000"/>
                  </a:cubicBezTo>
                  <a:cubicBezTo>
                    <a:pt x="96000" y="30000"/>
                    <a:pt x="120000" y="45000"/>
                    <a:pt x="120000" y="52500"/>
                  </a:cubicBezTo>
                  <a:cubicBezTo>
                    <a:pt x="120000" y="60000"/>
                    <a:pt x="96000" y="52500"/>
                    <a:pt x="100800" y="67500"/>
                  </a:cubicBezTo>
                  <a:cubicBezTo>
                    <a:pt x="100800" y="67500"/>
                    <a:pt x="110400" y="75000"/>
                    <a:pt x="110400" y="90000"/>
                  </a:cubicBezTo>
                  <a:cubicBezTo>
                    <a:pt x="105600" y="90000"/>
                    <a:pt x="96000" y="90000"/>
                    <a:pt x="91200" y="97500"/>
                  </a:cubicBezTo>
                  <a:cubicBezTo>
                    <a:pt x="76800" y="105000"/>
                    <a:pt x="48000" y="120000"/>
                    <a:pt x="33600" y="112500"/>
                  </a:cubicBezTo>
                  <a:cubicBezTo>
                    <a:pt x="28800" y="105000"/>
                    <a:pt x="43200" y="120000"/>
                    <a:pt x="33600" y="1125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6" name="Shape 2288">
              <a:extLst>
                <a:ext uri="{FF2B5EF4-FFF2-40B4-BE49-F238E27FC236}">
                  <a16:creationId xmlns:a16="http://schemas.microsoft.com/office/drawing/2014/main" id="{FB939F86-6B22-724C-A1F1-82A328F6B160}"/>
                </a:ext>
              </a:extLst>
            </p:cNvPr>
            <p:cNvSpPr/>
            <p:nvPr/>
          </p:nvSpPr>
          <p:spPr>
            <a:xfrm>
              <a:off x="18426286" y="4579676"/>
              <a:ext cx="235665" cy="76451"/>
            </a:xfrm>
            <a:custGeom>
              <a:avLst/>
              <a:gdLst/>
              <a:ahLst/>
              <a:cxnLst/>
              <a:rect l="0" t="0" r="0" b="0"/>
              <a:pathLst>
                <a:path w="120000" h="120000" extrusionOk="0">
                  <a:moveTo>
                    <a:pt x="24000" y="45000"/>
                  </a:moveTo>
                  <a:cubicBezTo>
                    <a:pt x="19200" y="45000"/>
                    <a:pt x="19200" y="15000"/>
                    <a:pt x="14400" y="15000"/>
                  </a:cubicBezTo>
                  <a:cubicBezTo>
                    <a:pt x="14400" y="0"/>
                    <a:pt x="4800" y="30000"/>
                    <a:pt x="4800" y="30000"/>
                  </a:cubicBezTo>
                  <a:cubicBezTo>
                    <a:pt x="0" y="60000"/>
                    <a:pt x="4800" y="60000"/>
                    <a:pt x="9600" y="60000"/>
                  </a:cubicBezTo>
                  <a:cubicBezTo>
                    <a:pt x="14400" y="60000"/>
                    <a:pt x="19200" y="90000"/>
                    <a:pt x="24000" y="90000"/>
                  </a:cubicBezTo>
                  <a:cubicBezTo>
                    <a:pt x="43200" y="105000"/>
                    <a:pt x="57600" y="120000"/>
                    <a:pt x="76800" y="120000"/>
                  </a:cubicBezTo>
                  <a:cubicBezTo>
                    <a:pt x="81600" y="120000"/>
                    <a:pt x="120000" y="105000"/>
                    <a:pt x="115200" y="75000"/>
                  </a:cubicBezTo>
                  <a:cubicBezTo>
                    <a:pt x="110400" y="75000"/>
                    <a:pt x="110400" y="90000"/>
                    <a:pt x="110400" y="90000"/>
                  </a:cubicBezTo>
                  <a:cubicBezTo>
                    <a:pt x="105600" y="90000"/>
                    <a:pt x="100800" y="75000"/>
                    <a:pt x="96000" y="60000"/>
                  </a:cubicBezTo>
                  <a:cubicBezTo>
                    <a:pt x="91200" y="60000"/>
                    <a:pt x="81600" y="45000"/>
                    <a:pt x="72000" y="60000"/>
                  </a:cubicBezTo>
                  <a:cubicBezTo>
                    <a:pt x="67200" y="60000"/>
                    <a:pt x="57600" y="30000"/>
                    <a:pt x="48000" y="30000"/>
                  </a:cubicBezTo>
                  <a:cubicBezTo>
                    <a:pt x="38400" y="30000"/>
                    <a:pt x="33600" y="45000"/>
                    <a:pt x="24000" y="45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7" name="Shape 2289">
              <a:extLst>
                <a:ext uri="{FF2B5EF4-FFF2-40B4-BE49-F238E27FC236}">
                  <a16:creationId xmlns:a16="http://schemas.microsoft.com/office/drawing/2014/main" id="{815A6C41-28FD-3B41-BE3E-472C84B3216C}"/>
                </a:ext>
              </a:extLst>
            </p:cNvPr>
            <p:cNvSpPr/>
            <p:nvPr/>
          </p:nvSpPr>
          <p:spPr>
            <a:xfrm>
              <a:off x="18126923" y="4729396"/>
              <a:ext cx="197453" cy="76451"/>
            </a:xfrm>
            <a:custGeom>
              <a:avLst/>
              <a:gdLst/>
              <a:ahLst/>
              <a:cxnLst/>
              <a:rect l="0" t="0" r="0" b="0"/>
              <a:pathLst>
                <a:path w="120000" h="120000" extrusionOk="0">
                  <a:moveTo>
                    <a:pt x="11428" y="90000"/>
                  </a:moveTo>
                  <a:cubicBezTo>
                    <a:pt x="28571" y="90000"/>
                    <a:pt x="34285" y="90000"/>
                    <a:pt x="45714" y="90000"/>
                  </a:cubicBezTo>
                  <a:cubicBezTo>
                    <a:pt x="57142" y="105000"/>
                    <a:pt x="68571" y="105000"/>
                    <a:pt x="80000" y="120000"/>
                  </a:cubicBezTo>
                  <a:cubicBezTo>
                    <a:pt x="91428" y="120000"/>
                    <a:pt x="102857" y="120000"/>
                    <a:pt x="108571" y="105000"/>
                  </a:cubicBezTo>
                  <a:cubicBezTo>
                    <a:pt x="120000" y="90000"/>
                    <a:pt x="102857" y="75000"/>
                    <a:pt x="97142" y="60000"/>
                  </a:cubicBezTo>
                  <a:cubicBezTo>
                    <a:pt x="80000" y="30000"/>
                    <a:pt x="62857" y="0"/>
                    <a:pt x="40000" y="30000"/>
                  </a:cubicBezTo>
                  <a:cubicBezTo>
                    <a:pt x="28571" y="45000"/>
                    <a:pt x="28571" y="60000"/>
                    <a:pt x="22857" y="75000"/>
                  </a:cubicBezTo>
                  <a:cubicBezTo>
                    <a:pt x="17142" y="75000"/>
                    <a:pt x="0" y="90000"/>
                    <a:pt x="11428" y="9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8" name="Shape 2290">
              <a:extLst>
                <a:ext uri="{FF2B5EF4-FFF2-40B4-BE49-F238E27FC236}">
                  <a16:creationId xmlns:a16="http://schemas.microsoft.com/office/drawing/2014/main" id="{8AB5BF63-2560-7349-997F-854456EE0AF6}"/>
                </a:ext>
              </a:extLst>
            </p:cNvPr>
            <p:cNvSpPr/>
            <p:nvPr/>
          </p:nvSpPr>
          <p:spPr>
            <a:xfrm>
              <a:off x="18136478" y="4694357"/>
              <a:ext cx="76431" cy="44598"/>
            </a:xfrm>
            <a:custGeom>
              <a:avLst/>
              <a:gdLst/>
              <a:ahLst/>
              <a:cxnLst/>
              <a:rect l="0" t="0" r="0" b="0"/>
              <a:pathLst>
                <a:path w="120000" h="120000" extrusionOk="0">
                  <a:moveTo>
                    <a:pt x="45000" y="120000"/>
                  </a:moveTo>
                  <a:cubicBezTo>
                    <a:pt x="0" y="120000"/>
                    <a:pt x="15000" y="0"/>
                    <a:pt x="60000" y="24000"/>
                  </a:cubicBezTo>
                  <a:cubicBezTo>
                    <a:pt x="120000" y="48000"/>
                    <a:pt x="90000" y="96000"/>
                    <a:pt x="45000" y="120000"/>
                  </a:cubicBezTo>
                  <a:cubicBezTo>
                    <a:pt x="15000" y="120000"/>
                    <a:pt x="75000" y="120000"/>
                    <a:pt x="45000" y="12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9" name="Shape 2291">
              <a:extLst>
                <a:ext uri="{FF2B5EF4-FFF2-40B4-BE49-F238E27FC236}">
                  <a16:creationId xmlns:a16="http://schemas.microsoft.com/office/drawing/2014/main" id="{387D9B2C-8262-4641-BBC4-8B044DE52BF1}"/>
                </a:ext>
              </a:extLst>
            </p:cNvPr>
            <p:cNvSpPr/>
            <p:nvPr/>
          </p:nvSpPr>
          <p:spPr>
            <a:xfrm>
              <a:off x="17932655" y="4560563"/>
              <a:ext cx="28661" cy="47785"/>
            </a:xfrm>
            <a:custGeom>
              <a:avLst/>
              <a:gdLst/>
              <a:ahLst/>
              <a:cxnLst/>
              <a:rect l="0" t="0" r="0" b="0"/>
              <a:pathLst>
                <a:path w="120000" h="120000" extrusionOk="0">
                  <a:moveTo>
                    <a:pt x="40000" y="72000"/>
                  </a:moveTo>
                  <a:cubicBezTo>
                    <a:pt x="0" y="48000"/>
                    <a:pt x="80000" y="0"/>
                    <a:pt x="120000" y="24000"/>
                  </a:cubicBezTo>
                  <a:cubicBezTo>
                    <a:pt x="120000" y="48000"/>
                    <a:pt x="80000" y="120000"/>
                    <a:pt x="40000" y="120000"/>
                  </a:cubicBezTo>
                  <a:cubicBezTo>
                    <a:pt x="40000" y="120000"/>
                    <a:pt x="40000" y="72000"/>
                    <a:pt x="40000" y="72000"/>
                  </a:cubicBezTo>
                  <a:cubicBezTo>
                    <a:pt x="0" y="48000"/>
                    <a:pt x="40000" y="72000"/>
                    <a:pt x="40000" y="72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0" name="Shape 2292">
              <a:extLst>
                <a:ext uri="{FF2B5EF4-FFF2-40B4-BE49-F238E27FC236}">
                  <a16:creationId xmlns:a16="http://schemas.microsoft.com/office/drawing/2014/main" id="{148835FA-EEC0-7341-A841-5F9DABE8112B}"/>
                </a:ext>
              </a:extLst>
            </p:cNvPr>
            <p:cNvSpPr/>
            <p:nvPr/>
          </p:nvSpPr>
          <p:spPr>
            <a:xfrm>
              <a:off x="17932655" y="4700725"/>
              <a:ext cx="38216" cy="47785"/>
            </a:xfrm>
            <a:custGeom>
              <a:avLst/>
              <a:gdLst/>
              <a:ahLst/>
              <a:cxnLst/>
              <a:rect l="0" t="0" r="0" b="0"/>
              <a:pathLst>
                <a:path w="120000" h="120000" extrusionOk="0">
                  <a:moveTo>
                    <a:pt x="120000" y="96000"/>
                  </a:moveTo>
                  <a:cubicBezTo>
                    <a:pt x="120000" y="72000"/>
                    <a:pt x="30000" y="0"/>
                    <a:pt x="0" y="24000"/>
                  </a:cubicBezTo>
                  <a:cubicBezTo>
                    <a:pt x="0" y="24000"/>
                    <a:pt x="90000" y="120000"/>
                    <a:pt x="120000" y="96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1" name="Shape 2293">
              <a:extLst>
                <a:ext uri="{FF2B5EF4-FFF2-40B4-BE49-F238E27FC236}">
                  <a16:creationId xmlns:a16="http://schemas.microsoft.com/office/drawing/2014/main" id="{C7FD6A1F-6796-B74B-B5A9-F3B0C8B0D4AF}"/>
                </a:ext>
              </a:extLst>
            </p:cNvPr>
            <p:cNvSpPr/>
            <p:nvPr/>
          </p:nvSpPr>
          <p:spPr>
            <a:xfrm>
              <a:off x="17996351" y="4525524"/>
              <a:ext cx="394903" cy="149719"/>
            </a:xfrm>
            <a:custGeom>
              <a:avLst/>
              <a:gdLst/>
              <a:ahLst/>
              <a:cxnLst/>
              <a:rect l="0" t="0" r="0" b="0"/>
              <a:pathLst>
                <a:path w="120000" h="120000" extrusionOk="0">
                  <a:moveTo>
                    <a:pt x="97142" y="30000"/>
                  </a:moveTo>
                  <a:cubicBezTo>
                    <a:pt x="91428" y="22500"/>
                    <a:pt x="88571" y="30000"/>
                    <a:pt x="82857" y="22500"/>
                  </a:cubicBezTo>
                  <a:cubicBezTo>
                    <a:pt x="82857" y="22500"/>
                    <a:pt x="68571" y="0"/>
                    <a:pt x="65714" y="0"/>
                  </a:cubicBezTo>
                  <a:cubicBezTo>
                    <a:pt x="65714" y="0"/>
                    <a:pt x="68571" y="7500"/>
                    <a:pt x="62857" y="15000"/>
                  </a:cubicBezTo>
                  <a:cubicBezTo>
                    <a:pt x="57142" y="15000"/>
                    <a:pt x="62857" y="37500"/>
                    <a:pt x="57142" y="45000"/>
                  </a:cubicBezTo>
                  <a:cubicBezTo>
                    <a:pt x="54285" y="45000"/>
                    <a:pt x="34285" y="7500"/>
                    <a:pt x="31428" y="7500"/>
                  </a:cubicBezTo>
                  <a:cubicBezTo>
                    <a:pt x="25714" y="0"/>
                    <a:pt x="11428" y="7500"/>
                    <a:pt x="11428" y="22500"/>
                  </a:cubicBezTo>
                  <a:cubicBezTo>
                    <a:pt x="11428" y="37500"/>
                    <a:pt x="0" y="30000"/>
                    <a:pt x="5714" y="45000"/>
                  </a:cubicBezTo>
                  <a:cubicBezTo>
                    <a:pt x="8571" y="52500"/>
                    <a:pt x="0" y="67500"/>
                    <a:pt x="2857" y="75000"/>
                  </a:cubicBezTo>
                  <a:cubicBezTo>
                    <a:pt x="8571" y="90000"/>
                    <a:pt x="17142" y="97500"/>
                    <a:pt x="25714" y="105000"/>
                  </a:cubicBezTo>
                  <a:cubicBezTo>
                    <a:pt x="28571" y="112500"/>
                    <a:pt x="34285" y="120000"/>
                    <a:pt x="37142" y="112500"/>
                  </a:cubicBezTo>
                  <a:cubicBezTo>
                    <a:pt x="40000" y="112500"/>
                    <a:pt x="40000" y="90000"/>
                    <a:pt x="42857" y="97500"/>
                  </a:cubicBezTo>
                  <a:cubicBezTo>
                    <a:pt x="42857" y="97500"/>
                    <a:pt x="42857" y="105000"/>
                    <a:pt x="45714" y="105000"/>
                  </a:cubicBezTo>
                  <a:cubicBezTo>
                    <a:pt x="48571" y="105000"/>
                    <a:pt x="51428" y="105000"/>
                    <a:pt x="51428" y="105000"/>
                  </a:cubicBezTo>
                  <a:cubicBezTo>
                    <a:pt x="57142" y="97500"/>
                    <a:pt x="62857" y="97500"/>
                    <a:pt x="71428" y="90000"/>
                  </a:cubicBezTo>
                  <a:cubicBezTo>
                    <a:pt x="77142" y="90000"/>
                    <a:pt x="77142" y="105000"/>
                    <a:pt x="80000" y="105000"/>
                  </a:cubicBezTo>
                  <a:cubicBezTo>
                    <a:pt x="82857" y="105000"/>
                    <a:pt x="97142" y="97500"/>
                    <a:pt x="97142" y="97500"/>
                  </a:cubicBezTo>
                  <a:cubicBezTo>
                    <a:pt x="97142" y="97500"/>
                    <a:pt x="94285" y="90000"/>
                    <a:pt x="94285" y="90000"/>
                  </a:cubicBezTo>
                  <a:cubicBezTo>
                    <a:pt x="94285" y="82500"/>
                    <a:pt x="102857" y="90000"/>
                    <a:pt x="105714" y="90000"/>
                  </a:cubicBezTo>
                  <a:cubicBezTo>
                    <a:pt x="105714" y="90000"/>
                    <a:pt x="111428" y="90000"/>
                    <a:pt x="111428" y="82500"/>
                  </a:cubicBezTo>
                  <a:cubicBezTo>
                    <a:pt x="111428" y="75000"/>
                    <a:pt x="114285" y="67500"/>
                    <a:pt x="114285" y="67500"/>
                  </a:cubicBezTo>
                  <a:cubicBezTo>
                    <a:pt x="114285" y="67500"/>
                    <a:pt x="114285" y="67500"/>
                    <a:pt x="111428" y="67500"/>
                  </a:cubicBezTo>
                  <a:cubicBezTo>
                    <a:pt x="111428" y="60000"/>
                    <a:pt x="120000" y="52500"/>
                    <a:pt x="120000" y="45000"/>
                  </a:cubicBezTo>
                  <a:cubicBezTo>
                    <a:pt x="117142" y="37500"/>
                    <a:pt x="102857" y="30000"/>
                    <a:pt x="97142" y="30000"/>
                  </a:cubicBezTo>
                  <a:cubicBezTo>
                    <a:pt x="91428" y="22500"/>
                    <a:pt x="102857" y="30000"/>
                    <a:pt x="97142" y="3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2" name="Shape 2294">
              <a:extLst>
                <a:ext uri="{FF2B5EF4-FFF2-40B4-BE49-F238E27FC236}">
                  <a16:creationId xmlns:a16="http://schemas.microsoft.com/office/drawing/2014/main" id="{3BF76D0B-90C3-FC47-9ECA-60943389AD9B}"/>
                </a:ext>
              </a:extLst>
            </p:cNvPr>
            <p:cNvSpPr/>
            <p:nvPr/>
          </p:nvSpPr>
          <p:spPr>
            <a:xfrm>
              <a:off x="18222467" y="4570121"/>
              <a:ext cx="73247" cy="76451"/>
            </a:xfrm>
            <a:custGeom>
              <a:avLst/>
              <a:gdLst/>
              <a:ahLst/>
              <a:cxnLst/>
              <a:rect l="0" t="0" r="0" b="0"/>
              <a:pathLst>
                <a:path w="120000" h="120000" extrusionOk="0">
                  <a:moveTo>
                    <a:pt x="105000" y="90000"/>
                  </a:moveTo>
                  <a:cubicBezTo>
                    <a:pt x="90000" y="105000"/>
                    <a:pt x="0" y="15000"/>
                    <a:pt x="60000" y="0"/>
                  </a:cubicBezTo>
                  <a:cubicBezTo>
                    <a:pt x="75000" y="0"/>
                    <a:pt x="120000" y="0"/>
                    <a:pt x="90000" y="30000"/>
                  </a:cubicBezTo>
                  <a:cubicBezTo>
                    <a:pt x="45000" y="60000"/>
                    <a:pt x="105000" y="60000"/>
                    <a:pt x="105000" y="90000"/>
                  </a:cubicBezTo>
                  <a:cubicBezTo>
                    <a:pt x="90000" y="120000"/>
                    <a:pt x="105000" y="75000"/>
                    <a:pt x="105000" y="9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3" name="Shape 2295">
              <a:extLst>
                <a:ext uri="{FF2B5EF4-FFF2-40B4-BE49-F238E27FC236}">
                  <a16:creationId xmlns:a16="http://schemas.microsoft.com/office/drawing/2014/main" id="{09418BAB-D45A-2F4D-912D-CEBE9946F615}"/>
                </a:ext>
              </a:extLst>
            </p:cNvPr>
            <p:cNvSpPr/>
            <p:nvPr/>
          </p:nvSpPr>
          <p:spPr>
            <a:xfrm>
              <a:off x="19445396" y="5076621"/>
              <a:ext cx="101909" cy="57338"/>
            </a:xfrm>
            <a:custGeom>
              <a:avLst/>
              <a:gdLst/>
              <a:ahLst/>
              <a:cxnLst/>
              <a:rect l="0" t="0" r="0" b="0"/>
              <a:pathLst>
                <a:path w="120000" h="120000" extrusionOk="0">
                  <a:moveTo>
                    <a:pt x="32727" y="80000"/>
                  </a:moveTo>
                  <a:cubicBezTo>
                    <a:pt x="10909" y="60000"/>
                    <a:pt x="0" y="60000"/>
                    <a:pt x="10909" y="20000"/>
                  </a:cubicBezTo>
                  <a:cubicBezTo>
                    <a:pt x="21818" y="0"/>
                    <a:pt x="43636" y="20000"/>
                    <a:pt x="65454" y="20000"/>
                  </a:cubicBezTo>
                  <a:cubicBezTo>
                    <a:pt x="120000" y="40000"/>
                    <a:pt x="65454" y="120000"/>
                    <a:pt x="32727" y="80000"/>
                  </a:cubicBezTo>
                  <a:cubicBezTo>
                    <a:pt x="21818" y="60000"/>
                    <a:pt x="43636" y="100000"/>
                    <a:pt x="32727" y="8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4" name="Shape 2296">
              <a:extLst>
                <a:ext uri="{FF2B5EF4-FFF2-40B4-BE49-F238E27FC236}">
                  <a16:creationId xmlns:a16="http://schemas.microsoft.com/office/drawing/2014/main" id="{967CFA0A-65AF-4A47-A457-BA2890EEB0E6}"/>
                </a:ext>
              </a:extLst>
            </p:cNvPr>
            <p:cNvSpPr/>
            <p:nvPr/>
          </p:nvSpPr>
          <p:spPr>
            <a:xfrm>
              <a:off x="19247940" y="5898493"/>
              <a:ext cx="57322" cy="47785"/>
            </a:xfrm>
            <a:custGeom>
              <a:avLst/>
              <a:gdLst/>
              <a:ahLst/>
              <a:cxnLst/>
              <a:rect l="0" t="0" r="0" b="0"/>
              <a:pathLst>
                <a:path w="120000" h="120000" extrusionOk="0">
                  <a:moveTo>
                    <a:pt x="100000" y="48000"/>
                  </a:moveTo>
                  <a:cubicBezTo>
                    <a:pt x="120000" y="48000"/>
                    <a:pt x="100000" y="24000"/>
                    <a:pt x="100000" y="24000"/>
                  </a:cubicBezTo>
                  <a:cubicBezTo>
                    <a:pt x="80000" y="0"/>
                    <a:pt x="60000" y="24000"/>
                    <a:pt x="40000" y="24000"/>
                  </a:cubicBezTo>
                  <a:cubicBezTo>
                    <a:pt x="20000" y="24000"/>
                    <a:pt x="0" y="48000"/>
                    <a:pt x="20000" y="72000"/>
                  </a:cubicBezTo>
                  <a:cubicBezTo>
                    <a:pt x="20000" y="72000"/>
                    <a:pt x="0" y="120000"/>
                    <a:pt x="0" y="96000"/>
                  </a:cubicBezTo>
                  <a:cubicBezTo>
                    <a:pt x="0" y="96000"/>
                    <a:pt x="100000" y="48000"/>
                    <a:pt x="100000" y="48000"/>
                  </a:cubicBezTo>
                  <a:cubicBezTo>
                    <a:pt x="120000" y="48000"/>
                    <a:pt x="60000" y="72000"/>
                    <a:pt x="100000" y="48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5" name="Shape 2297">
              <a:extLst>
                <a:ext uri="{FF2B5EF4-FFF2-40B4-BE49-F238E27FC236}">
                  <a16:creationId xmlns:a16="http://schemas.microsoft.com/office/drawing/2014/main" id="{8D32736B-D383-9B4B-BBFF-0B5218C24966}"/>
                </a:ext>
              </a:extLst>
            </p:cNvPr>
            <p:cNvSpPr/>
            <p:nvPr/>
          </p:nvSpPr>
          <p:spPr>
            <a:xfrm>
              <a:off x="18005904" y="6172449"/>
              <a:ext cx="47769" cy="25484"/>
            </a:xfrm>
            <a:custGeom>
              <a:avLst/>
              <a:gdLst/>
              <a:ahLst/>
              <a:cxnLst/>
              <a:rect l="0" t="0" r="0" b="0"/>
              <a:pathLst>
                <a:path w="120000" h="120000" extrusionOk="0">
                  <a:moveTo>
                    <a:pt x="72000" y="120000"/>
                  </a:moveTo>
                  <a:cubicBezTo>
                    <a:pt x="24000" y="120000"/>
                    <a:pt x="0" y="40000"/>
                    <a:pt x="72000" y="0"/>
                  </a:cubicBezTo>
                  <a:cubicBezTo>
                    <a:pt x="120000" y="0"/>
                    <a:pt x="96000" y="120000"/>
                    <a:pt x="72000" y="12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6" name="Shape 2298">
              <a:extLst>
                <a:ext uri="{FF2B5EF4-FFF2-40B4-BE49-F238E27FC236}">
                  <a16:creationId xmlns:a16="http://schemas.microsoft.com/office/drawing/2014/main" id="{C1D749A2-F5AB-B24F-8009-A0F697F41B6A}"/>
                </a:ext>
              </a:extLst>
            </p:cNvPr>
            <p:cNvSpPr/>
            <p:nvPr/>
          </p:nvSpPr>
          <p:spPr>
            <a:xfrm>
              <a:off x="18846666" y="6452777"/>
              <a:ext cx="47769" cy="44598"/>
            </a:xfrm>
            <a:custGeom>
              <a:avLst/>
              <a:gdLst/>
              <a:ahLst/>
              <a:cxnLst/>
              <a:rect l="0" t="0" r="0" b="0"/>
              <a:pathLst>
                <a:path w="120000" h="120000" extrusionOk="0">
                  <a:moveTo>
                    <a:pt x="120000" y="24000"/>
                  </a:moveTo>
                  <a:cubicBezTo>
                    <a:pt x="120000" y="24000"/>
                    <a:pt x="0" y="120000"/>
                    <a:pt x="24000" y="120000"/>
                  </a:cubicBezTo>
                  <a:cubicBezTo>
                    <a:pt x="48000" y="120000"/>
                    <a:pt x="96000" y="72000"/>
                    <a:pt x="96000" y="72000"/>
                  </a:cubicBezTo>
                  <a:cubicBezTo>
                    <a:pt x="120000" y="48000"/>
                    <a:pt x="120000" y="0"/>
                    <a:pt x="120000" y="24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7" name="Shape 2299">
              <a:extLst>
                <a:ext uri="{FF2B5EF4-FFF2-40B4-BE49-F238E27FC236}">
                  <a16:creationId xmlns:a16="http://schemas.microsoft.com/office/drawing/2014/main" id="{7D10F199-CEAA-3F48-96ED-EC4095EB3C7F}"/>
                </a:ext>
              </a:extLst>
            </p:cNvPr>
            <p:cNvSpPr/>
            <p:nvPr/>
          </p:nvSpPr>
          <p:spPr>
            <a:xfrm>
              <a:off x="18818006" y="6526042"/>
              <a:ext cx="19108" cy="9555"/>
            </a:xfrm>
            <a:custGeom>
              <a:avLst/>
              <a:gdLst/>
              <a:ahLst/>
              <a:cxnLst/>
              <a:rect l="0" t="0" r="0" b="0"/>
              <a:pathLst>
                <a:path w="120000" h="120000" extrusionOk="0">
                  <a:moveTo>
                    <a:pt x="60000" y="0"/>
                  </a:moveTo>
                  <a:cubicBezTo>
                    <a:pt x="60000" y="0"/>
                    <a:pt x="0" y="120000"/>
                    <a:pt x="60000" y="120000"/>
                  </a:cubicBezTo>
                  <a:cubicBezTo>
                    <a:pt x="60000" y="120000"/>
                    <a:pt x="120000" y="0"/>
                    <a:pt x="60000" y="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8" name="Shape 2300">
              <a:extLst>
                <a:ext uri="{FF2B5EF4-FFF2-40B4-BE49-F238E27FC236}">
                  <a16:creationId xmlns:a16="http://schemas.microsoft.com/office/drawing/2014/main" id="{0A269161-96E8-9640-8E06-94F11751E27B}"/>
                </a:ext>
              </a:extLst>
            </p:cNvPr>
            <p:cNvSpPr/>
            <p:nvPr/>
          </p:nvSpPr>
          <p:spPr>
            <a:xfrm>
              <a:off x="18687433" y="6675764"/>
              <a:ext cx="28661" cy="9555"/>
            </a:xfrm>
            <a:custGeom>
              <a:avLst/>
              <a:gdLst/>
              <a:ahLst/>
              <a:cxnLst/>
              <a:rect l="0" t="0" r="0" b="0"/>
              <a:pathLst>
                <a:path w="120000" h="120000" extrusionOk="0">
                  <a:moveTo>
                    <a:pt x="80000" y="0"/>
                  </a:moveTo>
                  <a:cubicBezTo>
                    <a:pt x="80000" y="0"/>
                    <a:pt x="0" y="120000"/>
                    <a:pt x="40000" y="120000"/>
                  </a:cubicBezTo>
                  <a:cubicBezTo>
                    <a:pt x="40000" y="120000"/>
                    <a:pt x="120000" y="0"/>
                    <a:pt x="80000" y="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9" name="Shape 2301">
              <a:extLst>
                <a:ext uri="{FF2B5EF4-FFF2-40B4-BE49-F238E27FC236}">
                  <a16:creationId xmlns:a16="http://schemas.microsoft.com/office/drawing/2014/main" id="{A1C74963-790E-8049-B746-52AC4AB7DD9F}"/>
                </a:ext>
              </a:extLst>
            </p:cNvPr>
            <p:cNvSpPr/>
            <p:nvPr/>
          </p:nvSpPr>
          <p:spPr>
            <a:xfrm>
              <a:off x="18575967" y="6723547"/>
              <a:ext cx="66878" cy="38226"/>
            </a:xfrm>
            <a:custGeom>
              <a:avLst/>
              <a:gdLst/>
              <a:ahLst/>
              <a:cxnLst/>
              <a:rect l="0" t="0" r="0" b="0"/>
              <a:pathLst>
                <a:path w="120000" h="120000" extrusionOk="0">
                  <a:moveTo>
                    <a:pt x="102857" y="0"/>
                  </a:moveTo>
                  <a:cubicBezTo>
                    <a:pt x="85714" y="0"/>
                    <a:pt x="0" y="60000"/>
                    <a:pt x="17142" y="90000"/>
                  </a:cubicBezTo>
                  <a:cubicBezTo>
                    <a:pt x="34285" y="120000"/>
                    <a:pt x="119999" y="0"/>
                    <a:pt x="102857" y="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0" name="Shape 2302">
              <a:extLst>
                <a:ext uri="{FF2B5EF4-FFF2-40B4-BE49-F238E27FC236}">
                  <a16:creationId xmlns:a16="http://schemas.microsoft.com/office/drawing/2014/main" id="{0E19C8B6-0FB1-F64E-B024-273D6BD7CD97}"/>
                </a:ext>
              </a:extLst>
            </p:cNvPr>
            <p:cNvSpPr/>
            <p:nvPr/>
          </p:nvSpPr>
          <p:spPr>
            <a:xfrm>
              <a:off x="18502719" y="6761774"/>
              <a:ext cx="54138" cy="35041"/>
            </a:xfrm>
            <a:custGeom>
              <a:avLst/>
              <a:gdLst/>
              <a:ahLst/>
              <a:cxnLst/>
              <a:rect l="0" t="0" r="0" b="0"/>
              <a:pathLst>
                <a:path w="120000" h="120000" extrusionOk="0">
                  <a:moveTo>
                    <a:pt x="100000" y="0"/>
                  </a:moveTo>
                  <a:cubicBezTo>
                    <a:pt x="100000" y="0"/>
                    <a:pt x="0" y="60000"/>
                    <a:pt x="20000" y="90000"/>
                  </a:cubicBezTo>
                  <a:cubicBezTo>
                    <a:pt x="40000" y="120000"/>
                    <a:pt x="100000" y="0"/>
                    <a:pt x="100000" y="0"/>
                  </a:cubicBezTo>
                  <a:cubicBezTo>
                    <a:pt x="100000" y="0"/>
                    <a:pt x="120000" y="0"/>
                    <a:pt x="100000" y="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1" name="Shape 2303">
              <a:extLst>
                <a:ext uri="{FF2B5EF4-FFF2-40B4-BE49-F238E27FC236}">
                  <a16:creationId xmlns:a16="http://schemas.microsoft.com/office/drawing/2014/main" id="{63DB9F6C-0CE4-2245-B7FC-868C27086267}"/>
                </a:ext>
              </a:extLst>
            </p:cNvPr>
            <p:cNvSpPr/>
            <p:nvPr/>
          </p:nvSpPr>
          <p:spPr>
            <a:xfrm>
              <a:off x="18454950" y="6790442"/>
              <a:ext cx="47769" cy="44598"/>
            </a:xfrm>
            <a:custGeom>
              <a:avLst/>
              <a:gdLst/>
              <a:ahLst/>
              <a:cxnLst/>
              <a:rect l="0" t="0" r="0" b="0"/>
              <a:pathLst>
                <a:path w="120000" h="120000" extrusionOk="0">
                  <a:moveTo>
                    <a:pt x="96000" y="0"/>
                  </a:moveTo>
                  <a:cubicBezTo>
                    <a:pt x="96000" y="0"/>
                    <a:pt x="0" y="96000"/>
                    <a:pt x="0" y="96000"/>
                  </a:cubicBezTo>
                  <a:cubicBezTo>
                    <a:pt x="48000" y="120000"/>
                    <a:pt x="96000" y="0"/>
                    <a:pt x="96000" y="0"/>
                  </a:cubicBezTo>
                  <a:cubicBezTo>
                    <a:pt x="96000" y="0"/>
                    <a:pt x="120000" y="0"/>
                    <a:pt x="96000" y="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2" name="Shape 2304">
              <a:extLst>
                <a:ext uri="{FF2B5EF4-FFF2-40B4-BE49-F238E27FC236}">
                  <a16:creationId xmlns:a16="http://schemas.microsoft.com/office/drawing/2014/main" id="{40D62C2C-1544-F34C-8E60-91AC9078AD12}"/>
                </a:ext>
              </a:extLst>
            </p:cNvPr>
            <p:cNvSpPr/>
            <p:nvPr/>
          </p:nvSpPr>
          <p:spPr>
            <a:xfrm>
              <a:off x="18445392" y="6854154"/>
              <a:ext cx="9553" cy="9555"/>
            </a:xfrm>
            <a:custGeom>
              <a:avLst/>
              <a:gdLst/>
              <a:ahLst/>
              <a:cxnLst/>
              <a:rect l="0" t="0" r="0" b="0"/>
              <a:pathLst>
                <a:path w="120000" h="120000" extrusionOk="0">
                  <a:moveTo>
                    <a:pt x="120000" y="0"/>
                  </a:moveTo>
                  <a:cubicBezTo>
                    <a:pt x="0" y="0"/>
                    <a:pt x="0" y="120000"/>
                    <a:pt x="120000" y="120000"/>
                  </a:cubicBezTo>
                  <a:cubicBezTo>
                    <a:pt x="120000" y="120000"/>
                    <a:pt x="120000" y="0"/>
                    <a:pt x="120000" y="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3" name="Shape 2305">
              <a:extLst>
                <a:ext uri="{FF2B5EF4-FFF2-40B4-BE49-F238E27FC236}">
                  <a16:creationId xmlns:a16="http://schemas.microsoft.com/office/drawing/2014/main" id="{D2CB1D7A-2D86-2D48-B6C8-6776B5A39797}"/>
                </a:ext>
              </a:extLst>
            </p:cNvPr>
            <p:cNvSpPr/>
            <p:nvPr/>
          </p:nvSpPr>
          <p:spPr>
            <a:xfrm>
              <a:off x="18397623" y="6815927"/>
              <a:ext cx="47769" cy="38226"/>
            </a:xfrm>
            <a:custGeom>
              <a:avLst/>
              <a:gdLst/>
              <a:ahLst/>
              <a:cxnLst/>
              <a:rect l="0" t="0" r="0" b="0"/>
              <a:pathLst>
                <a:path w="120000" h="120000" extrusionOk="0">
                  <a:moveTo>
                    <a:pt x="96000" y="30000"/>
                  </a:moveTo>
                  <a:cubicBezTo>
                    <a:pt x="48000" y="60000"/>
                    <a:pt x="0" y="90000"/>
                    <a:pt x="0" y="120000"/>
                  </a:cubicBezTo>
                  <a:cubicBezTo>
                    <a:pt x="0" y="120000"/>
                    <a:pt x="96000" y="30000"/>
                    <a:pt x="96000" y="30000"/>
                  </a:cubicBezTo>
                  <a:cubicBezTo>
                    <a:pt x="72000" y="30000"/>
                    <a:pt x="120000" y="0"/>
                    <a:pt x="96000" y="3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4" name="Shape 2306">
              <a:extLst>
                <a:ext uri="{FF2B5EF4-FFF2-40B4-BE49-F238E27FC236}">
                  <a16:creationId xmlns:a16="http://schemas.microsoft.com/office/drawing/2014/main" id="{E3F1701F-D6C9-2745-A6C4-2C25432C513A}"/>
                </a:ext>
              </a:extLst>
            </p:cNvPr>
            <p:cNvSpPr/>
            <p:nvPr/>
          </p:nvSpPr>
          <p:spPr>
            <a:xfrm>
              <a:off x="18053673" y="7163152"/>
              <a:ext cx="19108" cy="28669"/>
            </a:xfrm>
            <a:custGeom>
              <a:avLst/>
              <a:gdLst/>
              <a:ahLst/>
              <a:cxnLst/>
              <a:rect l="0" t="0" r="0" b="0"/>
              <a:pathLst>
                <a:path w="120000" h="120000" extrusionOk="0">
                  <a:moveTo>
                    <a:pt x="60000" y="0"/>
                  </a:moveTo>
                  <a:cubicBezTo>
                    <a:pt x="60000" y="0"/>
                    <a:pt x="0" y="120000"/>
                    <a:pt x="60000" y="120000"/>
                  </a:cubicBezTo>
                  <a:cubicBezTo>
                    <a:pt x="120000" y="120000"/>
                    <a:pt x="120000" y="0"/>
                    <a:pt x="60000" y="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grpSp>
          <p:nvGrpSpPr>
            <p:cNvPr id="35" name="Shape 2307">
              <a:extLst>
                <a:ext uri="{FF2B5EF4-FFF2-40B4-BE49-F238E27FC236}">
                  <a16:creationId xmlns:a16="http://schemas.microsoft.com/office/drawing/2014/main" id="{D420F18B-BBCF-F94A-BD44-299DB2BD1CEA}"/>
                </a:ext>
              </a:extLst>
            </p:cNvPr>
            <p:cNvGrpSpPr/>
            <p:nvPr/>
          </p:nvGrpSpPr>
          <p:grpSpPr>
            <a:xfrm>
              <a:off x="17709728" y="6761773"/>
              <a:ext cx="697447" cy="662593"/>
              <a:chOff x="5961121" y="2686386"/>
              <a:chExt cx="288232" cy="273757"/>
            </a:xfrm>
            <a:grpFill/>
          </p:grpSpPr>
          <p:sp>
            <p:nvSpPr>
              <p:cNvPr id="400" name="Shape 2308">
                <a:extLst>
                  <a:ext uri="{FF2B5EF4-FFF2-40B4-BE49-F238E27FC236}">
                    <a16:creationId xmlns:a16="http://schemas.microsoft.com/office/drawing/2014/main" id="{5E65869C-8621-7649-B75E-EF967EEFD5C7}"/>
                  </a:ext>
                </a:extLst>
              </p:cNvPr>
              <p:cNvSpPr/>
              <p:nvPr/>
            </p:nvSpPr>
            <p:spPr>
              <a:xfrm>
                <a:off x="6130901" y="2686386"/>
                <a:ext cx="118452" cy="100026"/>
              </a:xfrm>
              <a:custGeom>
                <a:avLst/>
                <a:gdLst/>
                <a:ahLst/>
                <a:cxnLst/>
                <a:rect l="0" t="0" r="0" b="0"/>
                <a:pathLst>
                  <a:path w="120000" h="120000" extrusionOk="0">
                    <a:moveTo>
                      <a:pt x="108387" y="46153"/>
                    </a:moveTo>
                    <a:cubicBezTo>
                      <a:pt x="108387" y="46153"/>
                      <a:pt x="112258" y="36923"/>
                      <a:pt x="112258" y="32307"/>
                    </a:cubicBezTo>
                    <a:cubicBezTo>
                      <a:pt x="112258" y="36923"/>
                      <a:pt x="104516" y="46153"/>
                      <a:pt x="104516" y="46153"/>
                    </a:cubicBezTo>
                    <a:cubicBezTo>
                      <a:pt x="96774" y="46153"/>
                      <a:pt x="81290" y="41538"/>
                      <a:pt x="77419" y="36923"/>
                    </a:cubicBezTo>
                    <a:cubicBezTo>
                      <a:pt x="65806" y="32307"/>
                      <a:pt x="58064" y="9230"/>
                      <a:pt x="42580" y="4615"/>
                    </a:cubicBezTo>
                    <a:cubicBezTo>
                      <a:pt x="34838" y="0"/>
                      <a:pt x="38709" y="18461"/>
                      <a:pt x="42580" y="23076"/>
                    </a:cubicBezTo>
                    <a:cubicBezTo>
                      <a:pt x="42580" y="32307"/>
                      <a:pt x="38709" y="41538"/>
                      <a:pt x="34838" y="50769"/>
                    </a:cubicBezTo>
                    <a:cubicBezTo>
                      <a:pt x="30967" y="55384"/>
                      <a:pt x="38709" y="69230"/>
                      <a:pt x="27096" y="64615"/>
                    </a:cubicBezTo>
                    <a:cubicBezTo>
                      <a:pt x="27096" y="64615"/>
                      <a:pt x="19354" y="60000"/>
                      <a:pt x="15483" y="64615"/>
                    </a:cubicBezTo>
                    <a:cubicBezTo>
                      <a:pt x="15483" y="69230"/>
                      <a:pt x="19354" y="73846"/>
                      <a:pt x="19354" y="73846"/>
                    </a:cubicBezTo>
                    <a:cubicBezTo>
                      <a:pt x="19354" y="73846"/>
                      <a:pt x="7741" y="83076"/>
                      <a:pt x="3870" y="83076"/>
                    </a:cubicBezTo>
                    <a:cubicBezTo>
                      <a:pt x="0" y="92307"/>
                      <a:pt x="11612" y="96923"/>
                      <a:pt x="7741" y="106153"/>
                    </a:cubicBezTo>
                    <a:cubicBezTo>
                      <a:pt x="3870" y="110769"/>
                      <a:pt x="11612" y="120000"/>
                      <a:pt x="15483" y="115384"/>
                    </a:cubicBezTo>
                    <a:cubicBezTo>
                      <a:pt x="19354" y="110769"/>
                      <a:pt x="19354" y="106153"/>
                      <a:pt x="23225" y="106153"/>
                    </a:cubicBezTo>
                    <a:cubicBezTo>
                      <a:pt x="23225" y="106153"/>
                      <a:pt x="27096" y="110769"/>
                      <a:pt x="27096" y="106153"/>
                    </a:cubicBezTo>
                    <a:cubicBezTo>
                      <a:pt x="27096" y="101538"/>
                      <a:pt x="19354" y="96923"/>
                      <a:pt x="15483" y="92307"/>
                    </a:cubicBezTo>
                    <a:cubicBezTo>
                      <a:pt x="11612" y="83076"/>
                      <a:pt x="27096" y="87692"/>
                      <a:pt x="27096" y="87692"/>
                    </a:cubicBezTo>
                    <a:cubicBezTo>
                      <a:pt x="34838" y="87692"/>
                      <a:pt x="38709" y="78461"/>
                      <a:pt x="46451" y="83076"/>
                    </a:cubicBezTo>
                    <a:cubicBezTo>
                      <a:pt x="54193" y="87692"/>
                      <a:pt x="58064" y="92307"/>
                      <a:pt x="65806" y="96923"/>
                    </a:cubicBezTo>
                    <a:cubicBezTo>
                      <a:pt x="77419" y="106153"/>
                      <a:pt x="73548" y="78461"/>
                      <a:pt x="81290" y="73846"/>
                    </a:cubicBezTo>
                    <a:cubicBezTo>
                      <a:pt x="81290" y="73846"/>
                      <a:pt x="120000" y="73846"/>
                      <a:pt x="120000" y="64615"/>
                    </a:cubicBezTo>
                    <a:cubicBezTo>
                      <a:pt x="116129" y="60000"/>
                      <a:pt x="104516" y="69230"/>
                      <a:pt x="112258" y="55384"/>
                    </a:cubicBezTo>
                    <a:cubicBezTo>
                      <a:pt x="116129" y="50769"/>
                      <a:pt x="104516" y="55384"/>
                      <a:pt x="108387" y="46153"/>
                    </a:cubicBezTo>
                    <a:cubicBezTo>
                      <a:pt x="112258" y="32307"/>
                      <a:pt x="108387" y="50769"/>
                      <a:pt x="108387" y="46153"/>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401" name="Shape 2309">
                <a:extLst>
                  <a:ext uri="{FF2B5EF4-FFF2-40B4-BE49-F238E27FC236}">
                    <a16:creationId xmlns:a16="http://schemas.microsoft.com/office/drawing/2014/main" id="{B0850CF5-6978-9740-88AC-DB396063DA3C}"/>
                  </a:ext>
                </a:extLst>
              </p:cNvPr>
              <p:cNvSpPr/>
              <p:nvPr/>
            </p:nvSpPr>
            <p:spPr>
              <a:xfrm>
                <a:off x="5961121" y="2778516"/>
                <a:ext cx="215846" cy="181627"/>
              </a:xfrm>
              <a:custGeom>
                <a:avLst/>
                <a:gdLst/>
                <a:ahLst/>
                <a:cxnLst/>
                <a:rect l="0" t="0" r="0" b="0"/>
                <a:pathLst>
                  <a:path w="120000" h="120000" extrusionOk="0">
                    <a:moveTo>
                      <a:pt x="111428" y="2553"/>
                    </a:moveTo>
                    <a:cubicBezTo>
                      <a:pt x="109285" y="2553"/>
                      <a:pt x="109285" y="0"/>
                      <a:pt x="109285" y="2553"/>
                    </a:cubicBezTo>
                    <a:cubicBezTo>
                      <a:pt x="104999" y="5106"/>
                      <a:pt x="109285" y="5106"/>
                      <a:pt x="111428" y="7659"/>
                    </a:cubicBezTo>
                    <a:cubicBezTo>
                      <a:pt x="113571" y="10212"/>
                      <a:pt x="107142" y="12765"/>
                      <a:pt x="104999" y="7659"/>
                    </a:cubicBezTo>
                    <a:cubicBezTo>
                      <a:pt x="102857" y="2553"/>
                      <a:pt x="100714" y="10212"/>
                      <a:pt x="100714" y="12765"/>
                    </a:cubicBezTo>
                    <a:cubicBezTo>
                      <a:pt x="98571" y="12765"/>
                      <a:pt x="96428" y="15319"/>
                      <a:pt x="96428" y="15319"/>
                    </a:cubicBezTo>
                    <a:cubicBezTo>
                      <a:pt x="96428" y="20425"/>
                      <a:pt x="98571" y="17872"/>
                      <a:pt x="98571" y="17872"/>
                    </a:cubicBezTo>
                    <a:cubicBezTo>
                      <a:pt x="98571" y="20425"/>
                      <a:pt x="98571" y="22978"/>
                      <a:pt x="98571" y="25531"/>
                    </a:cubicBezTo>
                    <a:cubicBezTo>
                      <a:pt x="98571" y="28085"/>
                      <a:pt x="100714" y="28085"/>
                      <a:pt x="98571" y="33191"/>
                    </a:cubicBezTo>
                    <a:cubicBezTo>
                      <a:pt x="94285" y="40851"/>
                      <a:pt x="92142" y="48510"/>
                      <a:pt x="87857" y="56170"/>
                    </a:cubicBezTo>
                    <a:cubicBezTo>
                      <a:pt x="85714" y="58723"/>
                      <a:pt x="79285" y="68936"/>
                      <a:pt x="77142" y="68936"/>
                    </a:cubicBezTo>
                    <a:cubicBezTo>
                      <a:pt x="72857" y="68936"/>
                      <a:pt x="68571" y="71489"/>
                      <a:pt x="66428" y="68936"/>
                    </a:cubicBezTo>
                    <a:cubicBezTo>
                      <a:pt x="64285" y="66382"/>
                      <a:pt x="68571" y="63829"/>
                      <a:pt x="68571" y="61276"/>
                    </a:cubicBezTo>
                    <a:cubicBezTo>
                      <a:pt x="70714" y="58723"/>
                      <a:pt x="64285" y="63829"/>
                      <a:pt x="64285" y="63829"/>
                    </a:cubicBezTo>
                    <a:cubicBezTo>
                      <a:pt x="62142" y="66382"/>
                      <a:pt x="62142" y="66382"/>
                      <a:pt x="62142" y="68936"/>
                    </a:cubicBezTo>
                    <a:cubicBezTo>
                      <a:pt x="62142" y="76595"/>
                      <a:pt x="55714" y="79148"/>
                      <a:pt x="53571" y="84255"/>
                    </a:cubicBezTo>
                    <a:cubicBezTo>
                      <a:pt x="53571" y="84255"/>
                      <a:pt x="53571" y="86808"/>
                      <a:pt x="53571" y="86808"/>
                    </a:cubicBezTo>
                    <a:cubicBezTo>
                      <a:pt x="53571" y="89361"/>
                      <a:pt x="49285" y="91914"/>
                      <a:pt x="49285" y="91914"/>
                    </a:cubicBezTo>
                    <a:cubicBezTo>
                      <a:pt x="47142" y="91914"/>
                      <a:pt x="49285" y="89361"/>
                      <a:pt x="44999" y="89361"/>
                    </a:cubicBezTo>
                    <a:cubicBezTo>
                      <a:pt x="42857" y="89361"/>
                      <a:pt x="40714" y="89361"/>
                      <a:pt x="36428" y="89361"/>
                    </a:cubicBezTo>
                    <a:cubicBezTo>
                      <a:pt x="29999" y="91914"/>
                      <a:pt x="25714" y="89361"/>
                      <a:pt x="19285" y="91914"/>
                    </a:cubicBezTo>
                    <a:cubicBezTo>
                      <a:pt x="14999" y="97021"/>
                      <a:pt x="8571" y="102127"/>
                      <a:pt x="4285" y="107234"/>
                    </a:cubicBezTo>
                    <a:cubicBezTo>
                      <a:pt x="0" y="107234"/>
                      <a:pt x="0" y="114893"/>
                      <a:pt x="2142" y="112340"/>
                    </a:cubicBezTo>
                    <a:cubicBezTo>
                      <a:pt x="4285" y="112340"/>
                      <a:pt x="4285" y="109787"/>
                      <a:pt x="6428" y="109787"/>
                    </a:cubicBezTo>
                    <a:cubicBezTo>
                      <a:pt x="8571" y="112340"/>
                      <a:pt x="10714" y="114893"/>
                      <a:pt x="10714" y="112340"/>
                    </a:cubicBezTo>
                    <a:cubicBezTo>
                      <a:pt x="21428" y="109787"/>
                      <a:pt x="36428" y="99574"/>
                      <a:pt x="47142" y="102127"/>
                    </a:cubicBezTo>
                    <a:cubicBezTo>
                      <a:pt x="49285" y="104680"/>
                      <a:pt x="44999" y="109787"/>
                      <a:pt x="44999" y="109787"/>
                    </a:cubicBezTo>
                    <a:cubicBezTo>
                      <a:pt x="47142" y="112340"/>
                      <a:pt x="49285" y="120000"/>
                      <a:pt x="51428" y="120000"/>
                    </a:cubicBezTo>
                    <a:cubicBezTo>
                      <a:pt x="53571" y="117446"/>
                      <a:pt x="55714" y="114893"/>
                      <a:pt x="57857" y="112340"/>
                    </a:cubicBezTo>
                    <a:cubicBezTo>
                      <a:pt x="59999" y="107234"/>
                      <a:pt x="59999" y="109787"/>
                      <a:pt x="64285" y="109787"/>
                    </a:cubicBezTo>
                    <a:cubicBezTo>
                      <a:pt x="62142" y="109787"/>
                      <a:pt x="59999" y="89361"/>
                      <a:pt x="66428" y="102127"/>
                    </a:cubicBezTo>
                    <a:cubicBezTo>
                      <a:pt x="68571" y="107234"/>
                      <a:pt x="79285" y="102127"/>
                      <a:pt x="81428" y="99574"/>
                    </a:cubicBezTo>
                    <a:cubicBezTo>
                      <a:pt x="85714" y="91914"/>
                      <a:pt x="85714" y="107234"/>
                      <a:pt x="87857" y="102127"/>
                    </a:cubicBezTo>
                    <a:cubicBezTo>
                      <a:pt x="87857" y="99574"/>
                      <a:pt x="89999" y="94468"/>
                      <a:pt x="92142" y="94468"/>
                    </a:cubicBezTo>
                    <a:cubicBezTo>
                      <a:pt x="94285" y="91914"/>
                      <a:pt x="94285" y="94468"/>
                      <a:pt x="96428" y="89361"/>
                    </a:cubicBezTo>
                    <a:cubicBezTo>
                      <a:pt x="96428" y="89361"/>
                      <a:pt x="96428" y="99574"/>
                      <a:pt x="98571" y="97021"/>
                    </a:cubicBezTo>
                    <a:cubicBezTo>
                      <a:pt x="98571" y="97021"/>
                      <a:pt x="100714" y="97021"/>
                      <a:pt x="102857" y="94468"/>
                    </a:cubicBezTo>
                    <a:cubicBezTo>
                      <a:pt x="104999" y="94468"/>
                      <a:pt x="102857" y="91914"/>
                      <a:pt x="104999" y="89361"/>
                    </a:cubicBezTo>
                    <a:cubicBezTo>
                      <a:pt x="109285" y="86808"/>
                      <a:pt x="109285" y="86808"/>
                      <a:pt x="104999" y="81702"/>
                    </a:cubicBezTo>
                    <a:cubicBezTo>
                      <a:pt x="102857" y="79148"/>
                      <a:pt x="109285" y="71489"/>
                      <a:pt x="109285" y="66382"/>
                    </a:cubicBezTo>
                    <a:cubicBezTo>
                      <a:pt x="111428" y="61276"/>
                      <a:pt x="107142" y="53617"/>
                      <a:pt x="109285" y="48510"/>
                    </a:cubicBezTo>
                    <a:cubicBezTo>
                      <a:pt x="111428" y="45957"/>
                      <a:pt x="111428" y="48510"/>
                      <a:pt x="113571" y="48510"/>
                    </a:cubicBezTo>
                    <a:cubicBezTo>
                      <a:pt x="115714" y="48510"/>
                      <a:pt x="117857" y="43404"/>
                      <a:pt x="117857" y="43404"/>
                    </a:cubicBezTo>
                    <a:cubicBezTo>
                      <a:pt x="119999" y="35744"/>
                      <a:pt x="119999" y="28085"/>
                      <a:pt x="117857" y="22978"/>
                    </a:cubicBezTo>
                    <a:cubicBezTo>
                      <a:pt x="117857" y="20425"/>
                      <a:pt x="111428" y="2553"/>
                      <a:pt x="111428" y="2553"/>
                    </a:cubicBezTo>
                    <a:cubicBezTo>
                      <a:pt x="111428" y="2553"/>
                      <a:pt x="111428" y="2553"/>
                      <a:pt x="111428" y="2553"/>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grpSp>
        <p:sp>
          <p:nvSpPr>
            <p:cNvPr id="36" name="Shape 2310">
              <a:extLst>
                <a:ext uri="{FF2B5EF4-FFF2-40B4-BE49-F238E27FC236}">
                  <a16:creationId xmlns:a16="http://schemas.microsoft.com/office/drawing/2014/main" id="{254EFB6A-A27A-014B-8221-CCB02B392629}"/>
                </a:ext>
              </a:extLst>
            </p:cNvPr>
            <p:cNvSpPr/>
            <p:nvPr/>
          </p:nvSpPr>
          <p:spPr>
            <a:xfrm>
              <a:off x="17884882" y="7370212"/>
              <a:ext cx="19108" cy="25484"/>
            </a:xfrm>
            <a:custGeom>
              <a:avLst/>
              <a:gdLst/>
              <a:ahLst/>
              <a:cxnLst/>
              <a:rect l="0" t="0" r="0" b="0"/>
              <a:pathLst>
                <a:path w="120000" h="120000" extrusionOk="0">
                  <a:moveTo>
                    <a:pt x="120000" y="0"/>
                  </a:moveTo>
                  <a:cubicBezTo>
                    <a:pt x="120000" y="0"/>
                    <a:pt x="0" y="40000"/>
                    <a:pt x="0" y="40000"/>
                  </a:cubicBezTo>
                  <a:cubicBezTo>
                    <a:pt x="60000" y="120000"/>
                    <a:pt x="120000" y="40000"/>
                    <a:pt x="120000" y="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7" name="Shape 2311">
              <a:extLst>
                <a:ext uri="{FF2B5EF4-FFF2-40B4-BE49-F238E27FC236}">
                  <a16:creationId xmlns:a16="http://schemas.microsoft.com/office/drawing/2014/main" id="{7959282F-E240-B14D-B33B-06F364ECD55B}"/>
                </a:ext>
              </a:extLst>
            </p:cNvPr>
            <p:cNvSpPr/>
            <p:nvPr/>
          </p:nvSpPr>
          <p:spPr>
            <a:xfrm>
              <a:off x="17773418" y="7370212"/>
              <a:ext cx="121017" cy="92380"/>
            </a:xfrm>
            <a:custGeom>
              <a:avLst/>
              <a:gdLst/>
              <a:ahLst/>
              <a:cxnLst/>
              <a:rect l="0" t="0" r="0" b="0"/>
              <a:pathLst>
                <a:path w="120000" h="120000" extrusionOk="0">
                  <a:moveTo>
                    <a:pt x="101538" y="24000"/>
                  </a:moveTo>
                  <a:cubicBezTo>
                    <a:pt x="83076" y="24000"/>
                    <a:pt x="83076" y="0"/>
                    <a:pt x="64615" y="24000"/>
                  </a:cubicBezTo>
                  <a:cubicBezTo>
                    <a:pt x="55384" y="24000"/>
                    <a:pt x="46153" y="48000"/>
                    <a:pt x="46153" y="36000"/>
                  </a:cubicBezTo>
                  <a:cubicBezTo>
                    <a:pt x="36923" y="24000"/>
                    <a:pt x="27692" y="48000"/>
                    <a:pt x="27692" y="48000"/>
                  </a:cubicBezTo>
                  <a:cubicBezTo>
                    <a:pt x="18461" y="72000"/>
                    <a:pt x="9230" y="60000"/>
                    <a:pt x="0" y="72000"/>
                  </a:cubicBezTo>
                  <a:cubicBezTo>
                    <a:pt x="0" y="60000"/>
                    <a:pt x="18461" y="108000"/>
                    <a:pt x="27692" y="108000"/>
                  </a:cubicBezTo>
                  <a:cubicBezTo>
                    <a:pt x="27692" y="120000"/>
                    <a:pt x="46153" y="72000"/>
                    <a:pt x="55384" y="72000"/>
                  </a:cubicBezTo>
                  <a:cubicBezTo>
                    <a:pt x="64615" y="72000"/>
                    <a:pt x="83076" y="84000"/>
                    <a:pt x="92307" y="72000"/>
                  </a:cubicBezTo>
                  <a:cubicBezTo>
                    <a:pt x="101538" y="72000"/>
                    <a:pt x="120000" y="36000"/>
                    <a:pt x="101538" y="24000"/>
                  </a:cubicBezTo>
                  <a:cubicBezTo>
                    <a:pt x="92307" y="24000"/>
                    <a:pt x="101538" y="24000"/>
                    <a:pt x="101538" y="24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8" name="Shape 2312">
              <a:extLst>
                <a:ext uri="{FF2B5EF4-FFF2-40B4-BE49-F238E27FC236}">
                  <a16:creationId xmlns:a16="http://schemas.microsoft.com/office/drawing/2014/main" id="{758A2D98-00F3-F34F-A55D-080B4FDA3E8D}"/>
                </a:ext>
              </a:extLst>
            </p:cNvPr>
            <p:cNvSpPr/>
            <p:nvPr/>
          </p:nvSpPr>
          <p:spPr>
            <a:xfrm>
              <a:off x="17652399" y="7405253"/>
              <a:ext cx="101909" cy="149719"/>
            </a:xfrm>
            <a:custGeom>
              <a:avLst/>
              <a:gdLst/>
              <a:ahLst/>
              <a:cxnLst/>
              <a:rect l="0" t="0" r="0" b="0"/>
              <a:pathLst>
                <a:path w="120000" h="120000" extrusionOk="0">
                  <a:moveTo>
                    <a:pt x="76363" y="0"/>
                  </a:moveTo>
                  <a:cubicBezTo>
                    <a:pt x="54545" y="0"/>
                    <a:pt x="32727" y="7500"/>
                    <a:pt x="21818" y="15000"/>
                  </a:cubicBezTo>
                  <a:cubicBezTo>
                    <a:pt x="0" y="22500"/>
                    <a:pt x="0" y="30000"/>
                    <a:pt x="0" y="45000"/>
                  </a:cubicBezTo>
                  <a:cubicBezTo>
                    <a:pt x="0" y="37500"/>
                    <a:pt x="32727" y="37500"/>
                    <a:pt x="21818" y="45000"/>
                  </a:cubicBezTo>
                  <a:cubicBezTo>
                    <a:pt x="32727" y="37500"/>
                    <a:pt x="21818" y="30000"/>
                    <a:pt x="32727" y="30000"/>
                  </a:cubicBezTo>
                  <a:cubicBezTo>
                    <a:pt x="32727" y="30000"/>
                    <a:pt x="43636" y="30000"/>
                    <a:pt x="43636" y="37500"/>
                  </a:cubicBezTo>
                  <a:cubicBezTo>
                    <a:pt x="43636" y="52500"/>
                    <a:pt x="43636" y="60000"/>
                    <a:pt x="32727" y="75000"/>
                  </a:cubicBezTo>
                  <a:cubicBezTo>
                    <a:pt x="21818" y="82500"/>
                    <a:pt x="32727" y="82500"/>
                    <a:pt x="32727" y="82500"/>
                  </a:cubicBezTo>
                  <a:cubicBezTo>
                    <a:pt x="32727" y="90000"/>
                    <a:pt x="32727" y="97500"/>
                    <a:pt x="32727" y="97500"/>
                  </a:cubicBezTo>
                  <a:cubicBezTo>
                    <a:pt x="32727" y="120000"/>
                    <a:pt x="54545" y="90000"/>
                    <a:pt x="54545" y="90000"/>
                  </a:cubicBezTo>
                  <a:cubicBezTo>
                    <a:pt x="54545" y="90000"/>
                    <a:pt x="54545" y="112500"/>
                    <a:pt x="65454" y="112500"/>
                  </a:cubicBezTo>
                  <a:cubicBezTo>
                    <a:pt x="65454" y="120000"/>
                    <a:pt x="87272" y="97500"/>
                    <a:pt x="87272" y="90000"/>
                  </a:cubicBezTo>
                  <a:cubicBezTo>
                    <a:pt x="109090" y="75000"/>
                    <a:pt x="109090" y="60000"/>
                    <a:pt x="120000" y="52500"/>
                  </a:cubicBezTo>
                  <a:cubicBezTo>
                    <a:pt x="120000" y="37500"/>
                    <a:pt x="109090" y="30000"/>
                    <a:pt x="109090" y="15000"/>
                  </a:cubicBezTo>
                  <a:cubicBezTo>
                    <a:pt x="109090" y="0"/>
                    <a:pt x="76363" y="15000"/>
                    <a:pt x="76363" y="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9" name="Shape 2313">
              <a:extLst>
                <a:ext uri="{FF2B5EF4-FFF2-40B4-BE49-F238E27FC236}">
                  <a16:creationId xmlns:a16="http://schemas.microsoft.com/office/drawing/2014/main" id="{87D82B13-169C-4C47-B3F3-6C40D0F9D2B6}"/>
                </a:ext>
              </a:extLst>
            </p:cNvPr>
            <p:cNvSpPr/>
            <p:nvPr/>
          </p:nvSpPr>
          <p:spPr>
            <a:xfrm>
              <a:off x="17550491" y="7771595"/>
              <a:ext cx="35032" cy="28669"/>
            </a:xfrm>
            <a:custGeom>
              <a:avLst/>
              <a:gdLst/>
              <a:ahLst/>
              <a:cxnLst/>
              <a:rect l="0" t="0" r="0" b="0"/>
              <a:pathLst>
                <a:path w="120000" h="120000" extrusionOk="0">
                  <a:moveTo>
                    <a:pt x="120000" y="0"/>
                  </a:moveTo>
                  <a:cubicBezTo>
                    <a:pt x="90000" y="0"/>
                    <a:pt x="0" y="40000"/>
                    <a:pt x="30000" y="120000"/>
                  </a:cubicBezTo>
                  <a:cubicBezTo>
                    <a:pt x="30000" y="120000"/>
                    <a:pt x="120000" y="0"/>
                    <a:pt x="120000" y="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40" name="Shape 2314">
              <a:extLst>
                <a:ext uri="{FF2B5EF4-FFF2-40B4-BE49-F238E27FC236}">
                  <a16:creationId xmlns:a16="http://schemas.microsoft.com/office/drawing/2014/main" id="{D54D7333-D7A3-7842-B72F-BA67BB1FB103}"/>
                </a:ext>
              </a:extLst>
            </p:cNvPr>
            <p:cNvSpPr/>
            <p:nvPr/>
          </p:nvSpPr>
          <p:spPr>
            <a:xfrm>
              <a:off x="17633291" y="7679212"/>
              <a:ext cx="19108" cy="15928"/>
            </a:xfrm>
            <a:custGeom>
              <a:avLst/>
              <a:gdLst/>
              <a:ahLst/>
              <a:cxnLst/>
              <a:rect l="0" t="0" r="0" b="0"/>
              <a:pathLst>
                <a:path w="120000" h="120000" extrusionOk="0">
                  <a:moveTo>
                    <a:pt x="120000" y="0"/>
                  </a:moveTo>
                  <a:cubicBezTo>
                    <a:pt x="60000" y="0"/>
                    <a:pt x="0" y="60000"/>
                    <a:pt x="0" y="60000"/>
                  </a:cubicBezTo>
                  <a:cubicBezTo>
                    <a:pt x="0" y="120000"/>
                    <a:pt x="120000" y="0"/>
                    <a:pt x="120000" y="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41" name="Shape 2315">
              <a:extLst>
                <a:ext uri="{FF2B5EF4-FFF2-40B4-BE49-F238E27FC236}">
                  <a16:creationId xmlns:a16="http://schemas.microsoft.com/office/drawing/2014/main" id="{1E897EAE-A59C-B749-B2A5-8DFB3384350F}"/>
                </a:ext>
              </a:extLst>
            </p:cNvPr>
            <p:cNvSpPr/>
            <p:nvPr/>
          </p:nvSpPr>
          <p:spPr>
            <a:xfrm>
              <a:off x="17381699" y="7873531"/>
              <a:ext cx="19108" cy="9555"/>
            </a:xfrm>
            <a:custGeom>
              <a:avLst/>
              <a:gdLst/>
              <a:ahLst/>
              <a:cxnLst/>
              <a:rect l="0" t="0" r="0" b="0"/>
              <a:pathLst>
                <a:path w="120000" h="120000" extrusionOk="0">
                  <a:moveTo>
                    <a:pt x="120000" y="0"/>
                  </a:moveTo>
                  <a:cubicBezTo>
                    <a:pt x="60000" y="0"/>
                    <a:pt x="0" y="120000"/>
                    <a:pt x="60000" y="120000"/>
                  </a:cubicBezTo>
                  <a:cubicBezTo>
                    <a:pt x="120000" y="120000"/>
                    <a:pt x="120000" y="0"/>
                    <a:pt x="120000" y="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42" name="Shape 2316">
              <a:extLst>
                <a:ext uri="{FF2B5EF4-FFF2-40B4-BE49-F238E27FC236}">
                  <a16:creationId xmlns:a16="http://schemas.microsoft.com/office/drawing/2014/main" id="{CD41BC8A-D9BD-CD49-9344-AB25DDAC1C1A}"/>
                </a:ext>
              </a:extLst>
            </p:cNvPr>
            <p:cNvSpPr/>
            <p:nvPr/>
          </p:nvSpPr>
          <p:spPr>
            <a:xfrm>
              <a:off x="17203358" y="7838488"/>
              <a:ext cx="111464" cy="156092"/>
            </a:xfrm>
            <a:custGeom>
              <a:avLst/>
              <a:gdLst/>
              <a:ahLst/>
              <a:cxnLst/>
              <a:rect l="0" t="0" r="0" b="0"/>
              <a:pathLst>
                <a:path w="120000" h="120000" extrusionOk="0">
                  <a:moveTo>
                    <a:pt x="80000" y="7058"/>
                  </a:moveTo>
                  <a:cubicBezTo>
                    <a:pt x="50000" y="0"/>
                    <a:pt x="10000" y="42352"/>
                    <a:pt x="0" y="56470"/>
                  </a:cubicBezTo>
                  <a:cubicBezTo>
                    <a:pt x="0" y="70588"/>
                    <a:pt x="0" y="84705"/>
                    <a:pt x="10000" y="98823"/>
                  </a:cubicBezTo>
                  <a:cubicBezTo>
                    <a:pt x="10000" y="98823"/>
                    <a:pt x="30000" y="120000"/>
                    <a:pt x="30000" y="120000"/>
                  </a:cubicBezTo>
                  <a:cubicBezTo>
                    <a:pt x="40000" y="105882"/>
                    <a:pt x="120000" y="14117"/>
                    <a:pt x="80000" y="7058"/>
                  </a:cubicBezTo>
                  <a:cubicBezTo>
                    <a:pt x="70000" y="7058"/>
                    <a:pt x="90000" y="7058"/>
                    <a:pt x="80000" y="7058"/>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43" name="Shape 2317">
              <a:extLst>
                <a:ext uri="{FF2B5EF4-FFF2-40B4-BE49-F238E27FC236}">
                  <a16:creationId xmlns:a16="http://schemas.microsoft.com/office/drawing/2014/main" id="{9E82C6C7-0E30-AD4E-A6FC-2A25077E552F}"/>
                </a:ext>
              </a:extLst>
            </p:cNvPr>
            <p:cNvSpPr/>
            <p:nvPr/>
          </p:nvSpPr>
          <p:spPr>
            <a:xfrm>
              <a:off x="16652403" y="8099703"/>
              <a:ext cx="130573" cy="92380"/>
            </a:xfrm>
            <a:custGeom>
              <a:avLst/>
              <a:gdLst/>
              <a:ahLst/>
              <a:cxnLst/>
              <a:rect l="0" t="0" r="0" b="0"/>
              <a:pathLst>
                <a:path w="120000" h="120000" extrusionOk="0">
                  <a:moveTo>
                    <a:pt x="111428" y="12000"/>
                  </a:moveTo>
                  <a:cubicBezTo>
                    <a:pt x="102857" y="12000"/>
                    <a:pt x="94285" y="0"/>
                    <a:pt x="77142" y="0"/>
                  </a:cubicBezTo>
                  <a:cubicBezTo>
                    <a:pt x="59999" y="0"/>
                    <a:pt x="51428" y="12000"/>
                    <a:pt x="34285" y="24000"/>
                  </a:cubicBezTo>
                  <a:cubicBezTo>
                    <a:pt x="17142" y="48000"/>
                    <a:pt x="0" y="84000"/>
                    <a:pt x="34285" y="108000"/>
                  </a:cubicBezTo>
                  <a:cubicBezTo>
                    <a:pt x="51428" y="120000"/>
                    <a:pt x="85714" y="96000"/>
                    <a:pt x="94285" y="72000"/>
                  </a:cubicBezTo>
                  <a:cubicBezTo>
                    <a:pt x="94285" y="60000"/>
                    <a:pt x="119999" y="12000"/>
                    <a:pt x="111428" y="12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44" name="Shape 2318">
              <a:extLst>
                <a:ext uri="{FF2B5EF4-FFF2-40B4-BE49-F238E27FC236}">
                  <a16:creationId xmlns:a16="http://schemas.microsoft.com/office/drawing/2014/main" id="{641E9411-533F-BD47-8DD0-C62F726C0BBF}"/>
                </a:ext>
              </a:extLst>
            </p:cNvPr>
            <p:cNvSpPr/>
            <p:nvPr/>
          </p:nvSpPr>
          <p:spPr>
            <a:xfrm>
              <a:off x="17184250" y="8163414"/>
              <a:ext cx="187896" cy="264400"/>
            </a:xfrm>
            <a:custGeom>
              <a:avLst/>
              <a:gdLst/>
              <a:ahLst/>
              <a:cxnLst/>
              <a:rect l="0" t="0" r="0" b="0"/>
              <a:pathLst>
                <a:path w="120000" h="120000" extrusionOk="0">
                  <a:moveTo>
                    <a:pt x="72000" y="8571"/>
                  </a:moveTo>
                  <a:cubicBezTo>
                    <a:pt x="60000" y="4285"/>
                    <a:pt x="66000" y="21428"/>
                    <a:pt x="54000" y="8571"/>
                  </a:cubicBezTo>
                  <a:cubicBezTo>
                    <a:pt x="48000" y="0"/>
                    <a:pt x="24000" y="4285"/>
                    <a:pt x="24000" y="12857"/>
                  </a:cubicBezTo>
                  <a:cubicBezTo>
                    <a:pt x="18000" y="25714"/>
                    <a:pt x="24000" y="34285"/>
                    <a:pt x="18000" y="47142"/>
                  </a:cubicBezTo>
                  <a:cubicBezTo>
                    <a:pt x="18000" y="51428"/>
                    <a:pt x="18000" y="55714"/>
                    <a:pt x="18000" y="55714"/>
                  </a:cubicBezTo>
                  <a:cubicBezTo>
                    <a:pt x="12000" y="59999"/>
                    <a:pt x="0" y="55714"/>
                    <a:pt x="0" y="55714"/>
                  </a:cubicBezTo>
                  <a:cubicBezTo>
                    <a:pt x="0" y="55714"/>
                    <a:pt x="12000" y="94285"/>
                    <a:pt x="18000" y="94285"/>
                  </a:cubicBezTo>
                  <a:cubicBezTo>
                    <a:pt x="18000" y="94285"/>
                    <a:pt x="24000" y="81428"/>
                    <a:pt x="30000" y="85714"/>
                  </a:cubicBezTo>
                  <a:cubicBezTo>
                    <a:pt x="30000" y="85714"/>
                    <a:pt x="42000" y="89999"/>
                    <a:pt x="42000" y="94285"/>
                  </a:cubicBezTo>
                  <a:cubicBezTo>
                    <a:pt x="42000" y="98571"/>
                    <a:pt x="24000" y="89999"/>
                    <a:pt x="24000" y="98571"/>
                  </a:cubicBezTo>
                  <a:cubicBezTo>
                    <a:pt x="24000" y="107142"/>
                    <a:pt x="36000" y="115714"/>
                    <a:pt x="48000" y="111428"/>
                  </a:cubicBezTo>
                  <a:cubicBezTo>
                    <a:pt x="54000" y="111428"/>
                    <a:pt x="60000" y="102857"/>
                    <a:pt x="66000" y="107142"/>
                  </a:cubicBezTo>
                  <a:cubicBezTo>
                    <a:pt x="66000" y="107142"/>
                    <a:pt x="90000" y="119999"/>
                    <a:pt x="90000" y="119999"/>
                  </a:cubicBezTo>
                  <a:cubicBezTo>
                    <a:pt x="96000" y="115714"/>
                    <a:pt x="78000" y="111428"/>
                    <a:pt x="84000" y="107142"/>
                  </a:cubicBezTo>
                  <a:cubicBezTo>
                    <a:pt x="78000" y="111428"/>
                    <a:pt x="120000" y="119999"/>
                    <a:pt x="102000" y="102857"/>
                  </a:cubicBezTo>
                  <a:cubicBezTo>
                    <a:pt x="90000" y="94285"/>
                    <a:pt x="66000" y="107142"/>
                    <a:pt x="60000" y="94285"/>
                  </a:cubicBezTo>
                  <a:cubicBezTo>
                    <a:pt x="54000" y="85714"/>
                    <a:pt x="54000" y="81428"/>
                    <a:pt x="54000" y="68571"/>
                  </a:cubicBezTo>
                  <a:cubicBezTo>
                    <a:pt x="54000" y="59999"/>
                    <a:pt x="66000" y="59999"/>
                    <a:pt x="72000" y="51428"/>
                  </a:cubicBezTo>
                  <a:cubicBezTo>
                    <a:pt x="84000" y="42857"/>
                    <a:pt x="84000" y="38571"/>
                    <a:pt x="78000" y="29999"/>
                  </a:cubicBezTo>
                  <a:cubicBezTo>
                    <a:pt x="78000" y="29999"/>
                    <a:pt x="78000" y="8571"/>
                    <a:pt x="72000" y="8571"/>
                  </a:cubicBezTo>
                  <a:cubicBezTo>
                    <a:pt x="66000" y="8571"/>
                    <a:pt x="78000" y="8571"/>
                    <a:pt x="72000" y="8571"/>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45" name="Shape 2319">
              <a:extLst>
                <a:ext uri="{FF2B5EF4-FFF2-40B4-BE49-F238E27FC236}">
                  <a16:creationId xmlns:a16="http://schemas.microsoft.com/office/drawing/2014/main" id="{705F6EDA-1D40-BB4E-AEE8-93EE855D13C4}"/>
                </a:ext>
              </a:extLst>
            </p:cNvPr>
            <p:cNvSpPr/>
            <p:nvPr/>
          </p:nvSpPr>
          <p:spPr>
            <a:xfrm>
              <a:off x="17343486" y="8389588"/>
              <a:ext cx="57322" cy="73268"/>
            </a:xfrm>
            <a:custGeom>
              <a:avLst/>
              <a:gdLst/>
              <a:ahLst/>
              <a:cxnLst/>
              <a:rect l="0" t="0" r="0" b="0"/>
              <a:pathLst>
                <a:path w="120000" h="120000" extrusionOk="0">
                  <a:moveTo>
                    <a:pt x="60000" y="15000"/>
                  </a:moveTo>
                  <a:cubicBezTo>
                    <a:pt x="60000" y="15000"/>
                    <a:pt x="40000" y="0"/>
                    <a:pt x="20000" y="15000"/>
                  </a:cubicBezTo>
                  <a:cubicBezTo>
                    <a:pt x="20000" y="30000"/>
                    <a:pt x="0" y="30000"/>
                    <a:pt x="0" y="45000"/>
                  </a:cubicBezTo>
                  <a:cubicBezTo>
                    <a:pt x="20000" y="60000"/>
                    <a:pt x="0" y="75000"/>
                    <a:pt x="40000" y="90000"/>
                  </a:cubicBezTo>
                  <a:cubicBezTo>
                    <a:pt x="40000" y="90000"/>
                    <a:pt x="120000" y="120000"/>
                    <a:pt x="100000" y="105000"/>
                  </a:cubicBezTo>
                  <a:cubicBezTo>
                    <a:pt x="100000" y="90000"/>
                    <a:pt x="100000" y="75000"/>
                    <a:pt x="80000" y="60000"/>
                  </a:cubicBezTo>
                  <a:cubicBezTo>
                    <a:pt x="40000" y="60000"/>
                    <a:pt x="40000" y="15000"/>
                    <a:pt x="60000" y="15000"/>
                  </a:cubicBezTo>
                  <a:cubicBezTo>
                    <a:pt x="40000" y="15000"/>
                    <a:pt x="80000" y="15000"/>
                    <a:pt x="60000" y="15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46" name="Shape 2320">
              <a:extLst>
                <a:ext uri="{FF2B5EF4-FFF2-40B4-BE49-F238E27FC236}">
                  <a16:creationId xmlns:a16="http://schemas.microsoft.com/office/drawing/2014/main" id="{07270B50-A9B3-B642-9F7A-65870269883E}"/>
                </a:ext>
              </a:extLst>
            </p:cNvPr>
            <p:cNvSpPr/>
            <p:nvPr/>
          </p:nvSpPr>
          <p:spPr>
            <a:xfrm>
              <a:off x="17381699" y="8453298"/>
              <a:ext cx="92356" cy="124237"/>
            </a:xfrm>
            <a:custGeom>
              <a:avLst/>
              <a:gdLst/>
              <a:ahLst/>
              <a:cxnLst/>
              <a:rect l="0" t="0" r="0" b="0"/>
              <a:pathLst>
                <a:path w="120000" h="120000" extrusionOk="0">
                  <a:moveTo>
                    <a:pt x="48000" y="0"/>
                  </a:moveTo>
                  <a:cubicBezTo>
                    <a:pt x="36000" y="0"/>
                    <a:pt x="48000" y="0"/>
                    <a:pt x="24000" y="9230"/>
                  </a:cubicBezTo>
                  <a:cubicBezTo>
                    <a:pt x="12000" y="18461"/>
                    <a:pt x="36000" y="27692"/>
                    <a:pt x="48000" y="36923"/>
                  </a:cubicBezTo>
                  <a:cubicBezTo>
                    <a:pt x="60000" y="55384"/>
                    <a:pt x="0" y="64615"/>
                    <a:pt x="48000" y="83076"/>
                  </a:cubicBezTo>
                  <a:cubicBezTo>
                    <a:pt x="60000" y="92307"/>
                    <a:pt x="36000" y="110769"/>
                    <a:pt x="60000" y="120000"/>
                  </a:cubicBezTo>
                  <a:cubicBezTo>
                    <a:pt x="72000" y="120000"/>
                    <a:pt x="72000" y="110769"/>
                    <a:pt x="60000" y="101538"/>
                  </a:cubicBezTo>
                  <a:cubicBezTo>
                    <a:pt x="36000" y="46153"/>
                    <a:pt x="108000" y="92307"/>
                    <a:pt x="108000" y="73846"/>
                  </a:cubicBezTo>
                  <a:cubicBezTo>
                    <a:pt x="108000" y="64615"/>
                    <a:pt x="84000" y="55384"/>
                    <a:pt x="96000" y="55384"/>
                  </a:cubicBezTo>
                  <a:cubicBezTo>
                    <a:pt x="96000" y="46153"/>
                    <a:pt x="120000" y="55384"/>
                    <a:pt x="108000" y="46153"/>
                  </a:cubicBezTo>
                  <a:cubicBezTo>
                    <a:pt x="96000" y="36923"/>
                    <a:pt x="72000" y="27692"/>
                    <a:pt x="84000" y="9230"/>
                  </a:cubicBezTo>
                  <a:cubicBezTo>
                    <a:pt x="84000" y="0"/>
                    <a:pt x="60000" y="0"/>
                    <a:pt x="48000" y="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47" name="Shape 2321">
              <a:extLst>
                <a:ext uri="{FF2B5EF4-FFF2-40B4-BE49-F238E27FC236}">
                  <a16:creationId xmlns:a16="http://schemas.microsoft.com/office/drawing/2014/main" id="{1AB191DB-49E5-4940-909C-1263BB1F5AAA}"/>
                </a:ext>
              </a:extLst>
            </p:cNvPr>
            <p:cNvSpPr/>
            <p:nvPr/>
          </p:nvSpPr>
          <p:spPr>
            <a:xfrm>
              <a:off x="17212909" y="8399145"/>
              <a:ext cx="57322" cy="73268"/>
            </a:xfrm>
            <a:custGeom>
              <a:avLst/>
              <a:gdLst/>
              <a:ahLst/>
              <a:cxnLst/>
              <a:rect l="0" t="0" r="0" b="0"/>
              <a:pathLst>
                <a:path w="120000" h="120000" extrusionOk="0">
                  <a:moveTo>
                    <a:pt x="120000" y="75000"/>
                  </a:moveTo>
                  <a:cubicBezTo>
                    <a:pt x="100000" y="60000"/>
                    <a:pt x="60000" y="0"/>
                    <a:pt x="0" y="30000"/>
                  </a:cubicBezTo>
                  <a:cubicBezTo>
                    <a:pt x="0" y="30000"/>
                    <a:pt x="60000" y="75000"/>
                    <a:pt x="60000" y="90000"/>
                  </a:cubicBezTo>
                  <a:cubicBezTo>
                    <a:pt x="60000" y="120000"/>
                    <a:pt x="120000" y="120000"/>
                    <a:pt x="120000" y="75000"/>
                  </a:cubicBezTo>
                  <a:cubicBezTo>
                    <a:pt x="120000" y="75000"/>
                    <a:pt x="120000" y="90000"/>
                    <a:pt x="120000" y="75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48" name="Shape 2322">
              <a:extLst>
                <a:ext uri="{FF2B5EF4-FFF2-40B4-BE49-F238E27FC236}">
                  <a16:creationId xmlns:a16="http://schemas.microsoft.com/office/drawing/2014/main" id="{DD8E5EA2-D3FF-764B-A2DA-EA02B3E7A3DD}"/>
                </a:ext>
              </a:extLst>
            </p:cNvPr>
            <p:cNvSpPr/>
            <p:nvPr/>
          </p:nvSpPr>
          <p:spPr>
            <a:xfrm>
              <a:off x="17279791" y="8472413"/>
              <a:ext cx="82802" cy="95565"/>
            </a:xfrm>
            <a:custGeom>
              <a:avLst/>
              <a:gdLst/>
              <a:ahLst/>
              <a:cxnLst/>
              <a:rect l="0" t="0" r="0" b="0"/>
              <a:pathLst>
                <a:path w="120000" h="120000" extrusionOk="0">
                  <a:moveTo>
                    <a:pt x="40000" y="24000"/>
                  </a:moveTo>
                  <a:cubicBezTo>
                    <a:pt x="26666" y="12000"/>
                    <a:pt x="13333" y="12000"/>
                    <a:pt x="0" y="24000"/>
                  </a:cubicBezTo>
                  <a:cubicBezTo>
                    <a:pt x="0" y="36000"/>
                    <a:pt x="26666" y="36000"/>
                    <a:pt x="26666" y="48000"/>
                  </a:cubicBezTo>
                  <a:cubicBezTo>
                    <a:pt x="40000" y="60000"/>
                    <a:pt x="0" y="96000"/>
                    <a:pt x="13333" y="108000"/>
                  </a:cubicBezTo>
                  <a:cubicBezTo>
                    <a:pt x="13333" y="120000"/>
                    <a:pt x="66666" y="72000"/>
                    <a:pt x="80000" y="72000"/>
                  </a:cubicBezTo>
                  <a:cubicBezTo>
                    <a:pt x="120000" y="72000"/>
                    <a:pt x="40000" y="24000"/>
                    <a:pt x="40000" y="24000"/>
                  </a:cubicBezTo>
                  <a:cubicBezTo>
                    <a:pt x="13333" y="0"/>
                    <a:pt x="40000" y="24000"/>
                    <a:pt x="40000" y="24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49" name="Shape 2323">
              <a:extLst>
                <a:ext uri="{FF2B5EF4-FFF2-40B4-BE49-F238E27FC236}">
                  <a16:creationId xmlns:a16="http://schemas.microsoft.com/office/drawing/2014/main" id="{315B60EC-36B4-3240-950D-03980C73BBAF}"/>
                </a:ext>
              </a:extLst>
            </p:cNvPr>
            <p:cNvSpPr/>
            <p:nvPr/>
          </p:nvSpPr>
          <p:spPr>
            <a:xfrm>
              <a:off x="17298899" y="8529750"/>
              <a:ext cx="63694" cy="101936"/>
            </a:xfrm>
            <a:custGeom>
              <a:avLst/>
              <a:gdLst/>
              <a:ahLst/>
              <a:cxnLst/>
              <a:rect l="0" t="0" r="0" b="0"/>
              <a:pathLst>
                <a:path w="120000" h="120000" extrusionOk="0">
                  <a:moveTo>
                    <a:pt x="102857" y="10909"/>
                  </a:moveTo>
                  <a:cubicBezTo>
                    <a:pt x="51428" y="10909"/>
                    <a:pt x="68571" y="43636"/>
                    <a:pt x="51428" y="54545"/>
                  </a:cubicBezTo>
                  <a:cubicBezTo>
                    <a:pt x="0" y="76363"/>
                    <a:pt x="17142" y="76363"/>
                    <a:pt x="51428" y="98181"/>
                  </a:cubicBezTo>
                  <a:cubicBezTo>
                    <a:pt x="102857" y="120000"/>
                    <a:pt x="68571" y="87272"/>
                    <a:pt x="85714" y="65454"/>
                  </a:cubicBezTo>
                  <a:cubicBezTo>
                    <a:pt x="85714" y="65454"/>
                    <a:pt x="119999" y="0"/>
                    <a:pt x="102857" y="10909"/>
                  </a:cubicBezTo>
                  <a:cubicBezTo>
                    <a:pt x="85714" y="10909"/>
                    <a:pt x="102857" y="0"/>
                    <a:pt x="102857" y="10909"/>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50" name="Shape 2324">
              <a:extLst>
                <a:ext uri="{FF2B5EF4-FFF2-40B4-BE49-F238E27FC236}">
                  <a16:creationId xmlns:a16="http://schemas.microsoft.com/office/drawing/2014/main" id="{B6400DF9-F35D-FE45-A0EE-701EFF23EA30}"/>
                </a:ext>
              </a:extLst>
            </p:cNvPr>
            <p:cNvSpPr/>
            <p:nvPr/>
          </p:nvSpPr>
          <p:spPr>
            <a:xfrm>
              <a:off x="17353035" y="8520196"/>
              <a:ext cx="38216" cy="73268"/>
            </a:xfrm>
            <a:custGeom>
              <a:avLst/>
              <a:gdLst/>
              <a:ahLst/>
              <a:cxnLst/>
              <a:rect l="0" t="0" r="0" b="0"/>
              <a:pathLst>
                <a:path w="120000" h="120000" extrusionOk="0">
                  <a:moveTo>
                    <a:pt x="90000" y="15000"/>
                  </a:moveTo>
                  <a:cubicBezTo>
                    <a:pt x="60000" y="15000"/>
                    <a:pt x="0" y="105000"/>
                    <a:pt x="0" y="120000"/>
                  </a:cubicBezTo>
                  <a:cubicBezTo>
                    <a:pt x="0" y="120000"/>
                    <a:pt x="60000" y="90000"/>
                    <a:pt x="90000" y="75000"/>
                  </a:cubicBezTo>
                  <a:cubicBezTo>
                    <a:pt x="90000" y="75000"/>
                    <a:pt x="120000" y="0"/>
                    <a:pt x="90000" y="15000"/>
                  </a:cubicBezTo>
                  <a:cubicBezTo>
                    <a:pt x="60000" y="15000"/>
                    <a:pt x="90000" y="15000"/>
                    <a:pt x="90000" y="15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51" name="Shape 2325">
              <a:extLst>
                <a:ext uri="{FF2B5EF4-FFF2-40B4-BE49-F238E27FC236}">
                  <a16:creationId xmlns:a16="http://schemas.microsoft.com/office/drawing/2014/main" id="{ACCD1F9C-DBB8-D743-83DA-F7CA453D958C}"/>
                </a:ext>
              </a:extLst>
            </p:cNvPr>
            <p:cNvSpPr/>
            <p:nvPr/>
          </p:nvSpPr>
          <p:spPr>
            <a:xfrm>
              <a:off x="17372146" y="8567978"/>
              <a:ext cx="57322" cy="35041"/>
            </a:xfrm>
            <a:custGeom>
              <a:avLst/>
              <a:gdLst/>
              <a:ahLst/>
              <a:cxnLst/>
              <a:rect l="0" t="0" r="0" b="0"/>
              <a:pathLst>
                <a:path w="120000" h="120000" extrusionOk="0">
                  <a:moveTo>
                    <a:pt x="20000" y="30000"/>
                  </a:moveTo>
                  <a:cubicBezTo>
                    <a:pt x="0" y="90000"/>
                    <a:pt x="20000" y="120000"/>
                    <a:pt x="60000" y="90000"/>
                  </a:cubicBezTo>
                  <a:cubicBezTo>
                    <a:pt x="120000" y="90000"/>
                    <a:pt x="40000" y="0"/>
                    <a:pt x="20000" y="30000"/>
                  </a:cubicBezTo>
                  <a:cubicBezTo>
                    <a:pt x="20000" y="60000"/>
                    <a:pt x="40000" y="30000"/>
                    <a:pt x="20000" y="3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52" name="Shape 2326">
              <a:extLst>
                <a:ext uri="{FF2B5EF4-FFF2-40B4-BE49-F238E27FC236}">
                  <a16:creationId xmlns:a16="http://schemas.microsoft.com/office/drawing/2014/main" id="{3F1DC278-502F-C249-B183-61814F72D3FE}"/>
                </a:ext>
              </a:extLst>
            </p:cNvPr>
            <p:cNvSpPr/>
            <p:nvPr/>
          </p:nvSpPr>
          <p:spPr>
            <a:xfrm>
              <a:off x="17372146" y="8593464"/>
              <a:ext cx="130573" cy="197506"/>
            </a:xfrm>
            <a:custGeom>
              <a:avLst/>
              <a:gdLst/>
              <a:ahLst/>
              <a:cxnLst/>
              <a:rect l="0" t="0" r="0" b="0"/>
              <a:pathLst>
                <a:path w="120000" h="120000" extrusionOk="0">
                  <a:moveTo>
                    <a:pt x="85714" y="0"/>
                  </a:moveTo>
                  <a:cubicBezTo>
                    <a:pt x="77142" y="0"/>
                    <a:pt x="77142" y="5714"/>
                    <a:pt x="77142" y="11428"/>
                  </a:cubicBezTo>
                  <a:cubicBezTo>
                    <a:pt x="77142" y="17142"/>
                    <a:pt x="77142" y="17142"/>
                    <a:pt x="59999" y="22857"/>
                  </a:cubicBezTo>
                  <a:cubicBezTo>
                    <a:pt x="51428" y="22857"/>
                    <a:pt x="34285" y="34285"/>
                    <a:pt x="25714" y="34285"/>
                  </a:cubicBezTo>
                  <a:cubicBezTo>
                    <a:pt x="8571" y="51428"/>
                    <a:pt x="0" y="51428"/>
                    <a:pt x="17142" y="62857"/>
                  </a:cubicBezTo>
                  <a:cubicBezTo>
                    <a:pt x="25714" y="68571"/>
                    <a:pt x="17142" y="74285"/>
                    <a:pt x="17142" y="80000"/>
                  </a:cubicBezTo>
                  <a:cubicBezTo>
                    <a:pt x="8571" y="91428"/>
                    <a:pt x="17142" y="97142"/>
                    <a:pt x="25714" y="102857"/>
                  </a:cubicBezTo>
                  <a:cubicBezTo>
                    <a:pt x="42857" y="108571"/>
                    <a:pt x="59999" y="108571"/>
                    <a:pt x="68571" y="108571"/>
                  </a:cubicBezTo>
                  <a:cubicBezTo>
                    <a:pt x="94285" y="120000"/>
                    <a:pt x="77142" y="102857"/>
                    <a:pt x="68571" y="91428"/>
                  </a:cubicBezTo>
                  <a:cubicBezTo>
                    <a:pt x="68571" y="91428"/>
                    <a:pt x="68571" y="68571"/>
                    <a:pt x="85714" y="68571"/>
                  </a:cubicBezTo>
                  <a:cubicBezTo>
                    <a:pt x="94285" y="68571"/>
                    <a:pt x="94285" y="97142"/>
                    <a:pt x="102857" y="97142"/>
                  </a:cubicBezTo>
                  <a:cubicBezTo>
                    <a:pt x="102857" y="97142"/>
                    <a:pt x="111428" y="80000"/>
                    <a:pt x="111428" y="80000"/>
                  </a:cubicBezTo>
                  <a:cubicBezTo>
                    <a:pt x="119999" y="68571"/>
                    <a:pt x="119999" y="62857"/>
                    <a:pt x="111428" y="57142"/>
                  </a:cubicBezTo>
                  <a:cubicBezTo>
                    <a:pt x="111428" y="40000"/>
                    <a:pt x="111428" y="5714"/>
                    <a:pt x="85714" y="0"/>
                  </a:cubicBezTo>
                  <a:cubicBezTo>
                    <a:pt x="77142" y="0"/>
                    <a:pt x="85714" y="5714"/>
                    <a:pt x="85714" y="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53" name="Shape 2327">
              <a:extLst>
                <a:ext uri="{FF2B5EF4-FFF2-40B4-BE49-F238E27FC236}">
                  <a16:creationId xmlns:a16="http://schemas.microsoft.com/office/drawing/2014/main" id="{977F5B49-4CA6-1044-A9D4-94C77884DEBF}"/>
                </a:ext>
              </a:extLst>
            </p:cNvPr>
            <p:cNvSpPr/>
            <p:nvPr/>
          </p:nvSpPr>
          <p:spPr>
            <a:xfrm>
              <a:off x="17289343" y="8631689"/>
              <a:ext cx="111464" cy="95565"/>
            </a:xfrm>
            <a:custGeom>
              <a:avLst/>
              <a:gdLst/>
              <a:ahLst/>
              <a:cxnLst/>
              <a:rect l="0" t="0" r="0" b="0"/>
              <a:pathLst>
                <a:path w="120000" h="120000" extrusionOk="0">
                  <a:moveTo>
                    <a:pt x="80000" y="12000"/>
                  </a:moveTo>
                  <a:cubicBezTo>
                    <a:pt x="60000" y="0"/>
                    <a:pt x="50000" y="48000"/>
                    <a:pt x="20000" y="48000"/>
                  </a:cubicBezTo>
                  <a:cubicBezTo>
                    <a:pt x="0" y="60000"/>
                    <a:pt x="0" y="108000"/>
                    <a:pt x="0" y="120000"/>
                  </a:cubicBezTo>
                  <a:cubicBezTo>
                    <a:pt x="10000" y="108000"/>
                    <a:pt x="10000" y="84000"/>
                    <a:pt x="20000" y="72000"/>
                  </a:cubicBezTo>
                  <a:cubicBezTo>
                    <a:pt x="20000" y="72000"/>
                    <a:pt x="40000" y="60000"/>
                    <a:pt x="40000" y="72000"/>
                  </a:cubicBezTo>
                  <a:cubicBezTo>
                    <a:pt x="40000" y="84000"/>
                    <a:pt x="60000" y="84000"/>
                    <a:pt x="60000" y="84000"/>
                  </a:cubicBezTo>
                  <a:cubicBezTo>
                    <a:pt x="70000" y="84000"/>
                    <a:pt x="70000" y="96000"/>
                    <a:pt x="80000" y="84000"/>
                  </a:cubicBezTo>
                  <a:cubicBezTo>
                    <a:pt x="80000" y="84000"/>
                    <a:pt x="80000" y="60000"/>
                    <a:pt x="80000" y="60000"/>
                  </a:cubicBezTo>
                  <a:cubicBezTo>
                    <a:pt x="90000" y="36000"/>
                    <a:pt x="110000" y="24000"/>
                    <a:pt x="80000" y="12000"/>
                  </a:cubicBezTo>
                  <a:cubicBezTo>
                    <a:pt x="70000" y="12000"/>
                    <a:pt x="120000" y="36000"/>
                    <a:pt x="80000" y="12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54" name="Shape 2328">
              <a:extLst>
                <a:ext uri="{FF2B5EF4-FFF2-40B4-BE49-F238E27FC236}">
                  <a16:creationId xmlns:a16="http://schemas.microsoft.com/office/drawing/2014/main" id="{AA0B1ADD-FEC4-DA45-9B63-24E6B7B0C74F}"/>
                </a:ext>
              </a:extLst>
            </p:cNvPr>
            <p:cNvSpPr/>
            <p:nvPr/>
          </p:nvSpPr>
          <p:spPr>
            <a:xfrm>
              <a:off x="17063230" y="8539309"/>
              <a:ext cx="111464" cy="111493"/>
            </a:xfrm>
            <a:custGeom>
              <a:avLst/>
              <a:gdLst/>
              <a:ahLst/>
              <a:cxnLst/>
              <a:rect l="0" t="0" r="0" b="0"/>
              <a:pathLst>
                <a:path w="120000" h="120000" extrusionOk="0">
                  <a:moveTo>
                    <a:pt x="110000" y="0"/>
                  </a:moveTo>
                  <a:cubicBezTo>
                    <a:pt x="90000" y="10000"/>
                    <a:pt x="70000" y="40000"/>
                    <a:pt x="60000" y="60000"/>
                  </a:cubicBezTo>
                  <a:cubicBezTo>
                    <a:pt x="50000" y="70000"/>
                    <a:pt x="0" y="100000"/>
                    <a:pt x="0" y="120000"/>
                  </a:cubicBezTo>
                  <a:cubicBezTo>
                    <a:pt x="0" y="120000"/>
                    <a:pt x="30000" y="110000"/>
                    <a:pt x="40000" y="100000"/>
                  </a:cubicBezTo>
                  <a:cubicBezTo>
                    <a:pt x="50000" y="100000"/>
                    <a:pt x="70000" y="80000"/>
                    <a:pt x="80000" y="70000"/>
                  </a:cubicBezTo>
                  <a:cubicBezTo>
                    <a:pt x="80000" y="50000"/>
                    <a:pt x="90000" y="40000"/>
                    <a:pt x="100000" y="30000"/>
                  </a:cubicBezTo>
                  <a:cubicBezTo>
                    <a:pt x="110000" y="30000"/>
                    <a:pt x="120000" y="0"/>
                    <a:pt x="110000" y="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55" name="Shape 2329">
              <a:extLst>
                <a:ext uri="{FF2B5EF4-FFF2-40B4-BE49-F238E27FC236}">
                  <a16:creationId xmlns:a16="http://schemas.microsoft.com/office/drawing/2014/main" id="{C9B602CB-8365-594C-AD8A-E225788555FC}"/>
                </a:ext>
              </a:extLst>
            </p:cNvPr>
            <p:cNvSpPr/>
            <p:nvPr/>
          </p:nvSpPr>
          <p:spPr>
            <a:xfrm>
              <a:off x="17391255" y="8399145"/>
              <a:ext cx="19108" cy="9555"/>
            </a:xfrm>
            <a:custGeom>
              <a:avLst/>
              <a:gdLst/>
              <a:ahLst/>
              <a:cxnLst/>
              <a:rect l="0" t="0" r="0" b="0"/>
              <a:pathLst>
                <a:path w="120000" h="120000" extrusionOk="0">
                  <a:moveTo>
                    <a:pt x="0" y="120000"/>
                  </a:moveTo>
                  <a:cubicBezTo>
                    <a:pt x="60000" y="120000"/>
                    <a:pt x="120000" y="0"/>
                    <a:pt x="60000" y="0"/>
                  </a:cubicBezTo>
                  <a:cubicBezTo>
                    <a:pt x="0" y="0"/>
                    <a:pt x="0" y="120000"/>
                    <a:pt x="0" y="12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56" name="Shape 2330">
              <a:extLst>
                <a:ext uri="{FF2B5EF4-FFF2-40B4-BE49-F238E27FC236}">
                  <a16:creationId xmlns:a16="http://schemas.microsoft.com/office/drawing/2014/main" id="{07AC7AF8-1383-D04F-BB3A-7F13D11A8029}"/>
                </a:ext>
              </a:extLst>
            </p:cNvPr>
            <p:cNvSpPr/>
            <p:nvPr/>
          </p:nvSpPr>
          <p:spPr>
            <a:xfrm>
              <a:off x="16037751" y="8781410"/>
              <a:ext cx="522293" cy="544727"/>
            </a:xfrm>
            <a:custGeom>
              <a:avLst/>
              <a:gdLst/>
              <a:ahLst/>
              <a:cxnLst/>
              <a:rect l="0" t="0" r="0" b="0"/>
              <a:pathLst>
                <a:path w="120000" h="120000" extrusionOk="0">
                  <a:moveTo>
                    <a:pt x="25714" y="6206"/>
                  </a:moveTo>
                  <a:cubicBezTo>
                    <a:pt x="19285" y="6206"/>
                    <a:pt x="14999" y="6206"/>
                    <a:pt x="8571" y="4137"/>
                  </a:cubicBezTo>
                  <a:cubicBezTo>
                    <a:pt x="4285" y="2068"/>
                    <a:pt x="0" y="0"/>
                    <a:pt x="4285" y="6206"/>
                  </a:cubicBezTo>
                  <a:cubicBezTo>
                    <a:pt x="6428" y="10344"/>
                    <a:pt x="8571" y="16551"/>
                    <a:pt x="12857" y="18620"/>
                  </a:cubicBezTo>
                  <a:cubicBezTo>
                    <a:pt x="17142" y="20689"/>
                    <a:pt x="21428" y="22758"/>
                    <a:pt x="23571" y="26896"/>
                  </a:cubicBezTo>
                  <a:cubicBezTo>
                    <a:pt x="25714" y="28965"/>
                    <a:pt x="25714" y="33103"/>
                    <a:pt x="27857" y="35172"/>
                  </a:cubicBezTo>
                  <a:cubicBezTo>
                    <a:pt x="32142" y="37241"/>
                    <a:pt x="34285" y="37241"/>
                    <a:pt x="36428" y="39310"/>
                  </a:cubicBezTo>
                  <a:cubicBezTo>
                    <a:pt x="40714" y="43448"/>
                    <a:pt x="40714" y="49655"/>
                    <a:pt x="42857" y="53793"/>
                  </a:cubicBezTo>
                  <a:cubicBezTo>
                    <a:pt x="44999" y="55862"/>
                    <a:pt x="47142" y="57931"/>
                    <a:pt x="47142" y="57931"/>
                  </a:cubicBezTo>
                  <a:cubicBezTo>
                    <a:pt x="51428" y="62068"/>
                    <a:pt x="53571" y="64137"/>
                    <a:pt x="55714" y="68275"/>
                  </a:cubicBezTo>
                  <a:cubicBezTo>
                    <a:pt x="59999" y="74482"/>
                    <a:pt x="59999" y="80689"/>
                    <a:pt x="64285" y="86896"/>
                  </a:cubicBezTo>
                  <a:cubicBezTo>
                    <a:pt x="72857" y="93103"/>
                    <a:pt x="79285" y="101379"/>
                    <a:pt x="87857" y="107586"/>
                  </a:cubicBezTo>
                  <a:cubicBezTo>
                    <a:pt x="92142" y="111724"/>
                    <a:pt x="94285" y="113793"/>
                    <a:pt x="98571" y="117931"/>
                  </a:cubicBezTo>
                  <a:cubicBezTo>
                    <a:pt x="100714" y="117931"/>
                    <a:pt x="113571" y="120000"/>
                    <a:pt x="115714" y="117931"/>
                  </a:cubicBezTo>
                  <a:cubicBezTo>
                    <a:pt x="117857" y="115862"/>
                    <a:pt x="113571" y="99310"/>
                    <a:pt x="115714" y="95172"/>
                  </a:cubicBezTo>
                  <a:cubicBezTo>
                    <a:pt x="115714" y="93103"/>
                    <a:pt x="119999" y="93103"/>
                    <a:pt x="117857" y="91034"/>
                  </a:cubicBezTo>
                  <a:cubicBezTo>
                    <a:pt x="115714" y="88965"/>
                    <a:pt x="113571" y="86896"/>
                    <a:pt x="111428" y="84827"/>
                  </a:cubicBezTo>
                  <a:cubicBezTo>
                    <a:pt x="111428" y="84827"/>
                    <a:pt x="109285" y="82758"/>
                    <a:pt x="107142" y="82758"/>
                  </a:cubicBezTo>
                  <a:cubicBezTo>
                    <a:pt x="104999" y="82758"/>
                    <a:pt x="104999" y="86896"/>
                    <a:pt x="102857" y="86896"/>
                  </a:cubicBezTo>
                  <a:cubicBezTo>
                    <a:pt x="104999" y="86896"/>
                    <a:pt x="102857" y="78620"/>
                    <a:pt x="102857" y="78620"/>
                  </a:cubicBezTo>
                  <a:cubicBezTo>
                    <a:pt x="100714" y="76551"/>
                    <a:pt x="100714" y="76551"/>
                    <a:pt x="100714" y="74482"/>
                  </a:cubicBezTo>
                  <a:cubicBezTo>
                    <a:pt x="100714" y="72413"/>
                    <a:pt x="96428" y="70344"/>
                    <a:pt x="94285" y="70344"/>
                  </a:cubicBezTo>
                  <a:cubicBezTo>
                    <a:pt x="92142" y="68275"/>
                    <a:pt x="87857" y="66206"/>
                    <a:pt x="89999" y="62068"/>
                  </a:cubicBezTo>
                  <a:cubicBezTo>
                    <a:pt x="89999" y="62068"/>
                    <a:pt x="87857" y="60000"/>
                    <a:pt x="89999" y="60000"/>
                  </a:cubicBezTo>
                  <a:cubicBezTo>
                    <a:pt x="89999" y="57931"/>
                    <a:pt x="92142" y="60000"/>
                    <a:pt x="92142" y="57931"/>
                  </a:cubicBezTo>
                  <a:cubicBezTo>
                    <a:pt x="94285" y="53793"/>
                    <a:pt x="81428" y="53793"/>
                    <a:pt x="81428" y="55862"/>
                  </a:cubicBezTo>
                  <a:cubicBezTo>
                    <a:pt x="81428" y="53793"/>
                    <a:pt x="89999" y="51724"/>
                    <a:pt x="81428" y="51724"/>
                  </a:cubicBezTo>
                  <a:cubicBezTo>
                    <a:pt x="79285" y="51724"/>
                    <a:pt x="77142" y="49655"/>
                    <a:pt x="77142" y="49655"/>
                  </a:cubicBezTo>
                  <a:cubicBezTo>
                    <a:pt x="77142" y="47586"/>
                    <a:pt x="79285" y="47586"/>
                    <a:pt x="79285" y="47586"/>
                  </a:cubicBezTo>
                  <a:cubicBezTo>
                    <a:pt x="79285" y="45517"/>
                    <a:pt x="75000" y="45517"/>
                    <a:pt x="75000" y="45517"/>
                  </a:cubicBezTo>
                  <a:cubicBezTo>
                    <a:pt x="75000" y="45517"/>
                    <a:pt x="77142" y="43448"/>
                    <a:pt x="72857" y="43448"/>
                  </a:cubicBezTo>
                  <a:cubicBezTo>
                    <a:pt x="70714" y="41379"/>
                    <a:pt x="68571" y="41379"/>
                    <a:pt x="66428" y="39310"/>
                  </a:cubicBezTo>
                  <a:cubicBezTo>
                    <a:pt x="59999" y="31034"/>
                    <a:pt x="64285" y="39310"/>
                    <a:pt x="64285" y="39310"/>
                  </a:cubicBezTo>
                  <a:cubicBezTo>
                    <a:pt x="62142" y="39310"/>
                    <a:pt x="55714" y="33103"/>
                    <a:pt x="53571" y="33103"/>
                  </a:cubicBezTo>
                  <a:cubicBezTo>
                    <a:pt x="51428" y="28965"/>
                    <a:pt x="49285" y="24827"/>
                    <a:pt x="44999" y="22758"/>
                  </a:cubicBezTo>
                  <a:cubicBezTo>
                    <a:pt x="40714" y="20689"/>
                    <a:pt x="38571" y="18620"/>
                    <a:pt x="34285" y="14482"/>
                  </a:cubicBezTo>
                  <a:cubicBezTo>
                    <a:pt x="32142" y="12413"/>
                    <a:pt x="29999" y="6206"/>
                    <a:pt x="25714" y="6206"/>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57" name="Shape 2331">
              <a:extLst>
                <a:ext uri="{FF2B5EF4-FFF2-40B4-BE49-F238E27FC236}">
                  <a16:creationId xmlns:a16="http://schemas.microsoft.com/office/drawing/2014/main" id="{B3E27D1F-8344-BC4B-B4E7-3FD3E307F6FA}"/>
                </a:ext>
              </a:extLst>
            </p:cNvPr>
            <p:cNvSpPr/>
            <p:nvPr/>
          </p:nvSpPr>
          <p:spPr>
            <a:xfrm>
              <a:off x="16130106" y="8978916"/>
              <a:ext cx="47769" cy="47785"/>
            </a:xfrm>
            <a:custGeom>
              <a:avLst/>
              <a:gdLst/>
              <a:ahLst/>
              <a:cxnLst/>
              <a:rect l="0" t="0" r="0" b="0"/>
              <a:pathLst>
                <a:path w="120000" h="120000" extrusionOk="0">
                  <a:moveTo>
                    <a:pt x="96000" y="96000"/>
                  </a:moveTo>
                  <a:cubicBezTo>
                    <a:pt x="120000" y="72000"/>
                    <a:pt x="48000" y="0"/>
                    <a:pt x="24000" y="0"/>
                  </a:cubicBezTo>
                  <a:cubicBezTo>
                    <a:pt x="0" y="24000"/>
                    <a:pt x="72000" y="120000"/>
                    <a:pt x="96000" y="96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58" name="Shape 2332">
              <a:extLst>
                <a:ext uri="{FF2B5EF4-FFF2-40B4-BE49-F238E27FC236}">
                  <a16:creationId xmlns:a16="http://schemas.microsoft.com/office/drawing/2014/main" id="{8680B3F6-8457-B149-BA0E-F6E4AB5432DB}"/>
                </a:ext>
              </a:extLst>
            </p:cNvPr>
            <p:cNvSpPr/>
            <p:nvPr/>
          </p:nvSpPr>
          <p:spPr>
            <a:xfrm>
              <a:off x="16196989" y="9090409"/>
              <a:ext cx="44585" cy="47785"/>
            </a:xfrm>
            <a:custGeom>
              <a:avLst/>
              <a:gdLst/>
              <a:ahLst/>
              <a:cxnLst/>
              <a:rect l="0" t="0" r="0" b="0"/>
              <a:pathLst>
                <a:path w="120000" h="120000" extrusionOk="0">
                  <a:moveTo>
                    <a:pt x="96000" y="96000"/>
                  </a:moveTo>
                  <a:cubicBezTo>
                    <a:pt x="120000" y="72000"/>
                    <a:pt x="48000" y="0"/>
                    <a:pt x="24000" y="0"/>
                  </a:cubicBezTo>
                  <a:cubicBezTo>
                    <a:pt x="0" y="24000"/>
                    <a:pt x="72000" y="120000"/>
                    <a:pt x="96000" y="96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59" name="Shape 2333">
              <a:extLst>
                <a:ext uri="{FF2B5EF4-FFF2-40B4-BE49-F238E27FC236}">
                  <a16:creationId xmlns:a16="http://schemas.microsoft.com/office/drawing/2014/main" id="{A74C7FE6-957E-C64A-814F-D0F73033C7AF}"/>
                </a:ext>
              </a:extLst>
            </p:cNvPr>
            <p:cNvSpPr/>
            <p:nvPr/>
          </p:nvSpPr>
          <p:spPr>
            <a:xfrm>
              <a:off x="16512275" y="9119077"/>
              <a:ext cx="66878" cy="66896"/>
            </a:xfrm>
            <a:custGeom>
              <a:avLst/>
              <a:gdLst/>
              <a:ahLst/>
              <a:cxnLst/>
              <a:rect l="0" t="0" r="0" b="0"/>
              <a:pathLst>
                <a:path w="120000" h="120000" extrusionOk="0">
                  <a:moveTo>
                    <a:pt x="119999" y="119999"/>
                  </a:moveTo>
                  <a:cubicBezTo>
                    <a:pt x="119999" y="85714"/>
                    <a:pt x="85714" y="85714"/>
                    <a:pt x="85714" y="51428"/>
                  </a:cubicBezTo>
                  <a:cubicBezTo>
                    <a:pt x="85714" y="17142"/>
                    <a:pt x="34285" y="0"/>
                    <a:pt x="0" y="17142"/>
                  </a:cubicBezTo>
                  <a:cubicBezTo>
                    <a:pt x="0" y="34285"/>
                    <a:pt x="0" y="51428"/>
                    <a:pt x="17142" y="51428"/>
                  </a:cubicBezTo>
                  <a:cubicBezTo>
                    <a:pt x="51428" y="51428"/>
                    <a:pt x="34285" y="68571"/>
                    <a:pt x="51428" y="85714"/>
                  </a:cubicBezTo>
                  <a:cubicBezTo>
                    <a:pt x="51428" y="102857"/>
                    <a:pt x="119999" y="119999"/>
                    <a:pt x="119999" y="119999"/>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60" name="Shape 2334">
              <a:extLst>
                <a:ext uri="{FF2B5EF4-FFF2-40B4-BE49-F238E27FC236}">
                  <a16:creationId xmlns:a16="http://schemas.microsoft.com/office/drawing/2014/main" id="{FC8E0923-AB19-D141-903E-1B00ED36190F}"/>
                </a:ext>
              </a:extLst>
            </p:cNvPr>
            <p:cNvSpPr/>
            <p:nvPr/>
          </p:nvSpPr>
          <p:spPr>
            <a:xfrm>
              <a:off x="16617370" y="9166862"/>
              <a:ext cx="35032" cy="35041"/>
            </a:xfrm>
            <a:custGeom>
              <a:avLst/>
              <a:gdLst/>
              <a:ahLst/>
              <a:cxnLst/>
              <a:rect l="0" t="0" r="0" b="0"/>
              <a:pathLst>
                <a:path w="120000" h="120000" extrusionOk="0">
                  <a:moveTo>
                    <a:pt x="60000" y="90000"/>
                  </a:moveTo>
                  <a:cubicBezTo>
                    <a:pt x="0" y="120000"/>
                    <a:pt x="0" y="30000"/>
                    <a:pt x="60000" y="0"/>
                  </a:cubicBezTo>
                  <a:cubicBezTo>
                    <a:pt x="120000" y="0"/>
                    <a:pt x="120000" y="90000"/>
                    <a:pt x="60000" y="90000"/>
                  </a:cubicBezTo>
                  <a:cubicBezTo>
                    <a:pt x="30000" y="120000"/>
                    <a:pt x="90000" y="90000"/>
                    <a:pt x="60000" y="9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61" name="Shape 2335">
              <a:extLst>
                <a:ext uri="{FF2B5EF4-FFF2-40B4-BE49-F238E27FC236}">
                  <a16:creationId xmlns:a16="http://schemas.microsoft.com/office/drawing/2014/main" id="{C459B12E-78A3-AB47-B02D-654BCE9054B9}"/>
                </a:ext>
              </a:extLst>
            </p:cNvPr>
            <p:cNvSpPr/>
            <p:nvPr/>
          </p:nvSpPr>
          <p:spPr>
            <a:xfrm>
              <a:off x="16521828" y="9326138"/>
              <a:ext cx="429937" cy="140163"/>
            </a:xfrm>
            <a:custGeom>
              <a:avLst/>
              <a:gdLst/>
              <a:ahLst/>
              <a:cxnLst/>
              <a:rect l="0" t="0" r="0" b="0"/>
              <a:pathLst>
                <a:path w="120000" h="120000" extrusionOk="0">
                  <a:moveTo>
                    <a:pt x="23478" y="0"/>
                  </a:moveTo>
                  <a:cubicBezTo>
                    <a:pt x="18260" y="8000"/>
                    <a:pt x="15652" y="0"/>
                    <a:pt x="7826" y="0"/>
                  </a:cubicBezTo>
                  <a:cubicBezTo>
                    <a:pt x="7826" y="0"/>
                    <a:pt x="0" y="24000"/>
                    <a:pt x="0" y="32000"/>
                  </a:cubicBezTo>
                  <a:cubicBezTo>
                    <a:pt x="0" y="40000"/>
                    <a:pt x="10434" y="32000"/>
                    <a:pt x="13043" y="48000"/>
                  </a:cubicBezTo>
                  <a:cubicBezTo>
                    <a:pt x="15652" y="64000"/>
                    <a:pt x="23478" y="64000"/>
                    <a:pt x="28695" y="72000"/>
                  </a:cubicBezTo>
                  <a:cubicBezTo>
                    <a:pt x="33913" y="72000"/>
                    <a:pt x="36521" y="72000"/>
                    <a:pt x="39130" y="72000"/>
                  </a:cubicBezTo>
                  <a:cubicBezTo>
                    <a:pt x="46956" y="72000"/>
                    <a:pt x="54782" y="80000"/>
                    <a:pt x="62608" y="88000"/>
                  </a:cubicBezTo>
                  <a:cubicBezTo>
                    <a:pt x="75652" y="96000"/>
                    <a:pt x="91304" y="88000"/>
                    <a:pt x="104347" y="104000"/>
                  </a:cubicBezTo>
                  <a:cubicBezTo>
                    <a:pt x="106956" y="104000"/>
                    <a:pt x="114782" y="120000"/>
                    <a:pt x="117391" y="104000"/>
                  </a:cubicBezTo>
                  <a:cubicBezTo>
                    <a:pt x="120000" y="104000"/>
                    <a:pt x="114782" y="72000"/>
                    <a:pt x="112173" y="72000"/>
                  </a:cubicBezTo>
                  <a:cubicBezTo>
                    <a:pt x="109565" y="64000"/>
                    <a:pt x="109565" y="72000"/>
                    <a:pt x="106956" y="72000"/>
                  </a:cubicBezTo>
                  <a:cubicBezTo>
                    <a:pt x="101739" y="80000"/>
                    <a:pt x="99130" y="72000"/>
                    <a:pt x="96521" y="72000"/>
                  </a:cubicBezTo>
                  <a:cubicBezTo>
                    <a:pt x="93913" y="64000"/>
                    <a:pt x="93913" y="56000"/>
                    <a:pt x="91304" y="48000"/>
                  </a:cubicBezTo>
                  <a:cubicBezTo>
                    <a:pt x="91304" y="40000"/>
                    <a:pt x="86086" y="40000"/>
                    <a:pt x="83478" y="32000"/>
                  </a:cubicBezTo>
                  <a:cubicBezTo>
                    <a:pt x="80869" y="32000"/>
                    <a:pt x="73043" y="24000"/>
                    <a:pt x="70434" y="24000"/>
                  </a:cubicBezTo>
                  <a:cubicBezTo>
                    <a:pt x="67826" y="24000"/>
                    <a:pt x="65217" y="32000"/>
                    <a:pt x="65217" y="32000"/>
                  </a:cubicBezTo>
                  <a:cubicBezTo>
                    <a:pt x="62608" y="40000"/>
                    <a:pt x="60000" y="40000"/>
                    <a:pt x="54782" y="40000"/>
                  </a:cubicBezTo>
                  <a:cubicBezTo>
                    <a:pt x="49565" y="40000"/>
                    <a:pt x="44347" y="32000"/>
                    <a:pt x="39130" y="24000"/>
                  </a:cubicBezTo>
                  <a:cubicBezTo>
                    <a:pt x="36521" y="16000"/>
                    <a:pt x="31304" y="16000"/>
                    <a:pt x="28695" y="16000"/>
                  </a:cubicBezTo>
                  <a:cubicBezTo>
                    <a:pt x="28695" y="16000"/>
                    <a:pt x="26086" y="0"/>
                    <a:pt x="23478" y="0"/>
                  </a:cubicBezTo>
                  <a:cubicBezTo>
                    <a:pt x="20869" y="8000"/>
                    <a:pt x="26086" y="0"/>
                    <a:pt x="23478" y="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62" name="Shape 2336">
              <a:extLst>
                <a:ext uri="{FF2B5EF4-FFF2-40B4-BE49-F238E27FC236}">
                  <a16:creationId xmlns:a16="http://schemas.microsoft.com/office/drawing/2014/main" id="{1C470254-F03E-4A44-9096-07A337C914C7}"/>
                </a:ext>
              </a:extLst>
            </p:cNvPr>
            <p:cNvSpPr/>
            <p:nvPr/>
          </p:nvSpPr>
          <p:spPr>
            <a:xfrm>
              <a:off x="16840300" y="9361177"/>
              <a:ext cx="73247" cy="28669"/>
            </a:xfrm>
            <a:custGeom>
              <a:avLst/>
              <a:gdLst/>
              <a:ahLst/>
              <a:cxnLst/>
              <a:rect l="0" t="0" r="0" b="0"/>
              <a:pathLst>
                <a:path w="120000" h="120000" extrusionOk="0">
                  <a:moveTo>
                    <a:pt x="45000" y="120000"/>
                  </a:moveTo>
                  <a:cubicBezTo>
                    <a:pt x="0" y="80000"/>
                    <a:pt x="105000" y="0"/>
                    <a:pt x="120000" y="40000"/>
                  </a:cubicBezTo>
                  <a:cubicBezTo>
                    <a:pt x="120000" y="80000"/>
                    <a:pt x="60000" y="120000"/>
                    <a:pt x="45000" y="120000"/>
                  </a:cubicBezTo>
                  <a:cubicBezTo>
                    <a:pt x="30000" y="120000"/>
                    <a:pt x="60000" y="120000"/>
                    <a:pt x="45000" y="12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63" name="Shape 2337">
              <a:extLst>
                <a:ext uri="{FF2B5EF4-FFF2-40B4-BE49-F238E27FC236}">
                  <a16:creationId xmlns:a16="http://schemas.microsoft.com/office/drawing/2014/main" id="{370A8E93-B954-6A4A-AA55-831D2FD0DAD3}"/>
                </a:ext>
              </a:extLst>
            </p:cNvPr>
            <p:cNvSpPr/>
            <p:nvPr/>
          </p:nvSpPr>
          <p:spPr>
            <a:xfrm>
              <a:off x="16942209" y="9428075"/>
              <a:ext cx="57322" cy="38226"/>
            </a:xfrm>
            <a:custGeom>
              <a:avLst/>
              <a:gdLst/>
              <a:ahLst/>
              <a:cxnLst/>
              <a:rect l="0" t="0" r="0" b="0"/>
              <a:pathLst>
                <a:path w="120000" h="120000" extrusionOk="0">
                  <a:moveTo>
                    <a:pt x="60000" y="0"/>
                  </a:moveTo>
                  <a:cubicBezTo>
                    <a:pt x="40000" y="0"/>
                    <a:pt x="0" y="0"/>
                    <a:pt x="20000" y="30000"/>
                  </a:cubicBezTo>
                  <a:cubicBezTo>
                    <a:pt x="20000" y="30000"/>
                    <a:pt x="60000" y="120000"/>
                    <a:pt x="60000" y="120000"/>
                  </a:cubicBezTo>
                  <a:cubicBezTo>
                    <a:pt x="100000" y="120000"/>
                    <a:pt x="120000" y="0"/>
                    <a:pt x="60000" y="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64" name="Shape 2338">
              <a:extLst>
                <a:ext uri="{FF2B5EF4-FFF2-40B4-BE49-F238E27FC236}">
                  <a16:creationId xmlns:a16="http://schemas.microsoft.com/office/drawing/2014/main" id="{CA70913C-40BD-9842-B0F7-F561612A480D}"/>
                </a:ext>
              </a:extLst>
            </p:cNvPr>
            <p:cNvSpPr/>
            <p:nvPr/>
          </p:nvSpPr>
          <p:spPr>
            <a:xfrm>
              <a:off x="16999536" y="9437630"/>
              <a:ext cx="44585" cy="28669"/>
            </a:xfrm>
            <a:custGeom>
              <a:avLst/>
              <a:gdLst/>
              <a:ahLst/>
              <a:cxnLst/>
              <a:rect l="0" t="0" r="0" b="0"/>
              <a:pathLst>
                <a:path w="120000" h="120000" extrusionOk="0">
                  <a:moveTo>
                    <a:pt x="96000" y="40000"/>
                  </a:moveTo>
                  <a:cubicBezTo>
                    <a:pt x="96000" y="40000"/>
                    <a:pt x="72000" y="0"/>
                    <a:pt x="48000" y="0"/>
                  </a:cubicBezTo>
                  <a:cubicBezTo>
                    <a:pt x="48000" y="40000"/>
                    <a:pt x="0" y="80000"/>
                    <a:pt x="24000" y="80000"/>
                  </a:cubicBezTo>
                  <a:cubicBezTo>
                    <a:pt x="24000" y="80000"/>
                    <a:pt x="48000" y="120000"/>
                    <a:pt x="48000" y="80000"/>
                  </a:cubicBezTo>
                  <a:cubicBezTo>
                    <a:pt x="72000" y="80000"/>
                    <a:pt x="120000" y="80000"/>
                    <a:pt x="96000" y="40000"/>
                  </a:cubicBezTo>
                  <a:cubicBezTo>
                    <a:pt x="96000" y="40000"/>
                    <a:pt x="120000" y="80000"/>
                    <a:pt x="96000" y="4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65" name="Shape 2339">
              <a:extLst>
                <a:ext uri="{FF2B5EF4-FFF2-40B4-BE49-F238E27FC236}">
                  <a16:creationId xmlns:a16="http://schemas.microsoft.com/office/drawing/2014/main" id="{EEAD8594-45B9-514F-BA71-31186CA54E0D}"/>
                </a:ext>
              </a:extLst>
            </p:cNvPr>
            <p:cNvSpPr/>
            <p:nvPr/>
          </p:nvSpPr>
          <p:spPr>
            <a:xfrm>
              <a:off x="17034566" y="9437630"/>
              <a:ext cx="66878" cy="38226"/>
            </a:xfrm>
            <a:custGeom>
              <a:avLst/>
              <a:gdLst/>
              <a:ahLst/>
              <a:cxnLst/>
              <a:rect l="0" t="0" r="0" b="0"/>
              <a:pathLst>
                <a:path w="120000" h="120000" extrusionOk="0">
                  <a:moveTo>
                    <a:pt x="34285" y="30000"/>
                  </a:moveTo>
                  <a:cubicBezTo>
                    <a:pt x="17142" y="60000"/>
                    <a:pt x="0" y="120000"/>
                    <a:pt x="34285" y="120000"/>
                  </a:cubicBezTo>
                  <a:cubicBezTo>
                    <a:pt x="68571" y="120000"/>
                    <a:pt x="85714" y="120000"/>
                    <a:pt x="102857" y="90000"/>
                  </a:cubicBezTo>
                  <a:cubicBezTo>
                    <a:pt x="119999" y="90000"/>
                    <a:pt x="85714" y="60000"/>
                    <a:pt x="85714" y="30000"/>
                  </a:cubicBezTo>
                  <a:cubicBezTo>
                    <a:pt x="68571" y="0"/>
                    <a:pt x="51428" y="0"/>
                    <a:pt x="34285" y="3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66" name="Shape 2340">
              <a:extLst>
                <a:ext uri="{FF2B5EF4-FFF2-40B4-BE49-F238E27FC236}">
                  <a16:creationId xmlns:a16="http://schemas.microsoft.com/office/drawing/2014/main" id="{A198EB07-9980-BA48-811D-A9611C297628}"/>
                </a:ext>
              </a:extLst>
            </p:cNvPr>
            <p:cNvSpPr/>
            <p:nvPr/>
          </p:nvSpPr>
          <p:spPr>
            <a:xfrm>
              <a:off x="17082336" y="9428075"/>
              <a:ext cx="76431" cy="47785"/>
            </a:xfrm>
            <a:custGeom>
              <a:avLst/>
              <a:gdLst/>
              <a:ahLst/>
              <a:cxnLst/>
              <a:rect l="0" t="0" r="0" b="0"/>
              <a:pathLst>
                <a:path w="120000" h="120000" extrusionOk="0">
                  <a:moveTo>
                    <a:pt x="15000" y="0"/>
                  </a:moveTo>
                  <a:cubicBezTo>
                    <a:pt x="0" y="0"/>
                    <a:pt x="0" y="0"/>
                    <a:pt x="0" y="24000"/>
                  </a:cubicBezTo>
                  <a:cubicBezTo>
                    <a:pt x="0" y="24000"/>
                    <a:pt x="30000" y="24000"/>
                    <a:pt x="30000" y="48000"/>
                  </a:cubicBezTo>
                  <a:cubicBezTo>
                    <a:pt x="30000" y="48000"/>
                    <a:pt x="30000" y="72000"/>
                    <a:pt x="30000" y="72000"/>
                  </a:cubicBezTo>
                  <a:cubicBezTo>
                    <a:pt x="30000" y="96000"/>
                    <a:pt x="90000" y="120000"/>
                    <a:pt x="105000" y="96000"/>
                  </a:cubicBezTo>
                  <a:cubicBezTo>
                    <a:pt x="120000" y="72000"/>
                    <a:pt x="120000" y="48000"/>
                    <a:pt x="105000" y="24000"/>
                  </a:cubicBezTo>
                  <a:cubicBezTo>
                    <a:pt x="75000" y="24000"/>
                    <a:pt x="45000" y="24000"/>
                    <a:pt x="15000" y="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67" name="Shape 2341">
              <a:extLst>
                <a:ext uri="{FF2B5EF4-FFF2-40B4-BE49-F238E27FC236}">
                  <a16:creationId xmlns:a16="http://schemas.microsoft.com/office/drawing/2014/main" id="{9DFAE45B-6E6E-B845-8734-67C6B5CCD339}"/>
                </a:ext>
              </a:extLst>
            </p:cNvPr>
            <p:cNvSpPr/>
            <p:nvPr/>
          </p:nvSpPr>
          <p:spPr>
            <a:xfrm>
              <a:off x="17184250" y="9437630"/>
              <a:ext cx="114649" cy="38226"/>
            </a:xfrm>
            <a:custGeom>
              <a:avLst/>
              <a:gdLst/>
              <a:ahLst/>
              <a:cxnLst/>
              <a:rect l="0" t="0" r="0" b="0"/>
              <a:pathLst>
                <a:path w="120000" h="120000" extrusionOk="0">
                  <a:moveTo>
                    <a:pt x="20000" y="0"/>
                  </a:moveTo>
                  <a:cubicBezTo>
                    <a:pt x="20000" y="0"/>
                    <a:pt x="0" y="30000"/>
                    <a:pt x="0" y="60000"/>
                  </a:cubicBezTo>
                  <a:cubicBezTo>
                    <a:pt x="0" y="60000"/>
                    <a:pt x="110000" y="120000"/>
                    <a:pt x="120000" y="60000"/>
                  </a:cubicBezTo>
                  <a:cubicBezTo>
                    <a:pt x="120000" y="30000"/>
                    <a:pt x="90000" y="60000"/>
                    <a:pt x="90000" y="60000"/>
                  </a:cubicBezTo>
                  <a:cubicBezTo>
                    <a:pt x="70000" y="60000"/>
                    <a:pt x="40000" y="30000"/>
                    <a:pt x="20000" y="0"/>
                  </a:cubicBezTo>
                  <a:cubicBezTo>
                    <a:pt x="20000" y="0"/>
                    <a:pt x="30000" y="0"/>
                    <a:pt x="20000" y="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68" name="Shape 2342">
              <a:extLst>
                <a:ext uri="{FF2B5EF4-FFF2-40B4-BE49-F238E27FC236}">
                  <a16:creationId xmlns:a16="http://schemas.microsoft.com/office/drawing/2014/main" id="{B38BAD24-1FB6-A149-B500-AB4940DBDF85}"/>
                </a:ext>
              </a:extLst>
            </p:cNvPr>
            <p:cNvSpPr/>
            <p:nvPr/>
          </p:nvSpPr>
          <p:spPr>
            <a:xfrm>
              <a:off x="17149216" y="9491785"/>
              <a:ext cx="101909" cy="57338"/>
            </a:xfrm>
            <a:custGeom>
              <a:avLst/>
              <a:gdLst/>
              <a:ahLst/>
              <a:cxnLst/>
              <a:rect l="0" t="0" r="0" b="0"/>
              <a:pathLst>
                <a:path w="120000" h="120000" extrusionOk="0">
                  <a:moveTo>
                    <a:pt x="0" y="0"/>
                  </a:moveTo>
                  <a:cubicBezTo>
                    <a:pt x="10909" y="0"/>
                    <a:pt x="76363" y="120000"/>
                    <a:pt x="87272" y="80000"/>
                  </a:cubicBezTo>
                  <a:cubicBezTo>
                    <a:pt x="120000" y="20000"/>
                    <a:pt x="10909" y="0"/>
                    <a:pt x="0" y="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69" name="Shape 2343">
              <a:extLst>
                <a:ext uri="{FF2B5EF4-FFF2-40B4-BE49-F238E27FC236}">
                  <a16:creationId xmlns:a16="http://schemas.microsoft.com/office/drawing/2014/main" id="{7845A3CC-58BA-CD42-8F05-61677BAAAE77}"/>
                </a:ext>
              </a:extLst>
            </p:cNvPr>
            <p:cNvSpPr/>
            <p:nvPr/>
          </p:nvSpPr>
          <p:spPr>
            <a:xfrm>
              <a:off x="17474055" y="9192345"/>
              <a:ext cx="57322" cy="38226"/>
            </a:xfrm>
            <a:custGeom>
              <a:avLst/>
              <a:gdLst/>
              <a:ahLst/>
              <a:cxnLst/>
              <a:rect l="0" t="0" r="0" b="0"/>
              <a:pathLst>
                <a:path w="120000" h="120000" extrusionOk="0">
                  <a:moveTo>
                    <a:pt x="60000" y="90000"/>
                  </a:moveTo>
                  <a:cubicBezTo>
                    <a:pt x="0" y="120000"/>
                    <a:pt x="20000" y="0"/>
                    <a:pt x="80000" y="0"/>
                  </a:cubicBezTo>
                  <a:cubicBezTo>
                    <a:pt x="120000" y="0"/>
                    <a:pt x="100000" y="90000"/>
                    <a:pt x="60000" y="90000"/>
                  </a:cubicBezTo>
                  <a:cubicBezTo>
                    <a:pt x="40000" y="120000"/>
                    <a:pt x="100000" y="90000"/>
                    <a:pt x="60000" y="9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70" name="Shape 2344">
              <a:extLst>
                <a:ext uri="{FF2B5EF4-FFF2-40B4-BE49-F238E27FC236}">
                  <a16:creationId xmlns:a16="http://schemas.microsoft.com/office/drawing/2014/main" id="{4528BBAA-BC93-0143-9ECC-54EEC28B31AA}"/>
                </a:ext>
              </a:extLst>
            </p:cNvPr>
            <p:cNvSpPr/>
            <p:nvPr/>
          </p:nvSpPr>
          <p:spPr>
            <a:xfrm>
              <a:off x="17569599" y="9185977"/>
              <a:ext cx="140126" cy="44598"/>
            </a:xfrm>
            <a:custGeom>
              <a:avLst/>
              <a:gdLst/>
              <a:ahLst/>
              <a:cxnLst/>
              <a:rect l="0" t="0" r="0" b="0"/>
              <a:pathLst>
                <a:path w="120000" h="120000" extrusionOk="0">
                  <a:moveTo>
                    <a:pt x="16000" y="72000"/>
                  </a:moveTo>
                  <a:cubicBezTo>
                    <a:pt x="8000" y="72000"/>
                    <a:pt x="0" y="48000"/>
                    <a:pt x="8000" y="24000"/>
                  </a:cubicBezTo>
                  <a:cubicBezTo>
                    <a:pt x="16000" y="0"/>
                    <a:pt x="24000" y="0"/>
                    <a:pt x="40000" y="0"/>
                  </a:cubicBezTo>
                  <a:cubicBezTo>
                    <a:pt x="64000" y="0"/>
                    <a:pt x="80000" y="0"/>
                    <a:pt x="104000" y="48000"/>
                  </a:cubicBezTo>
                  <a:cubicBezTo>
                    <a:pt x="112000" y="72000"/>
                    <a:pt x="120000" y="96000"/>
                    <a:pt x="120000" y="120000"/>
                  </a:cubicBezTo>
                  <a:cubicBezTo>
                    <a:pt x="112000" y="120000"/>
                    <a:pt x="88000" y="72000"/>
                    <a:pt x="88000" y="72000"/>
                  </a:cubicBezTo>
                  <a:cubicBezTo>
                    <a:pt x="64000" y="48000"/>
                    <a:pt x="40000" y="72000"/>
                    <a:pt x="16000" y="72000"/>
                  </a:cubicBezTo>
                  <a:cubicBezTo>
                    <a:pt x="8000" y="72000"/>
                    <a:pt x="24000" y="72000"/>
                    <a:pt x="16000" y="72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71" name="Shape 2345">
              <a:extLst>
                <a:ext uri="{FF2B5EF4-FFF2-40B4-BE49-F238E27FC236}">
                  <a16:creationId xmlns:a16="http://schemas.microsoft.com/office/drawing/2014/main" id="{8AA46D2C-71AD-F84D-B0E9-7DB959A85383}"/>
                </a:ext>
              </a:extLst>
            </p:cNvPr>
            <p:cNvSpPr/>
            <p:nvPr/>
          </p:nvSpPr>
          <p:spPr>
            <a:xfrm>
              <a:off x="17139662" y="8969355"/>
              <a:ext cx="299363" cy="337666"/>
            </a:xfrm>
            <a:custGeom>
              <a:avLst/>
              <a:gdLst/>
              <a:ahLst/>
              <a:cxnLst/>
              <a:rect l="0" t="0" r="0" b="0"/>
              <a:pathLst>
                <a:path w="120000" h="120000" extrusionOk="0">
                  <a:moveTo>
                    <a:pt x="48750" y="106666"/>
                  </a:moveTo>
                  <a:cubicBezTo>
                    <a:pt x="48750" y="103333"/>
                    <a:pt x="52500" y="103333"/>
                    <a:pt x="52500" y="100000"/>
                  </a:cubicBezTo>
                  <a:cubicBezTo>
                    <a:pt x="52500" y="96666"/>
                    <a:pt x="45000" y="93333"/>
                    <a:pt x="41250" y="93333"/>
                  </a:cubicBezTo>
                  <a:cubicBezTo>
                    <a:pt x="37500" y="86666"/>
                    <a:pt x="45000" y="83333"/>
                    <a:pt x="45000" y="76666"/>
                  </a:cubicBezTo>
                  <a:cubicBezTo>
                    <a:pt x="45000" y="73333"/>
                    <a:pt x="30000" y="73333"/>
                    <a:pt x="30000" y="76666"/>
                  </a:cubicBezTo>
                  <a:cubicBezTo>
                    <a:pt x="26250" y="83333"/>
                    <a:pt x="30000" y="90000"/>
                    <a:pt x="30000" y="96666"/>
                  </a:cubicBezTo>
                  <a:cubicBezTo>
                    <a:pt x="26250" y="96666"/>
                    <a:pt x="30000" y="100000"/>
                    <a:pt x="30000" y="100000"/>
                  </a:cubicBezTo>
                  <a:cubicBezTo>
                    <a:pt x="30000" y="106666"/>
                    <a:pt x="26250" y="110000"/>
                    <a:pt x="26250" y="113333"/>
                  </a:cubicBezTo>
                  <a:cubicBezTo>
                    <a:pt x="22500" y="120000"/>
                    <a:pt x="26250" y="120000"/>
                    <a:pt x="15000" y="120000"/>
                  </a:cubicBezTo>
                  <a:cubicBezTo>
                    <a:pt x="3750" y="120000"/>
                    <a:pt x="15000" y="106666"/>
                    <a:pt x="15000" y="103333"/>
                  </a:cubicBezTo>
                  <a:cubicBezTo>
                    <a:pt x="18750" y="100000"/>
                    <a:pt x="15000" y="90000"/>
                    <a:pt x="7500" y="86666"/>
                  </a:cubicBezTo>
                  <a:cubicBezTo>
                    <a:pt x="0" y="83333"/>
                    <a:pt x="0" y="76666"/>
                    <a:pt x="3750" y="70000"/>
                  </a:cubicBezTo>
                  <a:cubicBezTo>
                    <a:pt x="7500" y="63333"/>
                    <a:pt x="7500" y="53333"/>
                    <a:pt x="11250" y="46666"/>
                  </a:cubicBezTo>
                  <a:cubicBezTo>
                    <a:pt x="18750" y="36666"/>
                    <a:pt x="15000" y="16666"/>
                    <a:pt x="33750" y="16666"/>
                  </a:cubicBezTo>
                  <a:cubicBezTo>
                    <a:pt x="37500" y="16666"/>
                    <a:pt x="33750" y="6666"/>
                    <a:pt x="41250" y="6666"/>
                  </a:cubicBezTo>
                  <a:cubicBezTo>
                    <a:pt x="52500" y="10000"/>
                    <a:pt x="60000" y="13333"/>
                    <a:pt x="67500" y="13333"/>
                  </a:cubicBezTo>
                  <a:cubicBezTo>
                    <a:pt x="75000" y="13333"/>
                    <a:pt x="86250" y="16666"/>
                    <a:pt x="93750" y="13333"/>
                  </a:cubicBezTo>
                  <a:cubicBezTo>
                    <a:pt x="97500" y="13333"/>
                    <a:pt x="120000" y="0"/>
                    <a:pt x="120000" y="3333"/>
                  </a:cubicBezTo>
                  <a:cubicBezTo>
                    <a:pt x="120000" y="6666"/>
                    <a:pt x="108750" y="16666"/>
                    <a:pt x="108750" y="20000"/>
                  </a:cubicBezTo>
                  <a:cubicBezTo>
                    <a:pt x="101250" y="23333"/>
                    <a:pt x="93750" y="23333"/>
                    <a:pt x="86250" y="23333"/>
                  </a:cubicBezTo>
                  <a:cubicBezTo>
                    <a:pt x="67500" y="20000"/>
                    <a:pt x="52500" y="23333"/>
                    <a:pt x="37500" y="23333"/>
                  </a:cubicBezTo>
                  <a:cubicBezTo>
                    <a:pt x="26250" y="20000"/>
                    <a:pt x="22500" y="23333"/>
                    <a:pt x="22500" y="33333"/>
                  </a:cubicBezTo>
                  <a:cubicBezTo>
                    <a:pt x="22500" y="43333"/>
                    <a:pt x="33750" y="43333"/>
                    <a:pt x="37500" y="50000"/>
                  </a:cubicBezTo>
                  <a:cubicBezTo>
                    <a:pt x="41250" y="56666"/>
                    <a:pt x="45000" y="50000"/>
                    <a:pt x="48750" y="46666"/>
                  </a:cubicBezTo>
                  <a:cubicBezTo>
                    <a:pt x="48750" y="43333"/>
                    <a:pt x="75000" y="40000"/>
                    <a:pt x="75000" y="43333"/>
                  </a:cubicBezTo>
                  <a:cubicBezTo>
                    <a:pt x="78750" y="43333"/>
                    <a:pt x="67500" y="53333"/>
                    <a:pt x="63750" y="53333"/>
                  </a:cubicBezTo>
                  <a:cubicBezTo>
                    <a:pt x="56250" y="60000"/>
                    <a:pt x="56250" y="60000"/>
                    <a:pt x="48750" y="56666"/>
                  </a:cubicBezTo>
                  <a:cubicBezTo>
                    <a:pt x="48750" y="56666"/>
                    <a:pt x="52500" y="66666"/>
                    <a:pt x="52500" y="66666"/>
                  </a:cubicBezTo>
                  <a:cubicBezTo>
                    <a:pt x="56250" y="70000"/>
                    <a:pt x="67500" y="76666"/>
                    <a:pt x="67500" y="83333"/>
                  </a:cubicBezTo>
                  <a:cubicBezTo>
                    <a:pt x="67500" y="86666"/>
                    <a:pt x="67500" y="90000"/>
                    <a:pt x="71250" y="93333"/>
                  </a:cubicBezTo>
                  <a:cubicBezTo>
                    <a:pt x="71250" y="93333"/>
                    <a:pt x="78750" y="100000"/>
                    <a:pt x="82500" y="100000"/>
                  </a:cubicBezTo>
                  <a:cubicBezTo>
                    <a:pt x="75000" y="103333"/>
                    <a:pt x="56250" y="110000"/>
                    <a:pt x="48750" y="106666"/>
                  </a:cubicBezTo>
                  <a:cubicBezTo>
                    <a:pt x="48750" y="103333"/>
                    <a:pt x="52500" y="110000"/>
                    <a:pt x="48750" y="106666"/>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72" name="Shape 2346">
              <a:extLst>
                <a:ext uri="{FF2B5EF4-FFF2-40B4-BE49-F238E27FC236}">
                  <a16:creationId xmlns:a16="http://schemas.microsoft.com/office/drawing/2014/main" id="{02F1056C-5D19-BD48-8DC5-97A50F620CAF}"/>
                </a:ext>
              </a:extLst>
            </p:cNvPr>
            <p:cNvSpPr/>
            <p:nvPr/>
          </p:nvSpPr>
          <p:spPr>
            <a:xfrm>
              <a:off x="17540935" y="8950242"/>
              <a:ext cx="73247" cy="140163"/>
            </a:xfrm>
            <a:custGeom>
              <a:avLst/>
              <a:gdLst/>
              <a:ahLst/>
              <a:cxnLst/>
              <a:rect l="0" t="0" r="0" b="0"/>
              <a:pathLst>
                <a:path w="120000" h="120000" extrusionOk="0">
                  <a:moveTo>
                    <a:pt x="45000" y="16000"/>
                  </a:moveTo>
                  <a:cubicBezTo>
                    <a:pt x="45000" y="8000"/>
                    <a:pt x="45000" y="8000"/>
                    <a:pt x="45000" y="0"/>
                  </a:cubicBezTo>
                  <a:cubicBezTo>
                    <a:pt x="30000" y="0"/>
                    <a:pt x="0" y="24000"/>
                    <a:pt x="0" y="32000"/>
                  </a:cubicBezTo>
                  <a:cubicBezTo>
                    <a:pt x="0" y="40000"/>
                    <a:pt x="15000" y="48000"/>
                    <a:pt x="15000" y="64000"/>
                  </a:cubicBezTo>
                  <a:cubicBezTo>
                    <a:pt x="15000" y="72000"/>
                    <a:pt x="15000" y="88000"/>
                    <a:pt x="30000" y="96000"/>
                  </a:cubicBezTo>
                  <a:cubicBezTo>
                    <a:pt x="30000" y="96000"/>
                    <a:pt x="75000" y="120000"/>
                    <a:pt x="75000" y="120000"/>
                  </a:cubicBezTo>
                  <a:cubicBezTo>
                    <a:pt x="75000" y="120000"/>
                    <a:pt x="60000" y="104000"/>
                    <a:pt x="60000" y="104000"/>
                  </a:cubicBezTo>
                  <a:cubicBezTo>
                    <a:pt x="45000" y="96000"/>
                    <a:pt x="45000" y="80000"/>
                    <a:pt x="45000" y="72000"/>
                  </a:cubicBezTo>
                  <a:cubicBezTo>
                    <a:pt x="45000" y="64000"/>
                    <a:pt x="105000" y="72000"/>
                    <a:pt x="105000" y="72000"/>
                  </a:cubicBezTo>
                  <a:cubicBezTo>
                    <a:pt x="120000" y="72000"/>
                    <a:pt x="90000" y="64000"/>
                    <a:pt x="75000" y="56000"/>
                  </a:cubicBezTo>
                  <a:cubicBezTo>
                    <a:pt x="75000" y="56000"/>
                    <a:pt x="90000" y="48000"/>
                    <a:pt x="90000" y="40000"/>
                  </a:cubicBezTo>
                  <a:cubicBezTo>
                    <a:pt x="105000" y="8000"/>
                    <a:pt x="45000" y="48000"/>
                    <a:pt x="30000" y="48000"/>
                  </a:cubicBezTo>
                  <a:cubicBezTo>
                    <a:pt x="30000" y="48000"/>
                    <a:pt x="60000" y="24000"/>
                    <a:pt x="45000" y="16000"/>
                  </a:cubicBezTo>
                  <a:cubicBezTo>
                    <a:pt x="45000" y="8000"/>
                    <a:pt x="60000" y="24000"/>
                    <a:pt x="45000" y="16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73" name="Shape 2347">
              <a:extLst>
                <a:ext uri="{FF2B5EF4-FFF2-40B4-BE49-F238E27FC236}">
                  <a16:creationId xmlns:a16="http://schemas.microsoft.com/office/drawing/2014/main" id="{701523A0-475C-6340-999D-0D11BB9A414D}"/>
                </a:ext>
              </a:extLst>
            </p:cNvPr>
            <p:cNvSpPr/>
            <p:nvPr/>
          </p:nvSpPr>
          <p:spPr>
            <a:xfrm>
              <a:off x="17579154" y="8931130"/>
              <a:ext cx="25476" cy="19113"/>
            </a:xfrm>
            <a:custGeom>
              <a:avLst/>
              <a:gdLst/>
              <a:ahLst/>
              <a:cxnLst/>
              <a:rect l="0" t="0" r="0" b="0"/>
              <a:pathLst>
                <a:path w="120000" h="120000" extrusionOk="0">
                  <a:moveTo>
                    <a:pt x="40000" y="120000"/>
                  </a:moveTo>
                  <a:cubicBezTo>
                    <a:pt x="0" y="120000"/>
                    <a:pt x="40000" y="0"/>
                    <a:pt x="80000" y="0"/>
                  </a:cubicBezTo>
                  <a:cubicBezTo>
                    <a:pt x="120000" y="0"/>
                    <a:pt x="80000" y="120000"/>
                    <a:pt x="40000" y="12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74" name="Shape 2348">
              <a:extLst>
                <a:ext uri="{FF2B5EF4-FFF2-40B4-BE49-F238E27FC236}">
                  <a16:creationId xmlns:a16="http://schemas.microsoft.com/office/drawing/2014/main" id="{DD5A461D-3B45-5844-90E8-600D15DD7838}"/>
                </a:ext>
              </a:extLst>
            </p:cNvPr>
            <p:cNvSpPr/>
            <p:nvPr/>
          </p:nvSpPr>
          <p:spPr>
            <a:xfrm>
              <a:off x="17681064" y="9052181"/>
              <a:ext cx="44585" cy="19113"/>
            </a:xfrm>
            <a:custGeom>
              <a:avLst/>
              <a:gdLst/>
              <a:ahLst/>
              <a:cxnLst/>
              <a:rect l="0" t="0" r="0" b="0"/>
              <a:pathLst>
                <a:path w="120000" h="120000" extrusionOk="0">
                  <a:moveTo>
                    <a:pt x="120000" y="60000"/>
                  </a:moveTo>
                  <a:cubicBezTo>
                    <a:pt x="120000" y="0"/>
                    <a:pt x="0" y="0"/>
                    <a:pt x="0" y="60000"/>
                  </a:cubicBezTo>
                  <a:cubicBezTo>
                    <a:pt x="0" y="60000"/>
                    <a:pt x="120000" y="120000"/>
                    <a:pt x="120000" y="6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75" name="Shape 2349">
              <a:extLst>
                <a:ext uri="{FF2B5EF4-FFF2-40B4-BE49-F238E27FC236}">
                  <a16:creationId xmlns:a16="http://schemas.microsoft.com/office/drawing/2014/main" id="{F20486BE-3F8C-3241-86DD-E0924BB1DDD7}"/>
                </a:ext>
              </a:extLst>
            </p:cNvPr>
            <p:cNvSpPr/>
            <p:nvPr/>
          </p:nvSpPr>
          <p:spPr>
            <a:xfrm>
              <a:off x="17690618" y="9061736"/>
              <a:ext cx="175159" cy="105123"/>
            </a:xfrm>
            <a:custGeom>
              <a:avLst/>
              <a:gdLst/>
              <a:ahLst/>
              <a:cxnLst/>
              <a:rect l="0" t="0" r="0" b="0"/>
              <a:pathLst>
                <a:path w="120000" h="120000" extrusionOk="0">
                  <a:moveTo>
                    <a:pt x="63157" y="10909"/>
                  </a:moveTo>
                  <a:cubicBezTo>
                    <a:pt x="56842" y="0"/>
                    <a:pt x="31578" y="21818"/>
                    <a:pt x="25263" y="32727"/>
                  </a:cubicBezTo>
                  <a:cubicBezTo>
                    <a:pt x="18947" y="32727"/>
                    <a:pt x="25263" y="32727"/>
                    <a:pt x="18947" y="43636"/>
                  </a:cubicBezTo>
                  <a:cubicBezTo>
                    <a:pt x="18947" y="54545"/>
                    <a:pt x="12631" y="32727"/>
                    <a:pt x="6315" y="32727"/>
                  </a:cubicBezTo>
                  <a:cubicBezTo>
                    <a:pt x="0" y="32727"/>
                    <a:pt x="12631" y="65454"/>
                    <a:pt x="18947" y="65454"/>
                  </a:cubicBezTo>
                  <a:cubicBezTo>
                    <a:pt x="18947" y="76363"/>
                    <a:pt x="31578" y="76363"/>
                    <a:pt x="37894" y="76363"/>
                  </a:cubicBezTo>
                  <a:cubicBezTo>
                    <a:pt x="50526" y="76363"/>
                    <a:pt x="50526" y="98181"/>
                    <a:pt x="56842" y="109090"/>
                  </a:cubicBezTo>
                  <a:cubicBezTo>
                    <a:pt x="63157" y="120000"/>
                    <a:pt x="82105" y="109090"/>
                    <a:pt x="88421" y="109090"/>
                  </a:cubicBezTo>
                  <a:cubicBezTo>
                    <a:pt x="113684" y="109090"/>
                    <a:pt x="120000" y="87272"/>
                    <a:pt x="113684" y="54545"/>
                  </a:cubicBezTo>
                  <a:cubicBezTo>
                    <a:pt x="113684" y="32727"/>
                    <a:pt x="107368" y="21818"/>
                    <a:pt x="94736" y="21818"/>
                  </a:cubicBezTo>
                  <a:cubicBezTo>
                    <a:pt x="88421" y="21818"/>
                    <a:pt x="75789" y="10909"/>
                    <a:pt x="63157" y="10909"/>
                  </a:cubicBezTo>
                  <a:cubicBezTo>
                    <a:pt x="63157" y="10909"/>
                    <a:pt x="69473" y="10909"/>
                    <a:pt x="63157" y="10909"/>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76" name="Shape 2350">
              <a:extLst>
                <a:ext uri="{FF2B5EF4-FFF2-40B4-BE49-F238E27FC236}">
                  <a16:creationId xmlns:a16="http://schemas.microsoft.com/office/drawing/2014/main" id="{7B6FE2A4-2034-DF47-ADED-1F626AE13677}"/>
                </a:ext>
              </a:extLst>
            </p:cNvPr>
            <p:cNvSpPr/>
            <p:nvPr/>
          </p:nvSpPr>
          <p:spPr>
            <a:xfrm>
              <a:off x="18521827" y="9240130"/>
              <a:ext cx="194267" cy="111493"/>
            </a:xfrm>
            <a:custGeom>
              <a:avLst/>
              <a:gdLst/>
              <a:ahLst/>
              <a:cxnLst/>
              <a:rect l="0" t="0" r="0" b="0"/>
              <a:pathLst>
                <a:path w="120000" h="120000" extrusionOk="0">
                  <a:moveTo>
                    <a:pt x="0" y="80000"/>
                  </a:moveTo>
                  <a:cubicBezTo>
                    <a:pt x="5714" y="70000"/>
                    <a:pt x="28571" y="80000"/>
                    <a:pt x="34285" y="80000"/>
                  </a:cubicBezTo>
                  <a:cubicBezTo>
                    <a:pt x="40000" y="80000"/>
                    <a:pt x="45714" y="60000"/>
                    <a:pt x="51428" y="70000"/>
                  </a:cubicBezTo>
                  <a:cubicBezTo>
                    <a:pt x="57142" y="80000"/>
                    <a:pt x="68571" y="80000"/>
                    <a:pt x="74285" y="70000"/>
                  </a:cubicBezTo>
                  <a:cubicBezTo>
                    <a:pt x="74285" y="60000"/>
                    <a:pt x="80000" y="50000"/>
                    <a:pt x="80000" y="50000"/>
                  </a:cubicBezTo>
                  <a:cubicBezTo>
                    <a:pt x="85714" y="50000"/>
                    <a:pt x="97142" y="50000"/>
                    <a:pt x="97142" y="30000"/>
                  </a:cubicBezTo>
                  <a:cubicBezTo>
                    <a:pt x="97142" y="0"/>
                    <a:pt x="120000" y="20000"/>
                    <a:pt x="114285" y="40000"/>
                  </a:cubicBezTo>
                  <a:cubicBezTo>
                    <a:pt x="108571" y="50000"/>
                    <a:pt x="102857" y="70000"/>
                    <a:pt x="102857" y="70000"/>
                  </a:cubicBezTo>
                  <a:cubicBezTo>
                    <a:pt x="85714" y="80000"/>
                    <a:pt x="80000" y="100000"/>
                    <a:pt x="62857" y="110000"/>
                  </a:cubicBezTo>
                  <a:cubicBezTo>
                    <a:pt x="51428" y="120000"/>
                    <a:pt x="0" y="110000"/>
                    <a:pt x="0" y="80000"/>
                  </a:cubicBezTo>
                  <a:cubicBezTo>
                    <a:pt x="0" y="70000"/>
                    <a:pt x="0" y="100000"/>
                    <a:pt x="0" y="8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77" name="Shape 2351">
              <a:extLst>
                <a:ext uri="{FF2B5EF4-FFF2-40B4-BE49-F238E27FC236}">
                  <a16:creationId xmlns:a16="http://schemas.microsoft.com/office/drawing/2014/main" id="{B07AE990-E0B3-1540-8987-D6F32B4357A1}"/>
                </a:ext>
              </a:extLst>
            </p:cNvPr>
            <p:cNvSpPr/>
            <p:nvPr/>
          </p:nvSpPr>
          <p:spPr>
            <a:xfrm>
              <a:off x="18802084" y="9297467"/>
              <a:ext cx="82802" cy="101936"/>
            </a:xfrm>
            <a:custGeom>
              <a:avLst/>
              <a:gdLst/>
              <a:ahLst/>
              <a:cxnLst/>
              <a:rect l="0" t="0" r="0" b="0"/>
              <a:pathLst>
                <a:path w="120000" h="120000" extrusionOk="0">
                  <a:moveTo>
                    <a:pt x="13333" y="0"/>
                  </a:moveTo>
                  <a:cubicBezTo>
                    <a:pt x="0" y="10909"/>
                    <a:pt x="66666" y="120000"/>
                    <a:pt x="106666" y="87272"/>
                  </a:cubicBezTo>
                  <a:cubicBezTo>
                    <a:pt x="120000" y="65454"/>
                    <a:pt x="80000" y="43636"/>
                    <a:pt x="66666" y="43636"/>
                  </a:cubicBezTo>
                  <a:cubicBezTo>
                    <a:pt x="53333" y="32727"/>
                    <a:pt x="13333" y="0"/>
                    <a:pt x="13333" y="0"/>
                  </a:cubicBezTo>
                  <a:cubicBezTo>
                    <a:pt x="0" y="10909"/>
                    <a:pt x="26666" y="0"/>
                    <a:pt x="13333" y="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78" name="Shape 2352">
              <a:extLst>
                <a:ext uri="{FF2B5EF4-FFF2-40B4-BE49-F238E27FC236}">
                  <a16:creationId xmlns:a16="http://schemas.microsoft.com/office/drawing/2014/main" id="{472DB886-D149-6E44-8B4F-8C5577C98205}"/>
                </a:ext>
              </a:extLst>
            </p:cNvPr>
            <p:cNvSpPr/>
            <p:nvPr/>
          </p:nvSpPr>
          <p:spPr>
            <a:xfrm>
              <a:off x="19044119" y="9485417"/>
              <a:ext cx="54138" cy="54153"/>
            </a:xfrm>
            <a:custGeom>
              <a:avLst/>
              <a:gdLst/>
              <a:ahLst/>
              <a:cxnLst/>
              <a:rect l="0" t="0" r="0" b="0"/>
              <a:pathLst>
                <a:path w="120000" h="120000" extrusionOk="0">
                  <a:moveTo>
                    <a:pt x="120000" y="80000"/>
                  </a:moveTo>
                  <a:cubicBezTo>
                    <a:pt x="120000" y="40000"/>
                    <a:pt x="0" y="0"/>
                    <a:pt x="20000" y="40000"/>
                  </a:cubicBezTo>
                  <a:cubicBezTo>
                    <a:pt x="20000" y="60000"/>
                    <a:pt x="120000" y="100000"/>
                    <a:pt x="120000" y="80000"/>
                  </a:cubicBezTo>
                  <a:cubicBezTo>
                    <a:pt x="120000" y="60000"/>
                    <a:pt x="120000" y="120000"/>
                    <a:pt x="120000" y="8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79" name="Shape 2353">
              <a:extLst>
                <a:ext uri="{FF2B5EF4-FFF2-40B4-BE49-F238E27FC236}">
                  <a16:creationId xmlns:a16="http://schemas.microsoft.com/office/drawing/2014/main" id="{3D458F06-A632-9443-9B2D-B81E4E64CE5E}"/>
                </a:ext>
              </a:extLst>
            </p:cNvPr>
            <p:cNvSpPr/>
            <p:nvPr/>
          </p:nvSpPr>
          <p:spPr>
            <a:xfrm>
              <a:off x="18986796" y="9399406"/>
              <a:ext cx="85988" cy="57338"/>
            </a:xfrm>
            <a:custGeom>
              <a:avLst/>
              <a:gdLst/>
              <a:ahLst/>
              <a:cxnLst/>
              <a:rect l="0" t="0" r="0" b="0"/>
              <a:pathLst>
                <a:path w="120000" h="120000" extrusionOk="0">
                  <a:moveTo>
                    <a:pt x="106666" y="120000"/>
                  </a:moveTo>
                  <a:cubicBezTo>
                    <a:pt x="80000" y="100000"/>
                    <a:pt x="40000" y="0"/>
                    <a:pt x="0" y="20000"/>
                  </a:cubicBezTo>
                  <a:cubicBezTo>
                    <a:pt x="0" y="40000"/>
                    <a:pt x="40000" y="60000"/>
                    <a:pt x="40000" y="80000"/>
                  </a:cubicBezTo>
                  <a:cubicBezTo>
                    <a:pt x="66666" y="80000"/>
                    <a:pt x="80000" y="100000"/>
                    <a:pt x="106666" y="120000"/>
                  </a:cubicBezTo>
                  <a:cubicBezTo>
                    <a:pt x="120000" y="120000"/>
                    <a:pt x="80000" y="100000"/>
                    <a:pt x="106666" y="12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80" name="Shape 2354">
              <a:extLst>
                <a:ext uri="{FF2B5EF4-FFF2-40B4-BE49-F238E27FC236}">
                  <a16:creationId xmlns:a16="http://schemas.microsoft.com/office/drawing/2014/main" id="{0D8B99B2-F83A-B146-9BC3-31B58267B5C5}"/>
                </a:ext>
              </a:extLst>
            </p:cNvPr>
            <p:cNvSpPr/>
            <p:nvPr/>
          </p:nvSpPr>
          <p:spPr>
            <a:xfrm>
              <a:off x="18903993" y="9361177"/>
              <a:ext cx="38216" cy="47785"/>
            </a:xfrm>
            <a:custGeom>
              <a:avLst/>
              <a:gdLst/>
              <a:ahLst/>
              <a:cxnLst/>
              <a:rect l="0" t="0" r="0" b="0"/>
              <a:pathLst>
                <a:path w="120000" h="120000" extrusionOk="0">
                  <a:moveTo>
                    <a:pt x="120000" y="96000"/>
                  </a:moveTo>
                  <a:cubicBezTo>
                    <a:pt x="120000" y="48000"/>
                    <a:pt x="0" y="0"/>
                    <a:pt x="0" y="0"/>
                  </a:cubicBezTo>
                  <a:cubicBezTo>
                    <a:pt x="0" y="24000"/>
                    <a:pt x="120000" y="120000"/>
                    <a:pt x="120000" y="96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81" name="Shape 2355">
              <a:extLst>
                <a:ext uri="{FF2B5EF4-FFF2-40B4-BE49-F238E27FC236}">
                  <a16:creationId xmlns:a16="http://schemas.microsoft.com/office/drawing/2014/main" id="{75F15E82-B76E-4848-9D6D-E20D5FD6C6A3}"/>
                </a:ext>
              </a:extLst>
            </p:cNvPr>
            <p:cNvSpPr/>
            <p:nvPr/>
          </p:nvSpPr>
          <p:spPr>
            <a:xfrm>
              <a:off x="19247940" y="10017401"/>
              <a:ext cx="149679" cy="111493"/>
            </a:xfrm>
            <a:custGeom>
              <a:avLst/>
              <a:gdLst/>
              <a:ahLst/>
              <a:cxnLst/>
              <a:rect l="0" t="0" r="0" b="0"/>
              <a:pathLst>
                <a:path w="120000" h="120000" extrusionOk="0">
                  <a:moveTo>
                    <a:pt x="112500" y="110000"/>
                  </a:moveTo>
                  <a:cubicBezTo>
                    <a:pt x="120000" y="120000"/>
                    <a:pt x="22500" y="0"/>
                    <a:pt x="15000" y="0"/>
                  </a:cubicBezTo>
                  <a:cubicBezTo>
                    <a:pt x="0" y="0"/>
                    <a:pt x="52500" y="90000"/>
                    <a:pt x="112500" y="11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82" name="Shape 2356">
              <a:extLst>
                <a:ext uri="{FF2B5EF4-FFF2-40B4-BE49-F238E27FC236}">
                  <a16:creationId xmlns:a16="http://schemas.microsoft.com/office/drawing/2014/main" id="{76403722-9F23-AF45-99F2-22F592AB778F}"/>
                </a:ext>
              </a:extLst>
            </p:cNvPr>
            <p:cNvSpPr/>
            <p:nvPr/>
          </p:nvSpPr>
          <p:spPr>
            <a:xfrm>
              <a:off x="19649214" y="10727777"/>
              <a:ext cx="105096" cy="130607"/>
            </a:xfrm>
            <a:custGeom>
              <a:avLst/>
              <a:gdLst/>
              <a:ahLst/>
              <a:cxnLst/>
              <a:rect l="0" t="0" r="0" b="0"/>
              <a:pathLst>
                <a:path w="120000" h="120000" extrusionOk="0">
                  <a:moveTo>
                    <a:pt x="120000" y="119999"/>
                  </a:moveTo>
                  <a:cubicBezTo>
                    <a:pt x="109090" y="102857"/>
                    <a:pt x="120000" y="94285"/>
                    <a:pt x="98181" y="85714"/>
                  </a:cubicBezTo>
                  <a:cubicBezTo>
                    <a:pt x="87272" y="68571"/>
                    <a:pt x="98181" y="68571"/>
                    <a:pt x="98181" y="59999"/>
                  </a:cubicBezTo>
                  <a:cubicBezTo>
                    <a:pt x="87272" y="42857"/>
                    <a:pt x="0" y="8571"/>
                    <a:pt x="0" y="0"/>
                  </a:cubicBezTo>
                  <a:cubicBezTo>
                    <a:pt x="0" y="8571"/>
                    <a:pt x="32727" y="25714"/>
                    <a:pt x="32727" y="34285"/>
                  </a:cubicBezTo>
                  <a:cubicBezTo>
                    <a:pt x="43636" y="51428"/>
                    <a:pt x="43636" y="59999"/>
                    <a:pt x="54545" y="68571"/>
                  </a:cubicBezTo>
                  <a:cubicBezTo>
                    <a:pt x="65454" y="77142"/>
                    <a:pt x="98181" y="85714"/>
                    <a:pt x="87272" y="94285"/>
                  </a:cubicBezTo>
                  <a:cubicBezTo>
                    <a:pt x="87272" y="111428"/>
                    <a:pt x="98181" y="111428"/>
                    <a:pt x="120000" y="119999"/>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83" name="Shape 2357">
              <a:extLst>
                <a:ext uri="{FF2B5EF4-FFF2-40B4-BE49-F238E27FC236}">
                  <a16:creationId xmlns:a16="http://schemas.microsoft.com/office/drawing/2014/main" id="{266DCC09-C87B-1C49-8137-7E52A66EDEAC}"/>
                </a:ext>
              </a:extLst>
            </p:cNvPr>
            <p:cNvSpPr/>
            <p:nvPr/>
          </p:nvSpPr>
          <p:spPr>
            <a:xfrm>
              <a:off x="19677877" y="10848829"/>
              <a:ext cx="242034" cy="283514"/>
            </a:xfrm>
            <a:custGeom>
              <a:avLst/>
              <a:gdLst/>
              <a:ahLst/>
              <a:cxnLst/>
              <a:rect l="0" t="0" r="0" b="0"/>
              <a:pathLst>
                <a:path w="120000" h="120000" extrusionOk="0">
                  <a:moveTo>
                    <a:pt x="36923" y="8000"/>
                  </a:moveTo>
                  <a:cubicBezTo>
                    <a:pt x="32307" y="8000"/>
                    <a:pt x="32307" y="36000"/>
                    <a:pt x="32307" y="44000"/>
                  </a:cubicBezTo>
                  <a:cubicBezTo>
                    <a:pt x="27692" y="52000"/>
                    <a:pt x="0" y="64000"/>
                    <a:pt x="23076" y="72000"/>
                  </a:cubicBezTo>
                  <a:cubicBezTo>
                    <a:pt x="36923" y="76000"/>
                    <a:pt x="50769" y="84000"/>
                    <a:pt x="41538" y="100000"/>
                  </a:cubicBezTo>
                  <a:cubicBezTo>
                    <a:pt x="27692" y="120000"/>
                    <a:pt x="50769" y="116000"/>
                    <a:pt x="64615" y="104000"/>
                  </a:cubicBezTo>
                  <a:cubicBezTo>
                    <a:pt x="69230" y="100000"/>
                    <a:pt x="73846" y="92000"/>
                    <a:pt x="78461" y="88000"/>
                  </a:cubicBezTo>
                  <a:cubicBezTo>
                    <a:pt x="87692" y="76000"/>
                    <a:pt x="83076" y="76000"/>
                    <a:pt x="83076" y="64000"/>
                  </a:cubicBezTo>
                  <a:cubicBezTo>
                    <a:pt x="87692" y="56000"/>
                    <a:pt x="96923" y="56000"/>
                    <a:pt x="101538" y="56000"/>
                  </a:cubicBezTo>
                  <a:cubicBezTo>
                    <a:pt x="106153" y="60000"/>
                    <a:pt x="115384" y="44000"/>
                    <a:pt x="120000" y="40000"/>
                  </a:cubicBezTo>
                  <a:cubicBezTo>
                    <a:pt x="120000" y="36000"/>
                    <a:pt x="120000" y="24000"/>
                    <a:pt x="115384" y="24000"/>
                  </a:cubicBezTo>
                  <a:cubicBezTo>
                    <a:pt x="106153" y="24000"/>
                    <a:pt x="96923" y="32000"/>
                    <a:pt x="92307" y="32000"/>
                  </a:cubicBezTo>
                  <a:cubicBezTo>
                    <a:pt x="83076" y="32000"/>
                    <a:pt x="69230" y="28000"/>
                    <a:pt x="64615" y="20000"/>
                  </a:cubicBezTo>
                  <a:cubicBezTo>
                    <a:pt x="60000" y="16000"/>
                    <a:pt x="60000" y="0"/>
                    <a:pt x="50769" y="0"/>
                  </a:cubicBezTo>
                  <a:cubicBezTo>
                    <a:pt x="50769" y="0"/>
                    <a:pt x="50769" y="12000"/>
                    <a:pt x="50769" y="12000"/>
                  </a:cubicBezTo>
                  <a:cubicBezTo>
                    <a:pt x="46153" y="12000"/>
                    <a:pt x="41538" y="4000"/>
                    <a:pt x="36923" y="8000"/>
                  </a:cubicBezTo>
                  <a:cubicBezTo>
                    <a:pt x="32307" y="8000"/>
                    <a:pt x="41538" y="4000"/>
                    <a:pt x="36923" y="8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84" name="Shape 2358">
              <a:extLst>
                <a:ext uri="{FF2B5EF4-FFF2-40B4-BE49-F238E27FC236}">
                  <a16:creationId xmlns:a16="http://schemas.microsoft.com/office/drawing/2014/main" id="{7EFF0434-1ABB-4A45-AFCD-351ADF18403C}"/>
                </a:ext>
              </a:extLst>
            </p:cNvPr>
            <p:cNvSpPr/>
            <p:nvPr/>
          </p:nvSpPr>
          <p:spPr>
            <a:xfrm>
              <a:off x="19359408" y="11055887"/>
              <a:ext cx="366242" cy="356781"/>
            </a:xfrm>
            <a:custGeom>
              <a:avLst/>
              <a:gdLst/>
              <a:ahLst/>
              <a:cxnLst/>
              <a:rect l="0" t="0" r="0" b="0"/>
              <a:pathLst>
                <a:path w="120000" h="120000" extrusionOk="0">
                  <a:moveTo>
                    <a:pt x="101538" y="12631"/>
                  </a:moveTo>
                  <a:cubicBezTo>
                    <a:pt x="101538" y="12631"/>
                    <a:pt x="98461" y="0"/>
                    <a:pt x="92307" y="3157"/>
                  </a:cubicBezTo>
                  <a:cubicBezTo>
                    <a:pt x="83076" y="9473"/>
                    <a:pt x="86153" y="15789"/>
                    <a:pt x="80000" y="25263"/>
                  </a:cubicBezTo>
                  <a:cubicBezTo>
                    <a:pt x="76923" y="28421"/>
                    <a:pt x="73846" y="37894"/>
                    <a:pt x="67692" y="41052"/>
                  </a:cubicBezTo>
                  <a:cubicBezTo>
                    <a:pt x="61538" y="50526"/>
                    <a:pt x="55384" y="53684"/>
                    <a:pt x="46153" y="56842"/>
                  </a:cubicBezTo>
                  <a:cubicBezTo>
                    <a:pt x="40000" y="60000"/>
                    <a:pt x="36923" y="66315"/>
                    <a:pt x="27692" y="69473"/>
                  </a:cubicBezTo>
                  <a:cubicBezTo>
                    <a:pt x="21538" y="72631"/>
                    <a:pt x="21538" y="85263"/>
                    <a:pt x="12307" y="85263"/>
                  </a:cubicBezTo>
                  <a:cubicBezTo>
                    <a:pt x="0" y="88421"/>
                    <a:pt x="12307" y="97894"/>
                    <a:pt x="6153" y="104210"/>
                  </a:cubicBezTo>
                  <a:cubicBezTo>
                    <a:pt x="3076" y="104210"/>
                    <a:pt x="0" y="104210"/>
                    <a:pt x="3076" y="107368"/>
                  </a:cubicBezTo>
                  <a:cubicBezTo>
                    <a:pt x="3076" y="110526"/>
                    <a:pt x="3076" y="110526"/>
                    <a:pt x="9230" y="110526"/>
                  </a:cubicBezTo>
                  <a:cubicBezTo>
                    <a:pt x="15384" y="110526"/>
                    <a:pt x="24615" y="116842"/>
                    <a:pt x="30769" y="116842"/>
                  </a:cubicBezTo>
                  <a:cubicBezTo>
                    <a:pt x="43076" y="120000"/>
                    <a:pt x="49230" y="113684"/>
                    <a:pt x="58461" y="107368"/>
                  </a:cubicBezTo>
                  <a:cubicBezTo>
                    <a:pt x="64615" y="101052"/>
                    <a:pt x="67692" y="94736"/>
                    <a:pt x="67692" y="85263"/>
                  </a:cubicBezTo>
                  <a:cubicBezTo>
                    <a:pt x="70769" y="75789"/>
                    <a:pt x="73846" y="75789"/>
                    <a:pt x="83076" y="69473"/>
                  </a:cubicBezTo>
                  <a:cubicBezTo>
                    <a:pt x="86153" y="69473"/>
                    <a:pt x="86153" y="66315"/>
                    <a:pt x="89230" y="66315"/>
                  </a:cubicBezTo>
                  <a:cubicBezTo>
                    <a:pt x="92307" y="66315"/>
                    <a:pt x="95384" y="66315"/>
                    <a:pt x="101538" y="66315"/>
                  </a:cubicBezTo>
                  <a:cubicBezTo>
                    <a:pt x="104615" y="63157"/>
                    <a:pt x="101538" y="60000"/>
                    <a:pt x="98461" y="60000"/>
                  </a:cubicBezTo>
                  <a:cubicBezTo>
                    <a:pt x="95384" y="56842"/>
                    <a:pt x="95384" y="56842"/>
                    <a:pt x="98461" y="53684"/>
                  </a:cubicBezTo>
                  <a:cubicBezTo>
                    <a:pt x="104615" y="44210"/>
                    <a:pt x="110769" y="37894"/>
                    <a:pt x="116923" y="28421"/>
                  </a:cubicBezTo>
                  <a:cubicBezTo>
                    <a:pt x="116923" y="25263"/>
                    <a:pt x="116923" y="22105"/>
                    <a:pt x="116923" y="18947"/>
                  </a:cubicBezTo>
                  <a:cubicBezTo>
                    <a:pt x="116923" y="15789"/>
                    <a:pt x="116923" y="15789"/>
                    <a:pt x="116923" y="12631"/>
                  </a:cubicBezTo>
                  <a:cubicBezTo>
                    <a:pt x="120000" y="9473"/>
                    <a:pt x="113846" y="12631"/>
                    <a:pt x="113846" y="12631"/>
                  </a:cubicBezTo>
                  <a:cubicBezTo>
                    <a:pt x="113846" y="9473"/>
                    <a:pt x="113846" y="9473"/>
                    <a:pt x="113846" y="6315"/>
                  </a:cubicBezTo>
                  <a:cubicBezTo>
                    <a:pt x="110769" y="9473"/>
                    <a:pt x="107692" y="15789"/>
                    <a:pt x="101538" y="12631"/>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85" name="Shape 2359">
              <a:extLst>
                <a:ext uri="{FF2B5EF4-FFF2-40B4-BE49-F238E27FC236}">
                  <a16:creationId xmlns:a16="http://schemas.microsoft.com/office/drawing/2014/main" id="{64C8DA39-0CB2-B440-84B3-BD7EB9F4F80E}"/>
                </a:ext>
              </a:extLst>
            </p:cNvPr>
            <p:cNvSpPr/>
            <p:nvPr/>
          </p:nvSpPr>
          <p:spPr>
            <a:xfrm>
              <a:off x="19416730" y="11412672"/>
              <a:ext cx="19108" cy="19113"/>
            </a:xfrm>
            <a:custGeom>
              <a:avLst/>
              <a:gdLst/>
              <a:ahLst/>
              <a:cxnLst/>
              <a:rect l="0" t="0" r="0" b="0"/>
              <a:pathLst>
                <a:path w="120000" h="120000" extrusionOk="0">
                  <a:moveTo>
                    <a:pt x="120000" y="120000"/>
                  </a:moveTo>
                  <a:cubicBezTo>
                    <a:pt x="120000" y="60000"/>
                    <a:pt x="60000" y="60000"/>
                    <a:pt x="60000" y="0"/>
                  </a:cubicBezTo>
                  <a:cubicBezTo>
                    <a:pt x="0" y="60000"/>
                    <a:pt x="0" y="60000"/>
                    <a:pt x="0" y="120000"/>
                  </a:cubicBezTo>
                  <a:cubicBezTo>
                    <a:pt x="60000" y="120000"/>
                    <a:pt x="120000" y="120000"/>
                    <a:pt x="120000" y="12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86" name="Shape 2360">
              <a:extLst>
                <a:ext uri="{FF2B5EF4-FFF2-40B4-BE49-F238E27FC236}">
                  <a16:creationId xmlns:a16="http://schemas.microsoft.com/office/drawing/2014/main" id="{578EBFE3-0E58-0242-A7EA-6CCEB05D6988}"/>
                </a:ext>
              </a:extLst>
            </p:cNvPr>
            <p:cNvSpPr/>
            <p:nvPr/>
          </p:nvSpPr>
          <p:spPr>
            <a:xfrm>
              <a:off x="18343483" y="11065447"/>
              <a:ext cx="178346" cy="168834"/>
            </a:xfrm>
            <a:custGeom>
              <a:avLst/>
              <a:gdLst/>
              <a:ahLst/>
              <a:cxnLst/>
              <a:rect l="0" t="0" r="0" b="0"/>
              <a:pathLst>
                <a:path w="120000" h="120000" extrusionOk="0">
                  <a:moveTo>
                    <a:pt x="0" y="13333"/>
                  </a:moveTo>
                  <a:cubicBezTo>
                    <a:pt x="0" y="20000"/>
                    <a:pt x="12631" y="40000"/>
                    <a:pt x="12631" y="46666"/>
                  </a:cubicBezTo>
                  <a:cubicBezTo>
                    <a:pt x="18947" y="53333"/>
                    <a:pt x="25263" y="60000"/>
                    <a:pt x="25263" y="66666"/>
                  </a:cubicBezTo>
                  <a:cubicBezTo>
                    <a:pt x="25263" y="73333"/>
                    <a:pt x="18947" y="73333"/>
                    <a:pt x="18947" y="80000"/>
                  </a:cubicBezTo>
                  <a:cubicBezTo>
                    <a:pt x="25263" y="100000"/>
                    <a:pt x="44210" y="113333"/>
                    <a:pt x="56842" y="120000"/>
                  </a:cubicBezTo>
                  <a:cubicBezTo>
                    <a:pt x="69473" y="120000"/>
                    <a:pt x="69473" y="106666"/>
                    <a:pt x="75789" y="100000"/>
                  </a:cubicBezTo>
                  <a:cubicBezTo>
                    <a:pt x="75789" y="100000"/>
                    <a:pt x="82105" y="113333"/>
                    <a:pt x="82105" y="113333"/>
                  </a:cubicBezTo>
                  <a:cubicBezTo>
                    <a:pt x="82105" y="106666"/>
                    <a:pt x="82105" y="93333"/>
                    <a:pt x="88421" y="93333"/>
                  </a:cubicBezTo>
                  <a:cubicBezTo>
                    <a:pt x="94736" y="86666"/>
                    <a:pt x="94736" y="100000"/>
                    <a:pt x="101052" y="100000"/>
                  </a:cubicBezTo>
                  <a:cubicBezTo>
                    <a:pt x="94736" y="100000"/>
                    <a:pt x="113684" y="53333"/>
                    <a:pt x="113684" y="46666"/>
                  </a:cubicBezTo>
                  <a:cubicBezTo>
                    <a:pt x="113684" y="40000"/>
                    <a:pt x="120000" y="0"/>
                    <a:pt x="101052" y="6666"/>
                  </a:cubicBezTo>
                  <a:cubicBezTo>
                    <a:pt x="82105" y="13333"/>
                    <a:pt x="63157" y="26666"/>
                    <a:pt x="44210" y="20000"/>
                  </a:cubicBezTo>
                  <a:cubicBezTo>
                    <a:pt x="37894" y="20000"/>
                    <a:pt x="6315" y="0"/>
                    <a:pt x="0" y="13333"/>
                  </a:cubicBezTo>
                  <a:cubicBezTo>
                    <a:pt x="0" y="20000"/>
                    <a:pt x="6315" y="0"/>
                    <a:pt x="0" y="13333"/>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87" name="Shape 2361">
              <a:extLst>
                <a:ext uri="{FF2B5EF4-FFF2-40B4-BE49-F238E27FC236}">
                  <a16:creationId xmlns:a16="http://schemas.microsoft.com/office/drawing/2014/main" id="{2818570E-B91B-D642-A1A9-F78233546F7D}"/>
                </a:ext>
              </a:extLst>
            </p:cNvPr>
            <p:cNvSpPr/>
            <p:nvPr/>
          </p:nvSpPr>
          <p:spPr>
            <a:xfrm>
              <a:off x="18483612" y="11017663"/>
              <a:ext cx="28661" cy="47785"/>
            </a:xfrm>
            <a:custGeom>
              <a:avLst/>
              <a:gdLst/>
              <a:ahLst/>
              <a:cxnLst/>
              <a:rect l="0" t="0" r="0" b="0"/>
              <a:pathLst>
                <a:path w="120000" h="120000" extrusionOk="0">
                  <a:moveTo>
                    <a:pt x="120000" y="96000"/>
                  </a:moveTo>
                  <a:cubicBezTo>
                    <a:pt x="120000" y="120000"/>
                    <a:pt x="0" y="24000"/>
                    <a:pt x="40000" y="0"/>
                  </a:cubicBezTo>
                  <a:cubicBezTo>
                    <a:pt x="80000" y="0"/>
                    <a:pt x="120000" y="24000"/>
                    <a:pt x="120000" y="96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88" name="Shape 2362">
              <a:extLst>
                <a:ext uri="{FF2B5EF4-FFF2-40B4-BE49-F238E27FC236}">
                  <a16:creationId xmlns:a16="http://schemas.microsoft.com/office/drawing/2014/main" id="{E289BB75-7B7E-7E4B-B522-1A8D56EC46BF}"/>
                </a:ext>
              </a:extLst>
            </p:cNvPr>
            <p:cNvSpPr/>
            <p:nvPr/>
          </p:nvSpPr>
          <p:spPr>
            <a:xfrm>
              <a:off x="18295714" y="11017663"/>
              <a:ext cx="19108" cy="19113"/>
            </a:xfrm>
            <a:custGeom>
              <a:avLst/>
              <a:gdLst/>
              <a:ahLst/>
              <a:cxnLst/>
              <a:rect l="0" t="0" r="0" b="0"/>
              <a:pathLst>
                <a:path w="120000" h="120000" extrusionOk="0">
                  <a:moveTo>
                    <a:pt x="60000" y="120000"/>
                  </a:moveTo>
                  <a:cubicBezTo>
                    <a:pt x="0" y="120000"/>
                    <a:pt x="0" y="0"/>
                    <a:pt x="60000" y="0"/>
                  </a:cubicBezTo>
                  <a:cubicBezTo>
                    <a:pt x="120000" y="0"/>
                    <a:pt x="120000" y="120000"/>
                    <a:pt x="60000" y="12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89" name="Shape 2363">
              <a:extLst>
                <a:ext uri="{FF2B5EF4-FFF2-40B4-BE49-F238E27FC236}">
                  <a16:creationId xmlns:a16="http://schemas.microsoft.com/office/drawing/2014/main" id="{4389EE4C-439B-6746-9F9B-6AA1793DE8F6}"/>
                </a:ext>
              </a:extLst>
            </p:cNvPr>
            <p:cNvSpPr/>
            <p:nvPr/>
          </p:nvSpPr>
          <p:spPr>
            <a:xfrm>
              <a:off x="15384885" y="8593464"/>
              <a:ext cx="101909" cy="168834"/>
            </a:xfrm>
            <a:custGeom>
              <a:avLst/>
              <a:gdLst/>
              <a:ahLst/>
              <a:cxnLst/>
              <a:rect l="0" t="0" r="0" b="0"/>
              <a:pathLst>
                <a:path w="120000" h="120000" extrusionOk="0">
                  <a:moveTo>
                    <a:pt x="21818" y="0"/>
                  </a:moveTo>
                  <a:cubicBezTo>
                    <a:pt x="21818" y="0"/>
                    <a:pt x="21818" y="0"/>
                    <a:pt x="10909" y="0"/>
                  </a:cubicBezTo>
                  <a:cubicBezTo>
                    <a:pt x="10909" y="0"/>
                    <a:pt x="10909" y="20000"/>
                    <a:pt x="10909" y="20000"/>
                  </a:cubicBezTo>
                  <a:cubicBezTo>
                    <a:pt x="10909" y="33333"/>
                    <a:pt x="0" y="40000"/>
                    <a:pt x="0" y="53333"/>
                  </a:cubicBezTo>
                  <a:cubicBezTo>
                    <a:pt x="0" y="73333"/>
                    <a:pt x="0" y="120000"/>
                    <a:pt x="43636" y="120000"/>
                  </a:cubicBezTo>
                  <a:cubicBezTo>
                    <a:pt x="65454" y="120000"/>
                    <a:pt x="98181" y="113333"/>
                    <a:pt x="98181" y="100000"/>
                  </a:cubicBezTo>
                  <a:cubicBezTo>
                    <a:pt x="120000" y="86666"/>
                    <a:pt x="98181" y="66666"/>
                    <a:pt x="98181" y="53333"/>
                  </a:cubicBezTo>
                  <a:cubicBezTo>
                    <a:pt x="76363" y="40000"/>
                    <a:pt x="54545" y="0"/>
                    <a:pt x="21818" y="0"/>
                  </a:cubicBezTo>
                  <a:cubicBezTo>
                    <a:pt x="10909" y="0"/>
                    <a:pt x="32727" y="0"/>
                    <a:pt x="21818" y="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90" name="Shape 2364">
              <a:extLst>
                <a:ext uri="{FF2B5EF4-FFF2-40B4-BE49-F238E27FC236}">
                  <a16:creationId xmlns:a16="http://schemas.microsoft.com/office/drawing/2014/main" id="{50703E14-43E4-D142-B760-7F3CE807FE67}"/>
                </a:ext>
              </a:extLst>
            </p:cNvPr>
            <p:cNvSpPr/>
            <p:nvPr/>
          </p:nvSpPr>
          <p:spPr>
            <a:xfrm>
              <a:off x="13665144" y="9606468"/>
              <a:ext cx="337579" cy="653035"/>
            </a:xfrm>
            <a:custGeom>
              <a:avLst/>
              <a:gdLst/>
              <a:ahLst/>
              <a:cxnLst/>
              <a:rect l="0" t="0" r="0" b="0"/>
              <a:pathLst>
                <a:path w="120000" h="120000" extrusionOk="0">
                  <a:moveTo>
                    <a:pt x="103333" y="3428"/>
                  </a:moveTo>
                  <a:cubicBezTo>
                    <a:pt x="103333" y="3428"/>
                    <a:pt x="100000" y="0"/>
                    <a:pt x="96666" y="0"/>
                  </a:cubicBezTo>
                  <a:cubicBezTo>
                    <a:pt x="96666" y="1714"/>
                    <a:pt x="93333" y="3428"/>
                    <a:pt x="93333" y="5142"/>
                  </a:cubicBezTo>
                  <a:cubicBezTo>
                    <a:pt x="90000" y="8571"/>
                    <a:pt x="90000" y="10285"/>
                    <a:pt x="86666" y="13714"/>
                  </a:cubicBezTo>
                  <a:cubicBezTo>
                    <a:pt x="83333" y="15428"/>
                    <a:pt x="80000" y="13714"/>
                    <a:pt x="76666" y="13714"/>
                  </a:cubicBezTo>
                  <a:cubicBezTo>
                    <a:pt x="76666" y="13714"/>
                    <a:pt x="80000" y="15428"/>
                    <a:pt x="76666" y="17142"/>
                  </a:cubicBezTo>
                  <a:cubicBezTo>
                    <a:pt x="76666" y="18857"/>
                    <a:pt x="73333" y="18857"/>
                    <a:pt x="73333" y="20571"/>
                  </a:cubicBezTo>
                  <a:cubicBezTo>
                    <a:pt x="73333" y="20571"/>
                    <a:pt x="76666" y="22285"/>
                    <a:pt x="76666" y="22285"/>
                  </a:cubicBezTo>
                  <a:cubicBezTo>
                    <a:pt x="76666" y="24000"/>
                    <a:pt x="73333" y="22285"/>
                    <a:pt x="70000" y="24000"/>
                  </a:cubicBezTo>
                  <a:cubicBezTo>
                    <a:pt x="66666" y="24000"/>
                    <a:pt x="66666" y="25714"/>
                    <a:pt x="63333" y="27428"/>
                  </a:cubicBezTo>
                  <a:cubicBezTo>
                    <a:pt x="60000" y="29142"/>
                    <a:pt x="56666" y="29142"/>
                    <a:pt x="50000" y="30857"/>
                  </a:cubicBezTo>
                  <a:cubicBezTo>
                    <a:pt x="46666" y="30857"/>
                    <a:pt x="53333" y="32571"/>
                    <a:pt x="50000" y="32571"/>
                  </a:cubicBezTo>
                  <a:cubicBezTo>
                    <a:pt x="50000" y="34285"/>
                    <a:pt x="43333" y="30857"/>
                    <a:pt x="43333" y="32571"/>
                  </a:cubicBezTo>
                  <a:cubicBezTo>
                    <a:pt x="36666" y="34285"/>
                    <a:pt x="33333" y="34285"/>
                    <a:pt x="26666" y="36000"/>
                  </a:cubicBezTo>
                  <a:cubicBezTo>
                    <a:pt x="23333" y="36000"/>
                    <a:pt x="20000" y="34285"/>
                    <a:pt x="20000" y="36000"/>
                  </a:cubicBezTo>
                  <a:cubicBezTo>
                    <a:pt x="16666" y="39428"/>
                    <a:pt x="16666" y="42857"/>
                    <a:pt x="13333" y="46285"/>
                  </a:cubicBezTo>
                  <a:cubicBezTo>
                    <a:pt x="10000" y="54857"/>
                    <a:pt x="26666" y="66857"/>
                    <a:pt x="13333" y="75428"/>
                  </a:cubicBezTo>
                  <a:cubicBezTo>
                    <a:pt x="10000" y="78857"/>
                    <a:pt x="3333" y="82285"/>
                    <a:pt x="0" y="87428"/>
                  </a:cubicBezTo>
                  <a:cubicBezTo>
                    <a:pt x="0" y="89142"/>
                    <a:pt x="0" y="92571"/>
                    <a:pt x="0" y="94285"/>
                  </a:cubicBezTo>
                  <a:cubicBezTo>
                    <a:pt x="3333" y="96000"/>
                    <a:pt x="10000" y="97714"/>
                    <a:pt x="6666" y="101142"/>
                  </a:cubicBezTo>
                  <a:cubicBezTo>
                    <a:pt x="3333" y="106285"/>
                    <a:pt x="6666" y="113142"/>
                    <a:pt x="16666" y="116571"/>
                  </a:cubicBezTo>
                  <a:cubicBezTo>
                    <a:pt x="26666" y="120000"/>
                    <a:pt x="36666" y="120000"/>
                    <a:pt x="53333" y="116571"/>
                  </a:cubicBezTo>
                  <a:cubicBezTo>
                    <a:pt x="70000" y="113142"/>
                    <a:pt x="73333" y="94285"/>
                    <a:pt x="80000" y="85714"/>
                  </a:cubicBezTo>
                  <a:cubicBezTo>
                    <a:pt x="86666" y="73714"/>
                    <a:pt x="96666" y="63428"/>
                    <a:pt x="103333" y="51428"/>
                  </a:cubicBezTo>
                  <a:cubicBezTo>
                    <a:pt x="103333" y="48000"/>
                    <a:pt x="103333" y="42857"/>
                    <a:pt x="106666" y="39428"/>
                  </a:cubicBezTo>
                  <a:cubicBezTo>
                    <a:pt x="110000" y="37714"/>
                    <a:pt x="103333" y="24000"/>
                    <a:pt x="113333" y="32571"/>
                  </a:cubicBezTo>
                  <a:cubicBezTo>
                    <a:pt x="116666" y="34285"/>
                    <a:pt x="116666" y="30857"/>
                    <a:pt x="120000" y="29142"/>
                  </a:cubicBezTo>
                  <a:cubicBezTo>
                    <a:pt x="120000" y="25714"/>
                    <a:pt x="116666" y="22285"/>
                    <a:pt x="116666" y="18857"/>
                  </a:cubicBezTo>
                  <a:cubicBezTo>
                    <a:pt x="113333" y="15428"/>
                    <a:pt x="110000" y="6857"/>
                    <a:pt x="103333" y="3428"/>
                  </a:cubicBezTo>
                  <a:cubicBezTo>
                    <a:pt x="100000" y="1714"/>
                    <a:pt x="106666" y="3428"/>
                    <a:pt x="103333" y="3428"/>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91" name="Shape 2365">
              <a:extLst>
                <a:ext uri="{FF2B5EF4-FFF2-40B4-BE49-F238E27FC236}">
                  <a16:creationId xmlns:a16="http://schemas.microsoft.com/office/drawing/2014/main" id="{595D13B5-C447-014E-8CA4-0CA2B631C501}"/>
                </a:ext>
              </a:extLst>
            </p:cNvPr>
            <p:cNvSpPr/>
            <p:nvPr/>
          </p:nvSpPr>
          <p:spPr>
            <a:xfrm>
              <a:off x="14413548" y="5028837"/>
              <a:ext cx="101909" cy="76451"/>
            </a:xfrm>
            <a:custGeom>
              <a:avLst/>
              <a:gdLst/>
              <a:ahLst/>
              <a:cxnLst/>
              <a:rect l="0" t="0" r="0" b="0"/>
              <a:pathLst>
                <a:path w="120000" h="120000" extrusionOk="0">
                  <a:moveTo>
                    <a:pt x="98181" y="105000"/>
                  </a:moveTo>
                  <a:cubicBezTo>
                    <a:pt x="120000" y="120000"/>
                    <a:pt x="98181" y="75000"/>
                    <a:pt x="87272" y="60000"/>
                  </a:cubicBezTo>
                  <a:cubicBezTo>
                    <a:pt x="76363" y="45000"/>
                    <a:pt x="43636" y="15000"/>
                    <a:pt x="32727" y="0"/>
                  </a:cubicBezTo>
                  <a:cubicBezTo>
                    <a:pt x="21818" y="0"/>
                    <a:pt x="10909" y="15000"/>
                    <a:pt x="10909" y="30000"/>
                  </a:cubicBezTo>
                  <a:cubicBezTo>
                    <a:pt x="0" y="45000"/>
                    <a:pt x="21818" y="60000"/>
                    <a:pt x="32727" y="75000"/>
                  </a:cubicBezTo>
                  <a:cubicBezTo>
                    <a:pt x="54545" y="90000"/>
                    <a:pt x="76363" y="105000"/>
                    <a:pt x="98181" y="105000"/>
                  </a:cubicBezTo>
                  <a:cubicBezTo>
                    <a:pt x="109090" y="105000"/>
                    <a:pt x="76363" y="105000"/>
                    <a:pt x="98181" y="105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92" name="Shape 2366">
              <a:extLst>
                <a:ext uri="{FF2B5EF4-FFF2-40B4-BE49-F238E27FC236}">
                  <a16:creationId xmlns:a16="http://schemas.microsoft.com/office/drawing/2014/main" id="{5AF4D12C-3E42-0545-8ABD-F170F982D556}"/>
                </a:ext>
              </a:extLst>
            </p:cNvPr>
            <p:cNvSpPr/>
            <p:nvPr/>
          </p:nvSpPr>
          <p:spPr>
            <a:xfrm>
              <a:off x="13926287" y="5086178"/>
              <a:ext cx="101909" cy="92380"/>
            </a:xfrm>
            <a:custGeom>
              <a:avLst/>
              <a:gdLst/>
              <a:ahLst/>
              <a:cxnLst/>
              <a:rect l="0" t="0" r="0" b="0"/>
              <a:pathLst>
                <a:path w="120000" h="120000" extrusionOk="0">
                  <a:moveTo>
                    <a:pt x="109090" y="72000"/>
                  </a:moveTo>
                  <a:cubicBezTo>
                    <a:pt x="109090" y="96000"/>
                    <a:pt x="76363" y="108000"/>
                    <a:pt x="65454" y="120000"/>
                  </a:cubicBezTo>
                  <a:cubicBezTo>
                    <a:pt x="43636" y="120000"/>
                    <a:pt x="0" y="108000"/>
                    <a:pt x="0" y="72000"/>
                  </a:cubicBezTo>
                  <a:cubicBezTo>
                    <a:pt x="10909" y="0"/>
                    <a:pt x="120000" y="72000"/>
                    <a:pt x="109090" y="72000"/>
                  </a:cubicBezTo>
                  <a:cubicBezTo>
                    <a:pt x="109090" y="84000"/>
                    <a:pt x="120000" y="60000"/>
                    <a:pt x="109090" y="72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93" name="Shape 2367">
              <a:extLst>
                <a:ext uri="{FF2B5EF4-FFF2-40B4-BE49-F238E27FC236}">
                  <a16:creationId xmlns:a16="http://schemas.microsoft.com/office/drawing/2014/main" id="{372AE5F0-DE11-0549-95F9-3F50252708F4}"/>
                </a:ext>
              </a:extLst>
            </p:cNvPr>
            <p:cNvSpPr/>
            <p:nvPr/>
          </p:nvSpPr>
          <p:spPr>
            <a:xfrm>
              <a:off x="14945394" y="4767623"/>
              <a:ext cx="82802" cy="47785"/>
            </a:xfrm>
            <a:custGeom>
              <a:avLst/>
              <a:gdLst/>
              <a:ahLst/>
              <a:cxnLst/>
              <a:rect l="0" t="0" r="0" b="0"/>
              <a:pathLst>
                <a:path w="120000" h="120000" extrusionOk="0">
                  <a:moveTo>
                    <a:pt x="120000" y="72000"/>
                  </a:moveTo>
                  <a:cubicBezTo>
                    <a:pt x="93333" y="96000"/>
                    <a:pt x="80000" y="96000"/>
                    <a:pt x="53333" y="120000"/>
                  </a:cubicBezTo>
                  <a:cubicBezTo>
                    <a:pt x="26666" y="120000"/>
                    <a:pt x="0" y="72000"/>
                    <a:pt x="13333" y="24000"/>
                  </a:cubicBezTo>
                  <a:cubicBezTo>
                    <a:pt x="13333" y="0"/>
                    <a:pt x="66666" y="0"/>
                    <a:pt x="80000" y="24000"/>
                  </a:cubicBezTo>
                  <a:cubicBezTo>
                    <a:pt x="93333" y="24000"/>
                    <a:pt x="106666" y="72000"/>
                    <a:pt x="120000" y="72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94" name="Shape 2368">
              <a:extLst>
                <a:ext uri="{FF2B5EF4-FFF2-40B4-BE49-F238E27FC236}">
                  <a16:creationId xmlns:a16="http://schemas.microsoft.com/office/drawing/2014/main" id="{E83814A6-5BE4-6A43-AD14-175403BB155B}"/>
                </a:ext>
              </a:extLst>
            </p:cNvPr>
            <p:cNvSpPr/>
            <p:nvPr/>
          </p:nvSpPr>
          <p:spPr>
            <a:xfrm>
              <a:off x="16811636" y="4675242"/>
              <a:ext cx="92356" cy="44598"/>
            </a:xfrm>
            <a:custGeom>
              <a:avLst/>
              <a:gdLst/>
              <a:ahLst/>
              <a:cxnLst/>
              <a:rect l="0" t="0" r="0" b="0"/>
              <a:pathLst>
                <a:path w="120000" h="120000" extrusionOk="0">
                  <a:moveTo>
                    <a:pt x="72000" y="120000"/>
                  </a:moveTo>
                  <a:cubicBezTo>
                    <a:pt x="48000" y="120000"/>
                    <a:pt x="24000" y="96000"/>
                    <a:pt x="12000" y="96000"/>
                  </a:cubicBezTo>
                  <a:cubicBezTo>
                    <a:pt x="0" y="72000"/>
                    <a:pt x="36000" y="24000"/>
                    <a:pt x="48000" y="24000"/>
                  </a:cubicBezTo>
                  <a:cubicBezTo>
                    <a:pt x="60000" y="0"/>
                    <a:pt x="96000" y="0"/>
                    <a:pt x="108000" y="24000"/>
                  </a:cubicBezTo>
                  <a:cubicBezTo>
                    <a:pt x="120000" y="48000"/>
                    <a:pt x="84000" y="120000"/>
                    <a:pt x="72000" y="120000"/>
                  </a:cubicBezTo>
                  <a:cubicBezTo>
                    <a:pt x="48000" y="120000"/>
                    <a:pt x="72000" y="120000"/>
                    <a:pt x="72000" y="12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95" name="Shape 2369">
              <a:extLst>
                <a:ext uri="{FF2B5EF4-FFF2-40B4-BE49-F238E27FC236}">
                  <a16:creationId xmlns:a16="http://schemas.microsoft.com/office/drawing/2014/main" id="{620AFBEC-6852-9D41-8126-705EB898825B}"/>
                </a:ext>
              </a:extLst>
            </p:cNvPr>
            <p:cNvSpPr/>
            <p:nvPr/>
          </p:nvSpPr>
          <p:spPr>
            <a:xfrm>
              <a:off x="15868962" y="3999907"/>
              <a:ext cx="57322" cy="19113"/>
            </a:xfrm>
            <a:custGeom>
              <a:avLst/>
              <a:gdLst/>
              <a:ahLst/>
              <a:cxnLst/>
              <a:rect l="0" t="0" r="0" b="0"/>
              <a:pathLst>
                <a:path w="120000" h="120000" extrusionOk="0">
                  <a:moveTo>
                    <a:pt x="120000" y="60000"/>
                  </a:moveTo>
                  <a:cubicBezTo>
                    <a:pt x="120000" y="120000"/>
                    <a:pt x="0" y="120000"/>
                    <a:pt x="0" y="60000"/>
                  </a:cubicBezTo>
                  <a:cubicBezTo>
                    <a:pt x="0" y="0"/>
                    <a:pt x="120000" y="0"/>
                    <a:pt x="120000" y="6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96" name="Shape 2370">
              <a:extLst>
                <a:ext uri="{FF2B5EF4-FFF2-40B4-BE49-F238E27FC236}">
                  <a16:creationId xmlns:a16="http://schemas.microsoft.com/office/drawing/2014/main" id="{FB198090-E4D7-6D47-9FB1-7F577A37DB7B}"/>
                </a:ext>
              </a:extLst>
            </p:cNvPr>
            <p:cNvSpPr/>
            <p:nvPr/>
          </p:nvSpPr>
          <p:spPr>
            <a:xfrm>
              <a:off x="15346671" y="4805853"/>
              <a:ext cx="54138" cy="38226"/>
            </a:xfrm>
            <a:custGeom>
              <a:avLst/>
              <a:gdLst/>
              <a:ahLst/>
              <a:cxnLst/>
              <a:rect l="0" t="0" r="0" b="0"/>
              <a:pathLst>
                <a:path w="120000" h="120000" extrusionOk="0">
                  <a:moveTo>
                    <a:pt x="100000" y="120000"/>
                  </a:moveTo>
                  <a:cubicBezTo>
                    <a:pt x="80000" y="120000"/>
                    <a:pt x="0" y="90000"/>
                    <a:pt x="40000" y="30000"/>
                  </a:cubicBezTo>
                  <a:cubicBezTo>
                    <a:pt x="100000" y="0"/>
                    <a:pt x="120000" y="120000"/>
                    <a:pt x="100000" y="12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97" name="Shape 2371">
              <a:extLst>
                <a:ext uri="{FF2B5EF4-FFF2-40B4-BE49-F238E27FC236}">
                  <a16:creationId xmlns:a16="http://schemas.microsoft.com/office/drawing/2014/main" id="{C8E805D9-9902-D943-AB18-78E4BF5D4FFD}"/>
                </a:ext>
              </a:extLst>
            </p:cNvPr>
            <p:cNvSpPr/>
            <p:nvPr/>
          </p:nvSpPr>
          <p:spPr>
            <a:xfrm>
              <a:off x="12098262" y="6892381"/>
              <a:ext cx="54138" cy="101936"/>
            </a:xfrm>
            <a:custGeom>
              <a:avLst/>
              <a:gdLst/>
              <a:ahLst/>
              <a:cxnLst/>
              <a:rect l="0" t="0" r="0" b="0"/>
              <a:pathLst>
                <a:path w="120000" h="120000" extrusionOk="0">
                  <a:moveTo>
                    <a:pt x="100000" y="10909"/>
                  </a:moveTo>
                  <a:cubicBezTo>
                    <a:pt x="100000" y="32727"/>
                    <a:pt x="120000" y="54545"/>
                    <a:pt x="100000" y="76363"/>
                  </a:cubicBezTo>
                  <a:cubicBezTo>
                    <a:pt x="80000" y="87272"/>
                    <a:pt x="100000" y="120000"/>
                    <a:pt x="60000" y="109090"/>
                  </a:cubicBezTo>
                  <a:cubicBezTo>
                    <a:pt x="20000" y="87272"/>
                    <a:pt x="0" y="65454"/>
                    <a:pt x="20000" y="43636"/>
                  </a:cubicBezTo>
                  <a:cubicBezTo>
                    <a:pt x="20000" y="32727"/>
                    <a:pt x="100000" y="0"/>
                    <a:pt x="100000" y="10909"/>
                  </a:cubicBezTo>
                  <a:cubicBezTo>
                    <a:pt x="100000" y="21818"/>
                    <a:pt x="100000" y="0"/>
                    <a:pt x="100000" y="10909"/>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98" name="Shape 2372">
              <a:extLst>
                <a:ext uri="{FF2B5EF4-FFF2-40B4-BE49-F238E27FC236}">
                  <a16:creationId xmlns:a16="http://schemas.microsoft.com/office/drawing/2014/main" id="{F0DA67E5-E4CC-EA47-9907-433DBFFEE5C0}"/>
                </a:ext>
              </a:extLst>
            </p:cNvPr>
            <p:cNvSpPr/>
            <p:nvPr/>
          </p:nvSpPr>
          <p:spPr>
            <a:xfrm>
              <a:off x="12079153" y="6984764"/>
              <a:ext cx="82802" cy="140163"/>
            </a:xfrm>
            <a:custGeom>
              <a:avLst/>
              <a:gdLst/>
              <a:ahLst/>
              <a:cxnLst/>
              <a:rect l="0" t="0" r="0" b="0"/>
              <a:pathLst>
                <a:path w="120000" h="120000" extrusionOk="0">
                  <a:moveTo>
                    <a:pt x="93333" y="24000"/>
                  </a:moveTo>
                  <a:cubicBezTo>
                    <a:pt x="80000" y="24000"/>
                    <a:pt x="93333" y="0"/>
                    <a:pt x="66666" y="16000"/>
                  </a:cubicBezTo>
                  <a:cubicBezTo>
                    <a:pt x="26666" y="32000"/>
                    <a:pt x="40000" y="32000"/>
                    <a:pt x="0" y="16000"/>
                  </a:cubicBezTo>
                  <a:cubicBezTo>
                    <a:pt x="0" y="16000"/>
                    <a:pt x="13333" y="64000"/>
                    <a:pt x="13333" y="64000"/>
                  </a:cubicBezTo>
                  <a:cubicBezTo>
                    <a:pt x="26666" y="80000"/>
                    <a:pt x="26666" y="88000"/>
                    <a:pt x="26666" y="104000"/>
                  </a:cubicBezTo>
                  <a:cubicBezTo>
                    <a:pt x="26666" y="112000"/>
                    <a:pt x="26666" y="120000"/>
                    <a:pt x="53333" y="112000"/>
                  </a:cubicBezTo>
                  <a:cubicBezTo>
                    <a:pt x="80000" y="104000"/>
                    <a:pt x="106666" y="104000"/>
                    <a:pt x="106666" y="80000"/>
                  </a:cubicBezTo>
                  <a:cubicBezTo>
                    <a:pt x="106666" y="72000"/>
                    <a:pt x="120000" y="24000"/>
                    <a:pt x="93333" y="24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99" name="Shape 2373">
              <a:extLst>
                <a:ext uri="{FF2B5EF4-FFF2-40B4-BE49-F238E27FC236}">
                  <a16:creationId xmlns:a16="http://schemas.microsoft.com/office/drawing/2014/main" id="{F4F9BA58-78CF-A540-975D-CBDC9FFE4AF2}"/>
                </a:ext>
              </a:extLst>
            </p:cNvPr>
            <p:cNvSpPr/>
            <p:nvPr/>
          </p:nvSpPr>
          <p:spPr>
            <a:xfrm>
              <a:off x="12273423" y="7153596"/>
              <a:ext cx="149679" cy="92380"/>
            </a:xfrm>
            <a:custGeom>
              <a:avLst/>
              <a:gdLst/>
              <a:ahLst/>
              <a:cxnLst/>
              <a:rect l="0" t="0" r="0" b="0"/>
              <a:pathLst>
                <a:path w="120000" h="120000" extrusionOk="0">
                  <a:moveTo>
                    <a:pt x="37500" y="12000"/>
                  </a:moveTo>
                  <a:cubicBezTo>
                    <a:pt x="30000" y="12000"/>
                    <a:pt x="7500" y="12000"/>
                    <a:pt x="0" y="24000"/>
                  </a:cubicBezTo>
                  <a:cubicBezTo>
                    <a:pt x="0" y="36000"/>
                    <a:pt x="15000" y="48000"/>
                    <a:pt x="22500" y="60000"/>
                  </a:cubicBezTo>
                  <a:cubicBezTo>
                    <a:pt x="37500" y="60000"/>
                    <a:pt x="52500" y="72000"/>
                    <a:pt x="60000" y="84000"/>
                  </a:cubicBezTo>
                  <a:cubicBezTo>
                    <a:pt x="75000" y="96000"/>
                    <a:pt x="90000" y="120000"/>
                    <a:pt x="105000" y="96000"/>
                  </a:cubicBezTo>
                  <a:cubicBezTo>
                    <a:pt x="120000" y="84000"/>
                    <a:pt x="90000" y="72000"/>
                    <a:pt x="97500" y="48000"/>
                  </a:cubicBezTo>
                  <a:cubicBezTo>
                    <a:pt x="97500" y="48000"/>
                    <a:pt x="120000" y="24000"/>
                    <a:pt x="112500" y="12000"/>
                  </a:cubicBezTo>
                  <a:cubicBezTo>
                    <a:pt x="112500" y="0"/>
                    <a:pt x="82500" y="12000"/>
                    <a:pt x="82500" y="12000"/>
                  </a:cubicBezTo>
                  <a:cubicBezTo>
                    <a:pt x="67500" y="24000"/>
                    <a:pt x="52500" y="12000"/>
                    <a:pt x="37500" y="12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00" name="Shape 2374">
              <a:extLst>
                <a:ext uri="{FF2B5EF4-FFF2-40B4-BE49-F238E27FC236}">
                  <a16:creationId xmlns:a16="http://schemas.microsoft.com/office/drawing/2014/main" id="{F6DF19E2-6E29-5540-8BCD-0CF4540ED29A}"/>
                </a:ext>
              </a:extLst>
            </p:cNvPr>
            <p:cNvSpPr/>
            <p:nvPr/>
          </p:nvSpPr>
          <p:spPr>
            <a:xfrm>
              <a:off x="13161955" y="7284204"/>
              <a:ext cx="121017" cy="66896"/>
            </a:xfrm>
            <a:custGeom>
              <a:avLst/>
              <a:gdLst/>
              <a:ahLst/>
              <a:cxnLst/>
              <a:rect l="0" t="0" r="0" b="0"/>
              <a:pathLst>
                <a:path w="120000" h="120000" extrusionOk="0">
                  <a:moveTo>
                    <a:pt x="110769" y="17142"/>
                  </a:moveTo>
                  <a:cubicBezTo>
                    <a:pt x="110769" y="17142"/>
                    <a:pt x="92307" y="34285"/>
                    <a:pt x="92307" y="34285"/>
                  </a:cubicBezTo>
                  <a:cubicBezTo>
                    <a:pt x="83076" y="51428"/>
                    <a:pt x="92307" y="85714"/>
                    <a:pt x="92307" y="85714"/>
                  </a:cubicBezTo>
                  <a:cubicBezTo>
                    <a:pt x="83076" y="85714"/>
                    <a:pt x="64615" y="85714"/>
                    <a:pt x="55384" y="102857"/>
                  </a:cubicBezTo>
                  <a:cubicBezTo>
                    <a:pt x="36923" y="119999"/>
                    <a:pt x="27692" y="119999"/>
                    <a:pt x="18461" y="102857"/>
                  </a:cubicBezTo>
                  <a:cubicBezTo>
                    <a:pt x="0" y="68571"/>
                    <a:pt x="36923" y="51428"/>
                    <a:pt x="46153" y="51428"/>
                  </a:cubicBezTo>
                  <a:cubicBezTo>
                    <a:pt x="64615" y="51428"/>
                    <a:pt x="92307" y="34285"/>
                    <a:pt x="110769" y="17142"/>
                  </a:cubicBezTo>
                  <a:cubicBezTo>
                    <a:pt x="120000" y="0"/>
                    <a:pt x="101538" y="34285"/>
                    <a:pt x="110769" y="17142"/>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01" name="Shape 2375">
              <a:extLst>
                <a:ext uri="{FF2B5EF4-FFF2-40B4-BE49-F238E27FC236}">
                  <a16:creationId xmlns:a16="http://schemas.microsoft.com/office/drawing/2014/main" id="{F22AE2EA-BADD-8846-ADE3-579E68C0DC0F}"/>
                </a:ext>
              </a:extLst>
            </p:cNvPr>
            <p:cNvSpPr/>
            <p:nvPr/>
          </p:nvSpPr>
          <p:spPr>
            <a:xfrm>
              <a:off x="12760683" y="7293760"/>
              <a:ext cx="140126" cy="38226"/>
            </a:xfrm>
            <a:custGeom>
              <a:avLst/>
              <a:gdLst/>
              <a:ahLst/>
              <a:cxnLst/>
              <a:rect l="0" t="0" r="0" b="0"/>
              <a:pathLst>
                <a:path w="120000" h="120000" extrusionOk="0">
                  <a:moveTo>
                    <a:pt x="64000" y="120000"/>
                  </a:moveTo>
                  <a:cubicBezTo>
                    <a:pt x="56000" y="120000"/>
                    <a:pt x="0" y="60000"/>
                    <a:pt x="8000" y="30000"/>
                  </a:cubicBezTo>
                  <a:cubicBezTo>
                    <a:pt x="8000" y="0"/>
                    <a:pt x="56000" y="30000"/>
                    <a:pt x="56000" y="30000"/>
                  </a:cubicBezTo>
                  <a:cubicBezTo>
                    <a:pt x="80000" y="60000"/>
                    <a:pt x="96000" y="60000"/>
                    <a:pt x="120000" y="60000"/>
                  </a:cubicBezTo>
                  <a:cubicBezTo>
                    <a:pt x="120000" y="60000"/>
                    <a:pt x="104000" y="90000"/>
                    <a:pt x="104000" y="90000"/>
                  </a:cubicBezTo>
                  <a:cubicBezTo>
                    <a:pt x="96000" y="120000"/>
                    <a:pt x="80000" y="120000"/>
                    <a:pt x="64000" y="120000"/>
                  </a:cubicBezTo>
                  <a:cubicBezTo>
                    <a:pt x="48000" y="120000"/>
                    <a:pt x="72000" y="120000"/>
                    <a:pt x="64000" y="12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02" name="Shape 2376">
              <a:extLst>
                <a:ext uri="{FF2B5EF4-FFF2-40B4-BE49-F238E27FC236}">
                  <a16:creationId xmlns:a16="http://schemas.microsoft.com/office/drawing/2014/main" id="{C99E366C-93CD-1040-9F45-9974BFECA1F4}"/>
                </a:ext>
              </a:extLst>
            </p:cNvPr>
            <p:cNvSpPr/>
            <p:nvPr/>
          </p:nvSpPr>
          <p:spPr>
            <a:xfrm>
              <a:off x="12693805" y="5917605"/>
              <a:ext cx="66878" cy="66896"/>
            </a:xfrm>
            <a:custGeom>
              <a:avLst/>
              <a:gdLst/>
              <a:ahLst/>
              <a:cxnLst/>
              <a:rect l="0" t="0" r="0" b="0"/>
              <a:pathLst>
                <a:path w="120000" h="120000" extrusionOk="0">
                  <a:moveTo>
                    <a:pt x="17142" y="68571"/>
                  </a:moveTo>
                  <a:cubicBezTo>
                    <a:pt x="17142" y="51428"/>
                    <a:pt x="0" y="17142"/>
                    <a:pt x="17142" y="17142"/>
                  </a:cubicBezTo>
                  <a:cubicBezTo>
                    <a:pt x="34285" y="17142"/>
                    <a:pt x="119999" y="0"/>
                    <a:pt x="119999" y="17142"/>
                  </a:cubicBezTo>
                  <a:cubicBezTo>
                    <a:pt x="119999" y="34285"/>
                    <a:pt x="34285" y="102857"/>
                    <a:pt x="17142" y="68571"/>
                  </a:cubicBezTo>
                  <a:cubicBezTo>
                    <a:pt x="17142" y="17142"/>
                    <a:pt x="34285" y="119999"/>
                    <a:pt x="17142" y="68571"/>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03" name="Shape 2377">
              <a:extLst>
                <a:ext uri="{FF2B5EF4-FFF2-40B4-BE49-F238E27FC236}">
                  <a16:creationId xmlns:a16="http://schemas.microsoft.com/office/drawing/2014/main" id="{21740C7B-9EDD-4F43-BF33-59DAACD0D364}"/>
                </a:ext>
              </a:extLst>
            </p:cNvPr>
            <p:cNvSpPr/>
            <p:nvPr/>
          </p:nvSpPr>
          <p:spPr>
            <a:xfrm>
              <a:off x="12703359" y="5892122"/>
              <a:ext cx="47769" cy="25484"/>
            </a:xfrm>
            <a:custGeom>
              <a:avLst/>
              <a:gdLst/>
              <a:ahLst/>
              <a:cxnLst/>
              <a:rect l="0" t="0" r="0" b="0"/>
              <a:pathLst>
                <a:path w="120000" h="120000" extrusionOk="0">
                  <a:moveTo>
                    <a:pt x="72000" y="80000"/>
                  </a:moveTo>
                  <a:cubicBezTo>
                    <a:pt x="48000" y="80000"/>
                    <a:pt x="0" y="40000"/>
                    <a:pt x="0" y="40000"/>
                  </a:cubicBezTo>
                  <a:cubicBezTo>
                    <a:pt x="0" y="40000"/>
                    <a:pt x="96000" y="0"/>
                    <a:pt x="96000" y="40000"/>
                  </a:cubicBezTo>
                  <a:cubicBezTo>
                    <a:pt x="120000" y="80000"/>
                    <a:pt x="96000" y="120000"/>
                    <a:pt x="72000" y="80000"/>
                  </a:cubicBezTo>
                  <a:cubicBezTo>
                    <a:pt x="24000" y="80000"/>
                    <a:pt x="120000" y="120000"/>
                    <a:pt x="72000" y="8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04" name="Shape 2378">
              <a:extLst>
                <a:ext uri="{FF2B5EF4-FFF2-40B4-BE49-F238E27FC236}">
                  <a16:creationId xmlns:a16="http://schemas.microsoft.com/office/drawing/2014/main" id="{391FF553-4E33-C849-8C02-976B3EA03E18}"/>
                </a:ext>
              </a:extLst>
            </p:cNvPr>
            <p:cNvSpPr/>
            <p:nvPr/>
          </p:nvSpPr>
          <p:spPr>
            <a:xfrm>
              <a:off x="12509090" y="5955830"/>
              <a:ext cx="54138" cy="92380"/>
            </a:xfrm>
            <a:custGeom>
              <a:avLst/>
              <a:gdLst/>
              <a:ahLst/>
              <a:cxnLst/>
              <a:rect l="0" t="0" r="0" b="0"/>
              <a:pathLst>
                <a:path w="120000" h="120000" extrusionOk="0">
                  <a:moveTo>
                    <a:pt x="120000" y="24000"/>
                  </a:moveTo>
                  <a:cubicBezTo>
                    <a:pt x="120000" y="0"/>
                    <a:pt x="0" y="120000"/>
                    <a:pt x="60000" y="108000"/>
                  </a:cubicBezTo>
                  <a:cubicBezTo>
                    <a:pt x="80000" y="108000"/>
                    <a:pt x="120000" y="36000"/>
                    <a:pt x="120000" y="24000"/>
                  </a:cubicBezTo>
                  <a:cubicBezTo>
                    <a:pt x="120000" y="12000"/>
                    <a:pt x="120000" y="36000"/>
                    <a:pt x="120000" y="24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05" name="Shape 2379">
              <a:extLst>
                <a:ext uri="{FF2B5EF4-FFF2-40B4-BE49-F238E27FC236}">
                  <a16:creationId xmlns:a16="http://schemas.microsoft.com/office/drawing/2014/main" id="{48E3272B-40E4-7B4C-A359-88153543DDBC}"/>
                </a:ext>
              </a:extLst>
            </p:cNvPr>
            <p:cNvSpPr/>
            <p:nvPr/>
          </p:nvSpPr>
          <p:spPr>
            <a:xfrm>
              <a:off x="12591897" y="5796554"/>
              <a:ext cx="38216" cy="38226"/>
            </a:xfrm>
            <a:custGeom>
              <a:avLst/>
              <a:gdLst/>
              <a:ahLst/>
              <a:cxnLst/>
              <a:rect l="0" t="0" r="0" b="0"/>
              <a:pathLst>
                <a:path w="120000" h="120000" extrusionOk="0">
                  <a:moveTo>
                    <a:pt x="90000" y="90000"/>
                  </a:moveTo>
                  <a:cubicBezTo>
                    <a:pt x="60000" y="90000"/>
                    <a:pt x="0" y="60000"/>
                    <a:pt x="30000" y="30000"/>
                  </a:cubicBezTo>
                  <a:cubicBezTo>
                    <a:pt x="60000" y="30000"/>
                    <a:pt x="90000" y="0"/>
                    <a:pt x="90000" y="0"/>
                  </a:cubicBezTo>
                  <a:cubicBezTo>
                    <a:pt x="120000" y="0"/>
                    <a:pt x="120000" y="60000"/>
                    <a:pt x="90000" y="90000"/>
                  </a:cubicBezTo>
                  <a:cubicBezTo>
                    <a:pt x="60000" y="120000"/>
                    <a:pt x="120000" y="60000"/>
                    <a:pt x="90000" y="9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06" name="Shape 2380">
              <a:extLst>
                <a:ext uri="{FF2B5EF4-FFF2-40B4-BE49-F238E27FC236}">
                  <a16:creationId xmlns:a16="http://schemas.microsoft.com/office/drawing/2014/main" id="{8B7011A0-8092-F14A-ADD8-8B9178C003AD}"/>
                </a:ext>
              </a:extLst>
            </p:cNvPr>
            <p:cNvSpPr/>
            <p:nvPr/>
          </p:nvSpPr>
          <p:spPr>
            <a:xfrm>
              <a:off x="12219283" y="6086438"/>
              <a:ext cx="54138" cy="86009"/>
            </a:xfrm>
            <a:custGeom>
              <a:avLst/>
              <a:gdLst/>
              <a:ahLst/>
              <a:cxnLst/>
              <a:rect l="0" t="0" r="0" b="0"/>
              <a:pathLst>
                <a:path w="120000" h="120000" extrusionOk="0">
                  <a:moveTo>
                    <a:pt x="120000" y="26666"/>
                  </a:moveTo>
                  <a:cubicBezTo>
                    <a:pt x="120000" y="13333"/>
                    <a:pt x="120000" y="53333"/>
                    <a:pt x="120000" y="53333"/>
                  </a:cubicBezTo>
                  <a:cubicBezTo>
                    <a:pt x="120000" y="80000"/>
                    <a:pt x="120000" y="106666"/>
                    <a:pt x="100000" y="120000"/>
                  </a:cubicBezTo>
                  <a:cubicBezTo>
                    <a:pt x="100000" y="120000"/>
                    <a:pt x="0" y="66666"/>
                    <a:pt x="0" y="40000"/>
                  </a:cubicBezTo>
                  <a:cubicBezTo>
                    <a:pt x="0" y="40000"/>
                    <a:pt x="40000" y="26666"/>
                    <a:pt x="60000" y="40000"/>
                  </a:cubicBezTo>
                  <a:cubicBezTo>
                    <a:pt x="80000" y="53333"/>
                    <a:pt x="100000" y="53333"/>
                    <a:pt x="120000" y="26666"/>
                  </a:cubicBezTo>
                  <a:cubicBezTo>
                    <a:pt x="120000" y="0"/>
                    <a:pt x="120000" y="40000"/>
                    <a:pt x="120000" y="26666"/>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07" name="Shape 2381">
              <a:extLst>
                <a:ext uri="{FF2B5EF4-FFF2-40B4-BE49-F238E27FC236}">
                  <a16:creationId xmlns:a16="http://schemas.microsoft.com/office/drawing/2014/main" id="{87ADE3D5-E6D7-4449-BE07-2968E404615F}"/>
                </a:ext>
              </a:extLst>
            </p:cNvPr>
            <p:cNvSpPr/>
            <p:nvPr/>
          </p:nvSpPr>
          <p:spPr>
            <a:xfrm>
              <a:off x="12152405" y="6105552"/>
              <a:ext cx="76431" cy="76451"/>
            </a:xfrm>
            <a:custGeom>
              <a:avLst/>
              <a:gdLst/>
              <a:ahLst/>
              <a:cxnLst/>
              <a:rect l="0" t="0" r="0" b="0"/>
              <a:pathLst>
                <a:path w="120000" h="120000" extrusionOk="0">
                  <a:moveTo>
                    <a:pt x="90000" y="105000"/>
                  </a:moveTo>
                  <a:cubicBezTo>
                    <a:pt x="75000" y="120000"/>
                    <a:pt x="0" y="75000"/>
                    <a:pt x="15000" y="60000"/>
                  </a:cubicBezTo>
                  <a:cubicBezTo>
                    <a:pt x="45000" y="0"/>
                    <a:pt x="120000" y="75000"/>
                    <a:pt x="90000" y="105000"/>
                  </a:cubicBezTo>
                  <a:cubicBezTo>
                    <a:pt x="75000" y="120000"/>
                    <a:pt x="105000" y="90000"/>
                    <a:pt x="90000" y="105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08" name="Shape 2382">
              <a:extLst>
                <a:ext uri="{FF2B5EF4-FFF2-40B4-BE49-F238E27FC236}">
                  <a16:creationId xmlns:a16="http://schemas.microsoft.com/office/drawing/2014/main" id="{5053E043-D81E-B84B-B2F5-79DF6173A781}"/>
                </a:ext>
              </a:extLst>
            </p:cNvPr>
            <p:cNvSpPr/>
            <p:nvPr/>
          </p:nvSpPr>
          <p:spPr>
            <a:xfrm>
              <a:off x="11818009" y="7070772"/>
              <a:ext cx="44585" cy="35041"/>
            </a:xfrm>
            <a:custGeom>
              <a:avLst/>
              <a:gdLst/>
              <a:ahLst/>
              <a:cxnLst/>
              <a:rect l="0" t="0" r="0" b="0"/>
              <a:pathLst>
                <a:path w="120000" h="120000" extrusionOk="0">
                  <a:moveTo>
                    <a:pt x="96000" y="60000"/>
                  </a:moveTo>
                  <a:cubicBezTo>
                    <a:pt x="120000" y="30000"/>
                    <a:pt x="96000" y="120000"/>
                    <a:pt x="72000" y="90000"/>
                  </a:cubicBezTo>
                  <a:cubicBezTo>
                    <a:pt x="72000" y="90000"/>
                    <a:pt x="0" y="60000"/>
                    <a:pt x="0" y="60000"/>
                  </a:cubicBezTo>
                  <a:cubicBezTo>
                    <a:pt x="0" y="60000"/>
                    <a:pt x="72000" y="0"/>
                    <a:pt x="96000" y="0"/>
                  </a:cubicBezTo>
                  <a:cubicBezTo>
                    <a:pt x="96000" y="0"/>
                    <a:pt x="72000" y="60000"/>
                    <a:pt x="96000" y="60000"/>
                  </a:cubicBezTo>
                  <a:cubicBezTo>
                    <a:pt x="120000" y="30000"/>
                    <a:pt x="72000" y="60000"/>
                    <a:pt x="96000" y="6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09" name="Shape 2383">
              <a:extLst>
                <a:ext uri="{FF2B5EF4-FFF2-40B4-BE49-F238E27FC236}">
                  <a16:creationId xmlns:a16="http://schemas.microsoft.com/office/drawing/2014/main" id="{08757B5E-2242-8945-8948-3F1A80C516B7}"/>
                </a:ext>
              </a:extLst>
            </p:cNvPr>
            <p:cNvSpPr/>
            <p:nvPr/>
          </p:nvSpPr>
          <p:spPr>
            <a:xfrm>
              <a:off x="11359407" y="5927161"/>
              <a:ext cx="57322" cy="57338"/>
            </a:xfrm>
            <a:custGeom>
              <a:avLst/>
              <a:gdLst/>
              <a:ahLst/>
              <a:cxnLst/>
              <a:rect l="0" t="0" r="0" b="0"/>
              <a:pathLst>
                <a:path w="120000" h="120000" extrusionOk="0">
                  <a:moveTo>
                    <a:pt x="100000" y="20000"/>
                  </a:moveTo>
                  <a:cubicBezTo>
                    <a:pt x="120000" y="40000"/>
                    <a:pt x="80000" y="60000"/>
                    <a:pt x="80000" y="100000"/>
                  </a:cubicBezTo>
                  <a:cubicBezTo>
                    <a:pt x="60000" y="120000"/>
                    <a:pt x="40000" y="120000"/>
                    <a:pt x="20000" y="100000"/>
                  </a:cubicBezTo>
                  <a:cubicBezTo>
                    <a:pt x="0" y="80000"/>
                    <a:pt x="100000" y="0"/>
                    <a:pt x="100000" y="20000"/>
                  </a:cubicBezTo>
                  <a:cubicBezTo>
                    <a:pt x="120000" y="40000"/>
                    <a:pt x="100000" y="0"/>
                    <a:pt x="100000" y="2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10" name="Shape 2384">
              <a:extLst>
                <a:ext uri="{FF2B5EF4-FFF2-40B4-BE49-F238E27FC236}">
                  <a16:creationId xmlns:a16="http://schemas.microsoft.com/office/drawing/2014/main" id="{AA786613-29DD-A64C-92C5-7C320487B7B2}"/>
                </a:ext>
              </a:extLst>
            </p:cNvPr>
            <p:cNvSpPr/>
            <p:nvPr/>
          </p:nvSpPr>
          <p:spPr>
            <a:xfrm>
              <a:off x="11388074" y="5994057"/>
              <a:ext cx="28661" cy="28669"/>
            </a:xfrm>
            <a:custGeom>
              <a:avLst/>
              <a:gdLst/>
              <a:ahLst/>
              <a:cxnLst/>
              <a:rect l="0" t="0" r="0" b="0"/>
              <a:pathLst>
                <a:path w="120000" h="120000" extrusionOk="0">
                  <a:moveTo>
                    <a:pt x="120000" y="40000"/>
                  </a:moveTo>
                  <a:cubicBezTo>
                    <a:pt x="80000" y="40000"/>
                    <a:pt x="0" y="40000"/>
                    <a:pt x="0" y="80000"/>
                  </a:cubicBezTo>
                  <a:cubicBezTo>
                    <a:pt x="0" y="120000"/>
                    <a:pt x="80000" y="120000"/>
                    <a:pt x="80000" y="120000"/>
                  </a:cubicBezTo>
                  <a:cubicBezTo>
                    <a:pt x="120000" y="120000"/>
                    <a:pt x="120000" y="0"/>
                    <a:pt x="120000" y="40000"/>
                  </a:cubicBezTo>
                  <a:cubicBezTo>
                    <a:pt x="80000" y="40000"/>
                    <a:pt x="120000" y="40000"/>
                    <a:pt x="120000" y="4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11" name="Shape 2385">
              <a:extLst>
                <a:ext uri="{FF2B5EF4-FFF2-40B4-BE49-F238E27FC236}">
                  <a16:creationId xmlns:a16="http://schemas.microsoft.com/office/drawing/2014/main" id="{046CD74C-C1E8-0943-8314-BBE38DF7FD26}"/>
                </a:ext>
              </a:extLst>
            </p:cNvPr>
            <p:cNvSpPr/>
            <p:nvPr/>
          </p:nvSpPr>
          <p:spPr>
            <a:xfrm>
              <a:off x="11416735" y="6022729"/>
              <a:ext cx="15923" cy="9555"/>
            </a:xfrm>
            <a:custGeom>
              <a:avLst/>
              <a:gdLst/>
              <a:ahLst/>
              <a:cxnLst/>
              <a:rect l="0" t="0" r="0" b="0"/>
              <a:pathLst>
                <a:path w="120000" h="120000" extrusionOk="0">
                  <a:moveTo>
                    <a:pt x="120000" y="0"/>
                  </a:moveTo>
                  <a:cubicBezTo>
                    <a:pt x="60000" y="0"/>
                    <a:pt x="0" y="120000"/>
                    <a:pt x="60000" y="120000"/>
                  </a:cubicBezTo>
                  <a:cubicBezTo>
                    <a:pt x="120000" y="120000"/>
                    <a:pt x="120000" y="0"/>
                    <a:pt x="120000" y="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12" name="Shape 2386">
              <a:extLst>
                <a:ext uri="{FF2B5EF4-FFF2-40B4-BE49-F238E27FC236}">
                  <a16:creationId xmlns:a16="http://schemas.microsoft.com/office/drawing/2014/main" id="{A59E8979-6F23-0C46-9DD6-BF84C5BEBB79}"/>
                </a:ext>
              </a:extLst>
            </p:cNvPr>
            <p:cNvSpPr/>
            <p:nvPr/>
          </p:nvSpPr>
          <p:spPr>
            <a:xfrm>
              <a:off x="11416735" y="6048214"/>
              <a:ext cx="9553" cy="19113"/>
            </a:xfrm>
            <a:custGeom>
              <a:avLst/>
              <a:gdLst/>
              <a:ahLst/>
              <a:cxnLst/>
              <a:rect l="0" t="0" r="0" b="0"/>
              <a:pathLst>
                <a:path w="120000" h="120000" extrusionOk="0">
                  <a:moveTo>
                    <a:pt x="120000" y="0"/>
                  </a:moveTo>
                  <a:cubicBezTo>
                    <a:pt x="120000" y="60000"/>
                    <a:pt x="0" y="120000"/>
                    <a:pt x="0" y="120000"/>
                  </a:cubicBezTo>
                  <a:cubicBezTo>
                    <a:pt x="120000" y="120000"/>
                    <a:pt x="120000" y="0"/>
                    <a:pt x="120000" y="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13" name="Shape 2387">
              <a:extLst>
                <a:ext uri="{FF2B5EF4-FFF2-40B4-BE49-F238E27FC236}">
                  <a16:creationId xmlns:a16="http://schemas.microsoft.com/office/drawing/2014/main" id="{56DB3633-DBA1-754D-B9EB-F21510D83A74}"/>
                </a:ext>
              </a:extLst>
            </p:cNvPr>
            <p:cNvSpPr/>
            <p:nvPr/>
          </p:nvSpPr>
          <p:spPr>
            <a:xfrm>
              <a:off x="11416735" y="6067325"/>
              <a:ext cx="15923" cy="9555"/>
            </a:xfrm>
            <a:custGeom>
              <a:avLst/>
              <a:gdLst/>
              <a:ahLst/>
              <a:cxnLst/>
              <a:rect l="0" t="0" r="0" b="0"/>
              <a:pathLst>
                <a:path w="120000" h="120000" extrusionOk="0">
                  <a:moveTo>
                    <a:pt x="120000" y="0"/>
                  </a:moveTo>
                  <a:cubicBezTo>
                    <a:pt x="60000" y="0"/>
                    <a:pt x="0" y="120000"/>
                    <a:pt x="60000" y="120000"/>
                  </a:cubicBezTo>
                  <a:cubicBezTo>
                    <a:pt x="120000" y="120000"/>
                    <a:pt x="120000" y="0"/>
                    <a:pt x="120000" y="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14" name="Shape 2388">
              <a:extLst>
                <a:ext uri="{FF2B5EF4-FFF2-40B4-BE49-F238E27FC236}">
                  <a16:creationId xmlns:a16="http://schemas.microsoft.com/office/drawing/2014/main" id="{ACB710E8-FC95-A340-A028-BF1FE29598EE}"/>
                </a:ext>
              </a:extLst>
            </p:cNvPr>
            <p:cNvSpPr/>
            <p:nvPr/>
          </p:nvSpPr>
          <p:spPr>
            <a:xfrm>
              <a:off x="11489984" y="6207488"/>
              <a:ext cx="9553" cy="19113"/>
            </a:xfrm>
            <a:custGeom>
              <a:avLst/>
              <a:gdLst/>
              <a:ahLst/>
              <a:cxnLst/>
              <a:rect l="0" t="0" r="0" b="0"/>
              <a:pathLst>
                <a:path w="120000" h="120000" extrusionOk="0">
                  <a:moveTo>
                    <a:pt x="0" y="0"/>
                  </a:moveTo>
                  <a:cubicBezTo>
                    <a:pt x="0" y="60000"/>
                    <a:pt x="0" y="120000"/>
                    <a:pt x="0" y="120000"/>
                  </a:cubicBezTo>
                  <a:cubicBezTo>
                    <a:pt x="0" y="120000"/>
                    <a:pt x="120000" y="0"/>
                    <a:pt x="0" y="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15" name="Shape 2389">
              <a:extLst>
                <a:ext uri="{FF2B5EF4-FFF2-40B4-BE49-F238E27FC236}">
                  <a16:creationId xmlns:a16="http://schemas.microsoft.com/office/drawing/2014/main" id="{B0246B37-7CF4-6546-AA82-15145EA8667F}"/>
                </a:ext>
              </a:extLst>
            </p:cNvPr>
            <p:cNvSpPr/>
            <p:nvPr/>
          </p:nvSpPr>
          <p:spPr>
            <a:xfrm>
              <a:off x="11630112" y="5786998"/>
              <a:ext cx="19108" cy="38226"/>
            </a:xfrm>
            <a:custGeom>
              <a:avLst/>
              <a:gdLst/>
              <a:ahLst/>
              <a:cxnLst/>
              <a:rect l="0" t="0" r="0" b="0"/>
              <a:pathLst>
                <a:path w="120000" h="120000" extrusionOk="0">
                  <a:moveTo>
                    <a:pt x="60000" y="120000"/>
                  </a:moveTo>
                  <a:cubicBezTo>
                    <a:pt x="0" y="90000"/>
                    <a:pt x="0" y="30000"/>
                    <a:pt x="120000" y="30000"/>
                  </a:cubicBezTo>
                  <a:cubicBezTo>
                    <a:pt x="120000" y="0"/>
                    <a:pt x="120000" y="120000"/>
                    <a:pt x="60000" y="120000"/>
                  </a:cubicBezTo>
                  <a:cubicBezTo>
                    <a:pt x="0" y="90000"/>
                    <a:pt x="60000" y="120000"/>
                    <a:pt x="60000" y="12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16" name="Shape 2390">
              <a:extLst>
                <a:ext uri="{FF2B5EF4-FFF2-40B4-BE49-F238E27FC236}">
                  <a16:creationId xmlns:a16="http://schemas.microsoft.com/office/drawing/2014/main" id="{89B70EA0-4D51-0348-91F7-D95A49547CC0}"/>
                </a:ext>
              </a:extLst>
            </p:cNvPr>
            <p:cNvSpPr/>
            <p:nvPr/>
          </p:nvSpPr>
          <p:spPr>
            <a:xfrm>
              <a:off x="8260685" y="11747153"/>
              <a:ext cx="111464" cy="57338"/>
            </a:xfrm>
            <a:custGeom>
              <a:avLst/>
              <a:gdLst/>
              <a:ahLst/>
              <a:cxnLst/>
              <a:rect l="0" t="0" r="0" b="0"/>
              <a:pathLst>
                <a:path w="120000" h="120000" extrusionOk="0">
                  <a:moveTo>
                    <a:pt x="100000" y="60000"/>
                  </a:moveTo>
                  <a:cubicBezTo>
                    <a:pt x="90000" y="60000"/>
                    <a:pt x="90000" y="40000"/>
                    <a:pt x="80000" y="40000"/>
                  </a:cubicBezTo>
                  <a:cubicBezTo>
                    <a:pt x="70000" y="40000"/>
                    <a:pt x="60000" y="40000"/>
                    <a:pt x="50000" y="40000"/>
                  </a:cubicBezTo>
                  <a:cubicBezTo>
                    <a:pt x="40000" y="40000"/>
                    <a:pt x="40000" y="0"/>
                    <a:pt x="30000" y="20000"/>
                  </a:cubicBezTo>
                  <a:cubicBezTo>
                    <a:pt x="30000" y="20000"/>
                    <a:pt x="0" y="60000"/>
                    <a:pt x="0" y="60000"/>
                  </a:cubicBezTo>
                  <a:cubicBezTo>
                    <a:pt x="0" y="60000"/>
                    <a:pt x="20000" y="100000"/>
                    <a:pt x="20000" y="100000"/>
                  </a:cubicBezTo>
                  <a:cubicBezTo>
                    <a:pt x="30000" y="120000"/>
                    <a:pt x="50000" y="100000"/>
                    <a:pt x="60000" y="100000"/>
                  </a:cubicBezTo>
                  <a:cubicBezTo>
                    <a:pt x="70000" y="100000"/>
                    <a:pt x="110000" y="80000"/>
                    <a:pt x="110000" y="60000"/>
                  </a:cubicBezTo>
                  <a:cubicBezTo>
                    <a:pt x="100000" y="60000"/>
                    <a:pt x="100000" y="60000"/>
                    <a:pt x="100000" y="60000"/>
                  </a:cubicBezTo>
                  <a:cubicBezTo>
                    <a:pt x="90000" y="60000"/>
                    <a:pt x="120000" y="40000"/>
                    <a:pt x="100000" y="6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17" name="Shape 2391">
              <a:extLst>
                <a:ext uri="{FF2B5EF4-FFF2-40B4-BE49-F238E27FC236}">
                  <a16:creationId xmlns:a16="http://schemas.microsoft.com/office/drawing/2014/main" id="{A58AF82B-A2F4-8B45-909C-633C32E54B7E}"/>
                </a:ext>
              </a:extLst>
            </p:cNvPr>
            <p:cNvSpPr/>
            <p:nvPr/>
          </p:nvSpPr>
          <p:spPr>
            <a:xfrm>
              <a:off x="8251129" y="11804490"/>
              <a:ext cx="82802" cy="57338"/>
            </a:xfrm>
            <a:custGeom>
              <a:avLst/>
              <a:gdLst/>
              <a:ahLst/>
              <a:cxnLst/>
              <a:rect l="0" t="0" r="0" b="0"/>
              <a:pathLst>
                <a:path w="120000" h="120000" extrusionOk="0">
                  <a:moveTo>
                    <a:pt x="93333" y="60000"/>
                  </a:moveTo>
                  <a:cubicBezTo>
                    <a:pt x="93333" y="40000"/>
                    <a:pt x="0" y="0"/>
                    <a:pt x="0" y="20000"/>
                  </a:cubicBezTo>
                  <a:cubicBezTo>
                    <a:pt x="0" y="20000"/>
                    <a:pt x="26666" y="40000"/>
                    <a:pt x="26666" y="40000"/>
                  </a:cubicBezTo>
                  <a:cubicBezTo>
                    <a:pt x="40000" y="60000"/>
                    <a:pt x="13333" y="80000"/>
                    <a:pt x="13333" y="100000"/>
                  </a:cubicBezTo>
                  <a:cubicBezTo>
                    <a:pt x="13333" y="120000"/>
                    <a:pt x="40000" y="100000"/>
                    <a:pt x="40000" y="100000"/>
                  </a:cubicBezTo>
                  <a:cubicBezTo>
                    <a:pt x="53333" y="80000"/>
                    <a:pt x="40000" y="100000"/>
                    <a:pt x="53333" y="100000"/>
                  </a:cubicBezTo>
                  <a:cubicBezTo>
                    <a:pt x="66666" y="120000"/>
                    <a:pt x="120000" y="80000"/>
                    <a:pt x="93333" y="60000"/>
                  </a:cubicBezTo>
                  <a:cubicBezTo>
                    <a:pt x="80000" y="40000"/>
                    <a:pt x="106666" y="60000"/>
                    <a:pt x="93333" y="6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18" name="Shape 2392">
              <a:extLst>
                <a:ext uri="{FF2B5EF4-FFF2-40B4-BE49-F238E27FC236}">
                  <a16:creationId xmlns:a16="http://schemas.microsoft.com/office/drawing/2014/main" id="{EF1A097C-E9A3-5945-8943-569407AB4D66}"/>
                </a:ext>
              </a:extLst>
            </p:cNvPr>
            <p:cNvSpPr/>
            <p:nvPr/>
          </p:nvSpPr>
          <p:spPr>
            <a:xfrm>
              <a:off x="8241578" y="11731226"/>
              <a:ext cx="73247" cy="44598"/>
            </a:xfrm>
            <a:custGeom>
              <a:avLst/>
              <a:gdLst/>
              <a:ahLst/>
              <a:cxnLst/>
              <a:rect l="0" t="0" r="0" b="0"/>
              <a:pathLst>
                <a:path w="120000" h="120000" extrusionOk="0">
                  <a:moveTo>
                    <a:pt x="90000" y="0"/>
                  </a:moveTo>
                  <a:cubicBezTo>
                    <a:pt x="75000" y="0"/>
                    <a:pt x="60000" y="24000"/>
                    <a:pt x="45000" y="24000"/>
                  </a:cubicBezTo>
                  <a:cubicBezTo>
                    <a:pt x="30000" y="0"/>
                    <a:pt x="0" y="24000"/>
                    <a:pt x="0" y="24000"/>
                  </a:cubicBezTo>
                  <a:cubicBezTo>
                    <a:pt x="15000" y="0"/>
                    <a:pt x="0" y="96000"/>
                    <a:pt x="0" y="72000"/>
                  </a:cubicBezTo>
                  <a:cubicBezTo>
                    <a:pt x="15000" y="120000"/>
                    <a:pt x="60000" y="72000"/>
                    <a:pt x="75000" y="48000"/>
                  </a:cubicBezTo>
                  <a:cubicBezTo>
                    <a:pt x="90000" y="48000"/>
                    <a:pt x="120000" y="0"/>
                    <a:pt x="90000" y="0"/>
                  </a:cubicBezTo>
                  <a:cubicBezTo>
                    <a:pt x="75000" y="0"/>
                    <a:pt x="120000" y="0"/>
                    <a:pt x="90000" y="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19" name="Shape 2393">
              <a:extLst>
                <a:ext uri="{FF2B5EF4-FFF2-40B4-BE49-F238E27FC236}">
                  <a16:creationId xmlns:a16="http://schemas.microsoft.com/office/drawing/2014/main" id="{A37F95A9-0294-5449-957F-24557AE54910}"/>
                </a:ext>
              </a:extLst>
            </p:cNvPr>
            <p:cNvSpPr/>
            <p:nvPr/>
          </p:nvSpPr>
          <p:spPr>
            <a:xfrm>
              <a:off x="8203361" y="11766265"/>
              <a:ext cx="76431" cy="47785"/>
            </a:xfrm>
            <a:custGeom>
              <a:avLst/>
              <a:gdLst/>
              <a:ahLst/>
              <a:cxnLst/>
              <a:rect l="0" t="0" r="0" b="0"/>
              <a:pathLst>
                <a:path w="120000" h="120000" extrusionOk="0">
                  <a:moveTo>
                    <a:pt x="105000" y="96000"/>
                  </a:moveTo>
                  <a:cubicBezTo>
                    <a:pt x="90000" y="72000"/>
                    <a:pt x="0" y="0"/>
                    <a:pt x="15000" y="24000"/>
                  </a:cubicBezTo>
                  <a:cubicBezTo>
                    <a:pt x="30000" y="48000"/>
                    <a:pt x="120000" y="120000"/>
                    <a:pt x="105000" y="96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20" name="Shape 2394">
              <a:extLst>
                <a:ext uri="{FF2B5EF4-FFF2-40B4-BE49-F238E27FC236}">
                  <a16:creationId xmlns:a16="http://schemas.microsoft.com/office/drawing/2014/main" id="{0FD6E5D0-2BA2-E941-A22E-6C7C32F30A29}"/>
                </a:ext>
              </a:extLst>
            </p:cNvPr>
            <p:cNvSpPr/>
            <p:nvPr/>
          </p:nvSpPr>
          <p:spPr>
            <a:xfrm>
              <a:off x="8184252" y="11702553"/>
              <a:ext cx="28661" cy="28669"/>
            </a:xfrm>
            <a:custGeom>
              <a:avLst/>
              <a:gdLst/>
              <a:ahLst/>
              <a:cxnLst/>
              <a:rect l="0" t="0" r="0" b="0"/>
              <a:pathLst>
                <a:path w="120000" h="120000" extrusionOk="0">
                  <a:moveTo>
                    <a:pt x="80000" y="80000"/>
                  </a:moveTo>
                  <a:cubicBezTo>
                    <a:pt x="80000" y="120000"/>
                    <a:pt x="40000" y="80000"/>
                    <a:pt x="0" y="40000"/>
                  </a:cubicBezTo>
                  <a:cubicBezTo>
                    <a:pt x="0" y="0"/>
                    <a:pt x="120000" y="0"/>
                    <a:pt x="80000" y="80000"/>
                  </a:cubicBezTo>
                  <a:cubicBezTo>
                    <a:pt x="80000" y="120000"/>
                    <a:pt x="80000" y="40000"/>
                    <a:pt x="80000" y="8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21" name="Shape 2395">
              <a:extLst>
                <a:ext uri="{FF2B5EF4-FFF2-40B4-BE49-F238E27FC236}">
                  <a16:creationId xmlns:a16="http://schemas.microsoft.com/office/drawing/2014/main" id="{5A236B47-CF38-6D42-ACBC-6B0A2FEC13D8}"/>
                </a:ext>
              </a:extLst>
            </p:cNvPr>
            <p:cNvSpPr/>
            <p:nvPr/>
          </p:nvSpPr>
          <p:spPr>
            <a:xfrm>
              <a:off x="8184252" y="11626102"/>
              <a:ext cx="66878" cy="66896"/>
            </a:xfrm>
            <a:custGeom>
              <a:avLst/>
              <a:gdLst/>
              <a:ahLst/>
              <a:cxnLst/>
              <a:rect l="0" t="0" r="0" b="0"/>
              <a:pathLst>
                <a:path w="120000" h="120000" extrusionOk="0">
                  <a:moveTo>
                    <a:pt x="85714" y="34285"/>
                  </a:moveTo>
                  <a:cubicBezTo>
                    <a:pt x="85714" y="17142"/>
                    <a:pt x="68571" y="17142"/>
                    <a:pt x="68571" y="0"/>
                  </a:cubicBezTo>
                  <a:cubicBezTo>
                    <a:pt x="51428" y="0"/>
                    <a:pt x="17142" y="0"/>
                    <a:pt x="34285" y="17142"/>
                  </a:cubicBezTo>
                  <a:cubicBezTo>
                    <a:pt x="68571" y="51428"/>
                    <a:pt x="17142" y="34285"/>
                    <a:pt x="0" y="17142"/>
                  </a:cubicBezTo>
                  <a:cubicBezTo>
                    <a:pt x="17142" y="51428"/>
                    <a:pt x="34285" y="51428"/>
                    <a:pt x="34285" y="68571"/>
                  </a:cubicBezTo>
                  <a:cubicBezTo>
                    <a:pt x="51428" y="102857"/>
                    <a:pt x="17142" y="85714"/>
                    <a:pt x="0" y="102857"/>
                  </a:cubicBezTo>
                  <a:cubicBezTo>
                    <a:pt x="0" y="119999"/>
                    <a:pt x="68571" y="102857"/>
                    <a:pt x="51428" y="85714"/>
                  </a:cubicBezTo>
                  <a:cubicBezTo>
                    <a:pt x="51428" y="85714"/>
                    <a:pt x="68571" y="51428"/>
                    <a:pt x="68571" y="34285"/>
                  </a:cubicBezTo>
                  <a:cubicBezTo>
                    <a:pt x="68571" y="34285"/>
                    <a:pt x="68571" y="51428"/>
                    <a:pt x="68571" y="68571"/>
                  </a:cubicBezTo>
                  <a:cubicBezTo>
                    <a:pt x="68571" y="51428"/>
                    <a:pt x="102857" y="34285"/>
                    <a:pt x="102857" y="34285"/>
                  </a:cubicBezTo>
                  <a:cubicBezTo>
                    <a:pt x="102857" y="34285"/>
                    <a:pt x="102857" y="34285"/>
                    <a:pt x="85714" y="34285"/>
                  </a:cubicBezTo>
                  <a:cubicBezTo>
                    <a:pt x="85714" y="17142"/>
                    <a:pt x="119999" y="34285"/>
                    <a:pt x="85714" y="34285"/>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22" name="Shape 2396">
              <a:extLst>
                <a:ext uri="{FF2B5EF4-FFF2-40B4-BE49-F238E27FC236}">
                  <a16:creationId xmlns:a16="http://schemas.microsoft.com/office/drawing/2014/main" id="{358E8CA7-B0EA-B04D-93B2-7E2AF398FBED}"/>
                </a:ext>
              </a:extLst>
            </p:cNvPr>
            <p:cNvSpPr/>
            <p:nvPr/>
          </p:nvSpPr>
          <p:spPr>
            <a:xfrm>
              <a:off x="8174697" y="11505051"/>
              <a:ext cx="47769" cy="101936"/>
            </a:xfrm>
            <a:custGeom>
              <a:avLst/>
              <a:gdLst/>
              <a:ahLst/>
              <a:cxnLst/>
              <a:rect l="0" t="0" r="0" b="0"/>
              <a:pathLst>
                <a:path w="120000" h="120000" extrusionOk="0">
                  <a:moveTo>
                    <a:pt x="120000" y="76363"/>
                  </a:moveTo>
                  <a:cubicBezTo>
                    <a:pt x="120000" y="65454"/>
                    <a:pt x="96000" y="0"/>
                    <a:pt x="48000" y="21818"/>
                  </a:cubicBezTo>
                  <a:cubicBezTo>
                    <a:pt x="48000" y="32727"/>
                    <a:pt x="72000" y="65454"/>
                    <a:pt x="24000" y="65454"/>
                  </a:cubicBezTo>
                  <a:cubicBezTo>
                    <a:pt x="0" y="65454"/>
                    <a:pt x="0" y="76363"/>
                    <a:pt x="0" y="98181"/>
                  </a:cubicBezTo>
                  <a:cubicBezTo>
                    <a:pt x="24000" y="98181"/>
                    <a:pt x="48000" y="76363"/>
                    <a:pt x="48000" y="76363"/>
                  </a:cubicBezTo>
                  <a:cubicBezTo>
                    <a:pt x="24000" y="76363"/>
                    <a:pt x="120000" y="120000"/>
                    <a:pt x="120000" y="76363"/>
                  </a:cubicBezTo>
                  <a:cubicBezTo>
                    <a:pt x="120000" y="65454"/>
                    <a:pt x="120000" y="87272"/>
                    <a:pt x="120000" y="76363"/>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23" name="Shape 2397">
              <a:extLst>
                <a:ext uri="{FF2B5EF4-FFF2-40B4-BE49-F238E27FC236}">
                  <a16:creationId xmlns:a16="http://schemas.microsoft.com/office/drawing/2014/main" id="{F647B028-BAA7-7149-B839-7A2BFD781BA1}"/>
                </a:ext>
              </a:extLst>
            </p:cNvPr>
            <p:cNvSpPr/>
            <p:nvPr/>
          </p:nvSpPr>
          <p:spPr>
            <a:xfrm>
              <a:off x="8165145" y="11587873"/>
              <a:ext cx="28661" cy="57338"/>
            </a:xfrm>
            <a:custGeom>
              <a:avLst/>
              <a:gdLst/>
              <a:ahLst/>
              <a:cxnLst/>
              <a:rect l="0" t="0" r="0" b="0"/>
              <a:pathLst>
                <a:path w="120000" h="120000" extrusionOk="0">
                  <a:moveTo>
                    <a:pt x="120000" y="40000"/>
                  </a:moveTo>
                  <a:cubicBezTo>
                    <a:pt x="80000" y="0"/>
                    <a:pt x="0" y="100000"/>
                    <a:pt x="40000" y="120000"/>
                  </a:cubicBezTo>
                  <a:cubicBezTo>
                    <a:pt x="0" y="100000"/>
                    <a:pt x="120000" y="60000"/>
                    <a:pt x="120000" y="40000"/>
                  </a:cubicBezTo>
                  <a:cubicBezTo>
                    <a:pt x="80000" y="20000"/>
                    <a:pt x="120000" y="40000"/>
                    <a:pt x="120000" y="4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24" name="Shape 2398">
              <a:extLst>
                <a:ext uri="{FF2B5EF4-FFF2-40B4-BE49-F238E27FC236}">
                  <a16:creationId xmlns:a16="http://schemas.microsoft.com/office/drawing/2014/main" id="{0597C680-28E9-1F4C-97FD-E1A6D3B05F76}"/>
                </a:ext>
              </a:extLst>
            </p:cNvPr>
            <p:cNvSpPr/>
            <p:nvPr/>
          </p:nvSpPr>
          <p:spPr>
            <a:xfrm>
              <a:off x="8165145" y="11466824"/>
              <a:ext cx="47769" cy="66896"/>
            </a:xfrm>
            <a:custGeom>
              <a:avLst/>
              <a:gdLst/>
              <a:ahLst/>
              <a:cxnLst/>
              <a:rect l="0" t="0" r="0" b="0"/>
              <a:pathLst>
                <a:path w="120000" h="120000" extrusionOk="0">
                  <a:moveTo>
                    <a:pt x="96000" y="34285"/>
                  </a:moveTo>
                  <a:cubicBezTo>
                    <a:pt x="72000" y="51428"/>
                    <a:pt x="72000" y="0"/>
                    <a:pt x="72000" y="0"/>
                  </a:cubicBezTo>
                  <a:cubicBezTo>
                    <a:pt x="72000" y="0"/>
                    <a:pt x="72000" y="51428"/>
                    <a:pt x="48000" y="51428"/>
                  </a:cubicBezTo>
                  <a:cubicBezTo>
                    <a:pt x="48000" y="51428"/>
                    <a:pt x="48000" y="34285"/>
                    <a:pt x="24000" y="34285"/>
                  </a:cubicBezTo>
                  <a:cubicBezTo>
                    <a:pt x="48000" y="34285"/>
                    <a:pt x="0" y="85714"/>
                    <a:pt x="0" y="85714"/>
                  </a:cubicBezTo>
                  <a:cubicBezTo>
                    <a:pt x="0" y="68571"/>
                    <a:pt x="96000" y="85714"/>
                    <a:pt x="48000" y="119999"/>
                  </a:cubicBezTo>
                  <a:cubicBezTo>
                    <a:pt x="72000" y="102857"/>
                    <a:pt x="120000" y="102857"/>
                    <a:pt x="120000" y="85714"/>
                  </a:cubicBezTo>
                  <a:cubicBezTo>
                    <a:pt x="120000" y="68571"/>
                    <a:pt x="96000" y="17142"/>
                    <a:pt x="96000" y="34285"/>
                  </a:cubicBezTo>
                  <a:cubicBezTo>
                    <a:pt x="72000" y="51428"/>
                    <a:pt x="96000" y="17142"/>
                    <a:pt x="96000" y="34285"/>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25" name="Shape 2399">
              <a:extLst>
                <a:ext uri="{FF2B5EF4-FFF2-40B4-BE49-F238E27FC236}">
                  <a16:creationId xmlns:a16="http://schemas.microsoft.com/office/drawing/2014/main" id="{B657C918-7DC3-334A-85CA-DFC25AF3C320}"/>
                </a:ext>
              </a:extLst>
            </p:cNvPr>
            <p:cNvSpPr/>
            <p:nvPr/>
          </p:nvSpPr>
          <p:spPr>
            <a:xfrm>
              <a:off x="8212917" y="11282062"/>
              <a:ext cx="47769" cy="44598"/>
            </a:xfrm>
            <a:custGeom>
              <a:avLst/>
              <a:gdLst/>
              <a:ahLst/>
              <a:cxnLst/>
              <a:rect l="0" t="0" r="0" b="0"/>
              <a:pathLst>
                <a:path w="120000" h="120000" extrusionOk="0">
                  <a:moveTo>
                    <a:pt x="72000" y="96000"/>
                  </a:moveTo>
                  <a:cubicBezTo>
                    <a:pt x="120000" y="48000"/>
                    <a:pt x="48000" y="48000"/>
                    <a:pt x="72000" y="0"/>
                  </a:cubicBezTo>
                  <a:cubicBezTo>
                    <a:pt x="72000" y="0"/>
                    <a:pt x="24000" y="0"/>
                    <a:pt x="0" y="0"/>
                  </a:cubicBezTo>
                  <a:cubicBezTo>
                    <a:pt x="0" y="0"/>
                    <a:pt x="48000" y="24000"/>
                    <a:pt x="48000" y="24000"/>
                  </a:cubicBezTo>
                  <a:cubicBezTo>
                    <a:pt x="48000" y="48000"/>
                    <a:pt x="72000" y="96000"/>
                    <a:pt x="72000" y="96000"/>
                  </a:cubicBezTo>
                  <a:cubicBezTo>
                    <a:pt x="96000" y="72000"/>
                    <a:pt x="48000" y="120000"/>
                    <a:pt x="72000" y="96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26" name="Shape 2400">
              <a:extLst>
                <a:ext uri="{FF2B5EF4-FFF2-40B4-BE49-F238E27FC236}">
                  <a16:creationId xmlns:a16="http://schemas.microsoft.com/office/drawing/2014/main" id="{E085A0C5-6A39-4E4E-B8A5-FBDB68F22EDF}"/>
                </a:ext>
              </a:extLst>
            </p:cNvPr>
            <p:cNvSpPr/>
            <p:nvPr/>
          </p:nvSpPr>
          <p:spPr>
            <a:xfrm>
              <a:off x="8222471" y="11113230"/>
              <a:ext cx="57322" cy="101936"/>
            </a:xfrm>
            <a:custGeom>
              <a:avLst/>
              <a:gdLst/>
              <a:ahLst/>
              <a:cxnLst/>
              <a:rect l="0" t="0" r="0" b="0"/>
              <a:pathLst>
                <a:path w="120000" h="120000" extrusionOk="0">
                  <a:moveTo>
                    <a:pt x="60000" y="109090"/>
                  </a:moveTo>
                  <a:cubicBezTo>
                    <a:pt x="20000" y="120000"/>
                    <a:pt x="0" y="120000"/>
                    <a:pt x="0" y="98181"/>
                  </a:cubicBezTo>
                  <a:cubicBezTo>
                    <a:pt x="20000" y="76363"/>
                    <a:pt x="20000" y="43636"/>
                    <a:pt x="20000" y="21818"/>
                  </a:cubicBezTo>
                  <a:cubicBezTo>
                    <a:pt x="20000" y="0"/>
                    <a:pt x="100000" y="0"/>
                    <a:pt x="80000" y="32727"/>
                  </a:cubicBezTo>
                  <a:cubicBezTo>
                    <a:pt x="80000" y="54545"/>
                    <a:pt x="120000" y="87272"/>
                    <a:pt x="60000" y="109090"/>
                  </a:cubicBezTo>
                  <a:cubicBezTo>
                    <a:pt x="40000" y="109090"/>
                    <a:pt x="80000" y="98181"/>
                    <a:pt x="60000" y="10909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27" name="Shape 2401">
              <a:extLst>
                <a:ext uri="{FF2B5EF4-FFF2-40B4-BE49-F238E27FC236}">
                  <a16:creationId xmlns:a16="http://schemas.microsoft.com/office/drawing/2014/main" id="{F73EF76C-DE1D-7E41-B3C2-42C08BAA2B37}"/>
                </a:ext>
              </a:extLst>
            </p:cNvPr>
            <p:cNvSpPr/>
            <p:nvPr/>
          </p:nvSpPr>
          <p:spPr>
            <a:xfrm>
              <a:off x="8410368" y="8462855"/>
              <a:ext cx="44585" cy="38226"/>
            </a:xfrm>
            <a:custGeom>
              <a:avLst/>
              <a:gdLst/>
              <a:ahLst/>
              <a:cxnLst/>
              <a:rect l="0" t="0" r="0" b="0"/>
              <a:pathLst>
                <a:path w="120000" h="120000" extrusionOk="0">
                  <a:moveTo>
                    <a:pt x="72000" y="90000"/>
                  </a:moveTo>
                  <a:cubicBezTo>
                    <a:pt x="48000" y="120000"/>
                    <a:pt x="0" y="90000"/>
                    <a:pt x="24000" y="30000"/>
                  </a:cubicBezTo>
                  <a:cubicBezTo>
                    <a:pt x="24000" y="0"/>
                    <a:pt x="120000" y="60000"/>
                    <a:pt x="72000" y="90000"/>
                  </a:cubicBezTo>
                  <a:cubicBezTo>
                    <a:pt x="48000" y="120000"/>
                    <a:pt x="120000" y="60000"/>
                    <a:pt x="72000" y="9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28" name="Shape 2402">
              <a:extLst>
                <a:ext uri="{FF2B5EF4-FFF2-40B4-BE49-F238E27FC236}">
                  <a16:creationId xmlns:a16="http://schemas.microsoft.com/office/drawing/2014/main" id="{E994E519-4789-9246-B0CF-3B21E604ACFD}"/>
                </a:ext>
              </a:extLst>
            </p:cNvPr>
            <p:cNvSpPr/>
            <p:nvPr/>
          </p:nvSpPr>
          <p:spPr>
            <a:xfrm>
              <a:off x="8811641" y="8520196"/>
              <a:ext cx="54138" cy="73268"/>
            </a:xfrm>
            <a:custGeom>
              <a:avLst/>
              <a:gdLst/>
              <a:ahLst/>
              <a:cxnLst/>
              <a:rect l="0" t="0" r="0" b="0"/>
              <a:pathLst>
                <a:path w="120000" h="120000" extrusionOk="0">
                  <a:moveTo>
                    <a:pt x="20000" y="75000"/>
                  </a:moveTo>
                  <a:cubicBezTo>
                    <a:pt x="0" y="60000"/>
                    <a:pt x="40000" y="60000"/>
                    <a:pt x="40000" y="60000"/>
                  </a:cubicBezTo>
                  <a:cubicBezTo>
                    <a:pt x="60000" y="60000"/>
                    <a:pt x="60000" y="0"/>
                    <a:pt x="80000" y="30000"/>
                  </a:cubicBezTo>
                  <a:cubicBezTo>
                    <a:pt x="120000" y="60000"/>
                    <a:pt x="40000" y="120000"/>
                    <a:pt x="20000" y="75000"/>
                  </a:cubicBezTo>
                  <a:cubicBezTo>
                    <a:pt x="0" y="60000"/>
                    <a:pt x="20000" y="90000"/>
                    <a:pt x="20000" y="75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29" name="Shape 2403">
              <a:extLst>
                <a:ext uri="{FF2B5EF4-FFF2-40B4-BE49-F238E27FC236}">
                  <a16:creationId xmlns:a16="http://schemas.microsoft.com/office/drawing/2014/main" id="{BCE828FC-CE45-E74D-BAF0-008E1844312C}"/>
                </a:ext>
              </a:extLst>
            </p:cNvPr>
            <p:cNvSpPr/>
            <p:nvPr/>
          </p:nvSpPr>
          <p:spPr>
            <a:xfrm>
              <a:off x="9324380" y="9026698"/>
              <a:ext cx="130573" cy="121050"/>
            </a:xfrm>
            <a:custGeom>
              <a:avLst/>
              <a:gdLst/>
              <a:ahLst/>
              <a:cxnLst/>
              <a:rect l="0" t="0" r="0" b="0"/>
              <a:pathLst>
                <a:path w="120000" h="120000" extrusionOk="0">
                  <a:moveTo>
                    <a:pt x="102857" y="36923"/>
                  </a:moveTo>
                  <a:cubicBezTo>
                    <a:pt x="102857" y="27692"/>
                    <a:pt x="94285" y="27692"/>
                    <a:pt x="85714" y="27692"/>
                  </a:cubicBezTo>
                  <a:cubicBezTo>
                    <a:pt x="68571" y="18461"/>
                    <a:pt x="68571" y="9230"/>
                    <a:pt x="51428" y="9230"/>
                  </a:cubicBezTo>
                  <a:cubicBezTo>
                    <a:pt x="42857" y="0"/>
                    <a:pt x="25714" y="0"/>
                    <a:pt x="17142" y="9230"/>
                  </a:cubicBezTo>
                  <a:cubicBezTo>
                    <a:pt x="17142" y="9230"/>
                    <a:pt x="17142" y="18461"/>
                    <a:pt x="8571" y="18461"/>
                  </a:cubicBezTo>
                  <a:cubicBezTo>
                    <a:pt x="0" y="36923"/>
                    <a:pt x="8571" y="27692"/>
                    <a:pt x="17142" y="36923"/>
                  </a:cubicBezTo>
                  <a:cubicBezTo>
                    <a:pt x="17142" y="36923"/>
                    <a:pt x="8571" y="64615"/>
                    <a:pt x="8571" y="64615"/>
                  </a:cubicBezTo>
                  <a:cubicBezTo>
                    <a:pt x="8571" y="83076"/>
                    <a:pt x="8571" y="83076"/>
                    <a:pt x="17142" y="92307"/>
                  </a:cubicBezTo>
                  <a:cubicBezTo>
                    <a:pt x="25714" y="101538"/>
                    <a:pt x="25714" y="92307"/>
                    <a:pt x="34285" y="92307"/>
                  </a:cubicBezTo>
                  <a:cubicBezTo>
                    <a:pt x="51428" y="92307"/>
                    <a:pt x="42857" y="110769"/>
                    <a:pt x="59999" y="110769"/>
                  </a:cubicBezTo>
                  <a:cubicBezTo>
                    <a:pt x="77142" y="120000"/>
                    <a:pt x="68571" y="101538"/>
                    <a:pt x="85714" y="92307"/>
                  </a:cubicBezTo>
                  <a:cubicBezTo>
                    <a:pt x="102857" y="73846"/>
                    <a:pt x="119999" y="64615"/>
                    <a:pt x="102857" y="36923"/>
                  </a:cubicBezTo>
                  <a:cubicBezTo>
                    <a:pt x="102857" y="18461"/>
                    <a:pt x="119999" y="73846"/>
                    <a:pt x="102857" y="36923"/>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30" name="Shape 2404">
              <a:extLst>
                <a:ext uri="{FF2B5EF4-FFF2-40B4-BE49-F238E27FC236}">
                  <a16:creationId xmlns:a16="http://schemas.microsoft.com/office/drawing/2014/main" id="{04CC5A23-9D11-5A45-8011-8DC76CE11B3A}"/>
                </a:ext>
              </a:extLst>
            </p:cNvPr>
            <p:cNvSpPr/>
            <p:nvPr/>
          </p:nvSpPr>
          <p:spPr>
            <a:xfrm>
              <a:off x="8560050" y="8163414"/>
              <a:ext cx="92356" cy="38226"/>
            </a:xfrm>
            <a:custGeom>
              <a:avLst/>
              <a:gdLst/>
              <a:ahLst/>
              <a:cxnLst/>
              <a:rect l="0" t="0" r="0" b="0"/>
              <a:pathLst>
                <a:path w="120000" h="120000" extrusionOk="0">
                  <a:moveTo>
                    <a:pt x="108000" y="60000"/>
                  </a:moveTo>
                  <a:cubicBezTo>
                    <a:pt x="84000" y="30000"/>
                    <a:pt x="72000" y="0"/>
                    <a:pt x="48000" y="0"/>
                  </a:cubicBezTo>
                  <a:cubicBezTo>
                    <a:pt x="36000" y="0"/>
                    <a:pt x="0" y="30000"/>
                    <a:pt x="12000" y="90000"/>
                  </a:cubicBezTo>
                  <a:cubicBezTo>
                    <a:pt x="24000" y="120000"/>
                    <a:pt x="108000" y="60000"/>
                    <a:pt x="108000" y="60000"/>
                  </a:cubicBezTo>
                  <a:cubicBezTo>
                    <a:pt x="72000" y="30000"/>
                    <a:pt x="120000" y="90000"/>
                    <a:pt x="108000" y="6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31" name="Shape 2405">
              <a:extLst>
                <a:ext uri="{FF2B5EF4-FFF2-40B4-BE49-F238E27FC236}">
                  <a16:creationId xmlns:a16="http://schemas.microsoft.com/office/drawing/2014/main" id="{6AB69333-BB48-1E49-A224-FCE65909E5DB}"/>
                </a:ext>
              </a:extLst>
            </p:cNvPr>
            <p:cNvSpPr/>
            <p:nvPr/>
          </p:nvSpPr>
          <p:spPr>
            <a:xfrm>
              <a:off x="8034571" y="8153856"/>
              <a:ext cx="105096" cy="47785"/>
            </a:xfrm>
            <a:custGeom>
              <a:avLst/>
              <a:gdLst/>
              <a:ahLst/>
              <a:cxnLst/>
              <a:rect l="0" t="0" r="0" b="0"/>
              <a:pathLst>
                <a:path w="120000" h="120000" extrusionOk="0">
                  <a:moveTo>
                    <a:pt x="109090" y="96000"/>
                  </a:moveTo>
                  <a:cubicBezTo>
                    <a:pt x="109090" y="24000"/>
                    <a:pt x="21818" y="0"/>
                    <a:pt x="0" y="48000"/>
                  </a:cubicBezTo>
                  <a:cubicBezTo>
                    <a:pt x="0" y="48000"/>
                    <a:pt x="43636" y="120000"/>
                    <a:pt x="54545" y="120000"/>
                  </a:cubicBezTo>
                  <a:cubicBezTo>
                    <a:pt x="65454" y="120000"/>
                    <a:pt x="120000" y="96000"/>
                    <a:pt x="109090" y="96000"/>
                  </a:cubicBezTo>
                  <a:cubicBezTo>
                    <a:pt x="109090" y="72000"/>
                    <a:pt x="120000" y="120000"/>
                    <a:pt x="109090" y="96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32" name="Shape 2406">
              <a:extLst>
                <a:ext uri="{FF2B5EF4-FFF2-40B4-BE49-F238E27FC236}">
                  <a16:creationId xmlns:a16="http://schemas.microsoft.com/office/drawing/2014/main" id="{2033201E-8483-D44C-87D2-4211383683E1}"/>
                </a:ext>
              </a:extLst>
            </p:cNvPr>
            <p:cNvSpPr/>
            <p:nvPr/>
          </p:nvSpPr>
          <p:spPr>
            <a:xfrm>
              <a:off x="7747950" y="7940427"/>
              <a:ext cx="484075" cy="168834"/>
            </a:xfrm>
            <a:custGeom>
              <a:avLst/>
              <a:gdLst/>
              <a:ahLst/>
              <a:cxnLst/>
              <a:rect l="0" t="0" r="0" b="0"/>
              <a:pathLst>
                <a:path w="120000" h="120000" extrusionOk="0">
                  <a:moveTo>
                    <a:pt x="120000" y="106666"/>
                  </a:moveTo>
                  <a:cubicBezTo>
                    <a:pt x="120000" y="113333"/>
                    <a:pt x="96923" y="113333"/>
                    <a:pt x="94615" y="113333"/>
                  </a:cubicBezTo>
                  <a:cubicBezTo>
                    <a:pt x="90000" y="113333"/>
                    <a:pt x="85384" y="120000"/>
                    <a:pt x="80769" y="113333"/>
                  </a:cubicBezTo>
                  <a:cubicBezTo>
                    <a:pt x="78461" y="106666"/>
                    <a:pt x="94615" y="100000"/>
                    <a:pt x="85384" y="93333"/>
                  </a:cubicBezTo>
                  <a:cubicBezTo>
                    <a:pt x="80769" y="86666"/>
                    <a:pt x="76153" y="86666"/>
                    <a:pt x="73846" y="73333"/>
                  </a:cubicBezTo>
                  <a:cubicBezTo>
                    <a:pt x="69230" y="60000"/>
                    <a:pt x="71538" y="53333"/>
                    <a:pt x="64615" y="53333"/>
                  </a:cubicBezTo>
                  <a:cubicBezTo>
                    <a:pt x="55384" y="60000"/>
                    <a:pt x="53076" y="40000"/>
                    <a:pt x="46153" y="33333"/>
                  </a:cubicBezTo>
                  <a:cubicBezTo>
                    <a:pt x="43846" y="33333"/>
                    <a:pt x="34615" y="40000"/>
                    <a:pt x="32307" y="33333"/>
                  </a:cubicBezTo>
                  <a:cubicBezTo>
                    <a:pt x="32307" y="26666"/>
                    <a:pt x="36923" y="26666"/>
                    <a:pt x="36923" y="20000"/>
                  </a:cubicBezTo>
                  <a:cubicBezTo>
                    <a:pt x="36923" y="13333"/>
                    <a:pt x="20769" y="20000"/>
                    <a:pt x="18461" y="20000"/>
                  </a:cubicBezTo>
                  <a:cubicBezTo>
                    <a:pt x="18461" y="26666"/>
                    <a:pt x="0" y="46666"/>
                    <a:pt x="0" y="40000"/>
                  </a:cubicBezTo>
                  <a:cubicBezTo>
                    <a:pt x="0" y="26666"/>
                    <a:pt x="9230" y="13333"/>
                    <a:pt x="13846" y="13333"/>
                  </a:cubicBezTo>
                  <a:cubicBezTo>
                    <a:pt x="20769" y="0"/>
                    <a:pt x="27692" y="0"/>
                    <a:pt x="36923" y="0"/>
                  </a:cubicBezTo>
                  <a:cubicBezTo>
                    <a:pt x="41538" y="0"/>
                    <a:pt x="50769" y="0"/>
                    <a:pt x="55384" y="6666"/>
                  </a:cubicBezTo>
                  <a:cubicBezTo>
                    <a:pt x="60000" y="13333"/>
                    <a:pt x="64615" y="26666"/>
                    <a:pt x="71538" y="26666"/>
                  </a:cubicBezTo>
                  <a:cubicBezTo>
                    <a:pt x="71538" y="26666"/>
                    <a:pt x="71538" y="20000"/>
                    <a:pt x="73846" y="26666"/>
                  </a:cubicBezTo>
                  <a:cubicBezTo>
                    <a:pt x="76153" y="33333"/>
                    <a:pt x="76153" y="33333"/>
                    <a:pt x="78461" y="33333"/>
                  </a:cubicBezTo>
                  <a:cubicBezTo>
                    <a:pt x="80769" y="40000"/>
                    <a:pt x="85384" y="46666"/>
                    <a:pt x="87692" y="53333"/>
                  </a:cubicBezTo>
                  <a:cubicBezTo>
                    <a:pt x="92307" y="60000"/>
                    <a:pt x="101538" y="60000"/>
                    <a:pt x="103846" y="73333"/>
                  </a:cubicBezTo>
                  <a:cubicBezTo>
                    <a:pt x="108461" y="86666"/>
                    <a:pt x="120000" y="86666"/>
                    <a:pt x="120000" y="106666"/>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33" name="Shape 2407">
              <a:extLst>
                <a:ext uri="{FF2B5EF4-FFF2-40B4-BE49-F238E27FC236}">
                  <a16:creationId xmlns:a16="http://schemas.microsoft.com/office/drawing/2014/main" id="{CBA596FB-CE93-0445-883B-07B3BD5195BF}"/>
                </a:ext>
              </a:extLst>
            </p:cNvPr>
            <p:cNvSpPr/>
            <p:nvPr/>
          </p:nvSpPr>
          <p:spPr>
            <a:xfrm>
              <a:off x="8034571" y="7838488"/>
              <a:ext cx="38216" cy="35041"/>
            </a:xfrm>
            <a:custGeom>
              <a:avLst/>
              <a:gdLst/>
              <a:ahLst/>
              <a:cxnLst/>
              <a:rect l="0" t="0" r="0" b="0"/>
              <a:pathLst>
                <a:path w="120000" h="120000" extrusionOk="0">
                  <a:moveTo>
                    <a:pt x="60000" y="120000"/>
                  </a:moveTo>
                  <a:cubicBezTo>
                    <a:pt x="0" y="120000"/>
                    <a:pt x="30000" y="30000"/>
                    <a:pt x="30000" y="0"/>
                  </a:cubicBezTo>
                  <a:cubicBezTo>
                    <a:pt x="60000" y="0"/>
                    <a:pt x="120000" y="120000"/>
                    <a:pt x="60000" y="120000"/>
                  </a:cubicBezTo>
                  <a:cubicBezTo>
                    <a:pt x="30000" y="120000"/>
                    <a:pt x="120000" y="120000"/>
                    <a:pt x="60000" y="12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34" name="Shape 2408">
              <a:extLst>
                <a:ext uri="{FF2B5EF4-FFF2-40B4-BE49-F238E27FC236}">
                  <a16:creationId xmlns:a16="http://schemas.microsoft.com/office/drawing/2014/main" id="{4C981802-E782-DE41-BB39-F71F4667A4AC}"/>
                </a:ext>
              </a:extLst>
            </p:cNvPr>
            <p:cNvSpPr/>
            <p:nvPr/>
          </p:nvSpPr>
          <p:spPr>
            <a:xfrm>
              <a:off x="8270239" y="8032807"/>
              <a:ext cx="19108" cy="19113"/>
            </a:xfrm>
            <a:custGeom>
              <a:avLst/>
              <a:gdLst/>
              <a:ahLst/>
              <a:cxnLst/>
              <a:rect l="0" t="0" r="0" b="0"/>
              <a:pathLst>
                <a:path w="120000" h="120000" extrusionOk="0">
                  <a:moveTo>
                    <a:pt x="120000" y="60000"/>
                  </a:moveTo>
                  <a:cubicBezTo>
                    <a:pt x="120000" y="0"/>
                    <a:pt x="0" y="0"/>
                    <a:pt x="0" y="60000"/>
                  </a:cubicBezTo>
                  <a:cubicBezTo>
                    <a:pt x="0" y="60000"/>
                    <a:pt x="120000" y="120000"/>
                    <a:pt x="120000" y="6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35" name="Shape 2409">
              <a:extLst>
                <a:ext uri="{FF2B5EF4-FFF2-40B4-BE49-F238E27FC236}">
                  <a16:creationId xmlns:a16="http://schemas.microsoft.com/office/drawing/2014/main" id="{C27C8B65-E8E2-CE45-BE35-846BD9B3B470}"/>
                </a:ext>
              </a:extLst>
            </p:cNvPr>
            <p:cNvSpPr/>
            <p:nvPr/>
          </p:nvSpPr>
          <p:spPr>
            <a:xfrm>
              <a:off x="8830750" y="6656654"/>
              <a:ext cx="54138" cy="95565"/>
            </a:xfrm>
            <a:custGeom>
              <a:avLst/>
              <a:gdLst/>
              <a:ahLst/>
              <a:cxnLst/>
              <a:rect l="0" t="0" r="0" b="0"/>
              <a:pathLst>
                <a:path w="120000" h="120000" extrusionOk="0">
                  <a:moveTo>
                    <a:pt x="60000" y="96000"/>
                  </a:moveTo>
                  <a:cubicBezTo>
                    <a:pt x="40000" y="120000"/>
                    <a:pt x="0" y="108000"/>
                    <a:pt x="0" y="84000"/>
                  </a:cubicBezTo>
                  <a:cubicBezTo>
                    <a:pt x="20000" y="72000"/>
                    <a:pt x="60000" y="36000"/>
                    <a:pt x="80000" y="24000"/>
                  </a:cubicBezTo>
                  <a:cubicBezTo>
                    <a:pt x="120000" y="0"/>
                    <a:pt x="120000" y="36000"/>
                    <a:pt x="120000" y="48000"/>
                  </a:cubicBezTo>
                  <a:cubicBezTo>
                    <a:pt x="120000" y="72000"/>
                    <a:pt x="60000" y="72000"/>
                    <a:pt x="60000" y="96000"/>
                  </a:cubicBezTo>
                  <a:cubicBezTo>
                    <a:pt x="40000" y="120000"/>
                    <a:pt x="60000" y="96000"/>
                    <a:pt x="60000" y="96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36" name="Shape 2410">
              <a:extLst>
                <a:ext uri="{FF2B5EF4-FFF2-40B4-BE49-F238E27FC236}">
                  <a16:creationId xmlns:a16="http://schemas.microsoft.com/office/drawing/2014/main" id="{31DCA050-EA5E-C146-A244-0F5B11D41705}"/>
                </a:ext>
              </a:extLst>
            </p:cNvPr>
            <p:cNvSpPr/>
            <p:nvPr/>
          </p:nvSpPr>
          <p:spPr>
            <a:xfrm>
              <a:off x="8856227" y="6704435"/>
              <a:ext cx="66878" cy="38226"/>
            </a:xfrm>
            <a:custGeom>
              <a:avLst/>
              <a:gdLst/>
              <a:ahLst/>
              <a:cxnLst/>
              <a:rect l="0" t="0" r="0" b="0"/>
              <a:pathLst>
                <a:path w="120000" h="120000" extrusionOk="0">
                  <a:moveTo>
                    <a:pt x="51428" y="120000"/>
                  </a:moveTo>
                  <a:cubicBezTo>
                    <a:pt x="0" y="120000"/>
                    <a:pt x="51428" y="0"/>
                    <a:pt x="85714" y="30000"/>
                  </a:cubicBezTo>
                  <a:cubicBezTo>
                    <a:pt x="119999" y="30000"/>
                    <a:pt x="68571" y="120000"/>
                    <a:pt x="51428" y="120000"/>
                  </a:cubicBezTo>
                  <a:cubicBezTo>
                    <a:pt x="34285" y="120000"/>
                    <a:pt x="68571" y="120000"/>
                    <a:pt x="51428" y="12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37" name="Shape 2411">
              <a:extLst>
                <a:ext uri="{FF2B5EF4-FFF2-40B4-BE49-F238E27FC236}">
                  <a16:creationId xmlns:a16="http://schemas.microsoft.com/office/drawing/2014/main" id="{AF7E6EEE-8549-CC45-8239-D73370B56133}"/>
                </a:ext>
              </a:extLst>
            </p:cNvPr>
            <p:cNvSpPr/>
            <p:nvPr/>
          </p:nvSpPr>
          <p:spPr>
            <a:xfrm>
              <a:off x="8671510" y="6666208"/>
              <a:ext cx="140126" cy="66896"/>
            </a:xfrm>
            <a:custGeom>
              <a:avLst/>
              <a:gdLst/>
              <a:ahLst/>
              <a:cxnLst/>
              <a:rect l="0" t="0" r="0" b="0"/>
              <a:pathLst>
                <a:path w="120000" h="120000" extrusionOk="0">
                  <a:moveTo>
                    <a:pt x="88000" y="102857"/>
                  </a:moveTo>
                  <a:cubicBezTo>
                    <a:pt x="80000" y="102857"/>
                    <a:pt x="80000" y="102857"/>
                    <a:pt x="80000" y="85714"/>
                  </a:cubicBezTo>
                  <a:cubicBezTo>
                    <a:pt x="80000" y="85714"/>
                    <a:pt x="64000" y="102857"/>
                    <a:pt x="56000" y="85714"/>
                  </a:cubicBezTo>
                  <a:cubicBezTo>
                    <a:pt x="56000" y="68571"/>
                    <a:pt x="0" y="17142"/>
                    <a:pt x="24000" y="0"/>
                  </a:cubicBezTo>
                  <a:cubicBezTo>
                    <a:pt x="32000" y="0"/>
                    <a:pt x="40000" y="34285"/>
                    <a:pt x="48000" y="34285"/>
                  </a:cubicBezTo>
                  <a:cubicBezTo>
                    <a:pt x="56000" y="51428"/>
                    <a:pt x="56000" y="34285"/>
                    <a:pt x="64000" y="51428"/>
                  </a:cubicBezTo>
                  <a:cubicBezTo>
                    <a:pt x="72000" y="68571"/>
                    <a:pt x="104000" y="34285"/>
                    <a:pt x="120000" y="51428"/>
                  </a:cubicBezTo>
                  <a:cubicBezTo>
                    <a:pt x="112000" y="51428"/>
                    <a:pt x="96000" y="102857"/>
                    <a:pt x="88000" y="102857"/>
                  </a:cubicBezTo>
                  <a:cubicBezTo>
                    <a:pt x="72000" y="119999"/>
                    <a:pt x="96000" y="102857"/>
                    <a:pt x="88000" y="102857"/>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38" name="Shape 2412">
              <a:extLst>
                <a:ext uri="{FF2B5EF4-FFF2-40B4-BE49-F238E27FC236}">
                  <a16:creationId xmlns:a16="http://schemas.microsoft.com/office/drawing/2014/main" id="{70AD3BA4-9655-1F41-9530-2CF432A5C39E}"/>
                </a:ext>
              </a:extLst>
            </p:cNvPr>
            <p:cNvSpPr/>
            <p:nvPr/>
          </p:nvSpPr>
          <p:spPr>
            <a:xfrm>
              <a:off x="8700177" y="6481445"/>
              <a:ext cx="146494" cy="73268"/>
            </a:xfrm>
            <a:custGeom>
              <a:avLst/>
              <a:gdLst/>
              <a:ahLst/>
              <a:cxnLst/>
              <a:rect l="0" t="0" r="0" b="0"/>
              <a:pathLst>
                <a:path w="120000" h="120000" extrusionOk="0">
                  <a:moveTo>
                    <a:pt x="97500" y="90000"/>
                  </a:moveTo>
                  <a:cubicBezTo>
                    <a:pt x="82500" y="120000"/>
                    <a:pt x="7500" y="60000"/>
                    <a:pt x="0" y="30000"/>
                  </a:cubicBezTo>
                  <a:cubicBezTo>
                    <a:pt x="0" y="0"/>
                    <a:pt x="120000" y="60000"/>
                    <a:pt x="97500" y="90000"/>
                  </a:cubicBezTo>
                  <a:cubicBezTo>
                    <a:pt x="90000" y="105000"/>
                    <a:pt x="105000" y="75000"/>
                    <a:pt x="97500" y="9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39" name="Shape 2413">
              <a:extLst>
                <a:ext uri="{FF2B5EF4-FFF2-40B4-BE49-F238E27FC236}">
                  <a16:creationId xmlns:a16="http://schemas.microsoft.com/office/drawing/2014/main" id="{252DD900-CE88-1A42-B693-26B44819819D}"/>
                </a:ext>
              </a:extLst>
            </p:cNvPr>
            <p:cNvSpPr/>
            <p:nvPr/>
          </p:nvSpPr>
          <p:spPr>
            <a:xfrm>
              <a:off x="8932660" y="6385879"/>
              <a:ext cx="299363" cy="289884"/>
            </a:xfrm>
            <a:custGeom>
              <a:avLst/>
              <a:gdLst/>
              <a:ahLst/>
              <a:cxnLst/>
              <a:rect l="0" t="0" r="0" b="0"/>
              <a:pathLst>
                <a:path w="120000" h="120000" extrusionOk="0">
                  <a:moveTo>
                    <a:pt x="71250" y="3870"/>
                  </a:moveTo>
                  <a:cubicBezTo>
                    <a:pt x="75000" y="0"/>
                    <a:pt x="63750" y="0"/>
                    <a:pt x="63750" y="0"/>
                  </a:cubicBezTo>
                  <a:cubicBezTo>
                    <a:pt x="60000" y="0"/>
                    <a:pt x="56250" y="3870"/>
                    <a:pt x="52500" y="7741"/>
                  </a:cubicBezTo>
                  <a:cubicBezTo>
                    <a:pt x="48750" y="11612"/>
                    <a:pt x="45000" y="15483"/>
                    <a:pt x="41250" y="19354"/>
                  </a:cubicBezTo>
                  <a:cubicBezTo>
                    <a:pt x="41250" y="23225"/>
                    <a:pt x="37500" y="27096"/>
                    <a:pt x="33750" y="27096"/>
                  </a:cubicBezTo>
                  <a:cubicBezTo>
                    <a:pt x="33750" y="34838"/>
                    <a:pt x="30000" y="42580"/>
                    <a:pt x="26250" y="50322"/>
                  </a:cubicBezTo>
                  <a:cubicBezTo>
                    <a:pt x="26250" y="58064"/>
                    <a:pt x="22500" y="61935"/>
                    <a:pt x="18750" y="65806"/>
                  </a:cubicBezTo>
                  <a:cubicBezTo>
                    <a:pt x="15000" y="69677"/>
                    <a:pt x="7500" y="73548"/>
                    <a:pt x="7500" y="73548"/>
                  </a:cubicBezTo>
                  <a:cubicBezTo>
                    <a:pt x="7500" y="77419"/>
                    <a:pt x="15000" y="77419"/>
                    <a:pt x="15000" y="81290"/>
                  </a:cubicBezTo>
                  <a:cubicBezTo>
                    <a:pt x="15000" y="85161"/>
                    <a:pt x="0" y="92903"/>
                    <a:pt x="0" y="96774"/>
                  </a:cubicBezTo>
                  <a:cubicBezTo>
                    <a:pt x="0" y="104516"/>
                    <a:pt x="11250" y="100645"/>
                    <a:pt x="15000" y="96774"/>
                  </a:cubicBezTo>
                  <a:cubicBezTo>
                    <a:pt x="22500" y="96774"/>
                    <a:pt x="30000" y="100645"/>
                    <a:pt x="37500" y="100645"/>
                  </a:cubicBezTo>
                  <a:cubicBezTo>
                    <a:pt x="48750" y="104516"/>
                    <a:pt x="60000" y="100645"/>
                    <a:pt x="71250" y="104516"/>
                  </a:cubicBezTo>
                  <a:cubicBezTo>
                    <a:pt x="71250" y="104516"/>
                    <a:pt x="82500" y="96774"/>
                    <a:pt x="82500" y="100645"/>
                  </a:cubicBezTo>
                  <a:cubicBezTo>
                    <a:pt x="82500" y="104516"/>
                    <a:pt x="71250" y="116129"/>
                    <a:pt x="71250" y="116129"/>
                  </a:cubicBezTo>
                  <a:cubicBezTo>
                    <a:pt x="75000" y="120000"/>
                    <a:pt x="82500" y="108387"/>
                    <a:pt x="82500" y="108387"/>
                  </a:cubicBezTo>
                  <a:cubicBezTo>
                    <a:pt x="90000" y="104516"/>
                    <a:pt x="97500" y="104516"/>
                    <a:pt x="101250" y="100645"/>
                  </a:cubicBezTo>
                  <a:cubicBezTo>
                    <a:pt x="101250" y="96774"/>
                    <a:pt x="120000" y="77419"/>
                    <a:pt x="120000" y="77419"/>
                  </a:cubicBezTo>
                  <a:cubicBezTo>
                    <a:pt x="116250" y="73548"/>
                    <a:pt x="112500" y="77419"/>
                    <a:pt x="108750" y="77419"/>
                  </a:cubicBezTo>
                  <a:cubicBezTo>
                    <a:pt x="108750" y="77419"/>
                    <a:pt x="97500" y="69677"/>
                    <a:pt x="97500" y="69677"/>
                  </a:cubicBezTo>
                  <a:cubicBezTo>
                    <a:pt x="97500" y="65806"/>
                    <a:pt x="112500" y="61935"/>
                    <a:pt x="108750" y="58064"/>
                  </a:cubicBezTo>
                  <a:cubicBezTo>
                    <a:pt x="108750" y="54193"/>
                    <a:pt x="101250" y="58064"/>
                    <a:pt x="97500" y="58064"/>
                  </a:cubicBezTo>
                  <a:cubicBezTo>
                    <a:pt x="93750" y="58064"/>
                    <a:pt x="93750" y="50322"/>
                    <a:pt x="90000" y="50322"/>
                  </a:cubicBezTo>
                  <a:cubicBezTo>
                    <a:pt x="90000" y="50322"/>
                    <a:pt x="78750" y="61935"/>
                    <a:pt x="78750" y="61935"/>
                  </a:cubicBezTo>
                  <a:cubicBezTo>
                    <a:pt x="75000" y="54193"/>
                    <a:pt x="75000" y="54193"/>
                    <a:pt x="67500" y="50322"/>
                  </a:cubicBezTo>
                  <a:cubicBezTo>
                    <a:pt x="60000" y="46451"/>
                    <a:pt x="71250" y="46451"/>
                    <a:pt x="71250" y="42580"/>
                  </a:cubicBezTo>
                  <a:cubicBezTo>
                    <a:pt x="71250" y="42580"/>
                    <a:pt x="63750" y="34838"/>
                    <a:pt x="60000" y="34838"/>
                  </a:cubicBezTo>
                  <a:cubicBezTo>
                    <a:pt x="60000" y="38709"/>
                    <a:pt x="52500" y="50322"/>
                    <a:pt x="52500" y="46451"/>
                  </a:cubicBezTo>
                  <a:cubicBezTo>
                    <a:pt x="45000" y="42580"/>
                    <a:pt x="56250" y="27096"/>
                    <a:pt x="60000" y="27096"/>
                  </a:cubicBezTo>
                  <a:cubicBezTo>
                    <a:pt x="63750" y="23225"/>
                    <a:pt x="63750" y="19354"/>
                    <a:pt x="67500" y="15483"/>
                  </a:cubicBezTo>
                  <a:cubicBezTo>
                    <a:pt x="67500" y="11612"/>
                    <a:pt x="67500" y="7741"/>
                    <a:pt x="67500" y="7741"/>
                  </a:cubicBezTo>
                  <a:cubicBezTo>
                    <a:pt x="67500" y="7741"/>
                    <a:pt x="71250" y="3870"/>
                    <a:pt x="71250" y="3870"/>
                  </a:cubicBezTo>
                  <a:cubicBezTo>
                    <a:pt x="75000" y="0"/>
                    <a:pt x="71250" y="3870"/>
                    <a:pt x="71250" y="387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40" name="Shape 2414">
              <a:extLst>
                <a:ext uri="{FF2B5EF4-FFF2-40B4-BE49-F238E27FC236}">
                  <a16:creationId xmlns:a16="http://schemas.microsoft.com/office/drawing/2014/main" id="{1951FC2C-D61E-824D-9710-EA1373D24AF4}"/>
                </a:ext>
              </a:extLst>
            </p:cNvPr>
            <p:cNvSpPr/>
            <p:nvPr/>
          </p:nvSpPr>
          <p:spPr>
            <a:xfrm>
              <a:off x="9174698" y="6592939"/>
              <a:ext cx="76431" cy="92380"/>
            </a:xfrm>
            <a:custGeom>
              <a:avLst/>
              <a:gdLst/>
              <a:ahLst/>
              <a:cxnLst/>
              <a:rect l="0" t="0" r="0" b="0"/>
              <a:pathLst>
                <a:path w="120000" h="120000" extrusionOk="0">
                  <a:moveTo>
                    <a:pt x="90000" y="12000"/>
                  </a:moveTo>
                  <a:cubicBezTo>
                    <a:pt x="75000" y="24000"/>
                    <a:pt x="0" y="72000"/>
                    <a:pt x="15000" y="108000"/>
                  </a:cubicBezTo>
                  <a:cubicBezTo>
                    <a:pt x="15000" y="108000"/>
                    <a:pt x="45000" y="72000"/>
                    <a:pt x="60000" y="84000"/>
                  </a:cubicBezTo>
                  <a:cubicBezTo>
                    <a:pt x="60000" y="84000"/>
                    <a:pt x="45000" y="120000"/>
                    <a:pt x="45000" y="120000"/>
                  </a:cubicBezTo>
                  <a:cubicBezTo>
                    <a:pt x="60000" y="120000"/>
                    <a:pt x="90000" y="108000"/>
                    <a:pt x="90000" y="96000"/>
                  </a:cubicBezTo>
                  <a:cubicBezTo>
                    <a:pt x="90000" y="84000"/>
                    <a:pt x="105000" y="72000"/>
                    <a:pt x="120000" y="48000"/>
                  </a:cubicBezTo>
                  <a:cubicBezTo>
                    <a:pt x="120000" y="24000"/>
                    <a:pt x="90000" y="48000"/>
                    <a:pt x="75000" y="48000"/>
                  </a:cubicBezTo>
                  <a:cubicBezTo>
                    <a:pt x="90000" y="48000"/>
                    <a:pt x="90000" y="0"/>
                    <a:pt x="90000" y="12000"/>
                  </a:cubicBezTo>
                  <a:cubicBezTo>
                    <a:pt x="75000" y="12000"/>
                    <a:pt x="105000" y="0"/>
                    <a:pt x="90000" y="12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41" name="Shape 2415">
              <a:extLst>
                <a:ext uri="{FF2B5EF4-FFF2-40B4-BE49-F238E27FC236}">
                  <a16:creationId xmlns:a16="http://schemas.microsoft.com/office/drawing/2014/main" id="{4FE2ECE1-7267-0A44-96F3-8A961D59213A}"/>
                </a:ext>
              </a:extLst>
            </p:cNvPr>
            <p:cNvSpPr/>
            <p:nvPr/>
          </p:nvSpPr>
          <p:spPr>
            <a:xfrm>
              <a:off x="8652408" y="5694617"/>
              <a:ext cx="28661" cy="54153"/>
            </a:xfrm>
            <a:custGeom>
              <a:avLst/>
              <a:gdLst/>
              <a:ahLst/>
              <a:cxnLst/>
              <a:rect l="0" t="0" r="0" b="0"/>
              <a:pathLst>
                <a:path w="120000" h="120000" extrusionOk="0">
                  <a:moveTo>
                    <a:pt x="120000" y="80000"/>
                  </a:moveTo>
                  <a:cubicBezTo>
                    <a:pt x="120000" y="60000"/>
                    <a:pt x="40000" y="0"/>
                    <a:pt x="40000" y="20000"/>
                  </a:cubicBezTo>
                  <a:cubicBezTo>
                    <a:pt x="40000" y="20000"/>
                    <a:pt x="40000" y="20000"/>
                    <a:pt x="40000" y="40000"/>
                  </a:cubicBezTo>
                  <a:cubicBezTo>
                    <a:pt x="40000" y="40000"/>
                    <a:pt x="0" y="40000"/>
                    <a:pt x="0" y="40000"/>
                  </a:cubicBezTo>
                  <a:cubicBezTo>
                    <a:pt x="0" y="40000"/>
                    <a:pt x="120000" y="120000"/>
                    <a:pt x="120000" y="80000"/>
                  </a:cubicBezTo>
                  <a:cubicBezTo>
                    <a:pt x="120000" y="60000"/>
                    <a:pt x="120000" y="120000"/>
                    <a:pt x="120000" y="8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42" name="Shape 2416">
              <a:extLst>
                <a:ext uri="{FF2B5EF4-FFF2-40B4-BE49-F238E27FC236}">
                  <a16:creationId xmlns:a16="http://schemas.microsoft.com/office/drawing/2014/main" id="{3C82BB7C-A595-B545-B1E0-C9CCFE1F0243}"/>
                </a:ext>
              </a:extLst>
            </p:cNvPr>
            <p:cNvSpPr/>
            <p:nvPr/>
          </p:nvSpPr>
          <p:spPr>
            <a:xfrm>
              <a:off x="8512281" y="5786998"/>
              <a:ext cx="28661" cy="28669"/>
            </a:xfrm>
            <a:custGeom>
              <a:avLst/>
              <a:gdLst/>
              <a:ahLst/>
              <a:cxnLst/>
              <a:rect l="0" t="0" r="0" b="0"/>
              <a:pathLst>
                <a:path w="120000" h="120000" extrusionOk="0">
                  <a:moveTo>
                    <a:pt x="80000" y="40000"/>
                  </a:moveTo>
                  <a:cubicBezTo>
                    <a:pt x="80000" y="0"/>
                    <a:pt x="0" y="80000"/>
                    <a:pt x="0" y="80000"/>
                  </a:cubicBezTo>
                  <a:cubicBezTo>
                    <a:pt x="40000" y="120000"/>
                    <a:pt x="120000" y="80000"/>
                    <a:pt x="80000" y="4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43" name="Shape 2417">
              <a:extLst>
                <a:ext uri="{FF2B5EF4-FFF2-40B4-BE49-F238E27FC236}">
                  <a16:creationId xmlns:a16="http://schemas.microsoft.com/office/drawing/2014/main" id="{55E5BF2D-B7FF-8142-87BE-6A5C590AF52D}"/>
                </a:ext>
              </a:extLst>
            </p:cNvPr>
            <p:cNvSpPr/>
            <p:nvPr/>
          </p:nvSpPr>
          <p:spPr>
            <a:xfrm>
              <a:off x="7868967" y="6283945"/>
              <a:ext cx="63694" cy="38226"/>
            </a:xfrm>
            <a:custGeom>
              <a:avLst/>
              <a:gdLst/>
              <a:ahLst/>
              <a:cxnLst/>
              <a:rect l="0" t="0" r="0" b="0"/>
              <a:pathLst>
                <a:path w="120000" h="120000" extrusionOk="0">
                  <a:moveTo>
                    <a:pt x="119999" y="90000"/>
                  </a:moveTo>
                  <a:cubicBezTo>
                    <a:pt x="119999" y="0"/>
                    <a:pt x="51428" y="0"/>
                    <a:pt x="17142" y="30000"/>
                  </a:cubicBezTo>
                  <a:cubicBezTo>
                    <a:pt x="0" y="30000"/>
                    <a:pt x="119999" y="120000"/>
                    <a:pt x="119999" y="90000"/>
                  </a:cubicBezTo>
                  <a:cubicBezTo>
                    <a:pt x="119999" y="0"/>
                    <a:pt x="119999" y="120000"/>
                    <a:pt x="119999" y="9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44" name="Shape 2418">
              <a:extLst>
                <a:ext uri="{FF2B5EF4-FFF2-40B4-BE49-F238E27FC236}">
                  <a16:creationId xmlns:a16="http://schemas.microsoft.com/office/drawing/2014/main" id="{AFEC4122-E30E-F345-9BA3-BBBE75F7718D}"/>
                </a:ext>
              </a:extLst>
            </p:cNvPr>
            <p:cNvSpPr/>
            <p:nvPr/>
          </p:nvSpPr>
          <p:spPr>
            <a:xfrm>
              <a:off x="7970875" y="6057772"/>
              <a:ext cx="57322" cy="57338"/>
            </a:xfrm>
            <a:custGeom>
              <a:avLst/>
              <a:gdLst/>
              <a:ahLst/>
              <a:cxnLst/>
              <a:rect l="0" t="0" r="0" b="0"/>
              <a:pathLst>
                <a:path w="120000" h="120000" extrusionOk="0">
                  <a:moveTo>
                    <a:pt x="60000" y="100000"/>
                  </a:moveTo>
                  <a:cubicBezTo>
                    <a:pt x="40000" y="80000"/>
                    <a:pt x="20000" y="80000"/>
                    <a:pt x="0" y="60000"/>
                  </a:cubicBezTo>
                  <a:cubicBezTo>
                    <a:pt x="20000" y="60000"/>
                    <a:pt x="60000" y="0"/>
                    <a:pt x="80000" y="40000"/>
                  </a:cubicBezTo>
                  <a:cubicBezTo>
                    <a:pt x="120000" y="60000"/>
                    <a:pt x="100000" y="120000"/>
                    <a:pt x="60000" y="100000"/>
                  </a:cubicBezTo>
                  <a:cubicBezTo>
                    <a:pt x="40000" y="80000"/>
                    <a:pt x="80000" y="120000"/>
                    <a:pt x="60000" y="10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45" name="Shape 2419">
              <a:extLst>
                <a:ext uri="{FF2B5EF4-FFF2-40B4-BE49-F238E27FC236}">
                  <a16:creationId xmlns:a16="http://schemas.microsoft.com/office/drawing/2014/main" id="{76CEF38C-1D34-2F4B-8BBC-5F70073F83D3}"/>
                </a:ext>
              </a:extLst>
            </p:cNvPr>
            <p:cNvSpPr/>
            <p:nvPr/>
          </p:nvSpPr>
          <p:spPr>
            <a:xfrm>
              <a:off x="7942215" y="5656389"/>
              <a:ext cx="57322" cy="66896"/>
            </a:xfrm>
            <a:custGeom>
              <a:avLst/>
              <a:gdLst/>
              <a:ahLst/>
              <a:cxnLst/>
              <a:rect l="0" t="0" r="0" b="0"/>
              <a:pathLst>
                <a:path w="120000" h="120000" extrusionOk="0">
                  <a:moveTo>
                    <a:pt x="60000" y="102857"/>
                  </a:moveTo>
                  <a:cubicBezTo>
                    <a:pt x="0" y="119999"/>
                    <a:pt x="20000" y="0"/>
                    <a:pt x="80000" y="17142"/>
                  </a:cubicBezTo>
                  <a:cubicBezTo>
                    <a:pt x="120000" y="17142"/>
                    <a:pt x="100000" y="102857"/>
                    <a:pt x="60000" y="102857"/>
                  </a:cubicBezTo>
                  <a:cubicBezTo>
                    <a:pt x="40000" y="102857"/>
                    <a:pt x="120000" y="102857"/>
                    <a:pt x="60000" y="102857"/>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46" name="Shape 2420">
              <a:extLst>
                <a:ext uri="{FF2B5EF4-FFF2-40B4-BE49-F238E27FC236}">
                  <a16:creationId xmlns:a16="http://schemas.microsoft.com/office/drawing/2014/main" id="{932F0C29-2A5E-BD41-8758-968E150582C3}"/>
                </a:ext>
              </a:extLst>
            </p:cNvPr>
            <p:cNvSpPr/>
            <p:nvPr/>
          </p:nvSpPr>
          <p:spPr>
            <a:xfrm>
              <a:off x="7782978" y="5618164"/>
              <a:ext cx="111464" cy="57338"/>
            </a:xfrm>
            <a:custGeom>
              <a:avLst/>
              <a:gdLst/>
              <a:ahLst/>
              <a:cxnLst/>
              <a:rect l="0" t="0" r="0" b="0"/>
              <a:pathLst>
                <a:path w="120000" h="120000" extrusionOk="0">
                  <a:moveTo>
                    <a:pt x="40000" y="120000"/>
                  </a:moveTo>
                  <a:cubicBezTo>
                    <a:pt x="20000" y="120000"/>
                    <a:pt x="0" y="100000"/>
                    <a:pt x="10000" y="60000"/>
                  </a:cubicBezTo>
                  <a:cubicBezTo>
                    <a:pt x="20000" y="20000"/>
                    <a:pt x="50000" y="20000"/>
                    <a:pt x="80000" y="0"/>
                  </a:cubicBezTo>
                  <a:cubicBezTo>
                    <a:pt x="120000" y="0"/>
                    <a:pt x="60000" y="120000"/>
                    <a:pt x="40000" y="12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47" name="Shape 2421">
              <a:extLst>
                <a:ext uri="{FF2B5EF4-FFF2-40B4-BE49-F238E27FC236}">
                  <a16:creationId xmlns:a16="http://schemas.microsoft.com/office/drawing/2014/main" id="{CEC69EA4-57A7-9C46-B97B-99DF8CBA30BE}"/>
                </a:ext>
              </a:extLst>
            </p:cNvPr>
            <p:cNvSpPr/>
            <p:nvPr/>
          </p:nvSpPr>
          <p:spPr>
            <a:xfrm>
              <a:off x="8018647" y="5583122"/>
              <a:ext cx="63694" cy="25484"/>
            </a:xfrm>
            <a:custGeom>
              <a:avLst/>
              <a:gdLst/>
              <a:ahLst/>
              <a:cxnLst/>
              <a:rect l="0" t="0" r="0" b="0"/>
              <a:pathLst>
                <a:path w="120000" h="120000" extrusionOk="0">
                  <a:moveTo>
                    <a:pt x="85714" y="120000"/>
                  </a:moveTo>
                  <a:cubicBezTo>
                    <a:pt x="68571" y="120000"/>
                    <a:pt x="0" y="0"/>
                    <a:pt x="51428" y="0"/>
                  </a:cubicBezTo>
                  <a:cubicBezTo>
                    <a:pt x="68571" y="0"/>
                    <a:pt x="102857" y="0"/>
                    <a:pt x="119999" y="40000"/>
                  </a:cubicBezTo>
                  <a:cubicBezTo>
                    <a:pt x="119999" y="40000"/>
                    <a:pt x="102857" y="120000"/>
                    <a:pt x="85714" y="120000"/>
                  </a:cubicBezTo>
                  <a:cubicBezTo>
                    <a:pt x="68571" y="120000"/>
                    <a:pt x="119999" y="120000"/>
                    <a:pt x="85714" y="12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48" name="Shape 2422">
              <a:extLst>
                <a:ext uri="{FF2B5EF4-FFF2-40B4-BE49-F238E27FC236}">
                  <a16:creationId xmlns:a16="http://schemas.microsoft.com/office/drawing/2014/main" id="{E632AD36-4111-334E-8245-B6B272B5394A}"/>
                </a:ext>
              </a:extLst>
            </p:cNvPr>
            <p:cNvSpPr/>
            <p:nvPr/>
          </p:nvSpPr>
          <p:spPr>
            <a:xfrm>
              <a:off x="7623742" y="5395175"/>
              <a:ext cx="318473" cy="222989"/>
            </a:xfrm>
            <a:custGeom>
              <a:avLst/>
              <a:gdLst/>
              <a:ahLst/>
              <a:cxnLst/>
              <a:rect l="0" t="0" r="0" b="0"/>
              <a:pathLst>
                <a:path w="120000" h="120000" extrusionOk="0">
                  <a:moveTo>
                    <a:pt x="109411" y="105000"/>
                  </a:moveTo>
                  <a:cubicBezTo>
                    <a:pt x="105882" y="100000"/>
                    <a:pt x="95294" y="95000"/>
                    <a:pt x="88235" y="90000"/>
                  </a:cubicBezTo>
                  <a:cubicBezTo>
                    <a:pt x="84705" y="90000"/>
                    <a:pt x="88235" y="85000"/>
                    <a:pt x="84705" y="80000"/>
                  </a:cubicBezTo>
                  <a:cubicBezTo>
                    <a:pt x="84705" y="80000"/>
                    <a:pt x="77647" y="85000"/>
                    <a:pt x="77647" y="85000"/>
                  </a:cubicBezTo>
                  <a:cubicBezTo>
                    <a:pt x="70588" y="85000"/>
                    <a:pt x="70588" y="75000"/>
                    <a:pt x="63529" y="80000"/>
                  </a:cubicBezTo>
                  <a:cubicBezTo>
                    <a:pt x="63529" y="85000"/>
                    <a:pt x="60000" y="90000"/>
                    <a:pt x="56470" y="95000"/>
                  </a:cubicBezTo>
                  <a:cubicBezTo>
                    <a:pt x="49411" y="100000"/>
                    <a:pt x="45882" y="110000"/>
                    <a:pt x="38823" y="115000"/>
                  </a:cubicBezTo>
                  <a:cubicBezTo>
                    <a:pt x="28235" y="120000"/>
                    <a:pt x="35294" y="100000"/>
                    <a:pt x="28235" y="95000"/>
                  </a:cubicBezTo>
                  <a:cubicBezTo>
                    <a:pt x="28235" y="90000"/>
                    <a:pt x="10588" y="95000"/>
                    <a:pt x="7058" y="95000"/>
                  </a:cubicBezTo>
                  <a:cubicBezTo>
                    <a:pt x="0" y="95000"/>
                    <a:pt x="14117" y="80000"/>
                    <a:pt x="14117" y="80000"/>
                  </a:cubicBezTo>
                  <a:cubicBezTo>
                    <a:pt x="21176" y="70000"/>
                    <a:pt x="17647" y="60000"/>
                    <a:pt x="17647" y="50000"/>
                  </a:cubicBezTo>
                  <a:cubicBezTo>
                    <a:pt x="17647" y="40000"/>
                    <a:pt x="17647" y="25000"/>
                    <a:pt x="21176" y="15000"/>
                  </a:cubicBezTo>
                  <a:cubicBezTo>
                    <a:pt x="24705" y="0"/>
                    <a:pt x="35294" y="0"/>
                    <a:pt x="38823" y="15000"/>
                  </a:cubicBezTo>
                  <a:cubicBezTo>
                    <a:pt x="38823" y="20000"/>
                    <a:pt x="38823" y="30000"/>
                    <a:pt x="42352" y="25000"/>
                  </a:cubicBezTo>
                  <a:cubicBezTo>
                    <a:pt x="45882" y="25000"/>
                    <a:pt x="45882" y="20000"/>
                    <a:pt x="49411" y="20000"/>
                  </a:cubicBezTo>
                  <a:cubicBezTo>
                    <a:pt x="52941" y="25000"/>
                    <a:pt x="56470" y="30000"/>
                    <a:pt x="60000" y="30000"/>
                  </a:cubicBezTo>
                  <a:cubicBezTo>
                    <a:pt x="63529" y="35000"/>
                    <a:pt x="67058" y="35000"/>
                    <a:pt x="70588" y="35000"/>
                  </a:cubicBezTo>
                  <a:cubicBezTo>
                    <a:pt x="74117" y="40000"/>
                    <a:pt x="81176" y="45000"/>
                    <a:pt x="88235" y="50000"/>
                  </a:cubicBezTo>
                  <a:cubicBezTo>
                    <a:pt x="98823" y="55000"/>
                    <a:pt x="98823" y="60000"/>
                    <a:pt x="98823" y="75000"/>
                  </a:cubicBezTo>
                  <a:cubicBezTo>
                    <a:pt x="98823" y="80000"/>
                    <a:pt x="105882" y="80000"/>
                    <a:pt x="105882" y="75000"/>
                  </a:cubicBezTo>
                  <a:cubicBezTo>
                    <a:pt x="112941" y="75000"/>
                    <a:pt x="112941" y="80000"/>
                    <a:pt x="116470" y="85000"/>
                  </a:cubicBezTo>
                  <a:cubicBezTo>
                    <a:pt x="120000" y="85000"/>
                    <a:pt x="120000" y="85000"/>
                    <a:pt x="120000" y="90000"/>
                  </a:cubicBezTo>
                  <a:cubicBezTo>
                    <a:pt x="116470" y="95000"/>
                    <a:pt x="116470" y="105000"/>
                    <a:pt x="109411" y="105000"/>
                  </a:cubicBezTo>
                  <a:cubicBezTo>
                    <a:pt x="105882" y="100000"/>
                    <a:pt x="116470" y="105000"/>
                    <a:pt x="109411" y="105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49" name="Shape 2423">
              <a:extLst>
                <a:ext uri="{FF2B5EF4-FFF2-40B4-BE49-F238E27FC236}">
                  <a16:creationId xmlns:a16="http://schemas.microsoft.com/office/drawing/2014/main" id="{64287607-E22D-4345-8F2C-630FA28B23AF}"/>
                </a:ext>
              </a:extLst>
            </p:cNvPr>
            <p:cNvSpPr/>
            <p:nvPr/>
          </p:nvSpPr>
          <p:spPr>
            <a:xfrm>
              <a:off x="7747950" y="5376059"/>
              <a:ext cx="63694" cy="47785"/>
            </a:xfrm>
            <a:custGeom>
              <a:avLst/>
              <a:gdLst/>
              <a:ahLst/>
              <a:cxnLst/>
              <a:rect l="0" t="0" r="0" b="0"/>
              <a:pathLst>
                <a:path w="120000" h="120000" extrusionOk="0">
                  <a:moveTo>
                    <a:pt x="85714" y="96000"/>
                  </a:moveTo>
                  <a:cubicBezTo>
                    <a:pt x="51428" y="120000"/>
                    <a:pt x="0" y="0"/>
                    <a:pt x="17142" y="0"/>
                  </a:cubicBezTo>
                  <a:cubicBezTo>
                    <a:pt x="34285" y="24000"/>
                    <a:pt x="119999" y="72000"/>
                    <a:pt x="85714" y="96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50" name="Shape 2424">
              <a:extLst>
                <a:ext uri="{FF2B5EF4-FFF2-40B4-BE49-F238E27FC236}">
                  <a16:creationId xmlns:a16="http://schemas.microsoft.com/office/drawing/2014/main" id="{AFC0AE95-A3D3-0542-958F-3488675F191D}"/>
                </a:ext>
              </a:extLst>
            </p:cNvPr>
            <p:cNvSpPr/>
            <p:nvPr/>
          </p:nvSpPr>
          <p:spPr>
            <a:xfrm>
              <a:off x="7728838" y="5385618"/>
              <a:ext cx="35032" cy="47785"/>
            </a:xfrm>
            <a:custGeom>
              <a:avLst/>
              <a:gdLst/>
              <a:ahLst/>
              <a:cxnLst/>
              <a:rect l="0" t="0" r="0" b="0"/>
              <a:pathLst>
                <a:path w="120000" h="120000" extrusionOk="0">
                  <a:moveTo>
                    <a:pt x="90000" y="96000"/>
                  </a:moveTo>
                  <a:cubicBezTo>
                    <a:pt x="30000" y="120000"/>
                    <a:pt x="0" y="48000"/>
                    <a:pt x="0" y="24000"/>
                  </a:cubicBezTo>
                  <a:cubicBezTo>
                    <a:pt x="30000" y="0"/>
                    <a:pt x="120000" y="72000"/>
                    <a:pt x="90000" y="96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51" name="Shape 2425">
              <a:extLst>
                <a:ext uri="{FF2B5EF4-FFF2-40B4-BE49-F238E27FC236}">
                  <a16:creationId xmlns:a16="http://schemas.microsoft.com/office/drawing/2014/main" id="{C17EFCF2-A463-E94A-97D4-3E055651A0C1}"/>
                </a:ext>
              </a:extLst>
            </p:cNvPr>
            <p:cNvSpPr/>
            <p:nvPr/>
          </p:nvSpPr>
          <p:spPr>
            <a:xfrm>
              <a:off x="7642850" y="5207230"/>
              <a:ext cx="28661" cy="57338"/>
            </a:xfrm>
            <a:custGeom>
              <a:avLst/>
              <a:gdLst/>
              <a:ahLst/>
              <a:cxnLst/>
              <a:rect l="0" t="0" r="0" b="0"/>
              <a:pathLst>
                <a:path w="120000" h="120000" extrusionOk="0">
                  <a:moveTo>
                    <a:pt x="120000" y="100000"/>
                  </a:moveTo>
                  <a:cubicBezTo>
                    <a:pt x="120000" y="80000"/>
                    <a:pt x="120000" y="60000"/>
                    <a:pt x="120000" y="40000"/>
                  </a:cubicBezTo>
                  <a:cubicBezTo>
                    <a:pt x="120000" y="40000"/>
                    <a:pt x="40000" y="0"/>
                    <a:pt x="40000" y="20000"/>
                  </a:cubicBezTo>
                  <a:cubicBezTo>
                    <a:pt x="40000" y="40000"/>
                    <a:pt x="0" y="80000"/>
                    <a:pt x="40000" y="80000"/>
                  </a:cubicBezTo>
                  <a:cubicBezTo>
                    <a:pt x="40000" y="100000"/>
                    <a:pt x="80000" y="120000"/>
                    <a:pt x="120000" y="100000"/>
                  </a:cubicBezTo>
                  <a:cubicBezTo>
                    <a:pt x="120000" y="80000"/>
                    <a:pt x="80000" y="120000"/>
                    <a:pt x="120000" y="10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52" name="Shape 2426">
              <a:extLst>
                <a:ext uri="{FF2B5EF4-FFF2-40B4-BE49-F238E27FC236}">
                  <a16:creationId xmlns:a16="http://schemas.microsoft.com/office/drawing/2014/main" id="{A144A30A-A2FA-A544-BB03-5A376070362E}"/>
                </a:ext>
              </a:extLst>
            </p:cNvPr>
            <p:cNvSpPr/>
            <p:nvPr/>
          </p:nvSpPr>
          <p:spPr>
            <a:xfrm>
              <a:off x="7502723" y="4719841"/>
              <a:ext cx="1343948" cy="984330"/>
            </a:xfrm>
            <a:custGeom>
              <a:avLst/>
              <a:gdLst/>
              <a:ahLst/>
              <a:cxnLst/>
              <a:rect l="0" t="0" r="0" b="0"/>
              <a:pathLst>
                <a:path w="120000" h="120000" extrusionOk="0">
                  <a:moveTo>
                    <a:pt x="64166" y="94857"/>
                  </a:moveTo>
                  <a:cubicBezTo>
                    <a:pt x="63333" y="98285"/>
                    <a:pt x="61666" y="94857"/>
                    <a:pt x="59166" y="96000"/>
                  </a:cubicBezTo>
                  <a:cubicBezTo>
                    <a:pt x="58333" y="96000"/>
                    <a:pt x="57500" y="97142"/>
                    <a:pt x="56666" y="98285"/>
                  </a:cubicBezTo>
                  <a:cubicBezTo>
                    <a:pt x="55000" y="99428"/>
                    <a:pt x="54166" y="98285"/>
                    <a:pt x="52500" y="98285"/>
                  </a:cubicBezTo>
                  <a:cubicBezTo>
                    <a:pt x="50000" y="97142"/>
                    <a:pt x="46666" y="94857"/>
                    <a:pt x="50000" y="91428"/>
                  </a:cubicBezTo>
                  <a:cubicBezTo>
                    <a:pt x="51666" y="89142"/>
                    <a:pt x="51666" y="86857"/>
                    <a:pt x="54166" y="86857"/>
                  </a:cubicBezTo>
                  <a:cubicBezTo>
                    <a:pt x="56666" y="88000"/>
                    <a:pt x="59166" y="89142"/>
                    <a:pt x="62500" y="88000"/>
                  </a:cubicBezTo>
                  <a:cubicBezTo>
                    <a:pt x="64166" y="88000"/>
                    <a:pt x="65833" y="86857"/>
                    <a:pt x="67500" y="86857"/>
                  </a:cubicBezTo>
                  <a:cubicBezTo>
                    <a:pt x="68333" y="86857"/>
                    <a:pt x="67500" y="85714"/>
                    <a:pt x="67500" y="84571"/>
                  </a:cubicBezTo>
                  <a:cubicBezTo>
                    <a:pt x="65000" y="82285"/>
                    <a:pt x="64166" y="81142"/>
                    <a:pt x="66666" y="78857"/>
                  </a:cubicBezTo>
                  <a:cubicBezTo>
                    <a:pt x="68333" y="75428"/>
                    <a:pt x="70000" y="75428"/>
                    <a:pt x="72500" y="75428"/>
                  </a:cubicBezTo>
                  <a:cubicBezTo>
                    <a:pt x="73333" y="75428"/>
                    <a:pt x="75000" y="75428"/>
                    <a:pt x="75833" y="76571"/>
                  </a:cubicBezTo>
                  <a:cubicBezTo>
                    <a:pt x="77500" y="77714"/>
                    <a:pt x="77500" y="78857"/>
                    <a:pt x="77500" y="81142"/>
                  </a:cubicBezTo>
                  <a:cubicBezTo>
                    <a:pt x="78333" y="83428"/>
                    <a:pt x="79166" y="80000"/>
                    <a:pt x="80000" y="80000"/>
                  </a:cubicBezTo>
                  <a:cubicBezTo>
                    <a:pt x="80000" y="78857"/>
                    <a:pt x="82500" y="80000"/>
                    <a:pt x="82500" y="80000"/>
                  </a:cubicBezTo>
                  <a:cubicBezTo>
                    <a:pt x="83333" y="80000"/>
                    <a:pt x="85833" y="80000"/>
                    <a:pt x="85833" y="77714"/>
                  </a:cubicBezTo>
                  <a:cubicBezTo>
                    <a:pt x="85833" y="76571"/>
                    <a:pt x="83333" y="75428"/>
                    <a:pt x="82500" y="75428"/>
                  </a:cubicBezTo>
                  <a:cubicBezTo>
                    <a:pt x="80833" y="74285"/>
                    <a:pt x="80000" y="73142"/>
                    <a:pt x="79166" y="72000"/>
                  </a:cubicBezTo>
                  <a:cubicBezTo>
                    <a:pt x="78333" y="72000"/>
                    <a:pt x="77500" y="74285"/>
                    <a:pt x="77500" y="75428"/>
                  </a:cubicBezTo>
                  <a:cubicBezTo>
                    <a:pt x="76666" y="76571"/>
                    <a:pt x="73333" y="75428"/>
                    <a:pt x="72500" y="75428"/>
                  </a:cubicBezTo>
                  <a:cubicBezTo>
                    <a:pt x="67500" y="74285"/>
                    <a:pt x="74166" y="72000"/>
                    <a:pt x="73333" y="69714"/>
                  </a:cubicBezTo>
                  <a:cubicBezTo>
                    <a:pt x="72500" y="66285"/>
                    <a:pt x="71666" y="61714"/>
                    <a:pt x="70000" y="59428"/>
                  </a:cubicBezTo>
                  <a:cubicBezTo>
                    <a:pt x="69166" y="59428"/>
                    <a:pt x="67500" y="60571"/>
                    <a:pt x="67500" y="59428"/>
                  </a:cubicBezTo>
                  <a:cubicBezTo>
                    <a:pt x="67500" y="58285"/>
                    <a:pt x="67500" y="56000"/>
                    <a:pt x="66666" y="54857"/>
                  </a:cubicBezTo>
                  <a:cubicBezTo>
                    <a:pt x="65833" y="53714"/>
                    <a:pt x="65000" y="60571"/>
                    <a:pt x="65833" y="60571"/>
                  </a:cubicBezTo>
                  <a:cubicBezTo>
                    <a:pt x="65000" y="60571"/>
                    <a:pt x="62500" y="52571"/>
                    <a:pt x="62500" y="52571"/>
                  </a:cubicBezTo>
                  <a:cubicBezTo>
                    <a:pt x="60833" y="52571"/>
                    <a:pt x="60000" y="53714"/>
                    <a:pt x="59166" y="54857"/>
                  </a:cubicBezTo>
                  <a:cubicBezTo>
                    <a:pt x="58333" y="54857"/>
                    <a:pt x="55833" y="57142"/>
                    <a:pt x="55833" y="56000"/>
                  </a:cubicBezTo>
                  <a:cubicBezTo>
                    <a:pt x="55833" y="52571"/>
                    <a:pt x="55000" y="52571"/>
                    <a:pt x="57500" y="52571"/>
                  </a:cubicBezTo>
                  <a:cubicBezTo>
                    <a:pt x="58333" y="52571"/>
                    <a:pt x="59166" y="51428"/>
                    <a:pt x="59166" y="50285"/>
                  </a:cubicBezTo>
                  <a:cubicBezTo>
                    <a:pt x="60000" y="49142"/>
                    <a:pt x="57500" y="49142"/>
                    <a:pt x="57500" y="49142"/>
                  </a:cubicBezTo>
                  <a:cubicBezTo>
                    <a:pt x="56666" y="48000"/>
                    <a:pt x="53333" y="45714"/>
                    <a:pt x="53333" y="45714"/>
                  </a:cubicBezTo>
                  <a:cubicBezTo>
                    <a:pt x="53333" y="42285"/>
                    <a:pt x="52500" y="44571"/>
                    <a:pt x="51666" y="44571"/>
                  </a:cubicBezTo>
                  <a:cubicBezTo>
                    <a:pt x="50833" y="44571"/>
                    <a:pt x="51666" y="38857"/>
                    <a:pt x="50000" y="40000"/>
                  </a:cubicBezTo>
                  <a:cubicBezTo>
                    <a:pt x="49166" y="40000"/>
                    <a:pt x="49166" y="41142"/>
                    <a:pt x="47500" y="38857"/>
                  </a:cubicBezTo>
                  <a:cubicBezTo>
                    <a:pt x="46666" y="38857"/>
                    <a:pt x="45833" y="36571"/>
                    <a:pt x="45000" y="36571"/>
                  </a:cubicBezTo>
                  <a:cubicBezTo>
                    <a:pt x="45000" y="36571"/>
                    <a:pt x="45833" y="37714"/>
                    <a:pt x="45833" y="37714"/>
                  </a:cubicBezTo>
                  <a:cubicBezTo>
                    <a:pt x="45833" y="37714"/>
                    <a:pt x="43333" y="37714"/>
                    <a:pt x="43333" y="38857"/>
                  </a:cubicBezTo>
                  <a:cubicBezTo>
                    <a:pt x="44166" y="40000"/>
                    <a:pt x="45833" y="38857"/>
                    <a:pt x="46666" y="41142"/>
                  </a:cubicBezTo>
                  <a:cubicBezTo>
                    <a:pt x="46666" y="43428"/>
                    <a:pt x="45000" y="43428"/>
                    <a:pt x="44166" y="43428"/>
                  </a:cubicBezTo>
                  <a:cubicBezTo>
                    <a:pt x="42500" y="44571"/>
                    <a:pt x="38333" y="40000"/>
                    <a:pt x="36666" y="42285"/>
                  </a:cubicBezTo>
                  <a:cubicBezTo>
                    <a:pt x="35833" y="42285"/>
                    <a:pt x="37500" y="43428"/>
                    <a:pt x="38333" y="44571"/>
                  </a:cubicBezTo>
                  <a:cubicBezTo>
                    <a:pt x="38333" y="45714"/>
                    <a:pt x="39166" y="44571"/>
                    <a:pt x="40000" y="44571"/>
                  </a:cubicBezTo>
                  <a:cubicBezTo>
                    <a:pt x="40833" y="44571"/>
                    <a:pt x="43333" y="43428"/>
                    <a:pt x="43333" y="44571"/>
                  </a:cubicBezTo>
                  <a:cubicBezTo>
                    <a:pt x="43333" y="45714"/>
                    <a:pt x="42500" y="46857"/>
                    <a:pt x="41666" y="48000"/>
                  </a:cubicBezTo>
                  <a:cubicBezTo>
                    <a:pt x="41666" y="48000"/>
                    <a:pt x="32500" y="40000"/>
                    <a:pt x="30833" y="41142"/>
                  </a:cubicBezTo>
                  <a:cubicBezTo>
                    <a:pt x="31666" y="41142"/>
                    <a:pt x="32500" y="42285"/>
                    <a:pt x="33333" y="42285"/>
                  </a:cubicBezTo>
                  <a:cubicBezTo>
                    <a:pt x="35000" y="44571"/>
                    <a:pt x="30833" y="43428"/>
                    <a:pt x="30833" y="43428"/>
                  </a:cubicBezTo>
                  <a:cubicBezTo>
                    <a:pt x="28333" y="41142"/>
                    <a:pt x="25000" y="43428"/>
                    <a:pt x="22500" y="42285"/>
                  </a:cubicBezTo>
                  <a:cubicBezTo>
                    <a:pt x="19166" y="41142"/>
                    <a:pt x="16666" y="42285"/>
                    <a:pt x="14166" y="38857"/>
                  </a:cubicBezTo>
                  <a:cubicBezTo>
                    <a:pt x="11666" y="36571"/>
                    <a:pt x="10000" y="40000"/>
                    <a:pt x="7500" y="38857"/>
                  </a:cubicBezTo>
                  <a:cubicBezTo>
                    <a:pt x="6666" y="37714"/>
                    <a:pt x="5000" y="37714"/>
                    <a:pt x="4166" y="36571"/>
                  </a:cubicBezTo>
                  <a:cubicBezTo>
                    <a:pt x="4166" y="35428"/>
                    <a:pt x="1666" y="32000"/>
                    <a:pt x="3333" y="32000"/>
                  </a:cubicBezTo>
                  <a:cubicBezTo>
                    <a:pt x="5833" y="32000"/>
                    <a:pt x="9166" y="35428"/>
                    <a:pt x="11666" y="33142"/>
                  </a:cubicBezTo>
                  <a:cubicBezTo>
                    <a:pt x="12500" y="32000"/>
                    <a:pt x="10833" y="30857"/>
                    <a:pt x="10833" y="30857"/>
                  </a:cubicBezTo>
                  <a:cubicBezTo>
                    <a:pt x="9166" y="29714"/>
                    <a:pt x="7500" y="29714"/>
                    <a:pt x="6666" y="29714"/>
                  </a:cubicBezTo>
                  <a:cubicBezTo>
                    <a:pt x="4166" y="29714"/>
                    <a:pt x="0" y="29714"/>
                    <a:pt x="0" y="26285"/>
                  </a:cubicBezTo>
                  <a:cubicBezTo>
                    <a:pt x="0" y="21714"/>
                    <a:pt x="0" y="18285"/>
                    <a:pt x="1666" y="13714"/>
                  </a:cubicBezTo>
                  <a:cubicBezTo>
                    <a:pt x="2500" y="10285"/>
                    <a:pt x="5000" y="8000"/>
                    <a:pt x="7500" y="5714"/>
                  </a:cubicBezTo>
                  <a:cubicBezTo>
                    <a:pt x="9166" y="3428"/>
                    <a:pt x="10833" y="3428"/>
                    <a:pt x="13333" y="2285"/>
                  </a:cubicBezTo>
                  <a:cubicBezTo>
                    <a:pt x="15000" y="2285"/>
                    <a:pt x="20000" y="0"/>
                    <a:pt x="20833" y="3428"/>
                  </a:cubicBezTo>
                  <a:cubicBezTo>
                    <a:pt x="20833" y="2285"/>
                    <a:pt x="16666" y="8000"/>
                    <a:pt x="15833" y="8000"/>
                  </a:cubicBezTo>
                  <a:cubicBezTo>
                    <a:pt x="14166" y="10285"/>
                    <a:pt x="12500" y="12571"/>
                    <a:pt x="14166" y="14857"/>
                  </a:cubicBezTo>
                  <a:cubicBezTo>
                    <a:pt x="15833" y="17142"/>
                    <a:pt x="14166" y="18285"/>
                    <a:pt x="15000" y="20571"/>
                  </a:cubicBezTo>
                  <a:cubicBezTo>
                    <a:pt x="15000" y="22857"/>
                    <a:pt x="16666" y="24000"/>
                    <a:pt x="17500" y="25142"/>
                  </a:cubicBezTo>
                  <a:cubicBezTo>
                    <a:pt x="18333" y="26285"/>
                    <a:pt x="20000" y="27428"/>
                    <a:pt x="20833" y="28571"/>
                  </a:cubicBezTo>
                  <a:cubicBezTo>
                    <a:pt x="21666" y="29714"/>
                    <a:pt x="18333" y="29714"/>
                    <a:pt x="18333" y="30857"/>
                  </a:cubicBezTo>
                  <a:cubicBezTo>
                    <a:pt x="18333" y="29714"/>
                    <a:pt x="21666" y="33142"/>
                    <a:pt x="21666" y="33142"/>
                  </a:cubicBezTo>
                  <a:cubicBezTo>
                    <a:pt x="22500" y="32000"/>
                    <a:pt x="21666" y="29714"/>
                    <a:pt x="21666" y="28571"/>
                  </a:cubicBezTo>
                  <a:cubicBezTo>
                    <a:pt x="21666" y="28571"/>
                    <a:pt x="23333" y="27428"/>
                    <a:pt x="22500" y="26285"/>
                  </a:cubicBezTo>
                  <a:cubicBezTo>
                    <a:pt x="21666" y="25142"/>
                    <a:pt x="18333" y="24000"/>
                    <a:pt x="17500" y="22857"/>
                  </a:cubicBezTo>
                  <a:cubicBezTo>
                    <a:pt x="16666" y="22857"/>
                    <a:pt x="15833" y="21714"/>
                    <a:pt x="16666" y="21714"/>
                  </a:cubicBezTo>
                  <a:cubicBezTo>
                    <a:pt x="18333" y="21714"/>
                    <a:pt x="18333" y="20571"/>
                    <a:pt x="19166" y="19428"/>
                  </a:cubicBezTo>
                  <a:cubicBezTo>
                    <a:pt x="20833" y="18285"/>
                    <a:pt x="23333" y="20571"/>
                    <a:pt x="24166" y="21714"/>
                  </a:cubicBezTo>
                  <a:cubicBezTo>
                    <a:pt x="23333" y="20571"/>
                    <a:pt x="22500" y="19428"/>
                    <a:pt x="22500" y="18285"/>
                  </a:cubicBezTo>
                  <a:cubicBezTo>
                    <a:pt x="22500" y="16000"/>
                    <a:pt x="18333" y="17142"/>
                    <a:pt x="18333" y="14857"/>
                  </a:cubicBezTo>
                  <a:cubicBezTo>
                    <a:pt x="16666" y="8000"/>
                    <a:pt x="24166" y="13714"/>
                    <a:pt x="24166" y="13714"/>
                  </a:cubicBezTo>
                  <a:cubicBezTo>
                    <a:pt x="24166" y="12571"/>
                    <a:pt x="19166" y="10285"/>
                    <a:pt x="19166" y="10285"/>
                  </a:cubicBezTo>
                  <a:cubicBezTo>
                    <a:pt x="19166" y="9142"/>
                    <a:pt x="23333" y="10285"/>
                    <a:pt x="23333" y="10285"/>
                  </a:cubicBezTo>
                  <a:cubicBezTo>
                    <a:pt x="23333" y="9142"/>
                    <a:pt x="20833" y="8000"/>
                    <a:pt x="20833" y="8000"/>
                  </a:cubicBezTo>
                  <a:cubicBezTo>
                    <a:pt x="20000" y="6857"/>
                    <a:pt x="20833" y="6857"/>
                    <a:pt x="21666" y="6857"/>
                  </a:cubicBezTo>
                  <a:cubicBezTo>
                    <a:pt x="22500" y="8000"/>
                    <a:pt x="22500" y="6857"/>
                    <a:pt x="23333" y="6857"/>
                  </a:cubicBezTo>
                  <a:cubicBezTo>
                    <a:pt x="25000" y="5714"/>
                    <a:pt x="25000" y="6857"/>
                    <a:pt x="26666" y="6857"/>
                  </a:cubicBezTo>
                  <a:cubicBezTo>
                    <a:pt x="24166" y="5714"/>
                    <a:pt x="27500" y="3428"/>
                    <a:pt x="28333" y="3428"/>
                  </a:cubicBezTo>
                  <a:cubicBezTo>
                    <a:pt x="30000" y="2285"/>
                    <a:pt x="35000" y="2285"/>
                    <a:pt x="35833" y="4571"/>
                  </a:cubicBezTo>
                  <a:cubicBezTo>
                    <a:pt x="36666" y="5714"/>
                    <a:pt x="36666" y="6857"/>
                    <a:pt x="36666" y="8000"/>
                  </a:cubicBezTo>
                  <a:cubicBezTo>
                    <a:pt x="37500" y="9142"/>
                    <a:pt x="38333" y="10285"/>
                    <a:pt x="39166" y="11428"/>
                  </a:cubicBezTo>
                  <a:cubicBezTo>
                    <a:pt x="40000" y="13714"/>
                    <a:pt x="35833" y="18285"/>
                    <a:pt x="35833" y="18285"/>
                  </a:cubicBezTo>
                  <a:cubicBezTo>
                    <a:pt x="36666" y="19428"/>
                    <a:pt x="38333" y="16000"/>
                    <a:pt x="39166" y="16000"/>
                  </a:cubicBezTo>
                  <a:cubicBezTo>
                    <a:pt x="39166" y="16000"/>
                    <a:pt x="37500" y="22857"/>
                    <a:pt x="38333" y="21714"/>
                  </a:cubicBezTo>
                  <a:cubicBezTo>
                    <a:pt x="39166" y="21714"/>
                    <a:pt x="39166" y="19428"/>
                    <a:pt x="40000" y="19428"/>
                  </a:cubicBezTo>
                  <a:cubicBezTo>
                    <a:pt x="41666" y="19428"/>
                    <a:pt x="41666" y="20571"/>
                    <a:pt x="43333" y="18285"/>
                  </a:cubicBezTo>
                  <a:cubicBezTo>
                    <a:pt x="44166" y="17142"/>
                    <a:pt x="44166" y="18285"/>
                    <a:pt x="45000" y="19428"/>
                  </a:cubicBezTo>
                  <a:cubicBezTo>
                    <a:pt x="45833" y="20571"/>
                    <a:pt x="45000" y="20571"/>
                    <a:pt x="45000" y="21714"/>
                  </a:cubicBezTo>
                  <a:cubicBezTo>
                    <a:pt x="45000" y="22857"/>
                    <a:pt x="49166" y="24000"/>
                    <a:pt x="50000" y="24000"/>
                  </a:cubicBezTo>
                  <a:cubicBezTo>
                    <a:pt x="50000" y="24000"/>
                    <a:pt x="45833" y="18285"/>
                    <a:pt x="45000" y="17142"/>
                  </a:cubicBezTo>
                  <a:cubicBezTo>
                    <a:pt x="45000" y="17142"/>
                    <a:pt x="52500" y="20571"/>
                    <a:pt x="52500" y="19428"/>
                  </a:cubicBezTo>
                  <a:cubicBezTo>
                    <a:pt x="52500" y="19428"/>
                    <a:pt x="47500" y="18285"/>
                    <a:pt x="47500" y="16000"/>
                  </a:cubicBezTo>
                  <a:cubicBezTo>
                    <a:pt x="47500" y="14857"/>
                    <a:pt x="50000" y="13714"/>
                    <a:pt x="50833" y="13714"/>
                  </a:cubicBezTo>
                  <a:cubicBezTo>
                    <a:pt x="52500" y="12571"/>
                    <a:pt x="53333" y="13714"/>
                    <a:pt x="55000" y="14857"/>
                  </a:cubicBezTo>
                  <a:cubicBezTo>
                    <a:pt x="57500" y="16000"/>
                    <a:pt x="60833" y="14857"/>
                    <a:pt x="61666" y="19428"/>
                  </a:cubicBezTo>
                  <a:cubicBezTo>
                    <a:pt x="61666" y="19428"/>
                    <a:pt x="55833" y="19428"/>
                    <a:pt x="56666" y="22857"/>
                  </a:cubicBezTo>
                  <a:cubicBezTo>
                    <a:pt x="56666" y="21714"/>
                    <a:pt x="59166" y="20571"/>
                    <a:pt x="59166" y="20571"/>
                  </a:cubicBezTo>
                  <a:cubicBezTo>
                    <a:pt x="60833" y="20571"/>
                    <a:pt x="58333" y="22857"/>
                    <a:pt x="58333" y="24000"/>
                  </a:cubicBezTo>
                  <a:cubicBezTo>
                    <a:pt x="58333" y="24000"/>
                    <a:pt x="60833" y="21714"/>
                    <a:pt x="60833" y="21714"/>
                  </a:cubicBezTo>
                  <a:cubicBezTo>
                    <a:pt x="60833" y="20571"/>
                    <a:pt x="64166" y="20571"/>
                    <a:pt x="65000" y="21714"/>
                  </a:cubicBezTo>
                  <a:cubicBezTo>
                    <a:pt x="68333" y="21714"/>
                    <a:pt x="60833" y="25142"/>
                    <a:pt x="61666" y="26285"/>
                  </a:cubicBezTo>
                  <a:cubicBezTo>
                    <a:pt x="61666" y="26285"/>
                    <a:pt x="63333" y="24000"/>
                    <a:pt x="63333" y="25142"/>
                  </a:cubicBezTo>
                  <a:cubicBezTo>
                    <a:pt x="63333" y="26285"/>
                    <a:pt x="61666" y="28571"/>
                    <a:pt x="62500" y="29714"/>
                  </a:cubicBezTo>
                  <a:cubicBezTo>
                    <a:pt x="61666" y="28571"/>
                    <a:pt x="65000" y="24000"/>
                    <a:pt x="65833" y="25142"/>
                  </a:cubicBezTo>
                  <a:cubicBezTo>
                    <a:pt x="65833" y="27428"/>
                    <a:pt x="65000" y="29714"/>
                    <a:pt x="65833" y="30857"/>
                  </a:cubicBezTo>
                  <a:cubicBezTo>
                    <a:pt x="65833" y="30857"/>
                    <a:pt x="65833" y="26285"/>
                    <a:pt x="67500" y="26285"/>
                  </a:cubicBezTo>
                  <a:cubicBezTo>
                    <a:pt x="69166" y="27428"/>
                    <a:pt x="66666" y="30857"/>
                    <a:pt x="67500" y="32000"/>
                  </a:cubicBezTo>
                  <a:cubicBezTo>
                    <a:pt x="67500" y="32000"/>
                    <a:pt x="68333" y="28571"/>
                    <a:pt x="69166" y="28571"/>
                  </a:cubicBezTo>
                  <a:cubicBezTo>
                    <a:pt x="69166" y="28571"/>
                    <a:pt x="68333" y="32000"/>
                    <a:pt x="69166" y="32000"/>
                  </a:cubicBezTo>
                  <a:cubicBezTo>
                    <a:pt x="68333" y="32000"/>
                    <a:pt x="70833" y="27428"/>
                    <a:pt x="71666" y="26285"/>
                  </a:cubicBezTo>
                  <a:cubicBezTo>
                    <a:pt x="72500" y="25142"/>
                    <a:pt x="75000" y="26285"/>
                    <a:pt x="75833" y="27428"/>
                  </a:cubicBezTo>
                  <a:cubicBezTo>
                    <a:pt x="77500" y="28571"/>
                    <a:pt x="78333" y="30857"/>
                    <a:pt x="75833" y="30857"/>
                  </a:cubicBezTo>
                  <a:cubicBezTo>
                    <a:pt x="75000" y="30857"/>
                    <a:pt x="71666" y="30857"/>
                    <a:pt x="71666" y="34285"/>
                  </a:cubicBezTo>
                  <a:cubicBezTo>
                    <a:pt x="71666" y="33142"/>
                    <a:pt x="76666" y="30857"/>
                    <a:pt x="76666" y="32000"/>
                  </a:cubicBezTo>
                  <a:cubicBezTo>
                    <a:pt x="76666" y="32000"/>
                    <a:pt x="73333" y="34285"/>
                    <a:pt x="73333" y="35428"/>
                  </a:cubicBezTo>
                  <a:cubicBezTo>
                    <a:pt x="73333" y="34285"/>
                    <a:pt x="76666" y="34285"/>
                    <a:pt x="76666" y="34285"/>
                  </a:cubicBezTo>
                  <a:cubicBezTo>
                    <a:pt x="77500" y="33142"/>
                    <a:pt x="79166" y="29714"/>
                    <a:pt x="80000" y="30857"/>
                  </a:cubicBezTo>
                  <a:cubicBezTo>
                    <a:pt x="80833" y="33142"/>
                    <a:pt x="80000" y="35428"/>
                    <a:pt x="78333" y="35428"/>
                  </a:cubicBezTo>
                  <a:cubicBezTo>
                    <a:pt x="77500" y="36571"/>
                    <a:pt x="76666" y="37714"/>
                    <a:pt x="75833" y="38857"/>
                  </a:cubicBezTo>
                  <a:cubicBezTo>
                    <a:pt x="75833" y="38857"/>
                    <a:pt x="77500" y="36571"/>
                    <a:pt x="78333" y="36571"/>
                  </a:cubicBezTo>
                  <a:cubicBezTo>
                    <a:pt x="78333" y="36571"/>
                    <a:pt x="77500" y="41142"/>
                    <a:pt x="77500" y="41142"/>
                  </a:cubicBezTo>
                  <a:cubicBezTo>
                    <a:pt x="76666" y="38857"/>
                    <a:pt x="82500" y="30857"/>
                    <a:pt x="83333" y="33142"/>
                  </a:cubicBezTo>
                  <a:cubicBezTo>
                    <a:pt x="84166" y="34285"/>
                    <a:pt x="82500" y="35428"/>
                    <a:pt x="81666" y="35428"/>
                  </a:cubicBezTo>
                  <a:cubicBezTo>
                    <a:pt x="82500" y="35428"/>
                    <a:pt x="85000" y="35428"/>
                    <a:pt x="85833" y="35428"/>
                  </a:cubicBezTo>
                  <a:cubicBezTo>
                    <a:pt x="86666" y="35428"/>
                    <a:pt x="88333" y="35428"/>
                    <a:pt x="89166" y="36571"/>
                  </a:cubicBezTo>
                  <a:cubicBezTo>
                    <a:pt x="90000" y="40000"/>
                    <a:pt x="81666" y="40000"/>
                    <a:pt x="82500" y="43428"/>
                  </a:cubicBezTo>
                  <a:cubicBezTo>
                    <a:pt x="82500" y="43428"/>
                    <a:pt x="85000" y="40000"/>
                    <a:pt x="85833" y="40000"/>
                  </a:cubicBezTo>
                  <a:cubicBezTo>
                    <a:pt x="86666" y="40000"/>
                    <a:pt x="88333" y="40000"/>
                    <a:pt x="88333" y="41142"/>
                  </a:cubicBezTo>
                  <a:cubicBezTo>
                    <a:pt x="89166" y="42285"/>
                    <a:pt x="84166" y="44571"/>
                    <a:pt x="84166" y="44571"/>
                  </a:cubicBezTo>
                  <a:cubicBezTo>
                    <a:pt x="84166" y="44571"/>
                    <a:pt x="86666" y="43428"/>
                    <a:pt x="86666" y="43428"/>
                  </a:cubicBezTo>
                  <a:cubicBezTo>
                    <a:pt x="87500" y="43428"/>
                    <a:pt x="89166" y="42285"/>
                    <a:pt x="90000" y="41142"/>
                  </a:cubicBezTo>
                  <a:cubicBezTo>
                    <a:pt x="90833" y="41142"/>
                    <a:pt x="90000" y="40000"/>
                    <a:pt x="90833" y="38857"/>
                  </a:cubicBezTo>
                  <a:cubicBezTo>
                    <a:pt x="91666" y="38857"/>
                    <a:pt x="93333" y="41142"/>
                    <a:pt x="93333" y="42285"/>
                  </a:cubicBezTo>
                  <a:cubicBezTo>
                    <a:pt x="96666" y="45714"/>
                    <a:pt x="93333" y="44571"/>
                    <a:pt x="90833" y="45714"/>
                  </a:cubicBezTo>
                  <a:cubicBezTo>
                    <a:pt x="90833" y="45714"/>
                    <a:pt x="85000" y="48000"/>
                    <a:pt x="85000" y="46857"/>
                  </a:cubicBezTo>
                  <a:cubicBezTo>
                    <a:pt x="85000" y="48000"/>
                    <a:pt x="98333" y="48000"/>
                    <a:pt x="97500" y="50285"/>
                  </a:cubicBezTo>
                  <a:cubicBezTo>
                    <a:pt x="96666" y="51428"/>
                    <a:pt x="92500" y="51428"/>
                    <a:pt x="91666" y="50285"/>
                  </a:cubicBezTo>
                  <a:cubicBezTo>
                    <a:pt x="91666" y="50285"/>
                    <a:pt x="88333" y="51428"/>
                    <a:pt x="88333" y="51428"/>
                  </a:cubicBezTo>
                  <a:cubicBezTo>
                    <a:pt x="89166" y="52571"/>
                    <a:pt x="91666" y="51428"/>
                    <a:pt x="91666" y="52571"/>
                  </a:cubicBezTo>
                  <a:cubicBezTo>
                    <a:pt x="92500" y="52571"/>
                    <a:pt x="89166" y="53714"/>
                    <a:pt x="89166" y="54857"/>
                  </a:cubicBezTo>
                  <a:cubicBezTo>
                    <a:pt x="89166" y="57142"/>
                    <a:pt x="92500" y="58285"/>
                    <a:pt x="93333" y="58285"/>
                  </a:cubicBezTo>
                  <a:cubicBezTo>
                    <a:pt x="95000" y="59428"/>
                    <a:pt x="97500" y="59428"/>
                    <a:pt x="98333" y="61714"/>
                  </a:cubicBezTo>
                  <a:cubicBezTo>
                    <a:pt x="99166" y="62857"/>
                    <a:pt x="99166" y="64000"/>
                    <a:pt x="100000" y="64000"/>
                  </a:cubicBezTo>
                  <a:cubicBezTo>
                    <a:pt x="100000" y="64000"/>
                    <a:pt x="101666" y="62857"/>
                    <a:pt x="101666" y="62857"/>
                  </a:cubicBezTo>
                  <a:cubicBezTo>
                    <a:pt x="101666" y="62857"/>
                    <a:pt x="101666" y="65142"/>
                    <a:pt x="102500" y="65142"/>
                  </a:cubicBezTo>
                  <a:cubicBezTo>
                    <a:pt x="102500" y="65142"/>
                    <a:pt x="102500" y="62857"/>
                    <a:pt x="103333" y="62857"/>
                  </a:cubicBezTo>
                  <a:cubicBezTo>
                    <a:pt x="103333" y="62857"/>
                    <a:pt x="103333" y="65142"/>
                    <a:pt x="103333" y="65142"/>
                  </a:cubicBezTo>
                  <a:cubicBezTo>
                    <a:pt x="103333" y="66285"/>
                    <a:pt x="105000" y="65142"/>
                    <a:pt x="105833" y="65142"/>
                  </a:cubicBezTo>
                  <a:cubicBezTo>
                    <a:pt x="105833" y="65142"/>
                    <a:pt x="107500" y="66285"/>
                    <a:pt x="107500" y="67428"/>
                  </a:cubicBezTo>
                  <a:cubicBezTo>
                    <a:pt x="107500" y="68571"/>
                    <a:pt x="106666" y="67428"/>
                    <a:pt x="106666" y="68571"/>
                  </a:cubicBezTo>
                  <a:cubicBezTo>
                    <a:pt x="107500" y="67428"/>
                    <a:pt x="115000" y="70857"/>
                    <a:pt x="115000" y="70857"/>
                  </a:cubicBezTo>
                  <a:cubicBezTo>
                    <a:pt x="114166" y="72000"/>
                    <a:pt x="114166" y="72000"/>
                    <a:pt x="114166" y="72000"/>
                  </a:cubicBezTo>
                  <a:cubicBezTo>
                    <a:pt x="114166" y="73142"/>
                    <a:pt x="115833" y="72000"/>
                    <a:pt x="115833" y="72000"/>
                  </a:cubicBezTo>
                  <a:cubicBezTo>
                    <a:pt x="116666" y="70857"/>
                    <a:pt x="116666" y="72000"/>
                    <a:pt x="117500" y="73142"/>
                  </a:cubicBezTo>
                  <a:cubicBezTo>
                    <a:pt x="118333" y="73142"/>
                    <a:pt x="120000" y="75428"/>
                    <a:pt x="119166" y="76571"/>
                  </a:cubicBezTo>
                  <a:cubicBezTo>
                    <a:pt x="119166" y="76571"/>
                    <a:pt x="117500" y="76571"/>
                    <a:pt x="117500" y="76571"/>
                  </a:cubicBezTo>
                  <a:cubicBezTo>
                    <a:pt x="117500" y="77714"/>
                    <a:pt x="119166" y="77714"/>
                    <a:pt x="118333" y="78857"/>
                  </a:cubicBezTo>
                  <a:cubicBezTo>
                    <a:pt x="118333" y="78857"/>
                    <a:pt x="115833" y="78857"/>
                    <a:pt x="115833" y="78857"/>
                  </a:cubicBezTo>
                  <a:cubicBezTo>
                    <a:pt x="114166" y="80000"/>
                    <a:pt x="115833" y="80000"/>
                    <a:pt x="115833" y="81142"/>
                  </a:cubicBezTo>
                  <a:cubicBezTo>
                    <a:pt x="116666" y="83428"/>
                    <a:pt x="113333" y="81142"/>
                    <a:pt x="112500" y="81142"/>
                  </a:cubicBezTo>
                  <a:cubicBezTo>
                    <a:pt x="113333" y="82285"/>
                    <a:pt x="115000" y="83428"/>
                    <a:pt x="114166" y="84571"/>
                  </a:cubicBezTo>
                  <a:cubicBezTo>
                    <a:pt x="113333" y="84571"/>
                    <a:pt x="110000" y="84571"/>
                    <a:pt x="110833" y="83428"/>
                  </a:cubicBezTo>
                  <a:cubicBezTo>
                    <a:pt x="110000" y="84571"/>
                    <a:pt x="112500" y="86857"/>
                    <a:pt x="111666" y="88000"/>
                  </a:cubicBezTo>
                  <a:cubicBezTo>
                    <a:pt x="110833" y="88000"/>
                    <a:pt x="110833" y="85714"/>
                    <a:pt x="110000" y="86857"/>
                  </a:cubicBezTo>
                  <a:cubicBezTo>
                    <a:pt x="109166" y="88000"/>
                    <a:pt x="112500" y="93714"/>
                    <a:pt x="109166" y="90285"/>
                  </a:cubicBezTo>
                  <a:cubicBezTo>
                    <a:pt x="109166" y="90285"/>
                    <a:pt x="106666" y="88000"/>
                    <a:pt x="106666" y="88000"/>
                  </a:cubicBezTo>
                  <a:cubicBezTo>
                    <a:pt x="105833" y="89142"/>
                    <a:pt x="105833" y="90285"/>
                    <a:pt x="105000" y="90285"/>
                  </a:cubicBezTo>
                  <a:cubicBezTo>
                    <a:pt x="105000" y="89142"/>
                    <a:pt x="105833" y="88000"/>
                    <a:pt x="105833" y="86857"/>
                  </a:cubicBezTo>
                  <a:cubicBezTo>
                    <a:pt x="105833" y="88000"/>
                    <a:pt x="104166" y="88000"/>
                    <a:pt x="104166" y="88000"/>
                  </a:cubicBezTo>
                  <a:cubicBezTo>
                    <a:pt x="103333" y="86857"/>
                    <a:pt x="105000" y="85714"/>
                    <a:pt x="104166" y="84571"/>
                  </a:cubicBezTo>
                  <a:cubicBezTo>
                    <a:pt x="104166" y="84571"/>
                    <a:pt x="102500" y="85714"/>
                    <a:pt x="102500" y="85714"/>
                  </a:cubicBezTo>
                  <a:cubicBezTo>
                    <a:pt x="101666" y="84571"/>
                    <a:pt x="102500" y="82285"/>
                    <a:pt x="102500" y="82285"/>
                  </a:cubicBezTo>
                  <a:cubicBezTo>
                    <a:pt x="103333" y="82285"/>
                    <a:pt x="106666" y="80000"/>
                    <a:pt x="105833" y="80000"/>
                  </a:cubicBezTo>
                  <a:cubicBezTo>
                    <a:pt x="105000" y="78857"/>
                    <a:pt x="101666" y="83428"/>
                    <a:pt x="100000" y="82285"/>
                  </a:cubicBezTo>
                  <a:cubicBezTo>
                    <a:pt x="100000" y="82285"/>
                    <a:pt x="102500" y="78857"/>
                    <a:pt x="101666" y="78857"/>
                  </a:cubicBezTo>
                  <a:cubicBezTo>
                    <a:pt x="100833" y="78857"/>
                    <a:pt x="100000" y="81142"/>
                    <a:pt x="99166" y="80000"/>
                  </a:cubicBezTo>
                  <a:cubicBezTo>
                    <a:pt x="98333" y="78857"/>
                    <a:pt x="97500" y="78857"/>
                    <a:pt x="96666" y="77714"/>
                  </a:cubicBezTo>
                  <a:cubicBezTo>
                    <a:pt x="95833" y="76571"/>
                    <a:pt x="95000" y="75428"/>
                    <a:pt x="94166" y="76571"/>
                  </a:cubicBezTo>
                  <a:cubicBezTo>
                    <a:pt x="94166" y="77714"/>
                    <a:pt x="94166" y="77714"/>
                    <a:pt x="94166" y="78857"/>
                  </a:cubicBezTo>
                  <a:cubicBezTo>
                    <a:pt x="94166" y="78857"/>
                    <a:pt x="93333" y="78857"/>
                    <a:pt x="93333" y="78857"/>
                  </a:cubicBezTo>
                  <a:cubicBezTo>
                    <a:pt x="93333" y="80000"/>
                    <a:pt x="96666" y="82285"/>
                    <a:pt x="93333" y="82285"/>
                  </a:cubicBezTo>
                  <a:cubicBezTo>
                    <a:pt x="92500" y="82285"/>
                    <a:pt x="89166" y="81142"/>
                    <a:pt x="90000" y="80000"/>
                  </a:cubicBezTo>
                  <a:cubicBezTo>
                    <a:pt x="89166" y="82285"/>
                    <a:pt x="92500" y="84571"/>
                    <a:pt x="93333" y="85714"/>
                  </a:cubicBezTo>
                  <a:cubicBezTo>
                    <a:pt x="95000" y="85714"/>
                    <a:pt x="95000" y="89142"/>
                    <a:pt x="95833" y="90285"/>
                  </a:cubicBezTo>
                  <a:cubicBezTo>
                    <a:pt x="96666" y="91428"/>
                    <a:pt x="96666" y="92571"/>
                    <a:pt x="97500" y="92571"/>
                  </a:cubicBezTo>
                  <a:cubicBezTo>
                    <a:pt x="98333" y="92571"/>
                    <a:pt x="97500" y="91428"/>
                    <a:pt x="98333" y="91428"/>
                  </a:cubicBezTo>
                  <a:cubicBezTo>
                    <a:pt x="98333" y="91428"/>
                    <a:pt x="99166" y="92571"/>
                    <a:pt x="99166" y="93714"/>
                  </a:cubicBezTo>
                  <a:cubicBezTo>
                    <a:pt x="100000" y="94857"/>
                    <a:pt x="100000" y="93714"/>
                    <a:pt x="100833" y="92571"/>
                  </a:cubicBezTo>
                  <a:cubicBezTo>
                    <a:pt x="101666" y="92571"/>
                    <a:pt x="100833" y="97142"/>
                    <a:pt x="101666" y="96000"/>
                  </a:cubicBezTo>
                  <a:cubicBezTo>
                    <a:pt x="102500" y="96000"/>
                    <a:pt x="101666" y="94857"/>
                    <a:pt x="102500" y="93714"/>
                  </a:cubicBezTo>
                  <a:cubicBezTo>
                    <a:pt x="102500" y="93714"/>
                    <a:pt x="102500" y="96000"/>
                    <a:pt x="102500" y="97142"/>
                  </a:cubicBezTo>
                  <a:cubicBezTo>
                    <a:pt x="102500" y="98285"/>
                    <a:pt x="102500" y="98285"/>
                    <a:pt x="103333" y="99428"/>
                  </a:cubicBezTo>
                  <a:cubicBezTo>
                    <a:pt x="104166" y="99428"/>
                    <a:pt x="105000" y="100571"/>
                    <a:pt x="105000" y="101714"/>
                  </a:cubicBezTo>
                  <a:cubicBezTo>
                    <a:pt x="105833" y="101714"/>
                    <a:pt x="106666" y="106285"/>
                    <a:pt x="106666" y="106285"/>
                  </a:cubicBezTo>
                  <a:cubicBezTo>
                    <a:pt x="105833" y="105142"/>
                    <a:pt x="105833" y="104000"/>
                    <a:pt x="105833" y="104000"/>
                  </a:cubicBezTo>
                  <a:cubicBezTo>
                    <a:pt x="105000" y="104000"/>
                    <a:pt x="105833" y="108571"/>
                    <a:pt x="105833" y="108571"/>
                  </a:cubicBezTo>
                  <a:cubicBezTo>
                    <a:pt x="105833" y="108571"/>
                    <a:pt x="104166" y="104000"/>
                    <a:pt x="103333" y="102857"/>
                  </a:cubicBezTo>
                  <a:cubicBezTo>
                    <a:pt x="103333" y="102857"/>
                    <a:pt x="104166" y="107428"/>
                    <a:pt x="105000" y="108571"/>
                  </a:cubicBezTo>
                  <a:cubicBezTo>
                    <a:pt x="105000" y="112000"/>
                    <a:pt x="103333" y="108571"/>
                    <a:pt x="103333" y="109714"/>
                  </a:cubicBezTo>
                  <a:cubicBezTo>
                    <a:pt x="102500" y="110857"/>
                    <a:pt x="106666" y="113142"/>
                    <a:pt x="106666" y="114285"/>
                  </a:cubicBezTo>
                  <a:cubicBezTo>
                    <a:pt x="106666" y="115428"/>
                    <a:pt x="99166" y="108571"/>
                    <a:pt x="98333" y="108571"/>
                  </a:cubicBezTo>
                  <a:cubicBezTo>
                    <a:pt x="98333" y="108571"/>
                    <a:pt x="98333" y="109714"/>
                    <a:pt x="98333" y="109714"/>
                  </a:cubicBezTo>
                  <a:cubicBezTo>
                    <a:pt x="98333" y="110857"/>
                    <a:pt x="96666" y="106285"/>
                    <a:pt x="95833" y="106285"/>
                  </a:cubicBezTo>
                  <a:cubicBezTo>
                    <a:pt x="95833" y="106285"/>
                    <a:pt x="96666" y="108571"/>
                    <a:pt x="96666" y="108571"/>
                  </a:cubicBezTo>
                  <a:cubicBezTo>
                    <a:pt x="95833" y="109714"/>
                    <a:pt x="94166" y="105142"/>
                    <a:pt x="93333" y="104000"/>
                  </a:cubicBezTo>
                  <a:cubicBezTo>
                    <a:pt x="92500" y="102857"/>
                    <a:pt x="92500" y="105142"/>
                    <a:pt x="91666" y="106285"/>
                  </a:cubicBezTo>
                  <a:cubicBezTo>
                    <a:pt x="91666" y="107428"/>
                    <a:pt x="90000" y="102857"/>
                    <a:pt x="90000" y="102857"/>
                  </a:cubicBezTo>
                  <a:cubicBezTo>
                    <a:pt x="90000" y="102857"/>
                    <a:pt x="87500" y="102857"/>
                    <a:pt x="87500" y="102857"/>
                  </a:cubicBezTo>
                  <a:cubicBezTo>
                    <a:pt x="87500" y="104000"/>
                    <a:pt x="88333" y="105142"/>
                    <a:pt x="89166" y="105142"/>
                  </a:cubicBezTo>
                  <a:cubicBezTo>
                    <a:pt x="90000" y="106285"/>
                    <a:pt x="90000" y="106285"/>
                    <a:pt x="90833" y="107428"/>
                  </a:cubicBezTo>
                  <a:cubicBezTo>
                    <a:pt x="91666" y="108571"/>
                    <a:pt x="93333" y="109714"/>
                    <a:pt x="95000" y="110857"/>
                  </a:cubicBezTo>
                  <a:cubicBezTo>
                    <a:pt x="96666" y="113142"/>
                    <a:pt x="97500" y="114285"/>
                    <a:pt x="98333" y="116571"/>
                  </a:cubicBezTo>
                  <a:cubicBezTo>
                    <a:pt x="100000" y="120000"/>
                    <a:pt x="100000" y="120000"/>
                    <a:pt x="97500" y="118857"/>
                  </a:cubicBezTo>
                  <a:cubicBezTo>
                    <a:pt x="94166" y="116571"/>
                    <a:pt x="88333" y="117714"/>
                    <a:pt x="85833" y="113142"/>
                  </a:cubicBezTo>
                  <a:cubicBezTo>
                    <a:pt x="85000" y="110857"/>
                    <a:pt x="82500" y="113142"/>
                    <a:pt x="80833" y="110857"/>
                  </a:cubicBezTo>
                  <a:cubicBezTo>
                    <a:pt x="80000" y="109714"/>
                    <a:pt x="75000" y="107428"/>
                    <a:pt x="75000" y="106285"/>
                  </a:cubicBezTo>
                  <a:cubicBezTo>
                    <a:pt x="75000" y="105142"/>
                    <a:pt x="77500" y="106285"/>
                    <a:pt x="77500" y="105142"/>
                  </a:cubicBezTo>
                  <a:cubicBezTo>
                    <a:pt x="78333" y="104000"/>
                    <a:pt x="75833" y="102857"/>
                    <a:pt x="75833" y="102857"/>
                  </a:cubicBezTo>
                  <a:cubicBezTo>
                    <a:pt x="73333" y="101714"/>
                    <a:pt x="71666" y="99428"/>
                    <a:pt x="70000" y="98285"/>
                  </a:cubicBezTo>
                  <a:cubicBezTo>
                    <a:pt x="69166" y="97142"/>
                    <a:pt x="70000" y="96000"/>
                    <a:pt x="68333" y="96000"/>
                  </a:cubicBezTo>
                  <a:cubicBezTo>
                    <a:pt x="68333" y="94857"/>
                    <a:pt x="64166" y="94857"/>
                    <a:pt x="64166" y="94857"/>
                  </a:cubicBezTo>
                  <a:cubicBezTo>
                    <a:pt x="64166" y="96000"/>
                    <a:pt x="65000" y="93714"/>
                    <a:pt x="64166" y="94857"/>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53" name="Shape 2427">
              <a:extLst>
                <a:ext uri="{FF2B5EF4-FFF2-40B4-BE49-F238E27FC236}">
                  <a16:creationId xmlns:a16="http://schemas.microsoft.com/office/drawing/2014/main" id="{7721A0C4-7679-714E-874E-99E36A9D0D60}"/>
                </a:ext>
              </a:extLst>
            </p:cNvPr>
            <p:cNvSpPr/>
            <p:nvPr/>
          </p:nvSpPr>
          <p:spPr>
            <a:xfrm>
              <a:off x="8372149" y="5637280"/>
              <a:ext cx="57322" cy="19113"/>
            </a:xfrm>
            <a:custGeom>
              <a:avLst/>
              <a:gdLst/>
              <a:ahLst/>
              <a:cxnLst/>
              <a:rect l="0" t="0" r="0" b="0"/>
              <a:pathLst>
                <a:path w="120000" h="120000" extrusionOk="0">
                  <a:moveTo>
                    <a:pt x="100000" y="60000"/>
                  </a:moveTo>
                  <a:cubicBezTo>
                    <a:pt x="100000" y="120000"/>
                    <a:pt x="0" y="0"/>
                    <a:pt x="20000" y="0"/>
                  </a:cubicBezTo>
                  <a:cubicBezTo>
                    <a:pt x="60000" y="0"/>
                    <a:pt x="120000" y="0"/>
                    <a:pt x="100000" y="6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54" name="Shape 2428">
              <a:extLst>
                <a:ext uri="{FF2B5EF4-FFF2-40B4-BE49-F238E27FC236}">
                  <a16:creationId xmlns:a16="http://schemas.microsoft.com/office/drawing/2014/main" id="{C6429ADF-151D-7C49-B334-5AC4D150BF70}"/>
                </a:ext>
              </a:extLst>
            </p:cNvPr>
            <p:cNvSpPr/>
            <p:nvPr/>
          </p:nvSpPr>
          <p:spPr>
            <a:xfrm>
              <a:off x="8203361" y="5226343"/>
              <a:ext cx="76431" cy="19113"/>
            </a:xfrm>
            <a:custGeom>
              <a:avLst/>
              <a:gdLst/>
              <a:ahLst/>
              <a:cxnLst/>
              <a:rect l="0" t="0" r="0" b="0"/>
              <a:pathLst>
                <a:path w="120000" h="120000" extrusionOk="0">
                  <a:moveTo>
                    <a:pt x="105000" y="60000"/>
                  </a:moveTo>
                  <a:cubicBezTo>
                    <a:pt x="120000" y="120000"/>
                    <a:pt x="45000" y="120000"/>
                    <a:pt x="30000" y="120000"/>
                  </a:cubicBezTo>
                  <a:cubicBezTo>
                    <a:pt x="0" y="60000"/>
                    <a:pt x="30000" y="0"/>
                    <a:pt x="45000" y="0"/>
                  </a:cubicBezTo>
                  <a:cubicBezTo>
                    <a:pt x="75000" y="0"/>
                    <a:pt x="105000" y="0"/>
                    <a:pt x="105000" y="60000"/>
                  </a:cubicBezTo>
                  <a:cubicBezTo>
                    <a:pt x="120000" y="120000"/>
                    <a:pt x="105000" y="0"/>
                    <a:pt x="105000" y="6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55" name="Shape 2429">
              <a:extLst>
                <a:ext uri="{FF2B5EF4-FFF2-40B4-BE49-F238E27FC236}">
                  <a16:creationId xmlns:a16="http://schemas.microsoft.com/office/drawing/2014/main" id="{B0BA8426-EEBA-9C41-85B9-E73FBC92DBE5}"/>
                </a:ext>
              </a:extLst>
            </p:cNvPr>
            <p:cNvSpPr/>
            <p:nvPr/>
          </p:nvSpPr>
          <p:spPr>
            <a:xfrm>
              <a:off x="8091897" y="5207230"/>
              <a:ext cx="111464" cy="92380"/>
            </a:xfrm>
            <a:custGeom>
              <a:avLst/>
              <a:gdLst/>
              <a:ahLst/>
              <a:cxnLst/>
              <a:rect l="0" t="0" r="0" b="0"/>
              <a:pathLst>
                <a:path w="120000" h="120000" extrusionOk="0">
                  <a:moveTo>
                    <a:pt x="100000" y="84000"/>
                  </a:moveTo>
                  <a:cubicBezTo>
                    <a:pt x="80000" y="96000"/>
                    <a:pt x="60000" y="120000"/>
                    <a:pt x="30000" y="108000"/>
                  </a:cubicBezTo>
                  <a:cubicBezTo>
                    <a:pt x="0" y="84000"/>
                    <a:pt x="0" y="48000"/>
                    <a:pt x="20000" y="24000"/>
                  </a:cubicBezTo>
                  <a:cubicBezTo>
                    <a:pt x="30000" y="0"/>
                    <a:pt x="70000" y="0"/>
                    <a:pt x="90000" y="0"/>
                  </a:cubicBezTo>
                  <a:cubicBezTo>
                    <a:pt x="110000" y="0"/>
                    <a:pt x="120000" y="60000"/>
                    <a:pt x="100000" y="84000"/>
                  </a:cubicBezTo>
                  <a:cubicBezTo>
                    <a:pt x="90000" y="96000"/>
                    <a:pt x="120000" y="72000"/>
                    <a:pt x="100000" y="84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56" name="Shape 2430">
              <a:extLst>
                <a:ext uri="{FF2B5EF4-FFF2-40B4-BE49-F238E27FC236}">
                  <a16:creationId xmlns:a16="http://schemas.microsoft.com/office/drawing/2014/main" id="{B9AF82D8-FB2B-2B47-86D4-91EAC8E9CDCB}"/>
                </a:ext>
              </a:extLst>
            </p:cNvPr>
            <p:cNvSpPr/>
            <p:nvPr/>
          </p:nvSpPr>
          <p:spPr>
            <a:xfrm>
              <a:off x="7989985" y="5124404"/>
              <a:ext cx="63694" cy="35041"/>
            </a:xfrm>
            <a:custGeom>
              <a:avLst/>
              <a:gdLst/>
              <a:ahLst/>
              <a:cxnLst/>
              <a:rect l="0" t="0" r="0" b="0"/>
              <a:pathLst>
                <a:path w="120000" h="120000" extrusionOk="0">
                  <a:moveTo>
                    <a:pt x="17142" y="120000"/>
                  </a:moveTo>
                  <a:cubicBezTo>
                    <a:pt x="0" y="120000"/>
                    <a:pt x="68571" y="0"/>
                    <a:pt x="85714" y="0"/>
                  </a:cubicBezTo>
                  <a:cubicBezTo>
                    <a:pt x="119999" y="30000"/>
                    <a:pt x="51428" y="120000"/>
                    <a:pt x="17142" y="12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57" name="Shape 2431">
              <a:extLst>
                <a:ext uri="{FF2B5EF4-FFF2-40B4-BE49-F238E27FC236}">
                  <a16:creationId xmlns:a16="http://schemas.microsoft.com/office/drawing/2014/main" id="{BB2FA658-FCA7-9246-8463-E4662FB60B25}"/>
                </a:ext>
              </a:extLst>
            </p:cNvPr>
            <p:cNvSpPr/>
            <p:nvPr/>
          </p:nvSpPr>
          <p:spPr>
            <a:xfrm>
              <a:off x="8082344" y="5114847"/>
              <a:ext cx="57322" cy="28669"/>
            </a:xfrm>
            <a:custGeom>
              <a:avLst/>
              <a:gdLst/>
              <a:ahLst/>
              <a:cxnLst/>
              <a:rect l="0" t="0" r="0" b="0"/>
              <a:pathLst>
                <a:path w="120000" h="120000" extrusionOk="0">
                  <a:moveTo>
                    <a:pt x="40000" y="120000"/>
                  </a:moveTo>
                  <a:cubicBezTo>
                    <a:pt x="40000" y="120000"/>
                    <a:pt x="0" y="40000"/>
                    <a:pt x="40000" y="40000"/>
                  </a:cubicBezTo>
                  <a:cubicBezTo>
                    <a:pt x="60000" y="0"/>
                    <a:pt x="120000" y="120000"/>
                    <a:pt x="40000" y="12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58" name="Shape 2432">
              <a:extLst>
                <a:ext uri="{FF2B5EF4-FFF2-40B4-BE49-F238E27FC236}">
                  <a16:creationId xmlns:a16="http://schemas.microsoft.com/office/drawing/2014/main" id="{39C41024-4C39-FC4C-97DF-2239687E4FA4}"/>
                </a:ext>
              </a:extLst>
            </p:cNvPr>
            <p:cNvSpPr/>
            <p:nvPr/>
          </p:nvSpPr>
          <p:spPr>
            <a:xfrm>
              <a:off x="8028201" y="5095736"/>
              <a:ext cx="44585" cy="19113"/>
            </a:xfrm>
            <a:custGeom>
              <a:avLst/>
              <a:gdLst/>
              <a:ahLst/>
              <a:cxnLst/>
              <a:rect l="0" t="0" r="0" b="0"/>
              <a:pathLst>
                <a:path w="120000" h="120000" extrusionOk="0">
                  <a:moveTo>
                    <a:pt x="0" y="60000"/>
                  </a:moveTo>
                  <a:cubicBezTo>
                    <a:pt x="48000" y="120000"/>
                    <a:pt x="120000" y="60000"/>
                    <a:pt x="96000" y="0"/>
                  </a:cubicBezTo>
                  <a:cubicBezTo>
                    <a:pt x="48000" y="0"/>
                    <a:pt x="0" y="60000"/>
                    <a:pt x="0" y="6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59" name="Shape 2433">
              <a:extLst>
                <a:ext uri="{FF2B5EF4-FFF2-40B4-BE49-F238E27FC236}">
                  <a16:creationId xmlns:a16="http://schemas.microsoft.com/office/drawing/2014/main" id="{9BFE839F-BC06-0340-A809-4FB0A63D5761}"/>
                </a:ext>
              </a:extLst>
            </p:cNvPr>
            <p:cNvSpPr/>
            <p:nvPr/>
          </p:nvSpPr>
          <p:spPr>
            <a:xfrm>
              <a:off x="7913554" y="4738953"/>
              <a:ext cx="245222" cy="105123"/>
            </a:xfrm>
            <a:custGeom>
              <a:avLst/>
              <a:gdLst/>
              <a:ahLst/>
              <a:cxnLst/>
              <a:rect l="0" t="0" r="0" b="0"/>
              <a:pathLst>
                <a:path w="120000" h="120000" extrusionOk="0">
                  <a:moveTo>
                    <a:pt x="115384" y="98181"/>
                  </a:moveTo>
                  <a:cubicBezTo>
                    <a:pt x="101538" y="98181"/>
                    <a:pt x="92307" y="87272"/>
                    <a:pt x="83076" y="87272"/>
                  </a:cubicBezTo>
                  <a:cubicBezTo>
                    <a:pt x="69230" y="87272"/>
                    <a:pt x="60000" y="109090"/>
                    <a:pt x="46153" y="109090"/>
                  </a:cubicBezTo>
                  <a:cubicBezTo>
                    <a:pt x="32307" y="120000"/>
                    <a:pt x="27692" y="76363"/>
                    <a:pt x="13846" y="65454"/>
                  </a:cubicBezTo>
                  <a:cubicBezTo>
                    <a:pt x="9230" y="54545"/>
                    <a:pt x="0" y="32727"/>
                    <a:pt x="9230" y="10909"/>
                  </a:cubicBezTo>
                  <a:cubicBezTo>
                    <a:pt x="13846" y="0"/>
                    <a:pt x="32307" y="21818"/>
                    <a:pt x="36923" y="21818"/>
                  </a:cubicBezTo>
                  <a:cubicBezTo>
                    <a:pt x="50769" y="32727"/>
                    <a:pt x="64615" y="10909"/>
                    <a:pt x="78461" y="21818"/>
                  </a:cubicBezTo>
                  <a:cubicBezTo>
                    <a:pt x="87692" y="21818"/>
                    <a:pt x="92307" y="43636"/>
                    <a:pt x="101538" y="54545"/>
                  </a:cubicBezTo>
                  <a:cubicBezTo>
                    <a:pt x="101538" y="65454"/>
                    <a:pt x="115384" y="98181"/>
                    <a:pt x="115384" y="98181"/>
                  </a:cubicBezTo>
                  <a:cubicBezTo>
                    <a:pt x="106153" y="98181"/>
                    <a:pt x="120000" y="98181"/>
                    <a:pt x="115384" y="98181"/>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60" name="Shape 2434">
              <a:extLst>
                <a:ext uri="{FF2B5EF4-FFF2-40B4-BE49-F238E27FC236}">
                  <a16:creationId xmlns:a16="http://schemas.microsoft.com/office/drawing/2014/main" id="{622135EA-D466-5945-9286-6F2E8126D97D}"/>
                </a:ext>
              </a:extLst>
            </p:cNvPr>
            <p:cNvSpPr/>
            <p:nvPr/>
          </p:nvSpPr>
          <p:spPr>
            <a:xfrm>
              <a:off x="5709731" y="6433665"/>
              <a:ext cx="270700" cy="178392"/>
            </a:xfrm>
            <a:custGeom>
              <a:avLst/>
              <a:gdLst/>
              <a:ahLst/>
              <a:cxnLst/>
              <a:rect l="0" t="0" r="0" b="0"/>
              <a:pathLst>
                <a:path w="120000" h="120000" extrusionOk="0">
                  <a:moveTo>
                    <a:pt x="111724" y="101052"/>
                  </a:moveTo>
                  <a:cubicBezTo>
                    <a:pt x="107586" y="94736"/>
                    <a:pt x="103448" y="82105"/>
                    <a:pt x="99310" y="75789"/>
                  </a:cubicBezTo>
                  <a:cubicBezTo>
                    <a:pt x="95172" y="63157"/>
                    <a:pt x="86896" y="63157"/>
                    <a:pt x="78620" y="63157"/>
                  </a:cubicBezTo>
                  <a:cubicBezTo>
                    <a:pt x="70344" y="50526"/>
                    <a:pt x="70344" y="25263"/>
                    <a:pt x="57931" y="18947"/>
                  </a:cubicBezTo>
                  <a:cubicBezTo>
                    <a:pt x="53793" y="18947"/>
                    <a:pt x="41379" y="18947"/>
                    <a:pt x="33103" y="12631"/>
                  </a:cubicBezTo>
                  <a:cubicBezTo>
                    <a:pt x="28965" y="6315"/>
                    <a:pt x="20689" y="0"/>
                    <a:pt x="8275" y="0"/>
                  </a:cubicBezTo>
                  <a:cubicBezTo>
                    <a:pt x="0" y="0"/>
                    <a:pt x="4137" y="12631"/>
                    <a:pt x="12413" y="12631"/>
                  </a:cubicBezTo>
                  <a:cubicBezTo>
                    <a:pt x="16551" y="12631"/>
                    <a:pt x="16551" y="12631"/>
                    <a:pt x="20689" y="18947"/>
                  </a:cubicBezTo>
                  <a:cubicBezTo>
                    <a:pt x="20689" y="18947"/>
                    <a:pt x="24827" y="25263"/>
                    <a:pt x="24827" y="25263"/>
                  </a:cubicBezTo>
                  <a:cubicBezTo>
                    <a:pt x="20689" y="25263"/>
                    <a:pt x="16551" y="18947"/>
                    <a:pt x="16551" y="12631"/>
                  </a:cubicBezTo>
                  <a:cubicBezTo>
                    <a:pt x="16551" y="12631"/>
                    <a:pt x="16551" y="25263"/>
                    <a:pt x="16551" y="25263"/>
                  </a:cubicBezTo>
                  <a:cubicBezTo>
                    <a:pt x="16551" y="37894"/>
                    <a:pt x="24827" y="37894"/>
                    <a:pt x="28965" y="37894"/>
                  </a:cubicBezTo>
                  <a:cubicBezTo>
                    <a:pt x="28965" y="37894"/>
                    <a:pt x="49655" y="56842"/>
                    <a:pt x="49655" y="56842"/>
                  </a:cubicBezTo>
                  <a:cubicBezTo>
                    <a:pt x="49655" y="56842"/>
                    <a:pt x="45517" y="56842"/>
                    <a:pt x="41379" y="63157"/>
                  </a:cubicBezTo>
                  <a:cubicBezTo>
                    <a:pt x="41379" y="63157"/>
                    <a:pt x="57931" y="63157"/>
                    <a:pt x="57931" y="63157"/>
                  </a:cubicBezTo>
                  <a:cubicBezTo>
                    <a:pt x="66206" y="69473"/>
                    <a:pt x="57931" y="75789"/>
                    <a:pt x="57931" y="75789"/>
                  </a:cubicBezTo>
                  <a:cubicBezTo>
                    <a:pt x="62068" y="82105"/>
                    <a:pt x="74482" y="75789"/>
                    <a:pt x="78620" y="75789"/>
                  </a:cubicBezTo>
                  <a:cubicBezTo>
                    <a:pt x="57931" y="82105"/>
                    <a:pt x="120000" y="120000"/>
                    <a:pt x="111724" y="101052"/>
                  </a:cubicBezTo>
                  <a:cubicBezTo>
                    <a:pt x="107586" y="94736"/>
                    <a:pt x="115862" y="113684"/>
                    <a:pt x="111724" y="101052"/>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61" name="Shape 2435">
              <a:extLst>
                <a:ext uri="{FF2B5EF4-FFF2-40B4-BE49-F238E27FC236}">
                  <a16:creationId xmlns:a16="http://schemas.microsoft.com/office/drawing/2014/main" id="{0C7A9F2C-F9D0-484B-A5D4-5450933033C2}"/>
                </a:ext>
              </a:extLst>
            </p:cNvPr>
            <p:cNvSpPr/>
            <p:nvPr/>
          </p:nvSpPr>
          <p:spPr>
            <a:xfrm>
              <a:off x="5496357" y="6226603"/>
              <a:ext cx="121017" cy="130607"/>
            </a:xfrm>
            <a:custGeom>
              <a:avLst/>
              <a:gdLst/>
              <a:ahLst/>
              <a:cxnLst/>
              <a:rect l="0" t="0" r="0" b="0"/>
              <a:pathLst>
                <a:path w="120000" h="120000" extrusionOk="0">
                  <a:moveTo>
                    <a:pt x="101538" y="119999"/>
                  </a:moveTo>
                  <a:cubicBezTo>
                    <a:pt x="101538" y="119999"/>
                    <a:pt x="101538" y="119999"/>
                    <a:pt x="101538" y="119999"/>
                  </a:cubicBezTo>
                  <a:cubicBezTo>
                    <a:pt x="101538" y="111428"/>
                    <a:pt x="83076" y="94285"/>
                    <a:pt x="73846" y="94285"/>
                  </a:cubicBezTo>
                  <a:cubicBezTo>
                    <a:pt x="64615" y="77142"/>
                    <a:pt x="73846" y="68571"/>
                    <a:pt x="64615" y="59999"/>
                  </a:cubicBezTo>
                  <a:cubicBezTo>
                    <a:pt x="55384" y="51428"/>
                    <a:pt x="55384" y="51428"/>
                    <a:pt x="55384" y="42857"/>
                  </a:cubicBezTo>
                  <a:cubicBezTo>
                    <a:pt x="46153" y="25714"/>
                    <a:pt x="55384" y="25714"/>
                    <a:pt x="64615" y="17142"/>
                  </a:cubicBezTo>
                  <a:cubicBezTo>
                    <a:pt x="83076" y="0"/>
                    <a:pt x="27692" y="25714"/>
                    <a:pt x="36923" y="34285"/>
                  </a:cubicBezTo>
                  <a:cubicBezTo>
                    <a:pt x="27692" y="25714"/>
                    <a:pt x="55384" y="8571"/>
                    <a:pt x="55384" y="8571"/>
                  </a:cubicBezTo>
                  <a:cubicBezTo>
                    <a:pt x="46153" y="0"/>
                    <a:pt x="9230" y="0"/>
                    <a:pt x="9230" y="0"/>
                  </a:cubicBezTo>
                  <a:cubicBezTo>
                    <a:pt x="0" y="8571"/>
                    <a:pt x="18461" y="42857"/>
                    <a:pt x="27692" y="51428"/>
                  </a:cubicBezTo>
                  <a:cubicBezTo>
                    <a:pt x="46153" y="68571"/>
                    <a:pt x="73846" y="111428"/>
                    <a:pt x="101538" y="119999"/>
                  </a:cubicBezTo>
                  <a:cubicBezTo>
                    <a:pt x="120000" y="119999"/>
                    <a:pt x="73846" y="111428"/>
                    <a:pt x="101538" y="119999"/>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62" name="Shape 2436">
              <a:extLst>
                <a:ext uri="{FF2B5EF4-FFF2-40B4-BE49-F238E27FC236}">
                  <a16:creationId xmlns:a16="http://schemas.microsoft.com/office/drawing/2014/main" id="{0B3249D0-6C8B-EC46-B26F-EE41F2B900BB}"/>
                </a:ext>
              </a:extLst>
            </p:cNvPr>
            <p:cNvSpPr/>
            <p:nvPr/>
          </p:nvSpPr>
          <p:spPr>
            <a:xfrm>
              <a:off x="5505912" y="6076882"/>
              <a:ext cx="38216" cy="38226"/>
            </a:xfrm>
            <a:custGeom>
              <a:avLst/>
              <a:gdLst/>
              <a:ahLst/>
              <a:cxnLst/>
              <a:rect l="0" t="0" r="0" b="0"/>
              <a:pathLst>
                <a:path w="120000" h="120000" extrusionOk="0">
                  <a:moveTo>
                    <a:pt x="90000" y="90000"/>
                  </a:moveTo>
                  <a:cubicBezTo>
                    <a:pt x="60000" y="60000"/>
                    <a:pt x="0" y="60000"/>
                    <a:pt x="60000" y="30000"/>
                  </a:cubicBezTo>
                  <a:cubicBezTo>
                    <a:pt x="90000" y="0"/>
                    <a:pt x="120000" y="90000"/>
                    <a:pt x="90000" y="90000"/>
                  </a:cubicBezTo>
                  <a:cubicBezTo>
                    <a:pt x="90000" y="90000"/>
                    <a:pt x="90000" y="90000"/>
                    <a:pt x="90000" y="90000"/>
                  </a:cubicBezTo>
                  <a:cubicBezTo>
                    <a:pt x="60000" y="60000"/>
                    <a:pt x="120000" y="120000"/>
                    <a:pt x="90000" y="9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63" name="Shape 2437">
              <a:extLst>
                <a:ext uri="{FF2B5EF4-FFF2-40B4-BE49-F238E27FC236}">
                  <a16:creationId xmlns:a16="http://schemas.microsoft.com/office/drawing/2014/main" id="{6027EEE8-5170-2747-A09B-BC284359B816}"/>
                </a:ext>
              </a:extLst>
            </p:cNvPr>
            <p:cNvSpPr/>
            <p:nvPr/>
          </p:nvSpPr>
          <p:spPr>
            <a:xfrm>
              <a:off x="5458140" y="6032287"/>
              <a:ext cx="57322" cy="54153"/>
            </a:xfrm>
            <a:custGeom>
              <a:avLst/>
              <a:gdLst/>
              <a:ahLst/>
              <a:cxnLst/>
              <a:rect l="0" t="0" r="0" b="0"/>
              <a:pathLst>
                <a:path w="120000" h="120000" extrusionOk="0">
                  <a:moveTo>
                    <a:pt x="100000" y="40000"/>
                  </a:moveTo>
                  <a:cubicBezTo>
                    <a:pt x="80000" y="40000"/>
                    <a:pt x="20000" y="0"/>
                    <a:pt x="0" y="20000"/>
                  </a:cubicBezTo>
                  <a:cubicBezTo>
                    <a:pt x="20000" y="0"/>
                    <a:pt x="40000" y="80000"/>
                    <a:pt x="20000" y="60000"/>
                  </a:cubicBezTo>
                  <a:cubicBezTo>
                    <a:pt x="20000" y="80000"/>
                    <a:pt x="20000" y="100000"/>
                    <a:pt x="20000" y="120000"/>
                  </a:cubicBezTo>
                  <a:cubicBezTo>
                    <a:pt x="20000" y="100000"/>
                    <a:pt x="100000" y="80000"/>
                    <a:pt x="100000" y="100000"/>
                  </a:cubicBezTo>
                  <a:cubicBezTo>
                    <a:pt x="100000" y="80000"/>
                    <a:pt x="80000" y="80000"/>
                    <a:pt x="60000" y="60000"/>
                  </a:cubicBezTo>
                  <a:cubicBezTo>
                    <a:pt x="80000" y="80000"/>
                    <a:pt x="120000" y="40000"/>
                    <a:pt x="100000" y="40000"/>
                  </a:cubicBezTo>
                  <a:cubicBezTo>
                    <a:pt x="80000" y="40000"/>
                    <a:pt x="120000" y="40000"/>
                    <a:pt x="100000" y="4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64" name="Shape 2438">
              <a:extLst>
                <a:ext uri="{FF2B5EF4-FFF2-40B4-BE49-F238E27FC236}">
                  <a16:creationId xmlns:a16="http://schemas.microsoft.com/office/drawing/2014/main" id="{B7C2166E-FABF-864B-8321-0F255507E3D5}"/>
                </a:ext>
              </a:extLst>
            </p:cNvPr>
            <p:cNvSpPr/>
            <p:nvPr/>
          </p:nvSpPr>
          <p:spPr>
            <a:xfrm>
              <a:off x="5432662" y="6048214"/>
              <a:ext cx="35032" cy="57338"/>
            </a:xfrm>
            <a:custGeom>
              <a:avLst/>
              <a:gdLst/>
              <a:ahLst/>
              <a:cxnLst/>
              <a:rect l="0" t="0" r="0" b="0"/>
              <a:pathLst>
                <a:path w="120000" h="120000" extrusionOk="0">
                  <a:moveTo>
                    <a:pt x="60000" y="0"/>
                  </a:moveTo>
                  <a:cubicBezTo>
                    <a:pt x="0" y="0"/>
                    <a:pt x="60000" y="20000"/>
                    <a:pt x="60000" y="40000"/>
                  </a:cubicBezTo>
                  <a:cubicBezTo>
                    <a:pt x="60000" y="60000"/>
                    <a:pt x="30000" y="100000"/>
                    <a:pt x="60000" y="100000"/>
                  </a:cubicBezTo>
                  <a:cubicBezTo>
                    <a:pt x="90000" y="120000"/>
                    <a:pt x="90000" y="60000"/>
                    <a:pt x="90000" y="60000"/>
                  </a:cubicBezTo>
                  <a:cubicBezTo>
                    <a:pt x="90000" y="40000"/>
                    <a:pt x="120000" y="0"/>
                    <a:pt x="60000" y="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65" name="Shape 2439">
              <a:extLst>
                <a:ext uri="{FF2B5EF4-FFF2-40B4-BE49-F238E27FC236}">
                  <a16:creationId xmlns:a16="http://schemas.microsoft.com/office/drawing/2014/main" id="{F674C0AE-4B1A-8F47-BA77-1748806534EF}"/>
                </a:ext>
              </a:extLst>
            </p:cNvPr>
            <p:cNvSpPr/>
            <p:nvPr/>
          </p:nvSpPr>
          <p:spPr>
            <a:xfrm>
              <a:off x="5375336" y="5994057"/>
              <a:ext cx="47769" cy="101936"/>
            </a:xfrm>
            <a:custGeom>
              <a:avLst/>
              <a:gdLst/>
              <a:ahLst/>
              <a:cxnLst/>
              <a:rect l="0" t="0" r="0" b="0"/>
              <a:pathLst>
                <a:path w="120000" h="120000" extrusionOk="0">
                  <a:moveTo>
                    <a:pt x="96000" y="109090"/>
                  </a:moveTo>
                  <a:cubicBezTo>
                    <a:pt x="96000" y="98181"/>
                    <a:pt x="48000" y="65454"/>
                    <a:pt x="48000" y="65454"/>
                  </a:cubicBezTo>
                  <a:cubicBezTo>
                    <a:pt x="96000" y="43636"/>
                    <a:pt x="0" y="43636"/>
                    <a:pt x="24000" y="32727"/>
                  </a:cubicBezTo>
                  <a:cubicBezTo>
                    <a:pt x="48000" y="0"/>
                    <a:pt x="120000" y="54545"/>
                    <a:pt x="120000" y="54545"/>
                  </a:cubicBezTo>
                  <a:cubicBezTo>
                    <a:pt x="120000" y="65454"/>
                    <a:pt x="120000" y="120000"/>
                    <a:pt x="96000" y="109090"/>
                  </a:cubicBezTo>
                  <a:cubicBezTo>
                    <a:pt x="96000" y="98181"/>
                    <a:pt x="120000" y="120000"/>
                    <a:pt x="96000" y="10909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66" name="Shape 2440">
              <a:extLst>
                <a:ext uri="{FF2B5EF4-FFF2-40B4-BE49-F238E27FC236}">
                  <a16:creationId xmlns:a16="http://schemas.microsoft.com/office/drawing/2014/main" id="{82E7B2E0-BCD5-1C45-A29B-EDC53150F77A}"/>
                </a:ext>
              </a:extLst>
            </p:cNvPr>
            <p:cNvSpPr/>
            <p:nvPr/>
          </p:nvSpPr>
          <p:spPr>
            <a:xfrm>
              <a:off x="5337120" y="5955830"/>
              <a:ext cx="66878" cy="66896"/>
            </a:xfrm>
            <a:custGeom>
              <a:avLst/>
              <a:gdLst/>
              <a:ahLst/>
              <a:cxnLst/>
              <a:rect l="0" t="0" r="0" b="0"/>
              <a:pathLst>
                <a:path w="120000" h="120000" extrusionOk="0">
                  <a:moveTo>
                    <a:pt x="68571" y="102857"/>
                  </a:moveTo>
                  <a:cubicBezTo>
                    <a:pt x="34285" y="68571"/>
                    <a:pt x="17142" y="68571"/>
                    <a:pt x="34285" y="51428"/>
                  </a:cubicBezTo>
                  <a:cubicBezTo>
                    <a:pt x="34285" y="34285"/>
                    <a:pt x="0" y="34285"/>
                    <a:pt x="0" y="34285"/>
                  </a:cubicBezTo>
                  <a:cubicBezTo>
                    <a:pt x="0" y="17142"/>
                    <a:pt x="68571" y="0"/>
                    <a:pt x="85714" y="17142"/>
                  </a:cubicBezTo>
                  <a:cubicBezTo>
                    <a:pt x="85714" y="17142"/>
                    <a:pt x="51428" y="34285"/>
                    <a:pt x="68571" y="51428"/>
                  </a:cubicBezTo>
                  <a:cubicBezTo>
                    <a:pt x="85714" y="51428"/>
                    <a:pt x="119999" y="68571"/>
                    <a:pt x="119999" y="68571"/>
                  </a:cubicBezTo>
                  <a:cubicBezTo>
                    <a:pt x="119999" y="85714"/>
                    <a:pt x="85714" y="85714"/>
                    <a:pt x="85714" y="85714"/>
                  </a:cubicBezTo>
                  <a:cubicBezTo>
                    <a:pt x="68571" y="85714"/>
                    <a:pt x="85714" y="119999"/>
                    <a:pt x="68571" y="102857"/>
                  </a:cubicBezTo>
                  <a:cubicBezTo>
                    <a:pt x="34285" y="85714"/>
                    <a:pt x="68571" y="102857"/>
                    <a:pt x="68571" y="102857"/>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67" name="Shape 2441">
              <a:extLst>
                <a:ext uri="{FF2B5EF4-FFF2-40B4-BE49-F238E27FC236}">
                  <a16:creationId xmlns:a16="http://schemas.microsoft.com/office/drawing/2014/main" id="{CE3AF0B1-28AF-9A48-ACB0-8D7877E59110}"/>
                </a:ext>
              </a:extLst>
            </p:cNvPr>
            <p:cNvSpPr/>
            <p:nvPr/>
          </p:nvSpPr>
          <p:spPr>
            <a:xfrm>
              <a:off x="5403998" y="5955830"/>
              <a:ext cx="63694" cy="86009"/>
            </a:xfrm>
            <a:custGeom>
              <a:avLst/>
              <a:gdLst/>
              <a:ahLst/>
              <a:cxnLst/>
              <a:rect l="0" t="0" r="0" b="0"/>
              <a:pathLst>
                <a:path w="120000" h="120000" extrusionOk="0">
                  <a:moveTo>
                    <a:pt x="51428" y="106666"/>
                  </a:moveTo>
                  <a:cubicBezTo>
                    <a:pt x="68571" y="93333"/>
                    <a:pt x="85714" y="93333"/>
                    <a:pt x="68571" y="80000"/>
                  </a:cubicBezTo>
                  <a:cubicBezTo>
                    <a:pt x="68571" y="66666"/>
                    <a:pt x="34285" y="66666"/>
                    <a:pt x="34285" y="53333"/>
                  </a:cubicBezTo>
                  <a:cubicBezTo>
                    <a:pt x="51428" y="40000"/>
                    <a:pt x="0" y="0"/>
                    <a:pt x="51428" y="13333"/>
                  </a:cubicBezTo>
                  <a:cubicBezTo>
                    <a:pt x="102857" y="26666"/>
                    <a:pt x="102857" y="40000"/>
                    <a:pt x="102857" y="66666"/>
                  </a:cubicBezTo>
                  <a:cubicBezTo>
                    <a:pt x="119999" y="93333"/>
                    <a:pt x="51428" y="106666"/>
                    <a:pt x="51428" y="106666"/>
                  </a:cubicBezTo>
                  <a:cubicBezTo>
                    <a:pt x="51428" y="106666"/>
                    <a:pt x="51428" y="106666"/>
                    <a:pt x="51428" y="106666"/>
                  </a:cubicBezTo>
                  <a:cubicBezTo>
                    <a:pt x="68571" y="93333"/>
                    <a:pt x="34285" y="120000"/>
                    <a:pt x="51428" y="106666"/>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68" name="Shape 2442">
              <a:extLst>
                <a:ext uri="{FF2B5EF4-FFF2-40B4-BE49-F238E27FC236}">
                  <a16:creationId xmlns:a16="http://schemas.microsoft.com/office/drawing/2014/main" id="{E85FC882-5996-F040-8A4D-13A189A3A1F0}"/>
                </a:ext>
              </a:extLst>
            </p:cNvPr>
            <p:cNvSpPr/>
            <p:nvPr/>
          </p:nvSpPr>
          <p:spPr>
            <a:xfrm>
              <a:off x="5384890" y="5974945"/>
              <a:ext cx="28661" cy="9555"/>
            </a:xfrm>
            <a:custGeom>
              <a:avLst/>
              <a:gdLst/>
              <a:ahLst/>
              <a:cxnLst/>
              <a:rect l="0" t="0" r="0" b="0"/>
              <a:pathLst>
                <a:path w="120000" h="120000" extrusionOk="0">
                  <a:moveTo>
                    <a:pt x="80000" y="120000"/>
                  </a:moveTo>
                  <a:cubicBezTo>
                    <a:pt x="40000" y="120000"/>
                    <a:pt x="0" y="120000"/>
                    <a:pt x="0" y="0"/>
                  </a:cubicBezTo>
                  <a:cubicBezTo>
                    <a:pt x="0" y="0"/>
                    <a:pt x="80000" y="0"/>
                    <a:pt x="120000" y="0"/>
                  </a:cubicBezTo>
                  <a:cubicBezTo>
                    <a:pt x="120000" y="0"/>
                    <a:pt x="80000" y="120000"/>
                    <a:pt x="80000" y="12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69" name="Shape 2443">
              <a:extLst>
                <a:ext uri="{FF2B5EF4-FFF2-40B4-BE49-F238E27FC236}">
                  <a16:creationId xmlns:a16="http://schemas.microsoft.com/office/drawing/2014/main" id="{171C5458-9946-2247-85CB-C7264107DC42}"/>
                </a:ext>
              </a:extLst>
            </p:cNvPr>
            <p:cNvSpPr/>
            <p:nvPr/>
          </p:nvSpPr>
          <p:spPr>
            <a:xfrm>
              <a:off x="4486803" y="5984503"/>
              <a:ext cx="124202" cy="63711"/>
            </a:xfrm>
            <a:custGeom>
              <a:avLst/>
              <a:gdLst/>
              <a:ahLst/>
              <a:cxnLst/>
              <a:rect l="0" t="0" r="0" b="0"/>
              <a:pathLst>
                <a:path w="120000" h="120000" extrusionOk="0">
                  <a:moveTo>
                    <a:pt x="92307" y="17142"/>
                  </a:moveTo>
                  <a:cubicBezTo>
                    <a:pt x="83076" y="17142"/>
                    <a:pt x="73846" y="17142"/>
                    <a:pt x="64615" y="17142"/>
                  </a:cubicBezTo>
                  <a:cubicBezTo>
                    <a:pt x="55384" y="17142"/>
                    <a:pt x="55384" y="17142"/>
                    <a:pt x="46153" y="17142"/>
                  </a:cubicBezTo>
                  <a:cubicBezTo>
                    <a:pt x="27692" y="34285"/>
                    <a:pt x="36923" y="68571"/>
                    <a:pt x="46153" y="68571"/>
                  </a:cubicBezTo>
                  <a:cubicBezTo>
                    <a:pt x="36923" y="68571"/>
                    <a:pt x="18461" y="17142"/>
                    <a:pt x="9230" y="51428"/>
                  </a:cubicBezTo>
                  <a:cubicBezTo>
                    <a:pt x="0" y="68571"/>
                    <a:pt x="0" y="85714"/>
                    <a:pt x="9230" y="102857"/>
                  </a:cubicBezTo>
                  <a:cubicBezTo>
                    <a:pt x="18461" y="119999"/>
                    <a:pt x="92307" y="85714"/>
                    <a:pt x="101538" y="68571"/>
                  </a:cubicBezTo>
                  <a:cubicBezTo>
                    <a:pt x="101538" y="68571"/>
                    <a:pt x="92307" y="51428"/>
                    <a:pt x="83076" y="51428"/>
                  </a:cubicBezTo>
                  <a:cubicBezTo>
                    <a:pt x="92307" y="51428"/>
                    <a:pt x="110769" y="51428"/>
                    <a:pt x="110769" y="51428"/>
                  </a:cubicBezTo>
                  <a:cubicBezTo>
                    <a:pt x="120000" y="34285"/>
                    <a:pt x="101538" y="0"/>
                    <a:pt x="92307" y="17142"/>
                  </a:cubicBezTo>
                  <a:cubicBezTo>
                    <a:pt x="83076" y="17142"/>
                    <a:pt x="101538" y="0"/>
                    <a:pt x="92307" y="17142"/>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70" name="Shape 2444">
              <a:extLst>
                <a:ext uri="{FF2B5EF4-FFF2-40B4-BE49-F238E27FC236}">
                  <a16:creationId xmlns:a16="http://schemas.microsoft.com/office/drawing/2014/main" id="{E054B35E-C266-EB45-B5C4-7A115124DE47}"/>
                </a:ext>
              </a:extLst>
            </p:cNvPr>
            <p:cNvSpPr/>
            <p:nvPr/>
          </p:nvSpPr>
          <p:spPr>
            <a:xfrm>
              <a:off x="4534573" y="5927161"/>
              <a:ext cx="76431" cy="66896"/>
            </a:xfrm>
            <a:custGeom>
              <a:avLst/>
              <a:gdLst/>
              <a:ahLst/>
              <a:cxnLst/>
              <a:rect l="0" t="0" r="0" b="0"/>
              <a:pathLst>
                <a:path w="120000" h="120000" extrusionOk="0">
                  <a:moveTo>
                    <a:pt x="30000" y="102857"/>
                  </a:moveTo>
                  <a:cubicBezTo>
                    <a:pt x="45000" y="85714"/>
                    <a:pt x="60000" y="85714"/>
                    <a:pt x="75000" y="68571"/>
                  </a:cubicBezTo>
                  <a:cubicBezTo>
                    <a:pt x="90000" y="68571"/>
                    <a:pt x="120000" y="68571"/>
                    <a:pt x="120000" y="68571"/>
                  </a:cubicBezTo>
                  <a:cubicBezTo>
                    <a:pt x="120000" y="68571"/>
                    <a:pt x="105000" y="0"/>
                    <a:pt x="75000" y="34285"/>
                  </a:cubicBezTo>
                  <a:cubicBezTo>
                    <a:pt x="75000" y="34285"/>
                    <a:pt x="15000" y="85714"/>
                    <a:pt x="30000" y="102857"/>
                  </a:cubicBezTo>
                  <a:cubicBezTo>
                    <a:pt x="30000" y="102857"/>
                    <a:pt x="30000" y="102857"/>
                    <a:pt x="30000" y="102857"/>
                  </a:cubicBezTo>
                  <a:cubicBezTo>
                    <a:pt x="60000" y="85714"/>
                    <a:pt x="0" y="119999"/>
                    <a:pt x="30000" y="102857"/>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71" name="Shape 2445">
              <a:extLst>
                <a:ext uri="{FF2B5EF4-FFF2-40B4-BE49-F238E27FC236}">
                  <a16:creationId xmlns:a16="http://schemas.microsoft.com/office/drawing/2014/main" id="{F74B2989-BDF4-9048-A6BB-B10DC88EFD0C}"/>
                </a:ext>
              </a:extLst>
            </p:cNvPr>
            <p:cNvSpPr/>
            <p:nvPr/>
          </p:nvSpPr>
          <p:spPr>
            <a:xfrm>
              <a:off x="4002725" y="6182004"/>
              <a:ext cx="92356" cy="35041"/>
            </a:xfrm>
            <a:custGeom>
              <a:avLst/>
              <a:gdLst/>
              <a:ahLst/>
              <a:cxnLst/>
              <a:rect l="0" t="0" r="0" b="0"/>
              <a:pathLst>
                <a:path w="120000" h="120000" extrusionOk="0">
                  <a:moveTo>
                    <a:pt x="108000" y="60000"/>
                  </a:moveTo>
                  <a:cubicBezTo>
                    <a:pt x="120000" y="60000"/>
                    <a:pt x="96000" y="30000"/>
                    <a:pt x="108000" y="30000"/>
                  </a:cubicBezTo>
                  <a:cubicBezTo>
                    <a:pt x="96000" y="0"/>
                    <a:pt x="84000" y="0"/>
                    <a:pt x="72000" y="0"/>
                  </a:cubicBezTo>
                  <a:cubicBezTo>
                    <a:pt x="60000" y="30000"/>
                    <a:pt x="36000" y="30000"/>
                    <a:pt x="24000" y="60000"/>
                  </a:cubicBezTo>
                  <a:cubicBezTo>
                    <a:pt x="0" y="90000"/>
                    <a:pt x="24000" y="120000"/>
                    <a:pt x="36000" y="120000"/>
                  </a:cubicBezTo>
                  <a:cubicBezTo>
                    <a:pt x="60000" y="120000"/>
                    <a:pt x="84000" y="30000"/>
                    <a:pt x="108000" y="60000"/>
                  </a:cubicBezTo>
                  <a:cubicBezTo>
                    <a:pt x="120000" y="60000"/>
                    <a:pt x="84000" y="30000"/>
                    <a:pt x="108000" y="6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72" name="Shape 2446">
              <a:extLst>
                <a:ext uri="{FF2B5EF4-FFF2-40B4-BE49-F238E27FC236}">
                  <a16:creationId xmlns:a16="http://schemas.microsoft.com/office/drawing/2014/main" id="{B41B665D-DCCA-7846-BE53-9F455CFE1D8E}"/>
                </a:ext>
              </a:extLst>
            </p:cNvPr>
            <p:cNvSpPr/>
            <p:nvPr/>
          </p:nvSpPr>
          <p:spPr>
            <a:xfrm>
              <a:off x="3891261" y="6236159"/>
              <a:ext cx="54138" cy="47785"/>
            </a:xfrm>
            <a:custGeom>
              <a:avLst/>
              <a:gdLst/>
              <a:ahLst/>
              <a:cxnLst/>
              <a:rect l="0" t="0" r="0" b="0"/>
              <a:pathLst>
                <a:path w="120000" h="120000" extrusionOk="0">
                  <a:moveTo>
                    <a:pt x="120000" y="48000"/>
                  </a:moveTo>
                  <a:cubicBezTo>
                    <a:pt x="120000" y="0"/>
                    <a:pt x="80000" y="24000"/>
                    <a:pt x="60000" y="48000"/>
                  </a:cubicBezTo>
                  <a:cubicBezTo>
                    <a:pt x="60000" y="48000"/>
                    <a:pt x="60000" y="72000"/>
                    <a:pt x="60000" y="96000"/>
                  </a:cubicBezTo>
                  <a:cubicBezTo>
                    <a:pt x="40000" y="96000"/>
                    <a:pt x="0" y="120000"/>
                    <a:pt x="0" y="120000"/>
                  </a:cubicBezTo>
                  <a:cubicBezTo>
                    <a:pt x="0" y="120000"/>
                    <a:pt x="120000" y="120000"/>
                    <a:pt x="120000" y="48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73" name="Shape 2447">
              <a:extLst>
                <a:ext uri="{FF2B5EF4-FFF2-40B4-BE49-F238E27FC236}">
                  <a16:creationId xmlns:a16="http://schemas.microsoft.com/office/drawing/2014/main" id="{6EEB7EAF-9E2A-694F-A376-6EF658B72068}"/>
                </a:ext>
              </a:extLst>
            </p:cNvPr>
            <p:cNvSpPr/>
            <p:nvPr/>
          </p:nvSpPr>
          <p:spPr>
            <a:xfrm>
              <a:off x="7066418" y="5076621"/>
              <a:ext cx="194267" cy="121050"/>
            </a:xfrm>
            <a:custGeom>
              <a:avLst/>
              <a:gdLst/>
              <a:ahLst/>
              <a:cxnLst/>
              <a:rect l="0" t="0" r="0" b="0"/>
              <a:pathLst>
                <a:path w="120000" h="120000" extrusionOk="0">
                  <a:moveTo>
                    <a:pt x="108571" y="83076"/>
                  </a:moveTo>
                  <a:cubicBezTo>
                    <a:pt x="85714" y="92307"/>
                    <a:pt x="108571" y="73846"/>
                    <a:pt x="102857" y="64615"/>
                  </a:cubicBezTo>
                  <a:cubicBezTo>
                    <a:pt x="97142" y="64615"/>
                    <a:pt x="85714" y="36923"/>
                    <a:pt x="80000" y="36923"/>
                  </a:cubicBezTo>
                  <a:cubicBezTo>
                    <a:pt x="68571" y="36923"/>
                    <a:pt x="57142" y="9230"/>
                    <a:pt x="45714" y="9230"/>
                  </a:cubicBezTo>
                  <a:cubicBezTo>
                    <a:pt x="34285" y="0"/>
                    <a:pt x="34285" y="46153"/>
                    <a:pt x="28571" y="55384"/>
                  </a:cubicBezTo>
                  <a:cubicBezTo>
                    <a:pt x="22857" y="55384"/>
                    <a:pt x="0" y="55384"/>
                    <a:pt x="0" y="73846"/>
                  </a:cubicBezTo>
                  <a:cubicBezTo>
                    <a:pt x="5714" y="92307"/>
                    <a:pt x="34285" y="101538"/>
                    <a:pt x="40000" y="101538"/>
                  </a:cubicBezTo>
                  <a:cubicBezTo>
                    <a:pt x="51428" y="110769"/>
                    <a:pt x="74285" y="120000"/>
                    <a:pt x="85714" y="110769"/>
                  </a:cubicBezTo>
                  <a:cubicBezTo>
                    <a:pt x="85714" y="110769"/>
                    <a:pt x="114285" y="92307"/>
                    <a:pt x="114285" y="83076"/>
                  </a:cubicBezTo>
                  <a:cubicBezTo>
                    <a:pt x="114285" y="83076"/>
                    <a:pt x="108571" y="83076"/>
                    <a:pt x="108571" y="83076"/>
                  </a:cubicBezTo>
                  <a:cubicBezTo>
                    <a:pt x="102857" y="92307"/>
                    <a:pt x="120000" y="83076"/>
                    <a:pt x="108571" y="83076"/>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74" name="Shape 2448">
              <a:extLst>
                <a:ext uri="{FF2B5EF4-FFF2-40B4-BE49-F238E27FC236}">
                  <a16:creationId xmlns:a16="http://schemas.microsoft.com/office/drawing/2014/main" id="{788CFF32-7671-6D4D-A9E0-3FE711D8E11B}"/>
                </a:ext>
              </a:extLst>
            </p:cNvPr>
            <p:cNvSpPr/>
            <p:nvPr/>
          </p:nvSpPr>
          <p:spPr>
            <a:xfrm>
              <a:off x="6999541" y="5133962"/>
              <a:ext cx="47769" cy="35041"/>
            </a:xfrm>
            <a:custGeom>
              <a:avLst/>
              <a:gdLst/>
              <a:ahLst/>
              <a:cxnLst/>
              <a:rect l="0" t="0" r="0" b="0"/>
              <a:pathLst>
                <a:path w="120000" h="120000" extrusionOk="0">
                  <a:moveTo>
                    <a:pt x="48000" y="120000"/>
                  </a:moveTo>
                  <a:cubicBezTo>
                    <a:pt x="0" y="120000"/>
                    <a:pt x="96000" y="0"/>
                    <a:pt x="96000" y="30000"/>
                  </a:cubicBezTo>
                  <a:cubicBezTo>
                    <a:pt x="120000" y="30000"/>
                    <a:pt x="72000" y="120000"/>
                    <a:pt x="48000" y="120000"/>
                  </a:cubicBezTo>
                  <a:cubicBezTo>
                    <a:pt x="24000" y="120000"/>
                    <a:pt x="96000" y="120000"/>
                    <a:pt x="48000" y="12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75" name="Shape 2449">
              <a:extLst>
                <a:ext uri="{FF2B5EF4-FFF2-40B4-BE49-F238E27FC236}">
                  <a16:creationId xmlns:a16="http://schemas.microsoft.com/office/drawing/2014/main" id="{4F77C11C-CEE8-CD46-9718-87ABB8C67091}"/>
                </a:ext>
              </a:extLst>
            </p:cNvPr>
            <p:cNvSpPr/>
            <p:nvPr/>
          </p:nvSpPr>
          <p:spPr>
            <a:xfrm>
              <a:off x="6942216" y="5169001"/>
              <a:ext cx="19108" cy="19113"/>
            </a:xfrm>
            <a:custGeom>
              <a:avLst/>
              <a:gdLst/>
              <a:ahLst/>
              <a:cxnLst/>
              <a:rect l="0" t="0" r="0" b="0"/>
              <a:pathLst>
                <a:path w="120000" h="120000" extrusionOk="0">
                  <a:moveTo>
                    <a:pt x="60000" y="120000"/>
                  </a:moveTo>
                  <a:cubicBezTo>
                    <a:pt x="0" y="120000"/>
                    <a:pt x="0" y="60000"/>
                    <a:pt x="60000" y="0"/>
                  </a:cubicBezTo>
                  <a:cubicBezTo>
                    <a:pt x="120000" y="0"/>
                    <a:pt x="120000" y="120000"/>
                    <a:pt x="60000" y="12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76" name="Shape 2450">
              <a:extLst>
                <a:ext uri="{FF2B5EF4-FFF2-40B4-BE49-F238E27FC236}">
                  <a16:creationId xmlns:a16="http://schemas.microsoft.com/office/drawing/2014/main" id="{ECC769E4-9315-6349-AE0A-D1602DA5E9DB}"/>
                </a:ext>
              </a:extLst>
            </p:cNvPr>
            <p:cNvSpPr/>
            <p:nvPr/>
          </p:nvSpPr>
          <p:spPr>
            <a:xfrm>
              <a:off x="6139667" y="4777179"/>
              <a:ext cx="859872" cy="420492"/>
            </a:xfrm>
            <a:custGeom>
              <a:avLst/>
              <a:gdLst/>
              <a:ahLst/>
              <a:cxnLst/>
              <a:rect l="0" t="0" r="0" b="0"/>
              <a:pathLst>
                <a:path w="120000" h="120000" extrusionOk="0">
                  <a:moveTo>
                    <a:pt x="108260" y="109333"/>
                  </a:moveTo>
                  <a:cubicBezTo>
                    <a:pt x="105652" y="109333"/>
                    <a:pt x="103043" y="109333"/>
                    <a:pt x="99130" y="109333"/>
                  </a:cubicBezTo>
                  <a:cubicBezTo>
                    <a:pt x="97826" y="109333"/>
                    <a:pt x="96521" y="109333"/>
                    <a:pt x="95217" y="109333"/>
                  </a:cubicBezTo>
                  <a:cubicBezTo>
                    <a:pt x="93913" y="109333"/>
                    <a:pt x="93913" y="106666"/>
                    <a:pt x="92608" y="104000"/>
                  </a:cubicBezTo>
                  <a:cubicBezTo>
                    <a:pt x="91304" y="104000"/>
                    <a:pt x="86086" y="106666"/>
                    <a:pt x="84782" y="101333"/>
                  </a:cubicBezTo>
                  <a:cubicBezTo>
                    <a:pt x="84782" y="93333"/>
                    <a:pt x="82173" y="98666"/>
                    <a:pt x="79565" y="101333"/>
                  </a:cubicBezTo>
                  <a:cubicBezTo>
                    <a:pt x="75652" y="106666"/>
                    <a:pt x="73043" y="104000"/>
                    <a:pt x="70434" y="106666"/>
                  </a:cubicBezTo>
                  <a:cubicBezTo>
                    <a:pt x="66521" y="109333"/>
                    <a:pt x="62608" y="112000"/>
                    <a:pt x="58695" y="114666"/>
                  </a:cubicBezTo>
                  <a:cubicBezTo>
                    <a:pt x="53478" y="114666"/>
                    <a:pt x="45652" y="120000"/>
                    <a:pt x="40434" y="114666"/>
                  </a:cubicBezTo>
                  <a:cubicBezTo>
                    <a:pt x="40434" y="114666"/>
                    <a:pt x="37826" y="112000"/>
                    <a:pt x="37826" y="109333"/>
                  </a:cubicBezTo>
                  <a:cubicBezTo>
                    <a:pt x="37826" y="106666"/>
                    <a:pt x="37826" y="101333"/>
                    <a:pt x="35217" y="101333"/>
                  </a:cubicBezTo>
                  <a:cubicBezTo>
                    <a:pt x="32608" y="101333"/>
                    <a:pt x="30000" y="101333"/>
                    <a:pt x="27391" y="101333"/>
                  </a:cubicBezTo>
                  <a:cubicBezTo>
                    <a:pt x="24782" y="101333"/>
                    <a:pt x="22173" y="101333"/>
                    <a:pt x="19565" y="96000"/>
                  </a:cubicBezTo>
                  <a:cubicBezTo>
                    <a:pt x="18260" y="96000"/>
                    <a:pt x="11739" y="85333"/>
                    <a:pt x="13043" y="82666"/>
                  </a:cubicBezTo>
                  <a:cubicBezTo>
                    <a:pt x="20869" y="74666"/>
                    <a:pt x="30000" y="77333"/>
                    <a:pt x="36521" y="77333"/>
                  </a:cubicBezTo>
                  <a:cubicBezTo>
                    <a:pt x="37826" y="77333"/>
                    <a:pt x="52173" y="77333"/>
                    <a:pt x="52173" y="77333"/>
                  </a:cubicBezTo>
                  <a:cubicBezTo>
                    <a:pt x="52173" y="72000"/>
                    <a:pt x="33913" y="66666"/>
                    <a:pt x="32608" y="66666"/>
                  </a:cubicBezTo>
                  <a:cubicBezTo>
                    <a:pt x="26086" y="66666"/>
                    <a:pt x="18260" y="74666"/>
                    <a:pt x="11739" y="69333"/>
                  </a:cubicBezTo>
                  <a:cubicBezTo>
                    <a:pt x="9130" y="66666"/>
                    <a:pt x="3913" y="61333"/>
                    <a:pt x="9130" y="56000"/>
                  </a:cubicBezTo>
                  <a:cubicBezTo>
                    <a:pt x="13043" y="53333"/>
                    <a:pt x="16956" y="50666"/>
                    <a:pt x="20869" y="50666"/>
                  </a:cubicBezTo>
                  <a:cubicBezTo>
                    <a:pt x="23478" y="48000"/>
                    <a:pt x="26086" y="48000"/>
                    <a:pt x="27391" y="48000"/>
                  </a:cubicBezTo>
                  <a:cubicBezTo>
                    <a:pt x="24782" y="50666"/>
                    <a:pt x="20869" y="48000"/>
                    <a:pt x="18260" y="48000"/>
                  </a:cubicBezTo>
                  <a:cubicBezTo>
                    <a:pt x="16956" y="48000"/>
                    <a:pt x="9130" y="50666"/>
                    <a:pt x="7826" y="48000"/>
                  </a:cubicBezTo>
                  <a:cubicBezTo>
                    <a:pt x="7826" y="48000"/>
                    <a:pt x="9130" y="45333"/>
                    <a:pt x="9130" y="45333"/>
                  </a:cubicBezTo>
                  <a:cubicBezTo>
                    <a:pt x="9130" y="42666"/>
                    <a:pt x="0" y="45333"/>
                    <a:pt x="1304" y="40000"/>
                  </a:cubicBezTo>
                  <a:cubicBezTo>
                    <a:pt x="2608" y="37333"/>
                    <a:pt x="3913" y="32000"/>
                    <a:pt x="5217" y="29333"/>
                  </a:cubicBezTo>
                  <a:cubicBezTo>
                    <a:pt x="10434" y="26666"/>
                    <a:pt x="5217" y="26666"/>
                    <a:pt x="5217" y="24000"/>
                  </a:cubicBezTo>
                  <a:cubicBezTo>
                    <a:pt x="5217" y="24000"/>
                    <a:pt x="9130" y="18666"/>
                    <a:pt x="10434" y="18666"/>
                  </a:cubicBezTo>
                  <a:cubicBezTo>
                    <a:pt x="13043" y="16000"/>
                    <a:pt x="14347" y="13333"/>
                    <a:pt x="16956" y="10666"/>
                  </a:cubicBezTo>
                  <a:cubicBezTo>
                    <a:pt x="22173" y="5333"/>
                    <a:pt x="26086" y="2666"/>
                    <a:pt x="31304" y="2666"/>
                  </a:cubicBezTo>
                  <a:cubicBezTo>
                    <a:pt x="37826" y="2666"/>
                    <a:pt x="31304" y="18666"/>
                    <a:pt x="31304" y="18666"/>
                  </a:cubicBezTo>
                  <a:cubicBezTo>
                    <a:pt x="33913" y="21333"/>
                    <a:pt x="36521" y="21333"/>
                    <a:pt x="37826" y="18666"/>
                  </a:cubicBezTo>
                  <a:cubicBezTo>
                    <a:pt x="39130" y="18666"/>
                    <a:pt x="39130" y="10666"/>
                    <a:pt x="40434" y="10666"/>
                  </a:cubicBezTo>
                  <a:cubicBezTo>
                    <a:pt x="43043" y="10666"/>
                    <a:pt x="48260" y="10666"/>
                    <a:pt x="50869" y="16000"/>
                  </a:cubicBezTo>
                  <a:cubicBezTo>
                    <a:pt x="54782" y="21333"/>
                    <a:pt x="45652" y="29333"/>
                    <a:pt x="52173" y="26666"/>
                  </a:cubicBezTo>
                  <a:cubicBezTo>
                    <a:pt x="53478" y="26666"/>
                    <a:pt x="54782" y="24000"/>
                    <a:pt x="56086" y="21333"/>
                  </a:cubicBezTo>
                  <a:cubicBezTo>
                    <a:pt x="57391" y="21333"/>
                    <a:pt x="57391" y="21333"/>
                    <a:pt x="58695" y="21333"/>
                  </a:cubicBezTo>
                  <a:cubicBezTo>
                    <a:pt x="60000" y="21333"/>
                    <a:pt x="60000" y="21333"/>
                    <a:pt x="61304" y="24000"/>
                  </a:cubicBezTo>
                  <a:cubicBezTo>
                    <a:pt x="62608" y="24000"/>
                    <a:pt x="62608" y="18666"/>
                    <a:pt x="62608" y="16000"/>
                  </a:cubicBezTo>
                  <a:cubicBezTo>
                    <a:pt x="61304" y="16000"/>
                    <a:pt x="57391" y="10666"/>
                    <a:pt x="56086" y="10666"/>
                  </a:cubicBezTo>
                  <a:cubicBezTo>
                    <a:pt x="58695" y="8000"/>
                    <a:pt x="63913" y="13333"/>
                    <a:pt x="65217" y="16000"/>
                  </a:cubicBezTo>
                  <a:cubicBezTo>
                    <a:pt x="69130" y="18666"/>
                    <a:pt x="69130" y="21333"/>
                    <a:pt x="70434" y="26666"/>
                  </a:cubicBezTo>
                  <a:cubicBezTo>
                    <a:pt x="70434" y="29333"/>
                    <a:pt x="70434" y="42666"/>
                    <a:pt x="73043" y="42666"/>
                  </a:cubicBezTo>
                  <a:cubicBezTo>
                    <a:pt x="74347" y="42666"/>
                    <a:pt x="79565" y="42666"/>
                    <a:pt x="78260" y="37333"/>
                  </a:cubicBezTo>
                  <a:cubicBezTo>
                    <a:pt x="76956" y="26666"/>
                    <a:pt x="74347" y="18666"/>
                    <a:pt x="73043" y="8000"/>
                  </a:cubicBezTo>
                  <a:cubicBezTo>
                    <a:pt x="71739" y="0"/>
                    <a:pt x="75652" y="2666"/>
                    <a:pt x="76956" y="2666"/>
                  </a:cubicBezTo>
                  <a:cubicBezTo>
                    <a:pt x="80869" y="5333"/>
                    <a:pt x="80869" y="0"/>
                    <a:pt x="83478" y="2666"/>
                  </a:cubicBezTo>
                  <a:cubicBezTo>
                    <a:pt x="86086" y="8000"/>
                    <a:pt x="90000" y="10666"/>
                    <a:pt x="90000" y="16000"/>
                  </a:cubicBezTo>
                  <a:cubicBezTo>
                    <a:pt x="91304" y="24000"/>
                    <a:pt x="92608" y="29333"/>
                    <a:pt x="95217" y="34666"/>
                  </a:cubicBezTo>
                  <a:cubicBezTo>
                    <a:pt x="96521" y="42666"/>
                    <a:pt x="97826" y="45333"/>
                    <a:pt x="96521" y="50666"/>
                  </a:cubicBezTo>
                  <a:cubicBezTo>
                    <a:pt x="95217" y="58666"/>
                    <a:pt x="99130" y="66666"/>
                    <a:pt x="101739" y="69333"/>
                  </a:cubicBezTo>
                  <a:cubicBezTo>
                    <a:pt x="103043" y="69333"/>
                    <a:pt x="105652" y="69333"/>
                    <a:pt x="106956" y="69333"/>
                  </a:cubicBezTo>
                  <a:cubicBezTo>
                    <a:pt x="108260" y="72000"/>
                    <a:pt x="109565" y="74666"/>
                    <a:pt x="110869" y="74666"/>
                  </a:cubicBezTo>
                  <a:cubicBezTo>
                    <a:pt x="114782" y="77333"/>
                    <a:pt x="120000" y="77333"/>
                    <a:pt x="120000" y="88000"/>
                  </a:cubicBezTo>
                  <a:cubicBezTo>
                    <a:pt x="120000" y="93333"/>
                    <a:pt x="108260" y="85333"/>
                    <a:pt x="108260" y="85333"/>
                  </a:cubicBezTo>
                  <a:cubicBezTo>
                    <a:pt x="108260" y="88000"/>
                    <a:pt x="108260" y="90666"/>
                    <a:pt x="108260" y="93333"/>
                  </a:cubicBezTo>
                  <a:cubicBezTo>
                    <a:pt x="108260" y="93333"/>
                    <a:pt x="104347" y="93333"/>
                    <a:pt x="104347" y="93333"/>
                  </a:cubicBezTo>
                  <a:cubicBezTo>
                    <a:pt x="105652" y="93333"/>
                    <a:pt x="105652" y="96000"/>
                    <a:pt x="105652" y="96000"/>
                  </a:cubicBezTo>
                  <a:cubicBezTo>
                    <a:pt x="105652" y="98666"/>
                    <a:pt x="105652" y="101333"/>
                    <a:pt x="105652" y="101333"/>
                  </a:cubicBezTo>
                  <a:cubicBezTo>
                    <a:pt x="105652" y="101333"/>
                    <a:pt x="110869" y="96000"/>
                    <a:pt x="110869" y="96000"/>
                  </a:cubicBezTo>
                  <a:cubicBezTo>
                    <a:pt x="113478" y="96000"/>
                    <a:pt x="112173" y="98666"/>
                    <a:pt x="112173" y="101333"/>
                  </a:cubicBezTo>
                  <a:cubicBezTo>
                    <a:pt x="112173" y="101333"/>
                    <a:pt x="114782" y="101333"/>
                    <a:pt x="116086" y="104000"/>
                  </a:cubicBezTo>
                  <a:cubicBezTo>
                    <a:pt x="116086" y="104000"/>
                    <a:pt x="108260" y="109333"/>
                    <a:pt x="108260" y="109333"/>
                  </a:cubicBezTo>
                  <a:cubicBezTo>
                    <a:pt x="105652" y="109333"/>
                    <a:pt x="112173" y="109333"/>
                    <a:pt x="108260" y="109333"/>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77" name="Shape 2451">
              <a:extLst>
                <a:ext uri="{FF2B5EF4-FFF2-40B4-BE49-F238E27FC236}">
                  <a16:creationId xmlns:a16="http://schemas.microsoft.com/office/drawing/2014/main" id="{7EB304D2-2B3E-DA45-8FD4-A825B90DB1F8}"/>
                </a:ext>
              </a:extLst>
            </p:cNvPr>
            <p:cNvSpPr/>
            <p:nvPr/>
          </p:nvSpPr>
          <p:spPr>
            <a:xfrm>
              <a:off x="6709732" y="4738953"/>
              <a:ext cx="130573" cy="86009"/>
            </a:xfrm>
            <a:custGeom>
              <a:avLst/>
              <a:gdLst/>
              <a:ahLst/>
              <a:cxnLst/>
              <a:rect l="0" t="0" r="0" b="0"/>
              <a:pathLst>
                <a:path w="120000" h="120000" extrusionOk="0">
                  <a:moveTo>
                    <a:pt x="77142" y="106666"/>
                  </a:moveTo>
                  <a:cubicBezTo>
                    <a:pt x="59999" y="106666"/>
                    <a:pt x="51428" y="66666"/>
                    <a:pt x="42857" y="66666"/>
                  </a:cubicBezTo>
                  <a:cubicBezTo>
                    <a:pt x="34285" y="53333"/>
                    <a:pt x="0" y="40000"/>
                    <a:pt x="0" y="40000"/>
                  </a:cubicBezTo>
                  <a:cubicBezTo>
                    <a:pt x="8571" y="26666"/>
                    <a:pt x="25714" y="13333"/>
                    <a:pt x="34285" y="0"/>
                  </a:cubicBezTo>
                  <a:cubicBezTo>
                    <a:pt x="51428" y="0"/>
                    <a:pt x="68571" y="0"/>
                    <a:pt x="85714" y="13333"/>
                  </a:cubicBezTo>
                  <a:cubicBezTo>
                    <a:pt x="102857" y="26666"/>
                    <a:pt x="119999" y="26666"/>
                    <a:pt x="102857" y="53333"/>
                  </a:cubicBezTo>
                  <a:cubicBezTo>
                    <a:pt x="94285" y="66666"/>
                    <a:pt x="85714" y="120000"/>
                    <a:pt x="77142" y="106666"/>
                  </a:cubicBezTo>
                  <a:cubicBezTo>
                    <a:pt x="68571" y="106666"/>
                    <a:pt x="77142" y="106666"/>
                    <a:pt x="77142" y="106666"/>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78" name="Shape 2452">
              <a:extLst>
                <a:ext uri="{FF2B5EF4-FFF2-40B4-BE49-F238E27FC236}">
                  <a16:creationId xmlns:a16="http://schemas.microsoft.com/office/drawing/2014/main" id="{E76A645C-5FE2-7449-82EF-AFFC195C452F}"/>
                </a:ext>
              </a:extLst>
            </p:cNvPr>
            <p:cNvSpPr/>
            <p:nvPr/>
          </p:nvSpPr>
          <p:spPr>
            <a:xfrm>
              <a:off x="6916738" y="4700725"/>
              <a:ext cx="296177" cy="273957"/>
            </a:xfrm>
            <a:custGeom>
              <a:avLst/>
              <a:gdLst/>
              <a:ahLst/>
              <a:cxnLst/>
              <a:rect l="0" t="0" r="0" b="0"/>
              <a:pathLst>
                <a:path w="120000" h="120000" extrusionOk="0">
                  <a:moveTo>
                    <a:pt x="67500" y="111724"/>
                  </a:moveTo>
                  <a:cubicBezTo>
                    <a:pt x="56250" y="103448"/>
                    <a:pt x="48750" y="86896"/>
                    <a:pt x="37500" y="78620"/>
                  </a:cubicBezTo>
                  <a:cubicBezTo>
                    <a:pt x="26250" y="74482"/>
                    <a:pt x="15000" y="66206"/>
                    <a:pt x="3750" y="62068"/>
                  </a:cubicBezTo>
                  <a:cubicBezTo>
                    <a:pt x="0" y="57931"/>
                    <a:pt x="0" y="57931"/>
                    <a:pt x="0" y="53793"/>
                  </a:cubicBezTo>
                  <a:cubicBezTo>
                    <a:pt x="0" y="41379"/>
                    <a:pt x="7500" y="45517"/>
                    <a:pt x="15000" y="49655"/>
                  </a:cubicBezTo>
                  <a:cubicBezTo>
                    <a:pt x="22500" y="53793"/>
                    <a:pt x="30000" y="62068"/>
                    <a:pt x="41250" y="57931"/>
                  </a:cubicBezTo>
                  <a:cubicBezTo>
                    <a:pt x="45000" y="57931"/>
                    <a:pt x="41250" y="49655"/>
                    <a:pt x="41250" y="49655"/>
                  </a:cubicBezTo>
                  <a:cubicBezTo>
                    <a:pt x="41250" y="45517"/>
                    <a:pt x="48750" y="49655"/>
                    <a:pt x="48750" y="45517"/>
                  </a:cubicBezTo>
                  <a:cubicBezTo>
                    <a:pt x="52500" y="41379"/>
                    <a:pt x="26250" y="33103"/>
                    <a:pt x="26250" y="33103"/>
                  </a:cubicBezTo>
                  <a:cubicBezTo>
                    <a:pt x="18750" y="28965"/>
                    <a:pt x="22500" y="24827"/>
                    <a:pt x="26250" y="24827"/>
                  </a:cubicBezTo>
                  <a:cubicBezTo>
                    <a:pt x="33750" y="20689"/>
                    <a:pt x="33750" y="24827"/>
                    <a:pt x="37500" y="28965"/>
                  </a:cubicBezTo>
                  <a:cubicBezTo>
                    <a:pt x="37500" y="28965"/>
                    <a:pt x="41250" y="20689"/>
                    <a:pt x="41250" y="20689"/>
                  </a:cubicBezTo>
                  <a:cubicBezTo>
                    <a:pt x="45000" y="20689"/>
                    <a:pt x="30000" y="16551"/>
                    <a:pt x="30000" y="16551"/>
                  </a:cubicBezTo>
                  <a:cubicBezTo>
                    <a:pt x="30000" y="16551"/>
                    <a:pt x="37500" y="12413"/>
                    <a:pt x="37500" y="12413"/>
                  </a:cubicBezTo>
                  <a:cubicBezTo>
                    <a:pt x="41250" y="12413"/>
                    <a:pt x="48750" y="16551"/>
                    <a:pt x="52500" y="16551"/>
                  </a:cubicBezTo>
                  <a:cubicBezTo>
                    <a:pt x="52500" y="16551"/>
                    <a:pt x="48750" y="12413"/>
                    <a:pt x="48750" y="12413"/>
                  </a:cubicBezTo>
                  <a:cubicBezTo>
                    <a:pt x="52500" y="8275"/>
                    <a:pt x="67500" y="20689"/>
                    <a:pt x="71250" y="20689"/>
                  </a:cubicBezTo>
                  <a:cubicBezTo>
                    <a:pt x="75000" y="16551"/>
                    <a:pt x="67500" y="16551"/>
                    <a:pt x="67500" y="12413"/>
                  </a:cubicBezTo>
                  <a:cubicBezTo>
                    <a:pt x="67500" y="12413"/>
                    <a:pt x="71250" y="12413"/>
                    <a:pt x="71250" y="12413"/>
                  </a:cubicBezTo>
                  <a:cubicBezTo>
                    <a:pt x="71250" y="12413"/>
                    <a:pt x="63750" y="12413"/>
                    <a:pt x="63750" y="8275"/>
                  </a:cubicBezTo>
                  <a:cubicBezTo>
                    <a:pt x="63750" y="8275"/>
                    <a:pt x="90000" y="0"/>
                    <a:pt x="93750" y="4137"/>
                  </a:cubicBezTo>
                  <a:cubicBezTo>
                    <a:pt x="97500" y="4137"/>
                    <a:pt x="86250" y="8275"/>
                    <a:pt x="86250" y="12413"/>
                  </a:cubicBezTo>
                  <a:cubicBezTo>
                    <a:pt x="90000" y="16551"/>
                    <a:pt x="101250" y="12413"/>
                    <a:pt x="105000" y="16551"/>
                  </a:cubicBezTo>
                  <a:cubicBezTo>
                    <a:pt x="105000" y="20689"/>
                    <a:pt x="90000" y="28965"/>
                    <a:pt x="101250" y="28965"/>
                  </a:cubicBezTo>
                  <a:cubicBezTo>
                    <a:pt x="105000" y="28965"/>
                    <a:pt x="101250" y="33103"/>
                    <a:pt x="97500" y="33103"/>
                  </a:cubicBezTo>
                  <a:cubicBezTo>
                    <a:pt x="93750" y="33103"/>
                    <a:pt x="90000" y="33103"/>
                    <a:pt x="86250" y="41379"/>
                  </a:cubicBezTo>
                  <a:cubicBezTo>
                    <a:pt x="86250" y="41379"/>
                    <a:pt x="78750" y="53793"/>
                    <a:pt x="78750" y="53793"/>
                  </a:cubicBezTo>
                  <a:cubicBezTo>
                    <a:pt x="82500" y="53793"/>
                    <a:pt x="86250" y="45517"/>
                    <a:pt x="90000" y="45517"/>
                  </a:cubicBezTo>
                  <a:cubicBezTo>
                    <a:pt x="93750" y="45517"/>
                    <a:pt x="93750" y="49655"/>
                    <a:pt x="97500" y="53793"/>
                  </a:cubicBezTo>
                  <a:cubicBezTo>
                    <a:pt x="101250" y="53793"/>
                    <a:pt x="112500" y="70344"/>
                    <a:pt x="108750" y="53793"/>
                  </a:cubicBezTo>
                  <a:cubicBezTo>
                    <a:pt x="108750" y="49655"/>
                    <a:pt x="101250" y="45517"/>
                    <a:pt x="105000" y="41379"/>
                  </a:cubicBezTo>
                  <a:cubicBezTo>
                    <a:pt x="108750" y="41379"/>
                    <a:pt x="112500" y="41379"/>
                    <a:pt x="112500" y="45517"/>
                  </a:cubicBezTo>
                  <a:cubicBezTo>
                    <a:pt x="112500" y="49655"/>
                    <a:pt x="108750" y="53793"/>
                    <a:pt x="112500" y="57931"/>
                  </a:cubicBezTo>
                  <a:cubicBezTo>
                    <a:pt x="116250" y="62068"/>
                    <a:pt x="120000" y="66206"/>
                    <a:pt x="116250" y="70344"/>
                  </a:cubicBezTo>
                  <a:cubicBezTo>
                    <a:pt x="108750" y="78620"/>
                    <a:pt x="120000" y="91034"/>
                    <a:pt x="105000" y="95172"/>
                  </a:cubicBezTo>
                  <a:cubicBezTo>
                    <a:pt x="105000" y="95172"/>
                    <a:pt x="78750" y="103448"/>
                    <a:pt x="82500" y="95172"/>
                  </a:cubicBezTo>
                  <a:cubicBezTo>
                    <a:pt x="82500" y="91034"/>
                    <a:pt x="78750" y="91034"/>
                    <a:pt x="78750" y="95172"/>
                  </a:cubicBezTo>
                  <a:cubicBezTo>
                    <a:pt x="82500" y="99310"/>
                    <a:pt x="82500" y="103448"/>
                    <a:pt x="86250" y="107586"/>
                  </a:cubicBezTo>
                  <a:cubicBezTo>
                    <a:pt x="86250" y="115862"/>
                    <a:pt x="71250" y="111724"/>
                    <a:pt x="67500" y="111724"/>
                  </a:cubicBezTo>
                  <a:cubicBezTo>
                    <a:pt x="63750" y="107586"/>
                    <a:pt x="82500" y="120000"/>
                    <a:pt x="67500" y="111724"/>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79" name="Shape 2453">
              <a:extLst>
                <a:ext uri="{FF2B5EF4-FFF2-40B4-BE49-F238E27FC236}">
                  <a16:creationId xmlns:a16="http://schemas.microsoft.com/office/drawing/2014/main" id="{59245DAD-FFEA-644E-97C6-42DC707A9BB7}"/>
                </a:ext>
              </a:extLst>
            </p:cNvPr>
            <p:cNvSpPr/>
            <p:nvPr/>
          </p:nvSpPr>
          <p:spPr>
            <a:xfrm>
              <a:off x="7232023" y="4700725"/>
              <a:ext cx="261145" cy="207060"/>
            </a:xfrm>
            <a:custGeom>
              <a:avLst/>
              <a:gdLst/>
              <a:ahLst/>
              <a:cxnLst/>
              <a:rect l="0" t="0" r="0" b="0"/>
              <a:pathLst>
                <a:path w="120000" h="120000" extrusionOk="0">
                  <a:moveTo>
                    <a:pt x="29999" y="120000"/>
                  </a:moveTo>
                  <a:cubicBezTo>
                    <a:pt x="21428" y="114545"/>
                    <a:pt x="12857" y="114545"/>
                    <a:pt x="12857" y="103636"/>
                  </a:cubicBezTo>
                  <a:cubicBezTo>
                    <a:pt x="12857" y="87272"/>
                    <a:pt x="0" y="76363"/>
                    <a:pt x="4285" y="60000"/>
                  </a:cubicBezTo>
                  <a:cubicBezTo>
                    <a:pt x="4285" y="49090"/>
                    <a:pt x="0" y="32727"/>
                    <a:pt x="4285" y="21818"/>
                  </a:cubicBezTo>
                  <a:cubicBezTo>
                    <a:pt x="8571" y="21818"/>
                    <a:pt x="25714" y="27272"/>
                    <a:pt x="25714" y="21818"/>
                  </a:cubicBezTo>
                  <a:cubicBezTo>
                    <a:pt x="25714" y="16363"/>
                    <a:pt x="0" y="16363"/>
                    <a:pt x="21428" y="5454"/>
                  </a:cubicBezTo>
                  <a:cubicBezTo>
                    <a:pt x="38571" y="0"/>
                    <a:pt x="51428" y="5454"/>
                    <a:pt x="68571" y="10909"/>
                  </a:cubicBezTo>
                  <a:cubicBezTo>
                    <a:pt x="81428" y="10909"/>
                    <a:pt x="94285" y="10909"/>
                    <a:pt x="107142" y="16363"/>
                  </a:cubicBezTo>
                  <a:cubicBezTo>
                    <a:pt x="119999" y="21818"/>
                    <a:pt x="107142" y="32727"/>
                    <a:pt x="98571" y="43636"/>
                  </a:cubicBezTo>
                  <a:cubicBezTo>
                    <a:pt x="94285" y="54545"/>
                    <a:pt x="89999" y="65454"/>
                    <a:pt x="81428" y="70909"/>
                  </a:cubicBezTo>
                  <a:cubicBezTo>
                    <a:pt x="77142" y="81818"/>
                    <a:pt x="59999" y="70909"/>
                    <a:pt x="51428" y="70909"/>
                  </a:cubicBezTo>
                  <a:cubicBezTo>
                    <a:pt x="51428" y="70909"/>
                    <a:pt x="38571" y="70909"/>
                    <a:pt x="42857" y="76363"/>
                  </a:cubicBezTo>
                  <a:cubicBezTo>
                    <a:pt x="42857" y="81818"/>
                    <a:pt x="51428" y="81818"/>
                    <a:pt x="47142" y="92727"/>
                  </a:cubicBezTo>
                  <a:cubicBezTo>
                    <a:pt x="42857" y="92727"/>
                    <a:pt x="34285" y="120000"/>
                    <a:pt x="29999" y="120000"/>
                  </a:cubicBezTo>
                  <a:cubicBezTo>
                    <a:pt x="21428" y="114545"/>
                    <a:pt x="34285" y="120000"/>
                    <a:pt x="29999" y="12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80" name="Shape 2454">
              <a:extLst>
                <a:ext uri="{FF2B5EF4-FFF2-40B4-BE49-F238E27FC236}">
                  <a16:creationId xmlns:a16="http://schemas.microsoft.com/office/drawing/2014/main" id="{1A3BD202-EA04-7D4E-B089-1BFD67518EAA}"/>
                </a:ext>
              </a:extLst>
            </p:cNvPr>
            <p:cNvSpPr/>
            <p:nvPr/>
          </p:nvSpPr>
          <p:spPr>
            <a:xfrm>
              <a:off x="5833935" y="4675242"/>
              <a:ext cx="503185" cy="308997"/>
            </a:xfrm>
            <a:custGeom>
              <a:avLst/>
              <a:gdLst/>
              <a:ahLst/>
              <a:cxnLst/>
              <a:rect l="0" t="0" r="0" b="0"/>
              <a:pathLst>
                <a:path w="120000" h="120000" extrusionOk="0">
                  <a:moveTo>
                    <a:pt x="115555" y="36363"/>
                  </a:moveTo>
                  <a:cubicBezTo>
                    <a:pt x="111111" y="29090"/>
                    <a:pt x="106666" y="21818"/>
                    <a:pt x="100000" y="14545"/>
                  </a:cubicBezTo>
                  <a:cubicBezTo>
                    <a:pt x="97777" y="14545"/>
                    <a:pt x="93333" y="10909"/>
                    <a:pt x="91111" y="10909"/>
                  </a:cubicBezTo>
                  <a:cubicBezTo>
                    <a:pt x="84444" y="7272"/>
                    <a:pt x="82222" y="10909"/>
                    <a:pt x="77777" y="14545"/>
                  </a:cubicBezTo>
                  <a:cubicBezTo>
                    <a:pt x="75555" y="14545"/>
                    <a:pt x="73333" y="10909"/>
                    <a:pt x="71111" y="10909"/>
                  </a:cubicBezTo>
                  <a:cubicBezTo>
                    <a:pt x="68888" y="7272"/>
                    <a:pt x="64444" y="7272"/>
                    <a:pt x="60000" y="3636"/>
                  </a:cubicBezTo>
                  <a:cubicBezTo>
                    <a:pt x="55555" y="3636"/>
                    <a:pt x="48888" y="0"/>
                    <a:pt x="44444" y="0"/>
                  </a:cubicBezTo>
                  <a:cubicBezTo>
                    <a:pt x="37777" y="0"/>
                    <a:pt x="31111" y="3636"/>
                    <a:pt x="24444" y="3636"/>
                  </a:cubicBezTo>
                  <a:cubicBezTo>
                    <a:pt x="20000" y="7272"/>
                    <a:pt x="13333" y="3636"/>
                    <a:pt x="17777" y="10909"/>
                  </a:cubicBezTo>
                  <a:cubicBezTo>
                    <a:pt x="22222" y="25454"/>
                    <a:pt x="22222" y="29090"/>
                    <a:pt x="15555" y="40000"/>
                  </a:cubicBezTo>
                  <a:cubicBezTo>
                    <a:pt x="11111" y="47272"/>
                    <a:pt x="15555" y="50909"/>
                    <a:pt x="15555" y="54545"/>
                  </a:cubicBezTo>
                  <a:cubicBezTo>
                    <a:pt x="13333" y="58181"/>
                    <a:pt x="8888" y="58181"/>
                    <a:pt x="8888" y="65454"/>
                  </a:cubicBezTo>
                  <a:cubicBezTo>
                    <a:pt x="6666" y="72727"/>
                    <a:pt x="2222" y="80000"/>
                    <a:pt x="0" y="87272"/>
                  </a:cubicBezTo>
                  <a:cubicBezTo>
                    <a:pt x="0" y="90909"/>
                    <a:pt x="13333" y="94545"/>
                    <a:pt x="15555" y="94545"/>
                  </a:cubicBezTo>
                  <a:cubicBezTo>
                    <a:pt x="22222" y="101818"/>
                    <a:pt x="26666" y="116363"/>
                    <a:pt x="33333" y="116363"/>
                  </a:cubicBezTo>
                  <a:cubicBezTo>
                    <a:pt x="35555" y="120000"/>
                    <a:pt x="40000" y="112727"/>
                    <a:pt x="42222" y="109090"/>
                  </a:cubicBezTo>
                  <a:cubicBezTo>
                    <a:pt x="46666" y="105454"/>
                    <a:pt x="51111" y="109090"/>
                    <a:pt x="55555" y="105454"/>
                  </a:cubicBezTo>
                  <a:cubicBezTo>
                    <a:pt x="60000" y="105454"/>
                    <a:pt x="60000" y="101818"/>
                    <a:pt x="62222" y="94545"/>
                  </a:cubicBezTo>
                  <a:cubicBezTo>
                    <a:pt x="62222" y="87272"/>
                    <a:pt x="62222" y="83636"/>
                    <a:pt x="68888" y="76363"/>
                  </a:cubicBezTo>
                  <a:cubicBezTo>
                    <a:pt x="73333" y="72727"/>
                    <a:pt x="75555" y="65454"/>
                    <a:pt x="82222" y="61818"/>
                  </a:cubicBezTo>
                  <a:cubicBezTo>
                    <a:pt x="88888" y="54545"/>
                    <a:pt x="95555" y="50909"/>
                    <a:pt x="102222" y="47272"/>
                  </a:cubicBezTo>
                  <a:cubicBezTo>
                    <a:pt x="102222" y="47272"/>
                    <a:pt x="117777" y="36363"/>
                    <a:pt x="115555" y="36363"/>
                  </a:cubicBezTo>
                  <a:cubicBezTo>
                    <a:pt x="113333" y="32727"/>
                    <a:pt x="120000" y="40000"/>
                    <a:pt x="115555" y="36363"/>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81" name="Shape 2455">
              <a:extLst>
                <a:ext uri="{FF2B5EF4-FFF2-40B4-BE49-F238E27FC236}">
                  <a16:creationId xmlns:a16="http://schemas.microsoft.com/office/drawing/2014/main" id="{A6811051-0BA0-6840-8F0F-1F0F190C064E}"/>
                </a:ext>
              </a:extLst>
            </p:cNvPr>
            <p:cNvSpPr/>
            <p:nvPr/>
          </p:nvSpPr>
          <p:spPr>
            <a:xfrm>
              <a:off x="6811641" y="4589232"/>
              <a:ext cx="66878" cy="38226"/>
            </a:xfrm>
            <a:custGeom>
              <a:avLst/>
              <a:gdLst/>
              <a:ahLst/>
              <a:cxnLst/>
              <a:rect l="0" t="0" r="0" b="0"/>
              <a:pathLst>
                <a:path w="120000" h="120000" extrusionOk="0">
                  <a:moveTo>
                    <a:pt x="68571" y="120000"/>
                  </a:moveTo>
                  <a:cubicBezTo>
                    <a:pt x="51428" y="120000"/>
                    <a:pt x="17142" y="120000"/>
                    <a:pt x="17142" y="90000"/>
                  </a:cubicBezTo>
                  <a:cubicBezTo>
                    <a:pt x="0" y="60000"/>
                    <a:pt x="51428" y="0"/>
                    <a:pt x="51428" y="0"/>
                  </a:cubicBezTo>
                  <a:cubicBezTo>
                    <a:pt x="102857" y="0"/>
                    <a:pt x="119999" y="120000"/>
                    <a:pt x="68571" y="120000"/>
                  </a:cubicBezTo>
                  <a:cubicBezTo>
                    <a:pt x="17142" y="90000"/>
                    <a:pt x="102857" y="120000"/>
                    <a:pt x="68571" y="12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82" name="Shape 2456">
              <a:extLst>
                <a:ext uri="{FF2B5EF4-FFF2-40B4-BE49-F238E27FC236}">
                  <a16:creationId xmlns:a16="http://schemas.microsoft.com/office/drawing/2014/main" id="{E4AA2A99-EF60-7446-8BBA-A929ABAAEA41}"/>
                </a:ext>
              </a:extLst>
            </p:cNvPr>
            <p:cNvSpPr/>
            <p:nvPr/>
          </p:nvSpPr>
          <p:spPr>
            <a:xfrm>
              <a:off x="6235209" y="4420400"/>
              <a:ext cx="560507" cy="264400"/>
            </a:xfrm>
            <a:custGeom>
              <a:avLst/>
              <a:gdLst/>
              <a:ahLst/>
              <a:cxnLst/>
              <a:rect l="0" t="0" r="0" b="0"/>
              <a:pathLst>
                <a:path w="120000" h="120000" extrusionOk="0">
                  <a:moveTo>
                    <a:pt x="100000" y="94285"/>
                  </a:moveTo>
                  <a:cubicBezTo>
                    <a:pt x="98000" y="94285"/>
                    <a:pt x="98000" y="89999"/>
                    <a:pt x="96000" y="89999"/>
                  </a:cubicBezTo>
                  <a:cubicBezTo>
                    <a:pt x="96000" y="89999"/>
                    <a:pt x="92000" y="94285"/>
                    <a:pt x="92000" y="98571"/>
                  </a:cubicBezTo>
                  <a:cubicBezTo>
                    <a:pt x="90000" y="98571"/>
                    <a:pt x="88000" y="98571"/>
                    <a:pt x="86000" y="94285"/>
                  </a:cubicBezTo>
                  <a:cubicBezTo>
                    <a:pt x="84000" y="94285"/>
                    <a:pt x="82000" y="94285"/>
                    <a:pt x="80000" y="98571"/>
                  </a:cubicBezTo>
                  <a:cubicBezTo>
                    <a:pt x="70000" y="107142"/>
                    <a:pt x="60000" y="111428"/>
                    <a:pt x="48000" y="115714"/>
                  </a:cubicBezTo>
                  <a:cubicBezTo>
                    <a:pt x="46000" y="115714"/>
                    <a:pt x="40000" y="119999"/>
                    <a:pt x="38000" y="119999"/>
                  </a:cubicBezTo>
                  <a:cubicBezTo>
                    <a:pt x="34000" y="115714"/>
                    <a:pt x="26000" y="111428"/>
                    <a:pt x="34000" y="102857"/>
                  </a:cubicBezTo>
                  <a:cubicBezTo>
                    <a:pt x="38000" y="102857"/>
                    <a:pt x="44000" y="94285"/>
                    <a:pt x="48000" y="94285"/>
                  </a:cubicBezTo>
                  <a:cubicBezTo>
                    <a:pt x="52000" y="94285"/>
                    <a:pt x="56000" y="94285"/>
                    <a:pt x="58000" y="94285"/>
                  </a:cubicBezTo>
                  <a:cubicBezTo>
                    <a:pt x="58000" y="94285"/>
                    <a:pt x="64000" y="85714"/>
                    <a:pt x="62000" y="85714"/>
                  </a:cubicBezTo>
                  <a:cubicBezTo>
                    <a:pt x="60000" y="81428"/>
                    <a:pt x="50000" y="85714"/>
                    <a:pt x="48000" y="85714"/>
                  </a:cubicBezTo>
                  <a:cubicBezTo>
                    <a:pt x="44000" y="89999"/>
                    <a:pt x="42000" y="89999"/>
                    <a:pt x="38000" y="89999"/>
                  </a:cubicBezTo>
                  <a:cubicBezTo>
                    <a:pt x="34000" y="89999"/>
                    <a:pt x="38000" y="85714"/>
                    <a:pt x="38000" y="81428"/>
                  </a:cubicBezTo>
                  <a:cubicBezTo>
                    <a:pt x="38000" y="68571"/>
                    <a:pt x="26000" y="89999"/>
                    <a:pt x="24000" y="89999"/>
                  </a:cubicBezTo>
                  <a:cubicBezTo>
                    <a:pt x="24000" y="89999"/>
                    <a:pt x="22000" y="94285"/>
                    <a:pt x="22000" y="94285"/>
                  </a:cubicBezTo>
                  <a:cubicBezTo>
                    <a:pt x="18000" y="85714"/>
                    <a:pt x="18000" y="94285"/>
                    <a:pt x="18000" y="98571"/>
                  </a:cubicBezTo>
                  <a:cubicBezTo>
                    <a:pt x="18000" y="98571"/>
                    <a:pt x="12000" y="89999"/>
                    <a:pt x="10000" y="89999"/>
                  </a:cubicBezTo>
                  <a:cubicBezTo>
                    <a:pt x="8000" y="89999"/>
                    <a:pt x="0" y="94285"/>
                    <a:pt x="0" y="85714"/>
                  </a:cubicBezTo>
                  <a:cubicBezTo>
                    <a:pt x="0" y="77142"/>
                    <a:pt x="4000" y="81428"/>
                    <a:pt x="8000" y="77142"/>
                  </a:cubicBezTo>
                  <a:cubicBezTo>
                    <a:pt x="12000" y="77142"/>
                    <a:pt x="16000" y="77142"/>
                    <a:pt x="18000" y="72857"/>
                  </a:cubicBezTo>
                  <a:cubicBezTo>
                    <a:pt x="18000" y="72857"/>
                    <a:pt x="24000" y="68571"/>
                    <a:pt x="22000" y="68571"/>
                  </a:cubicBezTo>
                  <a:cubicBezTo>
                    <a:pt x="18000" y="64285"/>
                    <a:pt x="12000" y="68571"/>
                    <a:pt x="10000" y="68571"/>
                  </a:cubicBezTo>
                  <a:cubicBezTo>
                    <a:pt x="4000" y="68571"/>
                    <a:pt x="0" y="59999"/>
                    <a:pt x="8000" y="59999"/>
                  </a:cubicBezTo>
                  <a:cubicBezTo>
                    <a:pt x="12000" y="59999"/>
                    <a:pt x="20000" y="55714"/>
                    <a:pt x="24000" y="55714"/>
                  </a:cubicBezTo>
                  <a:cubicBezTo>
                    <a:pt x="22000" y="55714"/>
                    <a:pt x="8000" y="59999"/>
                    <a:pt x="8000" y="51428"/>
                  </a:cubicBezTo>
                  <a:cubicBezTo>
                    <a:pt x="6000" y="42857"/>
                    <a:pt x="24000" y="47142"/>
                    <a:pt x="26000" y="42857"/>
                  </a:cubicBezTo>
                  <a:cubicBezTo>
                    <a:pt x="26000" y="42857"/>
                    <a:pt x="18000" y="38571"/>
                    <a:pt x="18000" y="34285"/>
                  </a:cubicBezTo>
                  <a:cubicBezTo>
                    <a:pt x="16000" y="29999"/>
                    <a:pt x="28000" y="25714"/>
                    <a:pt x="28000" y="25714"/>
                  </a:cubicBezTo>
                  <a:cubicBezTo>
                    <a:pt x="34000" y="25714"/>
                    <a:pt x="30000" y="42857"/>
                    <a:pt x="34000" y="42857"/>
                  </a:cubicBezTo>
                  <a:cubicBezTo>
                    <a:pt x="40000" y="42857"/>
                    <a:pt x="44000" y="42857"/>
                    <a:pt x="50000" y="47142"/>
                  </a:cubicBezTo>
                  <a:cubicBezTo>
                    <a:pt x="52000" y="51428"/>
                    <a:pt x="56000" y="55714"/>
                    <a:pt x="58000" y="59999"/>
                  </a:cubicBezTo>
                  <a:cubicBezTo>
                    <a:pt x="62000" y="68571"/>
                    <a:pt x="60000" y="72857"/>
                    <a:pt x="64000" y="72857"/>
                  </a:cubicBezTo>
                  <a:cubicBezTo>
                    <a:pt x="70000" y="72857"/>
                    <a:pt x="74000" y="72857"/>
                    <a:pt x="78000" y="68571"/>
                  </a:cubicBezTo>
                  <a:cubicBezTo>
                    <a:pt x="86000" y="64285"/>
                    <a:pt x="74000" y="59999"/>
                    <a:pt x="74000" y="55714"/>
                  </a:cubicBezTo>
                  <a:cubicBezTo>
                    <a:pt x="74000" y="55714"/>
                    <a:pt x="90000" y="51428"/>
                    <a:pt x="76000" y="38571"/>
                  </a:cubicBezTo>
                  <a:cubicBezTo>
                    <a:pt x="74000" y="38571"/>
                    <a:pt x="70000" y="38571"/>
                    <a:pt x="72000" y="34285"/>
                  </a:cubicBezTo>
                  <a:cubicBezTo>
                    <a:pt x="74000" y="29999"/>
                    <a:pt x="76000" y="25714"/>
                    <a:pt x="76000" y="21428"/>
                  </a:cubicBezTo>
                  <a:cubicBezTo>
                    <a:pt x="78000" y="17142"/>
                    <a:pt x="86000" y="0"/>
                    <a:pt x="86000" y="12857"/>
                  </a:cubicBezTo>
                  <a:cubicBezTo>
                    <a:pt x="86000" y="17142"/>
                    <a:pt x="88000" y="21428"/>
                    <a:pt x="88000" y="29999"/>
                  </a:cubicBezTo>
                  <a:cubicBezTo>
                    <a:pt x="90000" y="29999"/>
                    <a:pt x="90000" y="34285"/>
                    <a:pt x="90000" y="38571"/>
                  </a:cubicBezTo>
                  <a:cubicBezTo>
                    <a:pt x="92000" y="42857"/>
                    <a:pt x="88000" y="38571"/>
                    <a:pt x="88000" y="42857"/>
                  </a:cubicBezTo>
                  <a:cubicBezTo>
                    <a:pt x="88000" y="51428"/>
                    <a:pt x="94000" y="42857"/>
                    <a:pt x="94000" y="47142"/>
                  </a:cubicBezTo>
                  <a:cubicBezTo>
                    <a:pt x="94000" y="55714"/>
                    <a:pt x="100000" y="59999"/>
                    <a:pt x="102000" y="59999"/>
                  </a:cubicBezTo>
                  <a:cubicBezTo>
                    <a:pt x="106000" y="59999"/>
                    <a:pt x="106000" y="64285"/>
                    <a:pt x="106000" y="55714"/>
                  </a:cubicBezTo>
                  <a:cubicBezTo>
                    <a:pt x="106000" y="47142"/>
                    <a:pt x="110000" y="47142"/>
                    <a:pt x="114000" y="51428"/>
                  </a:cubicBezTo>
                  <a:cubicBezTo>
                    <a:pt x="116000" y="51428"/>
                    <a:pt x="120000" y="59999"/>
                    <a:pt x="118000" y="64285"/>
                  </a:cubicBezTo>
                  <a:cubicBezTo>
                    <a:pt x="118000" y="68571"/>
                    <a:pt x="116000" y="81428"/>
                    <a:pt x="116000" y="85714"/>
                  </a:cubicBezTo>
                  <a:cubicBezTo>
                    <a:pt x="114000" y="89999"/>
                    <a:pt x="102000" y="94285"/>
                    <a:pt x="100000" y="94285"/>
                  </a:cubicBezTo>
                  <a:cubicBezTo>
                    <a:pt x="96000" y="89999"/>
                    <a:pt x="102000" y="94285"/>
                    <a:pt x="100000" y="94285"/>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83" name="Shape 2457">
              <a:extLst>
                <a:ext uri="{FF2B5EF4-FFF2-40B4-BE49-F238E27FC236}">
                  <a16:creationId xmlns:a16="http://schemas.microsoft.com/office/drawing/2014/main" id="{94807203-1177-0846-B23B-73C3DE1D01E3}"/>
                </a:ext>
              </a:extLst>
            </p:cNvPr>
            <p:cNvSpPr/>
            <p:nvPr/>
          </p:nvSpPr>
          <p:spPr>
            <a:xfrm>
              <a:off x="6139667" y="4525524"/>
              <a:ext cx="95541" cy="63711"/>
            </a:xfrm>
            <a:custGeom>
              <a:avLst/>
              <a:gdLst/>
              <a:ahLst/>
              <a:cxnLst/>
              <a:rect l="0" t="0" r="0" b="0"/>
              <a:pathLst>
                <a:path w="120000" h="120000" extrusionOk="0">
                  <a:moveTo>
                    <a:pt x="108000" y="17142"/>
                  </a:moveTo>
                  <a:cubicBezTo>
                    <a:pt x="96000" y="17142"/>
                    <a:pt x="0" y="85714"/>
                    <a:pt x="0" y="85714"/>
                  </a:cubicBezTo>
                  <a:cubicBezTo>
                    <a:pt x="24000" y="102857"/>
                    <a:pt x="60000" y="119999"/>
                    <a:pt x="72000" y="85714"/>
                  </a:cubicBezTo>
                  <a:cubicBezTo>
                    <a:pt x="84000" y="68571"/>
                    <a:pt x="108000" y="0"/>
                    <a:pt x="108000" y="17142"/>
                  </a:cubicBezTo>
                  <a:cubicBezTo>
                    <a:pt x="84000" y="17142"/>
                    <a:pt x="120000" y="0"/>
                    <a:pt x="108000" y="17142"/>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84" name="Shape 2458">
              <a:extLst>
                <a:ext uri="{FF2B5EF4-FFF2-40B4-BE49-F238E27FC236}">
                  <a16:creationId xmlns:a16="http://schemas.microsoft.com/office/drawing/2014/main" id="{341B5095-0F1E-4E48-9BF5-9B33F5D666E9}"/>
                </a:ext>
              </a:extLst>
            </p:cNvPr>
            <p:cNvSpPr/>
            <p:nvPr/>
          </p:nvSpPr>
          <p:spPr>
            <a:xfrm>
              <a:off x="5974062" y="4385360"/>
              <a:ext cx="343950" cy="159279"/>
            </a:xfrm>
            <a:custGeom>
              <a:avLst/>
              <a:gdLst/>
              <a:ahLst/>
              <a:cxnLst/>
              <a:rect l="0" t="0" r="0" b="0"/>
              <a:pathLst>
                <a:path w="120000" h="120000" extrusionOk="0">
                  <a:moveTo>
                    <a:pt x="97297" y="84705"/>
                  </a:moveTo>
                  <a:cubicBezTo>
                    <a:pt x="94054" y="91764"/>
                    <a:pt x="87567" y="91764"/>
                    <a:pt x="87567" y="91764"/>
                  </a:cubicBezTo>
                  <a:cubicBezTo>
                    <a:pt x="77837" y="91764"/>
                    <a:pt x="81081" y="77647"/>
                    <a:pt x="84324" y="70588"/>
                  </a:cubicBezTo>
                  <a:cubicBezTo>
                    <a:pt x="87567" y="56470"/>
                    <a:pt x="77837" y="49411"/>
                    <a:pt x="74594" y="56470"/>
                  </a:cubicBezTo>
                  <a:cubicBezTo>
                    <a:pt x="74594" y="63529"/>
                    <a:pt x="74594" y="70588"/>
                    <a:pt x="71351" y="70588"/>
                  </a:cubicBezTo>
                  <a:cubicBezTo>
                    <a:pt x="71351" y="70588"/>
                    <a:pt x="68108" y="70588"/>
                    <a:pt x="68108" y="63529"/>
                  </a:cubicBezTo>
                  <a:cubicBezTo>
                    <a:pt x="64864" y="70588"/>
                    <a:pt x="68108" y="84705"/>
                    <a:pt x="64864" y="91764"/>
                  </a:cubicBezTo>
                  <a:cubicBezTo>
                    <a:pt x="61621" y="105882"/>
                    <a:pt x="58378" y="91764"/>
                    <a:pt x="55135" y="98823"/>
                  </a:cubicBezTo>
                  <a:cubicBezTo>
                    <a:pt x="51891" y="98823"/>
                    <a:pt x="55135" y="112941"/>
                    <a:pt x="51891" y="112941"/>
                  </a:cubicBezTo>
                  <a:cubicBezTo>
                    <a:pt x="51891" y="120000"/>
                    <a:pt x="42162" y="120000"/>
                    <a:pt x="38918" y="120000"/>
                  </a:cubicBezTo>
                  <a:cubicBezTo>
                    <a:pt x="35675" y="112941"/>
                    <a:pt x="35675" y="98823"/>
                    <a:pt x="32432" y="105882"/>
                  </a:cubicBezTo>
                  <a:cubicBezTo>
                    <a:pt x="25945" y="112941"/>
                    <a:pt x="22702" y="112941"/>
                    <a:pt x="16216" y="112941"/>
                  </a:cubicBezTo>
                  <a:cubicBezTo>
                    <a:pt x="12972" y="112941"/>
                    <a:pt x="6486" y="120000"/>
                    <a:pt x="3243" y="120000"/>
                  </a:cubicBezTo>
                  <a:cubicBezTo>
                    <a:pt x="0" y="120000"/>
                    <a:pt x="9729" y="98823"/>
                    <a:pt x="6486" y="91764"/>
                  </a:cubicBezTo>
                  <a:cubicBezTo>
                    <a:pt x="6486" y="91764"/>
                    <a:pt x="3243" y="98823"/>
                    <a:pt x="0" y="98823"/>
                  </a:cubicBezTo>
                  <a:cubicBezTo>
                    <a:pt x="0" y="91764"/>
                    <a:pt x="16216" y="84705"/>
                    <a:pt x="19459" y="84705"/>
                  </a:cubicBezTo>
                  <a:cubicBezTo>
                    <a:pt x="25945" y="84705"/>
                    <a:pt x="25945" y="77647"/>
                    <a:pt x="29189" y="70588"/>
                  </a:cubicBezTo>
                  <a:cubicBezTo>
                    <a:pt x="35675" y="56470"/>
                    <a:pt x="38918" y="56470"/>
                    <a:pt x="42162" y="49411"/>
                  </a:cubicBezTo>
                  <a:cubicBezTo>
                    <a:pt x="48648" y="35294"/>
                    <a:pt x="51891" y="21176"/>
                    <a:pt x="58378" y="21176"/>
                  </a:cubicBezTo>
                  <a:cubicBezTo>
                    <a:pt x="64864" y="14117"/>
                    <a:pt x="71351" y="14117"/>
                    <a:pt x="77837" y="21176"/>
                  </a:cubicBezTo>
                  <a:cubicBezTo>
                    <a:pt x="84324" y="21176"/>
                    <a:pt x="94054" y="28235"/>
                    <a:pt x="97297" y="21176"/>
                  </a:cubicBezTo>
                  <a:cubicBezTo>
                    <a:pt x="100540" y="14117"/>
                    <a:pt x="97297" y="0"/>
                    <a:pt x="103783" y="0"/>
                  </a:cubicBezTo>
                  <a:cubicBezTo>
                    <a:pt x="103783" y="0"/>
                    <a:pt x="116756" y="7058"/>
                    <a:pt x="116756" y="14117"/>
                  </a:cubicBezTo>
                  <a:cubicBezTo>
                    <a:pt x="120000" y="14117"/>
                    <a:pt x="110270" y="21176"/>
                    <a:pt x="110270" y="28235"/>
                  </a:cubicBezTo>
                  <a:cubicBezTo>
                    <a:pt x="110270" y="35294"/>
                    <a:pt x="120000" y="42352"/>
                    <a:pt x="110270" y="49411"/>
                  </a:cubicBezTo>
                  <a:cubicBezTo>
                    <a:pt x="107027" y="56470"/>
                    <a:pt x="116756" y="63529"/>
                    <a:pt x="113513" y="63529"/>
                  </a:cubicBezTo>
                  <a:cubicBezTo>
                    <a:pt x="107027" y="70588"/>
                    <a:pt x="103783" y="70588"/>
                    <a:pt x="100540" y="70588"/>
                  </a:cubicBezTo>
                  <a:cubicBezTo>
                    <a:pt x="100540" y="77647"/>
                    <a:pt x="100540" y="77647"/>
                    <a:pt x="97297" y="84705"/>
                  </a:cubicBezTo>
                  <a:cubicBezTo>
                    <a:pt x="94054" y="91764"/>
                    <a:pt x="100540" y="77647"/>
                    <a:pt x="97297" y="84705"/>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85" name="Shape 2459">
              <a:extLst>
                <a:ext uri="{FF2B5EF4-FFF2-40B4-BE49-F238E27FC236}">
                  <a16:creationId xmlns:a16="http://schemas.microsoft.com/office/drawing/2014/main" id="{788EE226-2A74-4348-B895-5BF65BF25C5B}"/>
                </a:ext>
              </a:extLst>
            </p:cNvPr>
            <p:cNvSpPr/>
            <p:nvPr/>
          </p:nvSpPr>
          <p:spPr>
            <a:xfrm>
              <a:off x="6346673" y="4449067"/>
              <a:ext cx="73247" cy="19113"/>
            </a:xfrm>
            <a:custGeom>
              <a:avLst/>
              <a:gdLst/>
              <a:ahLst/>
              <a:cxnLst/>
              <a:rect l="0" t="0" r="0" b="0"/>
              <a:pathLst>
                <a:path w="120000" h="120000" extrusionOk="0">
                  <a:moveTo>
                    <a:pt x="90000" y="120000"/>
                  </a:moveTo>
                  <a:cubicBezTo>
                    <a:pt x="60000" y="120000"/>
                    <a:pt x="0" y="60000"/>
                    <a:pt x="45000" y="0"/>
                  </a:cubicBezTo>
                  <a:cubicBezTo>
                    <a:pt x="75000" y="0"/>
                    <a:pt x="120000" y="120000"/>
                    <a:pt x="90000" y="12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86" name="Shape 2460">
              <a:extLst>
                <a:ext uri="{FF2B5EF4-FFF2-40B4-BE49-F238E27FC236}">
                  <a16:creationId xmlns:a16="http://schemas.microsoft.com/office/drawing/2014/main" id="{20335E70-29CC-014C-94DD-71BB018797EC}"/>
                </a:ext>
              </a:extLst>
            </p:cNvPr>
            <p:cNvSpPr/>
            <p:nvPr/>
          </p:nvSpPr>
          <p:spPr>
            <a:xfrm>
              <a:off x="6410368" y="4318465"/>
              <a:ext cx="197453" cy="92380"/>
            </a:xfrm>
            <a:custGeom>
              <a:avLst/>
              <a:gdLst/>
              <a:ahLst/>
              <a:cxnLst/>
              <a:rect l="0" t="0" r="0" b="0"/>
              <a:pathLst>
                <a:path w="120000" h="120000" extrusionOk="0">
                  <a:moveTo>
                    <a:pt x="40000" y="108000"/>
                  </a:moveTo>
                  <a:cubicBezTo>
                    <a:pt x="34285" y="108000"/>
                    <a:pt x="0" y="72000"/>
                    <a:pt x="11428" y="48000"/>
                  </a:cubicBezTo>
                  <a:cubicBezTo>
                    <a:pt x="22857" y="24000"/>
                    <a:pt x="40000" y="24000"/>
                    <a:pt x="51428" y="24000"/>
                  </a:cubicBezTo>
                  <a:cubicBezTo>
                    <a:pt x="68571" y="12000"/>
                    <a:pt x="85714" y="0"/>
                    <a:pt x="97142" y="0"/>
                  </a:cubicBezTo>
                  <a:cubicBezTo>
                    <a:pt x="102857" y="0"/>
                    <a:pt x="120000" y="12000"/>
                    <a:pt x="108571" y="24000"/>
                  </a:cubicBezTo>
                  <a:cubicBezTo>
                    <a:pt x="102857" y="36000"/>
                    <a:pt x="85714" y="24000"/>
                    <a:pt x="80000" y="48000"/>
                  </a:cubicBezTo>
                  <a:cubicBezTo>
                    <a:pt x="80000" y="48000"/>
                    <a:pt x="108571" y="72000"/>
                    <a:pt x="85714" y="84000"/>
                  </a:cubicBezTo>
                  <a:cubicBezTo>
                    <a:pt x="74285" y="96000"/>
                    <a:pt x="57142" y="120000"/>
                    <a:pt x="40000" y="108000"/>
                  </a:cubicBezTo>
                  <a:cubicBezTo>
                    <a:pt x="28571" y="108000"/>
                    <a:pt x="51428" y="120000"/>
                    <a:pt x="40000" y="108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87" name="Shape 2461">
              <a:extLst>
                <a:ext uri="{FF2B5EF4-FFF2-40B4-BE49-F238E27FC236}">
                  <a16:creationId xmlns:a16="http://schemas.microsoft.com/office/drawing/2014/main" id="{43782C80-87F8-4349-9087-BCC22D8B2418}"/>
                </a:ext>
              </a:extLst>
            </p:cNvPr>
            <p:cNvSpPr/>
            <p:nvPr/>
          </p:nvSpPr>
          <p:spPr>
            <a:xfrm>
              <a:off x="6327564" y="4337576"/>
              <a:ext cx="73247" cy="38226"/>
            </a:xfrm>
            <a:custGeom>
              <a:avLst/>
              <a:gdLst/>
              <a:ahLst/>
              <a:cxnLst/>
              <a:rect l="0" t="0" r="0" b="0"/>
              <a:pathLst>
                <a:path w="120000" h="120000" extrusionOk="0">
                  <a:moveTo>
                    <a:pt x="90000" y="120000"/>
                  </a:moveTo>
                  <a:cubicBezTo>
                    <a:pt x="60000" y="120000"/>
                    <a:pt x="0" y="0"/>
                    <a:pt x="45000" y="0"/>
                  </a:cubicBezTo>
                  <a:cubicBezTo>
                    <a:pt x="90000" y="0"/>
                    <a:pt x="120000" y="90000"/>
                    <a:pt x="90000" y="12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88" name="Shape 2462">
              <a:extLst>
                <a:ext uri="{FF2B5EF4-FFF2-40B4-BE49-F238E27FC236}">
                  <a16:creationId xmlns:a16="http://schemas.microsoft.com/office/drawing/2014/main" id="{AF47F18F-D70A-F24D-AB06-DCF817DA17F7}"/>
                </a:ext>
              </a:extLst>
            </p:cNvPr>
            <p:cNvSpPr/>
            <p:nvPr/>
          </p:nvSpPr>
          <p:spPr>
            <a:xfrm>
              <a:off x="6429477" y="4251565"/>
              <a:ext cx="197453" cy="66896"/>
            </a:xfrm>
            <a:custGeom>
              <a:avLst/>
              <a:gdLst/>
              <a:ahLst/>
              <a:cxnLst/>
              <a:rect l="0" t="0" r="0" b="0"/>
              <a:pathLst>
                <a:path w="120000" h="120000" extrusionOk="0">
                  <a:moveTo>
                    <a:pt x="5714" y="85714"/>
                  </a:moveTo>
                  <a:cubicBezTo>
                    <a:pt x="0" y="85714"/>
                    <a:pt x="17142" y="68571"/>
                    <a:pt x="22857" y="68571"/>
                  </a:cubicBezTo>
                  <a:cubicBezTo>
                    <a:pt x="34285" y="51428"/>
                    <a:pt x="40000" y="34285"/>
                    <a:pt x="51428" y="17142"/>
                  </a:cubicBezTo>
                  <a:cubicBezTo>
                    <a:pt x="68571" y="0"/>
                    <a:pt x="85714" y="17142"/>
                    <a:pt x="102857" y="51428"/>
                  </a:cubicBezTo>
                  <a:cubicBezTo>
                    <a:pt x="120000" y="102857"/>
                    <a:pt x="68571" y="102857"/>
                    <a:pt x="62857" y="102857"/>
                  </a:cubicBezTo>
                  <a:cubicBezTo>
                    <a:pt x="51428" y="102857"/>
                    <a:pt x="45714" y="119999"/>
                    <a:pt x="34285" y="102857"/>
                  </a:cubicBezTo>
                  <a:cubicBezTo>
                    <a:pt x="22857" y="85714"/>
                    <a:pt x="11428" y="102857"/>
                    <a:pt x="5714" y="85714"/>
                  </a:cubicBezTo>
                  <a:cubicBezTo>
                    <a:pt x="0" y="68571"/>
                    <a:pt x="11428" y="102857"/>
                    <a:pt x="5714" y="85714"/>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89" name="Shape 2463">
              <a:extLst>
                <a:ext uri="{FF2B5EF4-FFF2-40B4-BE49-F238E27FC236}">
                  <a16:creationId xmlns:a16="http://schemas.microsoft.com/office/drawing/2014/main" id="{08566560-6975-B447-8D83-BAC4BC26451E}"/>
                </a:ext>
              </a:extLst>
            </p:cNvPr>
            <p:cNvSpPr/>
            <p:nvPr/>
          </p:nvSpPr>
          <p:spPr>
            <a:xfrm>
              <a:off x="6907182" y="4449067"/>
              <a:ext cx="261145" cy="178392"/>
            </a:xfrm>
            <a:custGeom>
              <a:avLst/>
              <a:gdLst/>
              <a:ahLst/>
              <a:cxnLst/>
              <a:rect l="0" t="0" r="0" b="0"/>
              <a:pathLst>
                <a:path w="120000" h="120000" extrusionOk="0">
                  <a:moveTo>
                    <a:pt x="94285" y="120000"/>
                  </a:moveTo>
                  <a:cubicBezTo>
                    <a:pt x="85714" y="120000"/>
                    <a:pt x="72857" y="120000"/>
                    <a:pt x="64285" y="120000"/>
                  </a:cubicBezTo>
                  <a:cubicBezTo>
                    <a:pt x="51428" y="120000"/>
                    <a:pt x="64285" y="113684"/>
                    <a:pt x="64285" y="107368"/>
                  </a:cubicBezTo>
                  <a:cubicBezTo>
                    <a:pt x="68571" y="101052"/>
                    <a:pt x="47142" y="101052"/>
                    <a:pt x="51428" y="94736"/>
                  </a:cubicBezTo>
                  <a:cubicBezTo>
                    <a:pt x="55714" y="88421"/>
                    <a:pt x="64285" y="82105"/>
                    <a:pt x="72857" y="82105"/>
                  </a:cubicBezTo>
                  <a:cubicBezTo>
                    <a:pt x="77142" y="75789"/>
                    <a:pt x="72857" y="75789"/>
                    <a:pt x="68571" y="75789"/>
                  </a:cubicBezTo>
                  <a:cubicBezTo>
                    <a:pt x="59999" y="69473"/>
                    <a:pt x="51428" y="75789"/>
                    <a:pt x="38571" y="82105"/>
                  </a:cubicBezTo>
                  <a:cubicBezTo>
                    <a:pt x="29999" y="82105"/>
                    <a:pt x="21428" y="82105"/>
                    <a:pt x="8571" y="82105"/>
                  </a:cubicBezTo>
                  <a:cubicBezTo>
                    <a:pt x="8571" y="88421"/>
                    <a:pt x="0" y="88421"/>
                    <a:pt x="4285" y="75789"/>
                  </a:cubicBezTo>
                  <a:cubicBezTo>
                    <a:pt x="12857" y="63157"/>
                    <a:pt x="21428" y="69473"/>
                    <a:pt x="29999" y="63157"/>
                  </a:cubicBezTo>
                  <a:cubicBezTo>
                    <a:pt x="47142" y="56842"/>
                    <a:pt x="17142" y="56842"/>
                    <a:pt x="17142" y="50526"/>
                  </a:cubicBezTo>
                  <a:cubicBezTo>
                    <a:pt x="12857" y="50526"/>
                    <a:pt x="29999" y="37894"/>
                    <a:pt x="29999" y="37894"/>
                  </a:cubicBezTo>
                  <a:cubicBezTo>
                    <a:pt x="29999" y="37894"/>
                    <a:pt x="17142" y="37894"/>
                    <a:pt x="12857" y="37894"/>
                  </a:cubicBezTo>
                  <a:cubicBezTo>
                    <a:pt x="12857" y="31578"/>
                    <a:pt x="25714" y="25263"/>
                    <a:pt x="29999" y="25263"/>
                  </a:cubicBezTo>
                  <a:cubicBezTo>
                    <a:pt x="38571" y="25263"/>
                    <a:pt x="47142" y="44210"/>
                    <a:pt x="55714" y="50526"/>
                  </a:cubicBezTo>
                  <a:cubicBezTo>
                    <a:pt x="59999" y="50526"/>
                    <a:pt x="64285" y="63157"/>
                    <a:pt x="68571" y="56842"/>
                  </a:cubicBezTo>
                  <a:cubicBezTo>
                    <a:pt x="81428" y="44210"/>
                    <a:pt x="55714" y="44210"/>
                    <a:pt x="55714" y="44210"/>
                  </a:cubicBezTo>
                  <a:cubicBezTo>
                    <a:pt x="59999" y="44210"/>
                    <a:pt x="77142" y="37894"/>
                    <a:pt x="59999" y="31578"/>
                  </a:cubicBezTo>
                  <a:cubicBezTo>
                    <a:pt x="55714" y="31578"/>
                    <a:pt x="51428" y="31578"/>
                    <a:pt x="47142" y="25263"/>
                  </a:cubicBezTo>
                  <a:cubicBezTo>
                    <a:pt x="38571" y="18947"/>
                    <a:pt x="47142" y="18947"/>
                    <a:pt x="47142" y="12631"/>
                  </a:cubicBezTo>
                  <a:cubicBezTo>
                    <a:pt x="42857" y="12631"/>
                    <a:pt x="29999" y="18947"/>
                    <a:pt x="29999" y="18947"/>
                  </a:cubicBezTo>
                  <a:cubicBezTo>
                    <a:pt x="25714" y="12631"/>
                    <a:pt x="55714" y="6315"/>
                    <a:pt x="55714" y="6315"/>
                  </a:cubicBezTo>
                  <a:cubicBezTo>
                    <a:pt x="55714" y="6315"/>
                    <a:pt x="51428" y="12631"/>
                    <a:pt x="51428" y="12631"/>
                  </a:cubicBezTo>
                  <a:cubicBezTo>
                    <a:pt x="47142" y="18947"/>
                    <a:pt x="59999" y="18947"/>
                    <a:pt x="64285" y="18947"/>
                  </a:cubicBezTo>
                  <a:cubicBezTo>
                    <a:pt x="77142" y="25263"/>
                    <a:pt x="81428" y="25263"/>
                    <a:pt x="89999" y="12631"/>
                  </a:cubicBezTo>
                  <a:cubicBezTo>
                    <a:pt x="102857" y="0"/>
                    <a:pt x="115714" y="37894"/>
                    <a:pt x="111428" y="50526"/>
                  </a:cubicBezTo>
                  <a:cubicBezTo>
                    <a:pt x="111428" y="63157"/>
                    <a:pt x="111428" y="69473"/>
                    <a:pt x="115714" y="75789"/>
                  </a:cubicBezTo>
                  <a:cubicBezTo>
                    <a:pt x="119999" y="88421"/>
                    <a:pt x="119999" y="94736"/>
                    <a:pt x="111428" y="88421"/>
                  </a:cubicBezTo>
                  <a:cubicBezTo>
                    <a:pt x="102857" y="75789"/>
                    <a:pt x="107142" y="101052"/>
                    <a:pt x="111428" y="107368"/>
                  </a:cubicBezTo>
                  <a:cubicBezTo>
                    <a:pt x="115714" y="113684"/>
                    <a:pt x="98571" y="120000"/>
                    <a:pt x="94285" y="12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90" name="Shape 2464">
              <a:extLst>
                <a:ext uri="{FF2B5EF4-FFF2-40B4-BE49-F238E27FC236}">
                  <a16:creationId xmlns:a16="http://schemas.microsoft.com/office/drawing/2014/main" id="{31EC0F55-662B-3944-AA2C-0963DD87D230}"/>
                </a:ext>
              </a:extLst>
            </p:cNvPr>
            <p:cNvSpPr/>
            <p:nvPr/>
          </p:nvSpPr>
          <p:spPr>
            <a:xfrm>
              <a:off x="6878521" y="4535079"/>
              <a:ext cx="82802" cy="25484"/>
            </a:xfrm>
            <a:custGeom>
              <a:avLst/>
              <a:gdLst/>
              <a:ahLst/>
              <a:cxnLst/>
              <a:rect l="0" t="0" r="0" b="0"/>
              <a:pathLst>
                <a:path w="120000" h="120000" extrusionOk="0">
                  <a:moveTo>
                    <a:pt x="13333" y="120000"/>
                  </a:moveTo>
                  <a:cubicBezTo>
                    <a:pt x="53333" y="80000"/>
                    <a:pt x="120000" y="0"/>
                    <a:pt x="93333" y="0"/>
                  </a:cubicBezTo>
                  <a:cubicBezTo>
                    <a:pt x="53333" y="0"/>
                    <a:pt x="0" y="120000"/>
                    <a:pt x="13333" y="12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91" name="Shape 2465">
              <a:extLst>
                <a:ext uri="{FF2B5EF4-FFF2-40B4-BE49-F238E27FC236}">
                  <a16:creationId xmlns:a16="http://schemas.microsoft.com/office/drawing/2014/main" id="{44C512B4-1EDB-7541-A05C-971ABA431DBE}"/>
                </a:ext>
              </a:extLst>
            </p:cNvPr>
            <p:cNvSpPr/>
            <p:nvPr/>
          </p:nvSpPr>
          <p:spPr>
            <a:xfrm>
              <a:off x="6859413" y="4525524"/>
              <a:ext cx="76431" cy="19113"/>
            </a:xfrm>
            <a:custGeom>
              <a:avLst/>
              <a:gdLst/>
              <a:ahLst/>
              <a:cxnLst/>
              <a:rect l="0" t="0" r="0" b="0"/>
              <a:pathLst>
                <a:path w="120000" h="120000" extrusionOk="0">
                  <a:moveTo>
                    <a:pt x="15000" y="120000"/>
                  </a:moveTo>
                  <a:cubicBezTo>
                    <a:pt x="0" y="120000"/>
                    <a:pt x="60000" y="0"/>
                    <a:pt x="90000" y="0"/>
                  </a:cubicBezTo>
                  <a:cubicBezTo>
                    <a:pt x="120000" y="0"/>
                    <a:pt x="60000" y="120000"/>
                    <a:pt x="15000" y="12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92" name="Shape 2466">
              <a:extLst>
                <a:ext uri="{FF2B5EF4-FFF2-40B4-BE49-F238E27FC236}">
                  <a16:creationId xmlns:a16="http://schemas.microsoft.com/office/drawing/2014/main" id="{82ADB63B-DA2E-0144-8013-CA369C199B31}"/>
                </a:ext>
              </a:extLst>
            </p:cNvPr>
            <p:cNvSpPr/>
            <p:nvPr/>
          </p:nvSpPr>
          <p:spPr>
            <a:xfrm>
              <a:off x="6821194" y="4496851"/>
              <a:ext cx="95541" cy="47785"/>
            </a:xfrm>
            <a:custGeom>
              <a:avLst/>
              <a:gdLst/>
              <a:ahLst/>
              <a:cxnLst/>
              <a:rect l="0" t="0" r="0" b="0"/>
              <a:pathLst>
                <a:path w="120000" h="120000" extrusionOk="0">
                  <a:moveTo>
                    <a:pt x="24000" y="72000"/>
                  </a:moveTo>
                  <a:cubicBezTo>
                    <a:pt x="0" y="48000"/>
                    <a:pt x="120000" y="0"/>
                    <a:pt x="120000" y="24000"/>
                  </a:cubicBezTo>
                  <a:cubicBezTo>
                    <a:pt x="120000" y="48000"/>
                    <a:pt x="72000" y="120000"/>
                    <a:pt x="24000" y="72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93" name="Shape 2467">
              <a:extLst>
                <a:ext uri="{FF2B5EF4-FFF2-40B4-BE49-F238E27FC236}">
                  <a16:creationId xmlns:a16="http://schemas.microsoft.com/office/drawing/2014/main" id="{08A5739B-9267-4A4B-BEA6-03A1948F9F17}"/>
                </a:ext>
              </a:extLst>
            </p:cNvPr>
            <p:cNvSpPr/>
            <p:nvPr/>
          </p:nvSpPr>
          <p:spPr>
            <a:xfrm>
              <a:off x="6830751" y="4458628"/>
              <a:ext cx="66878" cy="47785"/>
            </a:xfrm>
            <a:custGeom>
              <a:avLst/>
              <a:gdLst/>
              <a:ahLst/>
              <a:cxnLst/>
              <a:rect l="0" t="0" r="0" b="0"/>
              <a:pathLst>
                <a:path w="120000" h="120000" extrusionOk="0">
                  <a:moveTo>
                    <a:pt x="17142" y="120000"/>
                  </a:moveTo>
                  <a:cubicBezTo>
                    <a:pt x="0" y="96000"/>
                    <a:pt x="0" y="48000"/>
                    <a:pt x="0" y="24000"/>
                  </a:cubicBezTo>
                  <a:cubicBezTo>
                    <a:pt x="17142" y="0"/>
                    <a:pt x="51428" y="24000"/>
                    <a:pt x="68571" y="48000"/>
                  </a:cubicBezTo>
                  <a:cubicBezTo>
                    <a:pt x="68571" y="48000"/>
                    <a:pt x="119999" y="72000"/>
                    <a:pt x="119999" y="96000"/>
                  </a:cubicBezTo>
                  <a:cubicBezTo>
                    <a:pt x="119999" y="96000"/>
                    <a:pt x="34285" y="120000"/>
                    <a:pt x="17142" y="120000"/>
                  </a:cubicBezTo>
                  <a:cubicBezTo>
                    <a:pt x="0" y="96000"/>
                    <a:pt x="68571" y="120000"/>
                    <a:pt x="17142" y="12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94" name="Shape 2468">
              <a:extLst>
                <a:ext uri="{FF2B5EF4-FFF2-40B4-BE49-F238E27FC236}">
                  <a16:creationId xmlns:a16="http://schemas.microsoft.com/office/drawing/2014/main" id="{9862EF88-651C-8A42-BDEE-322812F005FD}"/>
                </a:ext>
              </a:extLst>
            </p:cNvPr>
            <p:cNvSpPr/>
            <p:nvPr/>
          </p:nvSpPr>
          <p:spPr>
            <a:xfrm>
              <a:off x="6738395" y="4347130"/>
              <a:ext cx="111464" cy="82826"/>
            </a:xfrm>
            <a:custGeom>
              <a:avLst/>
              <a:gdLst/>
              <a:ahLst/>
              <a:cxnLst/>
              <a:rect l="0" t="0" r="0" b="0"/>
              <a:pathLst>
                <a:path w="120000" h="120000" extrusionOk="0">
                  <a:moveTo>
                    <a:pt x="80000" y="106666"/>
                  </a:moveTo>
                  <a:cubicBezTo>
                    <a:pt x="60000" y="120000"/>
                    <a:pt x="0" y="0"/>
                    <a:pt x="30000" y="13333"/>
                  </a:cubicBezTo>
                  <a:cubicBezTo>
                    <a:pt x="60000" y="40000"/>
                    <a:pt x="120000" y="106666"/>
                    <a:pt x="80000" y="106666"/>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95" name="Shape 2469">
              <a:extLst>
                <a:ext uri="{FF2B5EF4-FFF2-40B4-BE49-F238E27FC236}">
                  <a16:creationId xmlns:a16="http://schemas.microsoft.com/office/drawing/2014/main" id="{BEB38B39-28BF-9940-ADE4-5B339B2280DF}"/>
                </a:ext>
              </a:extLst>
            </p:cNvPr>
            <p:cNvSpPr/>
            <p:nvPr/>
          </p:nvSpPr>
          <p:spPr>
            <a:xfrm>
              <a:off x="6916738" y="4337576"/>
              <a:ext cx="82802" cy="28669"/>
            </a:xfrm>
            <a:custGeom>
              <a:avLst/>
              <a:gdLst/>
              <a:ahLst/>
              <a:cxnLst/>
              <a:rect l="0" t="0" r="0" b="0"/>
              <a:pathLst>
                <a:path w="120000" h="120000" extrusionOk="0">
                  <a:moveTo>
                    <a:pt x="26666" y="40000"/>
                  </a:moveTo>
                  <a:cubicBezTo>
                    <a:pt x="66666" y="0"/>
                    <a:pt x="120000" y="80000"/>
                    <a:pt x="106666" y="80000"/>
                  </a:cubicBezTo>
                  <a:cubicBezTo>
                    <a:pt x="40000" y="120000"/>
                    <a:pt x="0" y="80000"/>
                    <a:pt x="26666" y="4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96" name="Shape 2470">
              <a:extLst>
                <a:ext uri="{FF2B5EF4-FFF2-40B4-BE49-F238E27FC236}">
                  <a16:creationId xmlns:a16="http://schemas.microsoft.com/office/drawing/2014/main" id="{FBBC9ED3-8B07-D24F-9775-6831A73CE8BD}"/>
                </a:ext>
              </a:extLst>
            </p:cNvPr>
            <p:cNvSpPr/>
            <p:nvPr/>
          </p:nvSpPr>
          <p:spPr>
            <a:xfrm>
              <a:off x="6757501" y="4187854"/>
              <a:ext cx="334394" cy="178392"/>
            </a:xfrm>
            <a:custGeom>
              <a:avLst/>
              <a:gdLst/>
              <a:ahLst/>
              <a:cxnLst/>
              <a:rect l="0" t="0" r="0" b="0"/>
              <a:pathLst>
                <a:path w="120000" h="120000" extrusionOk="0">
                  <a:moveTo>
                    <a:pt x="93333" y="107368"/>
                  </a:moveTo>
                  <a:cubicBezTo>
                    <a:pt x="90000" y="107368"/>
                    <a:pt x="90000" y="101052"/>
                    <a:pt x="90000" y="94736"/>
                  </a:cubicBezTo>
                  <a:cubicBezTo>
                    <a:pt x="86666" y="88421"/>
                    <a:pt x="76666" y="82105"/>
                    <a:pt x="73333" y="82105"/>
                  </a:cubicBezTo>
                  <a:cubicBezTo>
                    <a:pt x="70000" y="82105"/>
                    <a:pt x="46666" y="94736"/>
                    <a:pt x="46666" y="88421"/>
                  </a:cubicBezTo>
                  <a:cubicBezTo>
                    <a:pt x="46666" y="88421"/>
                    <a:pt x="60000" y="75789"/>
                    <a:pt x="60000" y="75789"/>
                  </a:cubicBezTo>
                  <a:cubicBezTo>
                    <a:pt x="50000" y="69473"/>
                    <a:pt x="36666" y="88421"/>
                    <a:pt x="26666" y="75789"/>
                  </a:cubicBezTo>
                  <a:cubicBezTo>
                    <a:pt x="6666" y="56842"/>
                    <a:pt x="43333" y="63157"/>
                    <a:pt x="43333" y="63157"/>
                  </a:cubicBezTo>
                  <a:cubicBezTo>
                    <a:pt x="43333" y="63157"/>
                    <a:pt x="40000" y="56842"/>
                    <a:pt x="40000" y="56842"/>
                  </a:cubicBezTo>
                  <a:cubicBezTo>
                    <a:pt x="40000" y="56842"/>
                    <a:pt x="43333" y="50526"/>
                    <a:pt x="43333" y="50526"/>
                  </a:cubicBezTo>
                  <a:cubicBezTo>
                    <a:pt x="46666" y="44210"/>
                    <a:pt x="36666" y="50526"/>
                    <a:pt x="36666" y="50526"/>
                  </a:cubicBezTo>
                  <a:cubicBezTo>
                    <a:pt x="33333" y="44210"/>
                    <a:pt x="40000" y="37894"/>
                    <a:pt x="33333" y="37894"/>
                  </a:cubicBezTo>
                  <a:cubicBezTo>
                    <a:pt x="30000" y="37894"/>
                    <a:pt x="23333" y="44210"/>
                    <a:pt x="20000" y="37894"/>
                  </a:cubicBezTo>
                  <a:cubicBezTo>
                    <a:pt x="20000" y="31578"/>
                    <a:pt x="13333" y="37894"/>
                    <a:pt x="10000" y="31578"/>
                  </a:cubicBezTo>
                  <a:cubicBezTo>
                    <a:pt x="0" y="0"/>
                    <a:pt x="23333" y="12631"/>
                    <a:pt x="30000" y="12631"/>
                  </a:cubicBezTo>
                  <a:cubicBezTo>
                    <a:pt x="36666" y="6315"/>
                    <a:pt x="46666" y="0"/>
                    <a:pt x="53333" y="6315"/>
                  </a:cubicBezTo>
                  <a:cubicBezTo>
                    <a:pt x="63333" y="12631"/>
                    <a:pt x="46666" y="44210"/>
                    <a:pt x="60000" y="31578"/>
                  </a:cubicBezTo>
                  <a:cubicBezTo>
                    <a:pt x="63333" y="31578"/>
                    <a:pt x="70000" y="18947"/>
                    <a:pt x="73333" y="25263"/>
                  </a:cubicBezTo>
                  <a:cubicBezTo>
                    <a:pt x="76666" y="31578"/>
                    <a:pt x="80000" y="44210"/>
                    <a:pt x="83333" y="44210"/>
                  </a:cubicBezTo>
                  <a:cubicBezTo>
                    <a:pt x="86666" y="44210"/>
                    <a:pt x="96666" y="37894"/>
                    <a:pt x="100000" y="44210"/>
                  </a:cubicBezTo>
                  <a:cubicBezTo>
                    <a:pt x="106666" y="50526"/>
                    <a:pt x="106666" y="69473"/>
                    <a:pt x="110000" y="75789"/>
                  </a:cubicBezTo>
                  <a:cubicBezTo>
                    <a:pt x="113333" y="88421"/>
                    <a:pt x="120000" y="94736"/>
                    <a:pt x="113333" y="101052"/>
                  </a:cubicBezTo>
                  <a:cubicBezTo>
                    <a:pt x="110000" y="113684"/>
                    <a:pt x="100000" y="113684"/>
                    <a:pt x="93333" y="107368"/>
                  </a:cubicBezTo>
                  <a:cubicBezTo>
                    <a:pt x="90000" y="101052"/>
                    <a:pt x="103333" y="120000"/>
                    <a:pt x="93333" y="107368"/>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97" name="Shape 2471">
              <a:extLst>
                <a:ext uri="{FF2B5EF4-FFF2-40B4-BE49-F238E27FC236}">
                  <a16:creationId xmlns:a16="http://schemas.microsoft.com/office/drawing/2014/main" id="{311C6535-C4A5-A44A-BFED-FA2185EB4AFB}"/>
                </a:ext>
              </a:extLst>
            </p:cNvPr>
            <p:cNvSpPr/>
            <p:nvPr/>
          </p:nvSpPr>
          <p:spPr>
            <a:xfrm>
              <a:off x="7018648" y="4101844"/>
              <a:ext cx="101909" cy="47785"/>
            </a:xfrm>
            <a:custGeom>
              <a:avLst/>
              <a:gdLst/>
              <a:ahLst/>
              <a:cxnLst/>
              <a:rect l="0" t="0" r="0" b="0"/>
              <a:pathLst>
                <a:path w="120000" h="120000" extrusionOk="0">
                  <a:moveTo>
                    <a:pt x="87272" y="120000"/>
                  </a:moveTo>
                  <a:cubicBezTo>
                    <a:pt x="65454" y="120000"/>
                    <a:pt x="65454" y="96000"/>
                    <a:pt x="43636" y="96000"/>
                  </a:cubicBezTo>
                  <a:cubicBezTo>
                    <a:pt x="43636" y="96000"/>
                    <a:pt x="0" y="96000"/>
                    <a:pt x="21818" y="72000"/>
                  </a:cubicBezTo>
                  <a:cubicBezTo>
                    <a:pt x="32727" y="24000"/>
                    <a:pt x="65454" y="0"/>
                    <a:pt x="76363" y="48000"/>
                  </a:cubicBezTo>
                  <a:cubicBezTo>
                    <a:pt x="98181" y="72000"/>
                    <a:pt x="120000" y="120000"/>
                    <a:pt x="87272" y="12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98" name="Shape 2472">
              <a:extLst>
                <a:ext uri="{FF2B5EF4-FFF2-40B4-BE49-F238E27FC236}">
                  <a16:creationId xmlns:a16="http://schemas.microsoft.com/office/drawing/2014/main" id="{748370E6-C1DF-0E47-B4D3-71EB2E11B9FD}"/>
                </a:ext>
              </a:extLst>
            </p:cNvPr>
            <p:cNvSpPr/>
            <p:nvPr/>
          </p:nvSpPr>
          <p:spPr>
            <a:xfrm>
              <a:off x="7101451" y="4251565"/>
              <a:ext cx="187896" cy="105123"/>
            </a:xfrm>
            <a:custGeom>
              <a:avLst/>
              <a:gdLst/>
              <a:ahLst/>
              <a:cxnLst/>
              <a:rect l="0" t="0" r="0" b="0"/>
              <a:pathLst>
                <a:path w="120000" h="120000" extrusionOk="0">
                  <a:moveTo>
                    <a:pt x="48000" y="76363"/>
                  </a:moveTo>
                  <a:cubicBezTo>
                    <a:pt x="36000" y="76363"/>
                    <a:pt x="24000" y="65454"/>
                    <a:pt x="18000" y="54545"/>
                  </a:cubicBezTo>
                  <a:cubicBezTo>
                    <a:pt x="0" y="43636"/>
                    <a:pt x="24000" y="32727"/>
                    <a:pt x="24000" y="32727"/>
                  </a:cubicBezTo>
                  <a:cubicBezTo>
                    <a:pt x="24000" y="21818"/>
                    <a:pt x="12000" y="10909"/>
                    <a:pt x="6000" y="10909"/>
                  </a:cubicBezTo>
                  <a:cubicBezTo>
                    <a:pt x="6000" y="0"/>
                    <a:pt x="36000" y="10909"/>
                    <a:pt x="36000" y="10909"/>
                  </a:cubicBezTo>
                  <a:cubicBezTo>
                    <a:pt x="48000" y="10909"/>
                    <a:pt x="60000" y="21818"/>
                    <a:pt x="72000" y="32727"/>
                  </a:cubicBezTo>
                  <a:cubicBezTo>
                    <a:pt x="84000" y="32727"/>
                    <a:pt x="90000" y="32727"/>
                    <a:pt x="96000" y="32727"/>
                  </a:cubicBezTo>
                  <a:cubicBezTo>
                    <a:pt x="102000" y="32727"/>
                    <a:pt x="120000" y="43636"/>
                    <a:pt x="114000" y="43636"/>
                  </a:cubicBezTo>
                  <a:cubicBezTo>
                    <a:pt x="102000" y="65454"/>
                    <a:pt x="96000" y="54545"/>
                    <a:pt x="108000" y="87272"/>
                  </a:cubicBezTo>
                  <a:cubicBezTo>
                    <a:pt x="114000" y="98181"/>
                    <a:pt x="96000" y="98181"/>
                    <a:pt x="90000" y="109090"/>
                  </a:cubicBezTo>
                  <a:cubicBezTo>
                    <a:pt x="78000" y="109090"/>
                    <a:pt x="66000" y="120000"/>
                    <a:pt x="54000" y="120000"/>
                  </a:cubicBezTo>
                  <a:cubicBezTo>
                    <a:pt x="48000" y="109090"/>
                    <a:pt x="24000" y="98181"/>
                    <a:pt x="24000" y="87272"/>
                  </a:cubicBezTo>
                  <a:cubicBezTo>
                    <a:pt x="24000" y="87272"/>
                    <a:pt x="60000" y="76363"/>
                    <a:pt x="48000" y="76363"/>
                  </a:cubicBezTo>
                  <a:cubicBezTo>
                    <a:pt x="30000" y="65454"/>
                    <a:pt x="60000" y="76363"/>
                    <a:pt x="48000" y="76363"/>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199" name="Shape 2473">
              <a:extLst>
                <a:ext uri="{FF2B5EF4-FFF2-40B4-BE49-F238E27FC236}">
                  <a16:creationId xmlns:a16="http://schemas.microsoft.com/office/drawing/2014/main" id="{99BB25BC-A3DA-9949-84A6-9FD8241EF760}"/>
                </a:ext>
              </a:extLst>
            </p:cNvPr>
            <p:cNvSpPr/>
            <p:nvPr/>
          </p:nvSpPr>
          <p:spPr>
            <a:xfrm>
              <a:off x="7206547" y="4347130"/>
              <a:ext cx="165603" cy="47785"/>
            </a:xfrm>
            <a:custGeom>
              <a:avLst/>
              <a:gdLst/>
              <a:ahLst/>
              <a:cxnLst/>
              <a:rect l="0" t="0" r="0" b="0"/>
              <a:pathLst>
                <a:path w="120000" h="120000" extrusionOk="0">
                  <a:moveTo>
                    <a:pt x="93333" y="120000"/>
                  </a:moveTo>
                  <a:cubicBezTo>
                    <a:pt x="93333" y="96000"/>
                    <a:pt x="120000" y="48000"/>
                    <a:pt x="106666" y="48000"/>
                  </a:cubicBezTo>
                  <a:cubicBezTo>
                    <a:pt x="100000" y="24000"/>
                    <a:pt x="93333" y="24000"/>
                    <a:pt x="86666" y="24000"/>
                  </a:cubicBezTo>
                  <a:cubicBezTo>
                    <a:pt x="66666" y="24000"/>
                    <a:pt x="40000" y="0"/>
                    <a:pt x="20000" y="24000"/>
                  </a:cubicBezTo>
                  <a:cubicBezTo>
                    <a:pt x="0" y="24000"/>
                    <a:pt x="6666" y="96000"/>
                    <a:pt x="26666" y="96000"/>
                  </a:cubicBezTo>
                  <a:cubicBezTo>
                    <a:pt x="46666" y="96000"/>
                    <a:pt x="73333" y="120000"/>
                    <a:pt x="93333" y="120000"/>
                  </a:cubicBezTo>
                  <a:cubicBezTo>
                    <a:pt x="106666" y="96000"/>
                    <a:pt x="80000" y="120000"/>
                    <a:pt x="93333" y="12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00" name="Shape 2474">
              <a:extLst>
                <a:ext uri="{FF2B5EF4-FFF2-40B4-BE49-F238E27FC236}">
                  <a16:creationId xmlns:a16="http://schemas.microsoft.com/office/drawing/2014/main" id="{21DDD1C2-98EA-DD4F-986B-114B699BF027}"/>
                </a:ext>
              </a:extLst>
            </p:cNvPr>
            <p:cNvSpPr/>
            <p:nvPr/>
          </p:nvSpPr>
          <p:spPr>
            <a:xfrm>
              <a:off x="7196994" y="4560563"/>
              <a:ext cx="156050" cy="105123"/>
            </a:xfrm>
            <a:custGeom>
              <a:avLst/>
              <a:gdLst/>
              <a:ahLst/>
              <a:cxnLst/>
              <a:rect l="0" t="0" r="0" b="0"/>
              <a:pathLst>
                <a:path w="120000" h="120000" extrusionOk="0">
                  <a:moveTo>
                    <a:pt x="49411" y="10909"/>
                  </a:moveTo>
                  <a:cubicBezTo>
                    <a:pt x="35294" y="0"/>
                    <a:pt x="14117" y="43636"/>
                    <a:pt x="7058" y="65454"/>
                  </a:cubicBezTo>
                  <a:cubicBezTo>
                    <a:pt x="0" y="87272"/>
                    <a:pt x="56470" y="109090"/>
                    <a:pt x="70588" y="109090"/>
                  </a:cubicBezTo>
                  <a:cubicBezTo>
                    <a:pt x="77647" y="120000"/>
                    <a:pt x="98823" y="120000"/>
                    <a:pt x="105882" y="109090"/>
                  </a:cubicBezTo>
                  <a:cubicBezTo>
                    <a:pt x="112941" y="109090"/>
                    <a:pt x="105882" y="98181"/>
                    <a:pt x="105882" y="87272"/>
                  </a:cubicBezTo>
                  <a:cubicBezTo>
                    <a:pt x="105882" y="76363"/>
                    <a:pt x="105882" y="65454"/>
                    <a:pt x="112941" y="65454"/>
                  </a:cubicBezTo>
                  <a:cubicBezTo>
                    <a:pt x="120000" y="43636"/>
                    <a:pt x="63529" y="10909"/>
                    <a:pt x="49411" y="10909"/>
                  </a:cubicBezTo>
                  <a:cubicBezTo>
                    <a:pt x="35294" y="0"/>
                    <a:pt x="56470" y="10909"/>
                    <a:pt x="49411" y="10909"/>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01" name="Shape 2475">
              <a:extLst>
                <a:ext uri="{FF2B5EF4-FFF2-40B4-BE49-F238E27FC236}">
                  <a16:creationId xmlns:a16="http://schemas.microsoft.com/office/drawing/2014/main" id="{B6F3A1F0-681B-794E-BE8D-223169C1F319}"/>
                </a:ext>
              </a:extLst>
            </p:cNvPr>
            <p:cNvSpPr/>
            <p:nvPr/>
          </p:nvSpPr>
          <p:spPr>
            <a:xfrm>
              <a:off x="7270240" y="4535079"/>
              <a:ext cx="38216" cy="25484"/>
            </a:xfrm>
            <a:custGeom>
              <a:avLst/>
              <a:gdLst/>
              <a:ahLst/>
              <a:cxnLst/>
              <a:rect l="0" t="0" r="0" b="0"/>
              <a:pathLst>
                <a:path w="120000" h="120000" extrusionOk="0">
                  <a:moveTo>
                    <a:pt x="90000" y="80000"/>
                  </a:moveTo>
                  <a:cubicBezTo>
                    <a:pt x="30000" y="120000"/>
                    <a:pt x="0" y="40000"/>
                    <a:pt x="30000" y="40000"/>
                  </a:cubicBezTo>
                  <a:cubicBezTo>
                    <a:pt x="60000" y="0"/>
                    <a:pt x="120000" y="80000"/>
                    <a:pt x="90000" y="8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02" name="Shape 2476">
              <a:extLst>
                <a:ext uri="{FF2B5EF4-FFF2-40B4-BE49-F238E27FC236}">
                  <a16:creationId xmlns:a16="http://schemas.microsoft.com/office/drawing/2014/main" id="{D18316C4-419B-F249-989C-0C1462BF62D7}"/>
                </a:ext>
              </a:extLst>
            </p:cNvPr>
            <p:cNvSpPr/>
            <p:nvPr/>
          </p:nvSpPr>
          <p:spPr>
            <a:xfrm>
              <a:off x="7439029" y="4366244"/>
              <a:ext cx="82802" cy="54153"/>
            </a:xfrm>
            <a:custGeom>
              <a:avLst/>
              <a:gdLst/>
              <a:ahLst/>
              <a:cxnLst/>
              <a:rect l="0" t="0" r="0" b="0"/>
              <a:pathLst>
                <a:path w="120000" h="120000" extrusionOk="0">
                  <a:moveTo>
                    <a:pt x="13333" y="100000"/>
                  </a:moveTo>
                  <a:cubicBezTo>
                    <a:pt x="13333" y="100000"/>
                    <a:pt x="26666" y="40000"/>
                    <a:pt x="13333" y="20000"/>
                  </a:cubicBezTo>
                  <a:cubicBezTo>
                    <a:pt x="13333" y="0"/>
                    <a:pt x="53333" y="20000"/>
                    <a:pt x="66666" y="20000"/>
                  </a:cubicBezTo>
                  <a:cubicBezTo>
                    <a:pt x="80000" y="20000"/>
                    <a:pt x="120000" y="40000"/>
                    <a:pt x="120000" y="60000"/>
                  </a:cubicBezTo>
                  <a:cubicBezTo>
                    <a:pt x="106666" y="80000"/>
                    <a:pt x="80000" y="100000"/>
                    <a:pt x="66666" y="100000"/>
                  </a:cubicBezTo>
                  <a:cubicBezTo>
                    <a:pt x="40000" y="120000"/>
                    <a:pt x="40000" y="120000"/>
                    <a:pt x="13333" y="100000"/>
                  </a:cubicBezTo>
                  <a:cubicBezTo>
                    <a:pt x="0" y="80000"/>
                    <a:pt x="26666" y="120000"/>
                    <a:pt x="13333" y="10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03" name="Shape 2477">
              <a:extLst>
                <a:ext uri="{FF2B5EF4-FFF2-40B4-BE49-F238E27FC236}">
                  <a16:creationId xmlns:a16="http://schemas.microsoft.com/office/drawing/2014/main" id="{4ED38C9F-4FCC-CB42-B2B1-71D16C7F987A}"/>
                </a:ext>
              </a:extLst>
            </p:cNvPr>
            <p:cNvSpPr/>
            <p:nvPr/>
          </p:nvSpPr>
          <p:spPr>
            <a:xfrm>
              <a:off x="7483615" y="4449067"/>
              <a:ext cx="28661" cy="38226"/>
            </a:xfrm>
            <a:custGeom>
              <a:avLst/>
              <a:gdLst/>
              <a:ahLst/>
              <a:cxnLst/>
              <a:rect l="0" t="0" r="0" b="0"/>
              <a:pathLst>
                <a:path w="120000" h="120000" extrusionOk="0">
                  <a:moveTo>
                    <a:pt x="80000" y="30000"/>
                  </a:moveTo>
                  <a:cubicBezTo>
                    <a:pt x="0" y="0"/>
                    <a:pt x="0" y="90000"/>
                    <a:pt x="40000" y="90000"/>
                  </a:cubicBezTo>
                  <a:cubicBezTo>
                    <a:pt x="80000" y="120000"/>
                    <a:pt x="120000" y="60000"/>
                    <a:pt x="80000" y="3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04" name="Shape 2478">
              <a:extLst>
                <a:ext uri="{FF2B5EF4-FFF2-40B4-BE49-F238E27FC236}">
                  <a16:creationId xmlns:a16="http://schemas.microsoft.com/office/drawing/2014/main" id="{139BC29A-A0FA-A140-AA78-6DF9C59A1F86}"/>
                </a:ext>
              </a:extLst>
            </p:cNvPr>
            <p:cNvSpPr/>
            <p:nvPr/>
          </p:nvSpPr>
          <p:spPr>
            <a:xfrm>
              <a:off x="7177883" y="4420400"/>
              <a:ext cx="831211" cy="254843"/>
            </a:xfrm>
            <a:custGeom>
              <a:avLst/>
              <a:gdLst/>
              <a:ahLst/>
              <a:cxnLst/>
              <a:rect l="0" t="0" r="0" b="0"/>
              <a:pathLst>
                <a:path w="120000" h="120000" extrusionOk="0">
                  <a:moveTo>
                    <a:pt x="22921" y="31111"/>
                  </a:moveTo>
                  <a:cubicBezTo>
                    <a:pt x="24269" y="31111"/>
                    <a:pt x="26966" y="22222"/>
                    <a:pt x="25617" y="17777"/>
                  </a:cubicBezTo>
                  <a:cubicBezTo>
                    <a:pt x="24269" y="13333"/>
                    <a:pt x="21573" y="8888"/>
                    <a:pt x="20224" y="8888"/>
                  </a:cubicBezTo>
                  <a:cubicBezTo>
                    <a:pt x="18876" y="8888"/>
                    <a:pt x="17528" y="8888"/>
                    <a:pt x="16179" y="8888"/>
                  </a:cubicBezTo>
                  <a:cubicBezTo>
                    <a:pt x="12134" y="4444"/>
                    <a:pt x="9438" y="0"/>
                    <a:pt x="5393" y="4444"/>
                  </a:cubicBezTo>
                  <a:cubicBezTo>
                    <a:pt x="0" y="8888"/>
                    <a:pt x="4044" y="8888"/>
                    <a:pt x="5393" y="13333"/>
                  </a:cubicBezTo>
                  <a:cubicBezTo>
                    <a:pt x="5393" y="13333"/>
                    <a:pt x="0" y="13333"/>
                    <a:pt x="0" y="17777"/>
                  </a:cubicBezTo>
                  <a:cubicBezTo>
                    <a:pt x="0" y="22222"/>
                    <a:pt x="5393" y="22222"/>
                    <a:pt x="6741" y="22222"/>
                  </a:cubicBezTo>
                  <a:cubicBezTo>
                    <a:pt x="6741" y="26666"/>
                    <a:pt x="9438" y="26666"/>
                    <a:pt x="9438" y="26666"/>
                  </a:cubicBezTo>
                  <a:cubicBezTo>
                    <a:pt x="9438" y="31111"/>
                    <a:pt x="8089" y="31111"/>
                    <a:pt x="8089" y="31111"/>
                  </a:cubicBezTo>
                  <a:cubicBezTo>
                    <a:pt x="16179" y="48888"/>
                    <a:pt x="28314" y="22222"/>
                    <a:pt x="32359" y="57777"/>
                  </a:cubicBezTo>
                  <a:cubicBezTo>
                    <a:pt x="32359" y="62222"/>
                    <a:pt x="35056" y="66666"/>
                    <a:pt x="33707" y="71111"/>
                  </a:cubicBezTo>
                  <a:cubicBezTo>
                    <a:pt x="32359" y="80000"/>
                    <a:pt x="31011" y="84444"/>
                    <a:pt x="32359" y="93333"/>
                  </a:cubicBezTo>
                  <a:cubicBezTo>
                    <a:pt x="32359" y="93333"/>
                    <a:pt x="35056" y="111111"/>
                    <a:pt x="36404" y="111111"/>
                  </a:cubicBezTo>
                  <a:cubicBezTo>
                    <a:pt x="37752" y="115555"/>
                    <a:pt x="40449" y="102222"/>
                    <a:pt x="40449" y="106666"/>
                  </a:cubicBezTo>
                  <a:cubicBezTo>
                    <a:pt x="41797" y="106666"/>
                    <a:pt x="43146" y="115555"/>
                    <a:pt x="44494" y="115555"/>
                  </a:cubicBezTo>
                  <a:cubicBezTo>
                    <a:pt x="47191" y="120000"/>
                    <a:pt x="49887" y="115555"/>
                    <a:pt x="51235" y="115555"/>
                  </a:cubicBezTo>
                  <a:cubicBezTo>
                    <a:pt x="52584" y="111111"/>
                    <a:pt x="55280" y="102222"/>
                    <a:pt x="56629" y="102222"/>
                  </a:cubicBezTo>
                  <a:cubicBezTo>
                    <a:pt x="56629" y="102222"/>
                    <a:pt x="59325" y="115555"/>
                    <a:pt x="60674" y="115555"/>
                  </a:cubicBezTo>
                  <a:cubicBezTo>
                    <a:pt x="63370" y="120000"/>
                    <a:pt x="67415" y="120000"/>
                    <a:pt x="70112" y="120000"/>
                  </a:cubicBezTo>
                  <a:cubicBezTo>
                    <a:pt x="75505" y="120000"/>
                    <a:pt x="79550" y="120000"/>
                    <a:pt x="83595" y="120000"/>
                  </a:cubicBezTo>
                  <a:cubicBezTo>
                    <a:pt x="84943" y="120000"/>
                    <a:pt x="86292" y="120000"/>
                    <a:pt x="87640" y="120000"/>
                  </a:cubicBezTo>
                  <a:cubicBezTo>
                    <a:pt x="90337" y="115555"/>
                    <a:pt x="88988" y="106666"/>
                    <a:pt x="90337" y="106666"/>
                  </a:cubicBezTo>
                  <a:cubicBezTo>
                    <a:pt x="91685" y="102222"/>
                    <a:pt x="93033" y="106666"/>
                    <a:pt x="94382" y="111111"/>
                  </a:cubicBezTo>
                  <a:cubicBezTo>
                    <a:pt x="95730" y="115555"/>
                    <a:pt x="99775" y="120000"/>
                    <a:pt x="102471" y="120000"/>
                  </a:cubicBezTo>
                  <a:cubicBezTo>
                    <a:pt x="105168" y="120000"/>
                    <a:pt x="107865" y="120000"/>
                    <a:pt x="110561" y="115555"/>
                  </a:cubicBezTo>
                  <a:cubicBezTo>
                    <a:pt x="113258" y="115555"/>
                    <a:pt x="111910" y="106666"/>
                    <a:pt x="114606" y="106666"/>
                  </a:cubicBezTo>
                  <a:cubicBezTo>
                    <a:pt x="115955" y="106666"/>
                    <a:pt x="117303" y="93333"/>
                    <a:pt x="114606" y="97777"/>
                  </a:cubicBezTo>
                  <a:cubicBezTo>
                    <a:pt x="114606" y="97777"/>
                    <a:pt x="111910" y="97777"/>
                    <a:pt x="110561" y="97777"/>
                  </a:cubicBezTo>
                  <a:cubicBezTo>
                    <a:pt x="110561" y="97777"/>
                    <a:pt x="120000" y="80000"/>
                    <a:pt x="114606" y="75555"/>
                  </a:cubicBezTo>
                  <a:cubicBezTo>
                    <a:pt x="113258" y="75555"/>
                    <a:pt x="110561" y="71111"/>
                    <a:pt x="107865" y="71111"/>
                  </a:cubicBezTo>
                  <a:cubicBezTo>
                    <a:pt x="105168" y="71111"/>
                    <a:pt x="107865" y="62222"/>
                    <a:pt x="105168" y="62222"/>
                  </a:cubicBezTo>
                  <a:cubicBezTo>
                    <a:pt x="101123" y="62222"/>
                    <a:pt x="98426" y="62222"/>
                    <a:pt x="94382" y="62222"/>
                  </a:cubicBezTo>
                  <a:cubicBezTo>
                    <a:pt x="91685" y="62222"/>
                    <a:pt x="90337" y="57777"/>
                    <a:pt x="87640" y="62222"/>
                  </a:cubicBezTo>
                  <a:cubicBezTo>
                    <a:pt x="86292" y="62222"/>
                    <a:pt x="74157" y="71111"/>
                    <a:pt x="74157" y="75555"/>
                  </a:cubicBezTo>
                  <a:cubicBezTo>
                    <a:pt x="74157" y="75555"/>
                    <a:pt x="75505" y="75555"/>
                    <a:pt x="75505" y="80000"/>
                  </a:cubicBezTo>
                  <a:cubicBezTo>
                    <a:pt x="75505" y="80000"/>
                    <a:pt x="71460" y="80000"/>
                    <a:pt x="70112" y="80000"/>
                  </a:cubicBezTo>
                  <a:cubicBezTo>
                    <a:pt x="68764" y="80000"/>
                    <a:pt x="67415" y="75555"/>
                    <a:pt x="66067" y="71111"/>
                  </a:cubicBezTo>
                  <a:cubicBezTo>
                    <a:pt x="64719" y="71111"/>
                    <a:pt x="63370" y="75555"/>
                    <a:pt x="62022" y="75555"/>
                  </a:cubicBezTo>
                  <a:cubicBezTo>
                    <a:pt x="60674" y="75555"/>
                    <a:pt x="57977" y="71111"/>
                    <a:pt x="56629" y="71111"/>
                  </a:cubicBezTo>
                  <a:cubicBezTo>
                    <a:pt x="55280" y="71111"/>
                    <a:pt x="56629" y="80000"/>
                    <a:pt x="55280" y="80000"/>
                  </a:cubicBezTo>
                  <a:cubicBezTo>
                    <a:pt x="53932" y="80000"/>
                    <a:pt x="52584" y="71111"/>
                    <a:pt x="51235" y="71111"/>
                  </a:cubicBezTo>
                  <a:cubicBezTo>
                    <a:pt x="47191" y="71111"/>
                    <a:pt x="52584" y="66666"/>
                    <a:pt x="52584" y="62222"/>
                  </a:cubicBezTo>
                  <a:cubicBezTo>
                    <a:pt x="52584" y="57777"/>
                    <a:pt x="47191" y="53333"/>
                    <a:pt x="45842" y="53333"/>
                  </a:cubicBezTo>
                  <a:cubicBezTo>
                    <a:pt x="45842" y="53333"/>
                    <a:pt x="40449" y="57777"/>
                    <a:pt x="40449" y="57777"/>
                  </a:cubicBezTo>
                  <a:cubicBezTo>
                    <a:pt x="40449" y="53333"/>
                    <a:pt x="43146" y="53333"/>
                    <a:pt x="43146" y="53333"/>
                  </a:cubicBezTo>
                  <a:cubicBezTo>
                    <a:pt x="43146" y="48888"/>
                    <a:pt x="36404" y="44444"/>
                    <a:pt x="37752" y="40000"/>
                  </a:cubicBezTo>
                  <a:cubicBezTo>
                    <a:pt x="37752" y="40000"/>
                    <a:pt x="51235" y="44444"/>
                    <a:pt x="51235" y="44444"/>
                  </a:cubicBezTo>
                  <a:cubicBezTo>
                    <a:pt x="51235" y="40000"/>
                    <a:pt x="45842" y="35555"/>
                    <a:pt x="44494" y="31111"/>
                  </a:cubicBezTo>
                  <a:cubicBezTo>
                    <a:pt x="43146" y="31111"/>
                    <a:pt x="40449" y="31111"/>
                    <a:pt x="37752" y="31111"/>
                  </a:cubicBezTo>
                  <a:cubicBezTo>
                    <a:pt x="39101" y="31111"/>
                    <a:pt x="41797" y="31111"/>
                    <a:pt x="43146" y="26666"/>
                  </a:cubicBezTo>
                  <a:cubicBezTo>
                    <a:pt x="43146" y="22222"/>
                    <a:pt x="36404" y="22222"/>
                    <a:pt x="36404" y="22222"/>
                  </a:cubicBezTo>
                  <a:cubicBezTo>
                    <a:pt x="31011" y="22222"/>
                    <a:pt x="28314" y="26666"/>
                    <a:pt x="22921" y="31111"/>
                  </a:cubicBezTo>
                  <a:cubicBezTo>
                    <a:pt x="22921" y="31111"/>
                    <a:pt x="24269" y="31111"/>
                    <a:pt x="22921" y="31111"/>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05" name="Shape 2479">
              <a:extLst>
                <a:ext uri="{FF2B5EF4-FFF2-40B4-BE49-F238E27FC236}">
                  <a16:creationId xmlns:a16="http://schemas.microsoft.com/office/drawing/2014/main" id="{867EF727-0DD4-D447-A109-9A19DC2EB763}"/>
                </a:ext>
              </a:extLst>
            </p:cNvPr>
            <p:cNvSpPr/>
            <p:nvPr/>
          </p:nvSpPr>
          <p:spPr>
            <a:xfrm>
              <a:off x="7196994" y="3980794"/>
              <a:ext cx="550954" cy="347225"/>
            </a:xfrm>
            <a:custGeom>
              <a:avLst/>
              <a:gdLst/>
              <a:ahLst/>
              <a:cxnLst/>
              <a:rect l="0" t="0" r="0" b="0"/>
              <a:pathLst>
                <a:path w="120000" h="120000" extrusionOk="0">
                  <a:moveTo>
                    <a:pt x="117966" y="77837"/>
                  </a:moveTo>
                  <a:cubicBezTo>
                    <a:pt x="117966" y="71351"/>
                    <a:pt x="113898" y="71351"/>
                    <a:pt x="111864" y="68108"/>
                  </a:cubicBezTo>
                  <a:cubicBezTo>
                    <a:pt x="109830" y="64864"/>
                    <a:pt x="107796" y="71351"/>
                    <a:pt x="105762" y="68108"/>
                  </a:cubicBezTo>
                  <a:cubicBezTo>
                    <a:pt x="101694" y="61621"/>
                    <a:pt x="97627" y="68108"/>
                    <a:pt x="93559" y="64864"/>
                  </a:cubicBezTo>
                  <a:cubicBezTo>
                    <a:pt x="93559" y="64864"/>
                    <a:pt x="97627" y="61621"/>
                    <a:pt x="97627" y="58378"/>
                  </a:cubicBezTo>
                  <a:cubicBezTo>
                    <a:pt x="97627" y="58378"/>
                    <a:pt x="93559" y="58378"/>
                    <a:pt x="93559" y="58378"/>
                  </a:cubicBezTo>
                  <a:cubicBezTo>
                    <a:pt x="93559" y="55135"/>
                    <a:pt x="95593" y="55135"/>
                    <a:pt x="95593" y="51891"/>
                  </a:cubicBezTo>
                  <a:cubicBezTo>
                    <a:pt x="95593" y="48648"/>
                    <a:pt x="89491" y="51891"/>
                    <a:pt x="89491" y="48648"/>
                  </a:cubicBezTo>
                  <a:cubicBezTo>
                    <a:pt x="87457" y="48648"/>
                    <a:pt x="91525" y="45405"/>
                    <a:pt x="91525" y="45405"/>
                  </a:cubicBezTo>
                  <a:cubicBezTo>
                    <a:pt x="93559" y="42162"/>
                    <a:pt x="89491" y="38918"/>
                    <a:pt x="89491" y="35675"/>
                  </a:cubicBezTo>
                  <a:cubicBezTo>
                    <a:pt x="87457" y="32432"/>
                    <a:pt x="77288" y="35675"/>
                    <a:pt x="77288" y="35675"/>
                  </a:cubicBezTo>
                  <a:cubicBezTo>
                    <a:pt x="77288" y="38918"/>
                    <a:pt x="87457" y="45405"/>
                    <a:pt x="87457" y="48648"/>
                  </a:cubicBezTo>
                  <a:cubicBezTo>
                    <a:pt x="85423" y="51891"/>
                    <a:pt x="79322" y="45405"/>
                    <a:pt x="77288" y="42162"/>
                  </a:cubicBezTo>
                  <a:cubicBezTo>
                    <a:pt x="73220" y="38918"/>
                    <a:pt x="79322" y="32432"/>
                    <a:pt x="71186" y="32432"/>
                  </a:cubicBezTo>
                  <a:cubicBezTo>
                    <a:pt x="67118" y="32432"/>
                    <a:pt x="61016" y="32432"/>
                    <a:pt x="58983" y="25945"/>
                  </a:cubicBezTo>
                  <a:cubicBezTo>
                    <a:pt x="56949" y="19459"/>
                    <a:pt x="52881" y="9729"/>
                    <a:pt x="48813" y="6486"/>
                  </a:cubicBezTo>
                  <a:cubicBezTo>
                    <a:pt x="42711" y="3243"/>
                    <a:pt x="36610" y="0"/>
                    <a:pt x="32542" y="0"/>
                  </a:cubicBezTo>
                  <a:cubicBezTo>
                    <a:pt x="30508" y="0"/>
                    <a:pt x="20338" y="0"/>
                    <a:pt x="24406" y="3243"/>
                  </a:cubicBezTo>
                  <a:cubicBezTo>
                    <a:pt x="26440" y="3243"/>
                    <a:pt x="34576" y="6486"/>
                    <a:pt x="34576" y="6486"/>
                  </a:cubicBezTo>
                  <a:cubicBezTo>
                    <a:pt x="34576" y="12972"/>
                    <a:pt x="26440" y="9729"/>
                    <a:pt x="24406" y="9729"/>
                  </a:cubicBezTo>
                  <a:cubicBezTo>
                    <a:pt x="24406" y="9729"/>
                    <a:pt x="26440" y="12972"/>
                    <a:pt x="26440" y="12972"/>
                  </a:cubicBezTo>
                  <a:cubicBezTo>
                    <a:pt x="26440" y="16216"/>
                    <a:pt x="14237" y="6486"/>
                    <a:pt x="12203" y="16216"/>
                  </a:cubicBezTo>
                  <a:cubicBezTo>
                    <a:pt x="12203" y="16216"/>
                    <a:pt x="22372" y="22702"/>
                    <a:pt x="24406" y="22702"/>
                  </a:cubicBezTo>
                  <a:cubicBezTo>
                    <a:pt x="20338" y="19459"/>
                    <a:pt x="22372" y="29189"/>
                    <a:pt x="22372" y="29189"/>
                  </a:cubicBezTo>
                  <a:cubicBezTo>
                    <a:pt x="22372" y="32432"/>
                    <a:pt x="8135" y="22702"/>
                    <a:pt x="6101" y="25945"/>
                  </a:cubicBezTo>
                  <a:cubicBezTo>
                    <a:pt x="6101" y="22702"/>
                    <a:pt x="12203" y="25945"/>
                    <a:pt x="12203" y="29189"/>
                  </a:cubicBezTo>
                  <a:cubicBezTo>
                    <a:pt x="12203" y="25945"/>
                    <a:pt x="8135" y="29189"/>
                    <a:pt x="8135" y="29189"/>
                  </a:cubicBezTo>
                  <a:cubicBezTo>
                    <a:pt x="6101" y="32432"/>
                    <a:pt x="10169" y="35675"/>
                    <a:pt x="10169" y="35675"/>
                  </a:cubicBezTo>
                  <a:cubicBezTo>
                    <a:pt x="12203" y="38918"/>
                    <a:pt x="4067" y="38918"/>
                    <a:pt x="2033" y="38918"/>
                  </a:cubicBezTo>
                  <a:cubicBezTo>
                    <a:pt x="4067" y="38918"/>
                    <a:pt x="8135" y="42162"/>
                    <a:pt x="12203" y="45405"/>
                  </a:cubicBezTo>
                  <a:cubicBezTo>
                    <a:pt x="16271" y="45405"/>
                    <a:pt x="20338" y="42162"/>
                    <a:pt x="24406" y="42162"/>
                  </a:cubicBezTo>
                  <a:cubicBezTo>
                    <a:pt x="24406" y="42162"/>
                    <a:pt x="20338" y="45405"/>
                    <a:pt x="20338" y="45405"/>
                  </a:cubicBezTo>
                  <a:cubicBezTo>
                    <a:pt x="20338" y="48648"/>
                    <a:pt x="22372" y="48648"/>
                    <a:pt x="22372" y="48648"/>
                  </a:cubicBezTo>
                  <a:cubicBezTo>
                    <a:pt x="22372" y="51891"/>
                    <a:pt x="0" y="48648"/>
                    <a:pt x="0" y="48648"/>
                  </a:cubicBezTo>
                  <a:cubicBezTo>
                    <a:pt x="0" y="48648"/>
                    <a:pt x="4067" y="58378"/>
                    <a:pt x="4067" y="58378"/>
                  </a:cubicBezTo>
                  <a:cubicBezTo>
                    <a:pt x="6101" y="61621"/>
                    <a:pt x="14237" y="68108"/>
                    <a:pt x="14237" y="64864"/>
                  </a:cubicBezTo>
                  <a:cubicBezTo>
                    <a:pt x="14237" y="68108"/>
                    <a:pt x="10169" y="64864"/>
                    <a:pt x="12203" y="71351"/>
                  </a:cubicBezTo>
                  <a:cubicBezTo>
                    <a:pt x="12203" y="71351"/>
                    <a:pt x="14237" y="74594"/>
                    <a:pt x="16271" y="74594"/>
                  </a:cubicBezTo>
                  <a:cubicBezTo>
                    <a:pt x="18305" y="77837"/>
                    <a:pt x="20338" y="74594"/>
                    <a:pt x="22372" y="74594"/>
                  </a:cubicBezTo>
                  <a:cubicBezTo>
                    <a:pt x="24406" y="71351"/>
                    <a:pt x="26440" y="77837"/>
                    <a:pt x="28474" y="74594"/>
                  </a:cubicBezTo>
                  <a:cubicBezTo>
                    <a:pt x="34576" y="71351"/>
                    <a:pt x="38644" y="68108"/>
                    <a:pt x="42711" y="71351"/>
                  </a:cubicBezTo>
                  <a:cubicBezTo>
                    <a:pt x="46779" y="74594"/>
                    <a:pt x="48813" y="74594"/>
                    <a:pt x="52881" y="74594"/>
                  </a:cubicBezTo>
                  <a:cubicBezTo>
                    <a:pt x="50847" y="74594"/>
                    <a:pt x="46779" y="74594"/>
                    <a:pt x="42711" y="74594"/>
                  </a:cubicBezTo>
                  <a:cubicBezTo>
                    <a:pt x="46779" y="74594"/>
                    <a:pt x="54915" y="74594"/>
                    <a:pt x="56949" y="77837"/>
                  </a:cubicBezTo>
                  <a:cubicBezTo>
                    <a:pt x="56949" y="77837"/>
                    <a:pt x="46779" y="81081"/>
                    <a:pt x="46779" y="81081"/>
                  </a:cubicBezTo>
                  <a:cubicBezTo>
                    <a:pt x="42711" y="81081"/>
                    <a:pt x="36610" y="81081"/>
                    <a:pt x="32542" y="81081"/>
                  </a:cubicBezTo>
                  <a:cubicBezTo>
                    <a:pt x="32542" y="84324"/>
                    <a:pt x="24406" y="87567"/>
                    <a:pt x="26440" y="87567"/>
                  </a:cubicBezTo>
                  <a:cubicBezTo>
                    <a:pt x="28474" y="90810"/>
                    <a:pt x="30508" y="90810"/>
                    <a:pt x="32542" y="97297"/>
                  </a:cubicBezTo>
                  <a:cubicBezTo>
                    <a:pt x="32542" y="103783"/>
                    <a:pt x="44745" y="97297"/>
                    <a:pt x="46779" y="103783"/>
                  </a:cubicBezTo>
                  <a:cubicBezTo>
                    <a:pt x="46779" y="103783"/>
                    <a:pt x="38644" y="103783"/>
                    <a:pt x="38644" y="107027"/>
                  </a:cubicBezTo>
                  <a:cubicBezTo>
                    <a:pt x="40677" y="110270"/>
                    <a:pt x="50847" y="116756"/>
                    <a:pt x="52881" y="116756"/>
                  </a:cubicBezTo>
                  <a:cubicBezTo>
                    <a:pt x="52881" y="116756"/>
                    <a:pt x="65084" y="116756"/>
                    <a:pt x="65084" y="113513"/>
                  </a:cubicBezTo>
                  <a:cubicBezTo>
                    <a:pt x="65084" y="113513"/>
                    <a:pt x="63050" y="113513"/>
                    <a:pt x="63050" y="113513"/>
                  </a:cubicBezTo>
                  <a:cubicBezTo>
                    <a:pt x="63050" y="107027"/>
                    <a:pt x="71186" y="116756"/>
                    <a:pt x="69152" y="116756"/>
                  </a:cubicBezTo>
                  <a:cubicBezTo>
                    <a:pt x="71186" y="116756"/>
                    <a:pt x="67118" y="107027"/>
                    <a:pt x="67118" y="103783"/>
                  </a:cubicBezTo>
                  <a:cubicBezTo>
                    <a:pt x="71186" y="100540"/>
                    <a:pt x="75254" y="120000"/>
                    <a:pt x="81355" y="113513"/>
                  </a:cubicBezTo>
                  <a:cubicBezTo>
                    <a:pt x="83389" y="110270"/>
                    <a:pt x="79322" y="103783"/>
                    <a:pt x="81355" y="103783"/>
                  </a:cubicBezTo>
                  <a:cubicBezTo>
                    <a:pt x="83389" y="103783"/>
                    <a:pt x="83389" y="110270"/>
                    <a:pt x="83389" y="113513"/>
                  </a:cubicBezTo>
                  <a:cubicBezTo>
                    <a:pt x="85423" y="113513"/>
                    <a:pt x="87457" y="100540"/>
                    <a:pt x="85423" y="100540"/>
                  </a:cubicBezTo>
                  <a:cubicBezTo>
                    <a:pt x="85423" y="97297"/>
                    <a:pt x="85423" y="94054"/>
                    <a:pt x="83389" y="94054"/>
                  </a:cubicBezTo>
                  <a:cubicBezTo>
                    <a:pt x="83389" y="90810"/>
                    <a:pt x="85423" y="84324"/>
                    <a:pt x="87457" y="87567"/>
                  </a:cubicBezTo>
                  <a:cubicBezTo>
                    <a:pt x="89491" y="90810"/>
                    <a:pt x="87457" y="103783"/>
                    <a:pt x="93559" y="97297"/>
                  </a:cubicBezTo>
                  <a:cubicBezTo>
                    <a:pt x="95593" y="94054"/>
                    <a:pt x="101694" y="81081"/>
                    <a:pt x="105762" y="87567"/>
                  </a:cubicBezTo>
                  <a:cubicBezTo>
                    <a:pt x="107796" y="87567"/>
                    <a:pt x="103728" y="90810"/>
                    <a:pt x="103728" y="90810"/>
                  </a:cubicBezTo>
                  <a:cubicBezTo>
                    <a:pt x="103728" y="90810"/>
                    <a:pt x="113898" y="87567"/>
                    <a:pt x="113898" y="87567"/>
                  </a:cubicBezTo>
                  <a:cubicBezTo>
                    <a:pt x="113898" y="87567"/>
                    <a:pt x="109830" y="87567"/>
                    <a:pt x="109830" y="84324"/>
                  </a:cubicBezTo>
                  <a:cubicBezTo>
                    <a:pt x="109830" y="81081"/>
                    <a:pt x="120000" y="81081"/>
                    <a:pt x="117966" y="77837"/>
                  </a:cubicBezTo>
                  <a:cubicBezTo>
                    <a:pt x="117966" y="71351"/>
                    <a:pt x="117966" y="81081"/>
                    <a:pt x="117966" y="77837"/>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06" name="Shape 2480">
              <a:extLst>
                <a:ext uri="{FF2B5EF4-FFF2-40B4-BE49-F238E27FC236}">
                  <a16:creationId xmlns:a16="http://schemas.microsoft.com/office/drawing/2014/main" id="{0D14A771-1BAB-3741-B4A2-145C80A8B3A6}"/>
                </a:ext>
              </a:extLst>
            </p:cNvPr>
            <p:cNvSpPr/>
            <p:nvPr/>
          </p:nvSpPr>
          <p:spPr>
            <a:xfrm>
              <a:off x="7419921" y="3767365"/>
              <a:ext cx="1455413" cy="758158"/>
            </a:xfrm>
            <a:custGeom>
              <a:avLst/>
              <a:gdLst/>
              <a:ahLst/>
              <a:cxnLst/>
              <a:rect l="0" t="0" r="0" b="0"/>
              <a:pathLst>
                <a:path w="120000" h="120000" extrusionOk="0">
                  <a:moveTo>
                    <a:pt x="20000" y="103703"/>
                  </a:moveTo>
                  <a:cubicBezTo>
                    <a:pt x="16923" y="103703"/>
                    <a:pt x="13076" y="103703"/>
                    <a:pt x="10000" y="105185"/>
                  </a:cubicBezTo>
                  <a:cubicBezTo>
                    <a:pt x="8461" y="106666"/>
                    <a:pt x="8461" y="111111"/>
                    <a:pt x="9230" y="112592"/>
                  </a:cubicBezTo>
                  <a:cubicBezTo>
                    <a:pt x="10000" y="114074"/>
                    <a:pt x="11538" y="115555"/>
                    <a:pt x="11538" y="114074"/>
                  </a:cubicBezTo>
                  <a:cubicBezTo>
                    <a:pt x="13076" y="114074"/>
                    <a:pt x="12307" y="112592"/>
                    <a:pt x="13076" y="111111"/>
                  </a:cubicBezTo>
                  <a:cubicBezTo>
                    <a:pt x="13076" y="111111"/>
                    <a:pt x="13076" y="115555"/>
                    <a:pt x="13076" y="115555"/>
                  </a:cubicBezTo>
                  <a:cubicBezTo>
                    <a:pt x="14615" y="115555"/>
                    <a:pt x="16923" y="115555"/>
                    <a:pt x="18461" y="115555"/>
                  </a:cubicBezTo>
                  <a:cubicBezTo>
                    <a:pt x="20000" y="115555"/>
                    <a:pt x="20000" y="112592"/>
                    <a:pt x="20769" y="112592"/>
                  </a:cubicBezTo>
                  <a:cubicBezTo>
                    <a:pt x="22307" y="112592"/>
                    <a:pt x="20769" y="115555"/>
                    <a:pt x="20769" y="115555"/>
                  </a:cubicBezTo>
                  <a:cubicBezTo>
                    <a:pt x="20769" y="115555"/>
                    <a:pt x="28461" y="117037"/>
                    <a:pt x="28461" y="115555"/>
                  </a:cubicBezTo>
                  <a:cubicBezTo>
                    <a:pt x="28461" y="115555"/>
                    <a:pt x="26923" y="114074"/>
                    <a:pt x="26153" y="112592"/>
                  </a:cubicBezTo>
                  <a:cubicBezTo>
                    <a:pt x="26153" y="112592"/>
                    <a:pt x="29230" y="114074"/>
                    <a:pt x="28461" y="115555"/>
                  </a:cubicBezTo>
                  <a:cubicBezTo>
                    <a:pt x="29230" y="114074"/>
                    <a:pt x="28461" y="112592"/>
                    <a:pt x="29230" y="112592"/>
                  </a:cubicBezTo>
                  <a:cubicBezTo>
                    <a:pt x="29230" y="112592"/>
                    <a:pt x="30769" y="114074"/>
                    <a:pt x="31538" y="114074"/>
                  </a:cubicBezTo>
                  <a:cubicBezTo>
                    <a:pt x="33076" y="117037"/>
                    <a:pt x="31538" y="112592"/>
                    <a:pt x="32307" y="111111"/>
                  </a:cubicBezTo>
                  <a:cubicBezTo>
                    <a:pt x="32307" y="111111"/>
                    <a:pt x="36923" y="115555"/>
                    <a:pt x="36923" y="114074"/>
                  </a:cubicBezTo>
                  <a:cubicBezTo>
                    <a:pt x="36923" y="112592"/>
                    <a:pt x="35384" y="112592"/>
                    <a:pt x="35384" y="111111"/>
                  </a:cubicBezTo>
                  <a:cubicBezTo>
                    <a:pt x="35384" y="111111"/>
                    <a:pt x="40769" y="112592"/>
                    <a:pt x="40769" y="112592"/>
                  </a:cubicBezTo>
                  <a:cubicBezTo>
                    <a:pt x="43846" y="112592"/>
                    <a:pt x="40000" y="117037"/>
                    <a:pt x="40000" y="118518"/>
                  </a:cubicBezTo>
                  <a:cubicBezTo>
                    <a:pt x="40000" y="120000"/>
                    <a:pt x="49230" y="112592"/>
                    <a:pt x="50000" y="112592"/>
                  </a:cubicBezTo>
                  <a:cubicBezTo>
                    <a:pt x="51538" y="112592"/>
                    <a:pt x="55384" y="108148"/>
                    <a:pt x="52307" y="106666"/>
                  </a:cubicBezTo>
                  <a:cubicBezTo>
                    <a:pt x="50769" y="105185"/>
                    <a:pt x="48461" y="108148"/>
                    <a:pt x="46923" y="106666"/>
                  </a:cubicBezTo>
                  <a:cubicBezTo>
                    <a:pt x="46923" y="106666"/>
                    <a:pt x="48461" y="103703"/>
                    <a:pt x="48461" y="103703"/>
                  </a:cubicBezTo>
                  <a:cubicBezTo>
                    <a:pt x="48461" y="102222"/>
                    <a:pt x="46153" y="103703"/>
                    <a:pt x="45384" y="103703"/>
                  </a:cubicBezTo>
                  <a:cubicBezTo>
                    <a:pt x="43846" y="103703"/>
                    <a:pt x="43076" y="100740"/>
                    <a:pt x="41538" y="100740"/>
                  </a:cubicBezTo>
                  <a:cubicBezTo>
                    <a:pt x="40769" y="102222"/>
                    <a:pt x="38461" y="103703"/>
                    <a:pt x="36923" y="102222"/>
                  </a:cubicBezTo>
                  <a:cubicBezTo>
                    <a:pt x="37692" y="102222"/>
                    <a:pt x="38461" y="102222"/>
                    <a:pt x="39230" y="102222"/>
                  </a:cubicBezTo>
                  <a:cubicBezTo>
                    <a:pt x="40000" y="100740"/>
                    <a:pt x="38461" y="97777"/>
                    <a:pt x="38461" y="96296"/>
                  </a:cubicBezTo>
                  <a:cubicBezTo>
                    <a:pt x="38461" y="99259"/>
                    <a:pt x="45384" y="100740"/>
                    <a:pt x="46153" y="100740"/>
                  </a:cubicBezTo>
                  <a:cubicBezTo>
                    <a:pt x="46923" y="100740"/>
                    <a:pt x="48461" y="100740"/>
                    <a:pt x="50000" y="100740"/>
                  </a:cubicBezTo>
                  <a:cubicBezTo>
                    <a:pt x="51538" y="100740"/>
                    <a:pt x="53076" y="96296"/>
                    <a:pt x="52307" y="94814"/>
                  </a:cubicBezTo>
                  <a:cubicBezTo>
                    <a:pt x="50000" y="90370"/>
                    <a:pt x="54615" y="90370"/>
                    <a:pt x="56153" y="90370"/>
                  </a:cubicBezTo>
                  <a:cubicBezTo>
                    <a:pt x="56923" y="90370"/>
                    <a:pt x="60769" y="90370"/>
                    <a:pt x="61538" y="88888"/>
                  </a:cubicBezTo>
                  <a:cubicBezTo>
                    <a:pt x="61538" y="88888"/>
                    <a:pt x="57692" y="85925"/>
                    <a:pt x="57692" y="85925"/>
                  </a:cubicBezTo>
                  <a:cubicBezTo>
                    <a:pt x="59230" y="84444"/>
                    <a:pt x="62307" y="87407"/>
                    <a:pt x="63076" y="84444"/>
                  </a:cubicBezTo>
                  <a:cubicBezTo>
                    <a:pt x="63846" y="82962"/>
                    <a:pt x="59230" y="81481"/>
                    <a:pt x="58461" y="81481"/>
                  </a:cubicBezTo>
                  <a:cubicBezTo>
                    <a:pt x="59230" y="81481"/>
                    <a:pt x="64615" y="80000"/>
                    <a:pt x="65384" y="78518"/>
                  </a:cubicBezTo>
                  <a:cubicBezTo>
                    <a:pt x="66923" y="77037"/>
                    <a:pt x="59230" y="74074"/>
                    <a:pt x="59230" y="75555"/>
                  </a:cubicBezTo>
                  <a:cubicBezTo>
                    <a:pt x="59230" y="74074"/>
                    <a:pt x="60769" y="74074"/>
                    <a:pt x="60769" y="74074"/>
                  </a:cubicBezTo>
                  <a:cubicBezTo>
                    <a:pt x="60769" y="72592"/>
                    <a:pt x="55384" y="74074"/>
                    <a:pt x="54615" y="74074"/>
                  </a:cubicBezTo>
                  <a:cubicBezTo>
                    <a:pt x="53076" y="74074"/>
                    <a:pt x="52307" y="75555"/>
                    <a:pt x="50769" y="77037"/>
                  </a:cubicBezTo>
                  <a:cubicBezTo>
                    <a:pt x="51538" y="77037"/>
                    <a:pt x="53846" y="72592"/>
                    <a:pt x="52307" y="72592"/>
                  </a:cubicBezTo>
                  <a:cubicBezTo>
                    <a:pt x="52307" y="72592"/>
                    <a:pt x="49230" y="72592"/>
                    <a:pt x="49230" y="71111"/>
                  </a:cubicBezTo>
                  <a:cubicBezTo>
                    <a:pt x="49230" y="71111"/>
                    <a:pt x="54615" y="71111"/>
                    <a:pt x="55384" y="71111"/>
                  </a:cubicBezTo>
                  <a:cubicBezTo>
                    <a:pt x="54615" y="71111"/>
                    <a:pt x="52307" y="69629"/>
                    <a:pt x="52307" y="69629"/>
                  </a:cubicBezTo>
                  <a:cubicBezTo>
                    <a:pt x="53076" y="68148"/>
                    <a:pt x="55384" y="71111"/>
                    <a:pt x="56923" y="69629"/>
                  </a:cubicBezTo>
                  <a:cubicBezTo>
                    <a:pt x="56153" y="69629"/>
                    <a:pt x="53076" y="68148"/>
                    <a:pt x="53076" y="68148"/>
                  </a:cubicBezTo>
                  <a:cubicBezTo>
                    <a:pt x="53076" y="66666"/>
                    <a:pt x="59230" y="68148"/>
                    <a:pt x="60000" y="66666"/>
                  </a:cubicBezTo>
                  <a:cubicBezTo>
                    <a:pt x="60000" y="66666"/>
                    <a:pt x="57692" y="65185"/>
                    <a:pt x="57692" y="65185"/>
                  </a:cubicBezTo>
                  <a:cubicBezTo>
                    <a:pt x="56923" y="65185"/>
                    <a:pt x="59230" y="65185"/>
                    <a:pt x="59230" y="65185"/>
                  </a:cubicBezTo>
                  <a:cubicBezTo>
                    <a:pt x="60769" y="66666"/>
                    <a:pt x="61538" y="68148"/>
                    <a:pt x="63076" y="68148"/>
                  </a:cubicBezTo>
                  <a:cubicBezTo>
                    <a:pt x="64615" y="68148"/>
                    <a:pt x="66923" y="66666"/>
                    <a:pt x="69230" y="65185"/>
                  </a:cubicBezTo>
                  <a:cubicBezTo>
                    <a:pt x="75384" y="63703"/>
                    <a:pt x="65384" y="62222"/>
                    <a:pt x="64615" y="59259"/>
                  </a:cubicBezTo>
                  <a:cubicBezTo>
                    <a:pt x="64615" y="57777"/>
                    <a:pt x="71538" y="59259"/>
                    <a:pt x="72307" y="60740"/>
                  </a:cubicBezTo>
                  <a:cubicBezTo>
                    <a:pt x="73846" y="62222"/>
                    <a:pt x="74615" y="62222"/>
                    <a:pt x="76923" y="60740"/>
                  </a:cubicBezTo>
                  <a:cubicBezTo>
                    <a:pt x="77692" y="60740"/>
                    <a:pt x="81538" y="57777"/>
                    <a:pt x="80769" y="54814"/>
                  </a:cubicBezTo>
                  <a:cubicBezTo>
                    <a:pt x="80769" y="53333"/>
                    <a:pt x="72307" y="60740"/>
                    <a:pt x="74615" y="53333"/>
                  </a:cubicBezTo>
                  <a:cubicBezTo>
                    <a:pt x="73846" y="54814"/>
                    <a:pt x="77692" y="54814"/>
                    <a:pt x="77692" y="54814"/>
                  </a:cubicBezTo>
                  <a:cubicBezTo>
                    <a:pt x="80000" y="54814"/>
                    <a:pt x="81538" y="53333"/>
                    <a:pt x="83076" y="53333"/>
                  </a:cubicBezTo>
                  <a:cubicBezTo>
                    <a:pt x="83076" y="51851"/>
                    <a:pt x="80769" y="47407"/>
                    <a:pt x="80769" y="47407"/>
                  </a:cubicBezTo>
                  <a:cubicBezTo>
                    <a:pt x="81538" y="47407"/>
                    <a:pt x="82307" y="48888"/>
                    <a:pt x="82307" y="50370"/>
                  </a:cubicBezTo>
                  <a:cubicBezTo>
                    <a:pt x="83076" y="51851"/>
                    <a:pt x="84615" y="50370"/>
                    <a:pt x="85384" y="50370"/>
                  </a:cubicBezTo>
                  <a:cubicBezTo>
                    <a:pt x="87692" y="47407"/>
                    <a:pt x="89230" y="44444"/>
                    <a:pt x="91538" y="42962"/>
                  </a:cubicBezTo>
                  <a:cubicBezTo>
                    <a:pt x="93076" y="41481"/>
                    <a:pt x="104615" y="32592"/>
                    <a:pt x="104615" y="31111"/>
                  </a:cubicBezTo>
                  <a:cubicBezTo>
                    <a:pt x="104615" y="29629"/>
                    <a:pt x="94615" y="34074"/>
                    <a:pt x="93846" y="34074"/>
                  </a:cubicBezTo>
                  <a:cubicBezTo>
                    <a:pt x="91538" y="35555"/>
                    <a:pt x="89230" y="35555"/>
                    <a:pt x="86153" y="37037"/>
                  </a:cubicBezTo>
                  <a:cubicBezTo>
                    <a:pt x="86153" y="37037"/>
                    <a:pt x="83076" y="37037"/>
                    <a:pt x="83076" y="37037"/>
                  </a:cubicBezTo>
                  <a:cubicBezTo>
                    <a:pt x="83076" y="35555"/>
                    <a:pt x="87692" y="35555"/>
                    <a:pt x="88461" y="34074"/>
                  </a:cubicBezTo>
                  <a:cubicBezTo>
                    <a:pt x="89230" y="34074"/>
                    <a:pt x="94615" y="32592"/>
                    <a:pt x="94615" y="31111"/>
                  </a:cubicBezTo>
                  <a:cubicBezTo>
                    <a:pt x="94615" y="32592"/>
                    <a:pt x="86923" y="29629"/>
                    <a:pt x="87692" y="28148"/>
                  </a:cubicBezTo>
                  <a:cubicBezTo>
                    <a:pt x="87692" y="28148"/>
                    <a:pt x="96923" y="29629"/>
                    <a:pt x="97692" y="28148"/>
                  </a:cubicBezTo>
                  <a:cubicBezTo>
                    <a:pt x="99230" y="28148"/>
                    <a:pt x="101538" y="26666"/>
                    <a:pt x="103076" y="26666"/>
                  </a:cubicBezTo>
                  <a:cubicBezTo>
                    <a:pt x="103846" y="26666"/>
                    <a:pt x="105384" y="26666"/>
                    <a:pt x="106153" y="26666"/>
                  </a:cubicBezTo>
                  <a:cubicBezTo>
                    <a:pt x="109230" y="25185"/>
                    <a:pt x="112307" y="23703"/>
                    <a:pt x="114615" y="22222"/>
                  </a:cubicBezTo>
                  <a:cubicBezTo>
                    <a:pt x="114615" y="22222"/>
                    <a:pt x="120000" y="16296"/>
                    <a:pt x="117692" y="14814"/>
                  </a:cubicBezTo>
                  <a:cubicBezTo>
                    <a:pt x="116153" y="14814"/>
                    <a:pt x="113846" y="14814"/>
                    <a:pt x="112307" y="14814"/>
                  </a:cubicBezTo>
                  <a:cubicBezTo>
                    <a:pt x="111538" y="13333"/>
                    <a:pt x="110000" y="14814"/>
                    <a:pt x="110000" y="13333"/>
                  </a:cubicBezTo>
                  <a:cubicBezTo>
                    <a:pt x="110000" y="10370"/>
                    <a:pt x="108461" y="10370"/>
                    <a:pt x="108461" y="7407"/>
                  </a:cubicBezTo>
                  <a:cubicBezTo>
                    <a:pt x="108461" y="7407"/>
                    <a:pt x="105384" y="8888"/>
                    <a:pt x="104615" y="8888"/>
                  </a:cubicBezTo>
                  <a:cubicBezTo>
                    <a:pt x="103846" y="7407"/>
                    <a:pt x="103076" y="4444"/>
                    <a:pt x="102307" y="7407"/>
                  </a:cubicBezTo>
                  <a:cubicBezTo>
                    <a:pt x="102307" y="7407"/>
                    <a:pt x="97692" y="8888"/>
                    <a:pt x="96923" y="8888"/>
                  </a:cubicBezTo>
                  <a:cubicBezTo>
                    <a:pt x="95384" y="10370"/>
                    <a:pt x="93846" y="10370"/>
                    <a:pt x="92307" y="10370"/>
                  </a:cubicBezTo>
                  <a:cubicBezTo>
                    <a:pt x="92307" y="10370"/>
                    <a:pt x="89230" y="10370"/>
                    <a:pt x="89230" y="10370"/>
                  </a:cubicBezTo>
                  <a:cubicBezTo>
                    <a:pt x="89230" y="8888"/>
                    <a:pt x="92307" y="8888"/>
                    <a:pt x="93076" y="7407"/>
                  </a:cubicBezTo>
                  <a:cubicBezTo>
                    <a:pt x="94615" y="7407"/>
                    <a:pt x="96153" y="5925"/>
                    <a:pt x="96923" y="4444"/>
                  </a:cubicBezTo>
                  <a:cubicBezTo>
                    <a:pt x="95384" y="8888"/>
                    <a:pt x="79230" y="0"/>
                    <a:pt x="78461" y="2962"/>
                  </a:cubicBezTo>
                  <a:cubicBezTo>
                    <a:pt x="78461" y="4444"/>
                    <a:pt x="80000" y="4444"/>
                    <a:pt x="80769" y="5925"/>
                  </a:cubicBezTo>
                  <a:cubicBezTo>
                    <a:pt x="80769" y="7407"/>
                    <a:pt x="76923" y="2962"/>
                    <a:pt x="76923" y="2962"/>
                  </a:cubicBezTo>
                  <a:cubicBezTo>
                    <a:pt x="75384" y="1481"/>
                    <a:pt x="73076" y="2962"/>
                    <a:pt x="72307" y="2962"/>
                  </a:cubicBezTo>
                  <a:cubicBezTo>
                    <a:pt x="71538" y="2962"/>
                    <a:pt x="69230" y="2962"/>
                    <a:pt x="70000" y="4444"/>
                  </a:cubicBezTo>
                  <a:cubicBezTo>
                    <a:pt x="70769" y="5925"/>
                    <a:pt x="72307" y="10370"/>
                    <a:pt x="73076" y="8888"/>
                  </a:cubicBezTo>
                  <a:cubicBezTo>
                    <a:pt x="73076" y="10370"/>
                    <a:pt x="70000" y="8888"/>
                    <a:pt x="70000" y="7407"/>
                  </a:cubicBezTo>
                  <a:cubicBezTo>
                    <a:pt x="67692" y="7407"/>
                    <a:pt x="66923" y="2962"/>
                    <a:pt x="65384" y="2962"/>
                  </a:cubicBezTo>
                  <a:cubicBezTo>
                    <a:pt x="62307" y="2962"/>
                    <a:pt x="60000" y="2962"/>
                    <a:pt x="57692" y="2962"/>
                  </a:cubicBezTo>
                  <a:cubicBezTo>
                    <a:pt x="53846" y="4444"/>
                    <a:pt x="56153" y="5925"/>
                    <a:pt x="58461" y="7407"/>
                  </a:cubicBezTo>
                  <a:cubicBezTo>
                    <a:pt x="59230" y="8888"/>
                    <a:pt x="60769" y="10370"/>
                    <a:pt x="61538" y="11851"/>
                  </a:cubicBezTo>
                  <a:cubicBezTo>
                    <a:pt x="61538" y="11851"/>
                    <a:pt x="59230" y="14814"/>
                    <a:pt x="59230" y="14814"/>
                  </a:cubicBezTo>
                  <a:cubicBezTo>
                    <a:pt x="58461" y="14814"/>
                    <a:pt x="60000" y="13333"/>
                    <a:pt x="60000" y="13333"/>
                  </a:cubicBezTo>
                  <a:cubicBezTo>
                    <a:pt x="60000" y="11851"/>
                    <a:pt x="54615" y="5925"/>
                    <a:pt x="53846" y="5925"/>
                  </a:cubicBezTo>
                  <a:cubicBezTo>
                    <a:pt x="50769" y="5925"/>
                    <a:pt x="47692" y="4444"/>
                    <a:pt x="44615" y="5925"/>
                  </a:cubicBezTo>
                  <a:cubicBezTo>
                    <a:pt x="44615" y="5925"/>
                    <a:pt x="46153" y="8888"/>
                    <a:pt x="46923" y="8888"/>
                  </a:cubicBezTo>
                  <a:cubicBezTo>
                    <a:pt x="47692" y="8888"/>
                    <a:pt x="49230" y="10370"/>
                    <a:pt x="50769" y="8888"/>
                  </a:cubicBezTo>
                  <a:cubicBezTo>
                    <a:pt x="49230" y="10370"/>
                    <a:pt x="46923" y="11851"/>
                    <a:pt x="45384" y="10370"/>
                  </a:cubicBezTo>
                  <a:cubicBezTo>
                    <a:pt x="44615" y="10370"/>
                    <a:pt x="39230" y="5925"/>
                    <a:pt x="40000" y="7407"/>
                  </a:cubicBezTo>
                  <a:cubicBezTo>
                    <a:pt x="40000" y="5925"/>
                    <a:pt x="43846" y="14814"/>
                    <a:pt x="40769" y="13333"/>
                  </a:cubicBezTo>
                  <a:cubicBezTo>
                    <a:pt x="40000" y="11851"/>
                    <a:pt x="37692" y="10370"/>
                    <a:pt x="36153" y="11851"/>
                  </a:cubicBezTo>
                  <a:cubicBezTo>
                    <a:pt x="36923" y="11851"/>
                    <a:pt x="39230" y="13333"/>
                    <a:pt x="39230" y="13333"/>
                  </a:cubicBezTo>
                  <a:cubicBezTo>
                    <a:pt x="38461" y="14814"/>
                    <a:pt x="35384" y="11851"/>
                    <a:pt x="35384" y="14814"/>
                  </a:cubicBezTo>
                  <a:cubicBezTo>
                    <a:pt x="35384" y="16296"/>
                    <a:pt x="38461" y="17777"/>
                    <a:pt x="39230" y="19259"/>
                  </a:cubicBezTo>
                  <a:cubicBezTo>
                    <a:pt x="41538" y="19259"/>
                    <a:pt x="46923" y="20740"/>
                    <a:pt x="46923" y="25185"/>
                  </a:cubicBezTo>
                  <a:cubicBezTo>
                    <a:pt x="46923" y="23703"/>
                    <a:pt x="41538" y="22222"/>
                    <a:pt x="40000" y="20740"/>
                  </a:cubicBezTo>
                  <a:cubicBezTo>
                    <a:pt x="38461" y="20740"/>
                    <a:pt x="36153" y="16296"/>
                    <a:pt x="34615" y="17777"/>
                  </a:cubicBezTo>
                  <a:cubicBezTo>
                    <a:pt x="34615" y="17777"/>
                    <a:pt x="36923" y="20740"/>
                    <a:pt x="36923" y="20740"/>
                  </a:cubicBezTo>
                  <a:cubicBezTo>
                    <a:pt x="36923" y="20740"/>
                    <a:pt x="34615" y="22222"/>
                    <a:pt x="34615" y="20740"/>
                  </a:cubicBezTo>
                  <a:cubicBezTo>
                    <a:pt x="33076" y="19259"/>
                    <a:pt x="32307" y="17777"/>
                    <a:pt x="30769" y="16296"/>
                  </a:cubicBezTo>
                  <a:cubicBezTo>
                    <a:pt x="30000" y="14814"/>
                    <a:pt x="23846" y="14814"/>
                    <a:pt x="23846" y="14814"/>
                  </a:cubicBezTo>
                  <a:cubicBezTo>
                    <a:pt x="23846" y="16296"/>
                    <a:pt x="26153" y="16296"/>
                    <a:pt x="23846" y="17777"/>
                  </a:cubicBezTo>
                  <a:cubicBezTo>
                    <a:pt x="23076" y="17777"/>
                    <a:pt x="19230" y="20740"/>
                    <a:pt x="19230" y="20740"/>
                  </a:cubicBezTo>
                  <a:cubicBezTo>
                    <a:pt x="20000" y="20740"/>
                    <a:pt x="22307" y="19259"/>
                    <a:pt x="22307" y="19259"/>
                  </a:cubicBezTo>
                  <a:cubicBezTo>
                    <a:pt x="23076" y="20740"/>
                    <a:pt x="26153" y="23703"/>
                    <a:pt x="26153" y="23703"/>
                  </a:cubicBezTo>
                  <a:cubicBezTo>
                    <a:pt x="26153" y="23703"/>
                    <a:pt x="23846" y="22222"/>
                    <a:pt x="23846" y="23703"/>
                  </a:cubicBezTo>
                  <a:cubicBezTo>
                    <a:pt x="23846" y="23703"/>
                    <a:pt x="24615" y="28148"/>
                    <a:pt x="23076" y="25185"/>
                  </a:cubicBezTo>
                  <a:cubicBezTo>
                    <a:pt x="22307" y="23703"/>
                    <a:pt x="21538" y="20740"/>
                    <a:pt x="20000" y="22222"/>
                  </a:cubicBezTo>
                  <a:cubicBezTo>
                    <a:pt x="19230" y="22222"/>
                    <a:pt x="18461" y="25185"/>
                    <a:pt x="17692" y="23703"/>
                  </a:cubicBezTo>
                  <a:cubicBezTo>
                    <a:pt x="16923" y="22222"/>
                    <a:pt x="16153" y="20740"/>
                    <a:pt x="14615" y="20740"/>
                  </a:cubicBezTo>
                  <a:cubicBezTo>
                    <a:pt x="13846" y="20740"/>
                    <a:pt x="11538" y="22222"/>
                    <a:pt x="10769" y="23703"/>
                  </a:cubicBezTo>
                  <a:cubicBezTo>
                    <a:pt x="9230" y="25185"/>
                    <a:pt x="10000" y="26666"/>
                    <a:pt x="7692" y="25185"/>
                  </a:cubicBezTo>
                  <a:cubicBezTo>
                    <a:pt x="6153" y="23703"/>
                    <a:pt x="5384" y="25185"/>
                    <a:pt x="3846" y="25185"/>
                  </a:cubicBezTo>
                  <a:cubicBezTo>
                    <a:pt x="3076" y="26666"/>
                    <a:pt x="0" y="26666"/>
                    <a:pt x="0" y="28148"/>
                  </a:cubicBezTo>
                  <a:cubicBezTo>
                    <a:pt x="0" y="31111"/>
                    <a:pt x="6923" y="28148"/>
                    <a:pt x="6923" y="29629"/>
                  </a:cubicBezTo>
                  <a:cubicBezTo>
                    <a:pt x="6923" y="31111"/>
                    <a:pt x="4615" y="31111"/>
                    <a:pt x="3846" y="32592"/>
                  </a:cubicBezTo>
                  <a:cubicBezTo>
                    <a:pt x="3846" y="31111"/>
                    <a:pt x="7692" y="31111"/>
                    <a:pt x="8461" y="31111"/>
                  </a:cubicBezTo>
                  <a:cubicBezTo>
                    <a:pt x="9230" y="31111"/>
                    <a:pt x="13076" y="31111"/>
                    <a:pt x="13076" y="31111"/>
                  </a:cubicBezTo>
                  <a:cubicBezTo>
                    <a:pt x="13076" y="31111"/>
                    <a:pt x="11538" y="32592"/>
                    <a:pt x="10769" y="32592"/>
                  </a:cubicBezTo>
                  <a:cubicBezTo>
                    <a:pt x="9230" y="32592"/>
                    <a:pt x="8461" y="32592"/>
                    <a:pt x="6923" y="35555"/>
                  </a:cubicBezTo>
                  <a:cubicBezTo>
                    <a:pt x="3846" y="38518"/>
                    <a:pt x="9230" y="38518"/>
                    <a:pt x="10000" y="38518"/>
                  </a:cubicBezTo>
                  <a:cubicBezTo>
                    <a:pt x="13076" y="40000"/>
                    <a:pt x="15384" y="40000"/>
                    <a:pt x="18461" y="38518"/>
                  </a:cubicBezTo>
                  <a:cubicBezTo>
                    <a:pt x="20000" y="37037"/>
                    <a:pt x="23846" y="32592"/>
                    <a:pt x="26153" y="35555"/>
                  </a:cubicBezTo>
                  <a:cubicBezTo>
                    <a:pt x="26153" y="35555"/>
                    <a:pt x="22307" y="38518"/>
                    <a:pt x="22307" y="38518"/>
                  </a:cubicBezTo>
                  <a:cubicBezTo>
                    <a:pt x="20769" y="38518"/>
                    <a:pt x="19230" y="38518"/>
                    <a:pt x="17692" y="40000"/>
                  </a:cubicBezTo>
                  <a:cubicBezTo>
                    <a:pt x="16923" y="40000"/>
                    <a:pt x="15384" y="40000"/>
                    <a:pt x="13846" y="40000"/>
                  </a:cubicBezTo>
                  <a:cubicBezTo>
                    <a:pt x="12307" y="41481"/>
                    <a:pt x="10769" y="40000"/>
                    <a:pt x="9230" y="41481"/>
                  </a:cubicBezTo>
                  <a:cubicBezTo>
                    <a:pt x="10000" y="41481"/>
                    <a:pt x="12307" y="42962"/>
                    <a:pt x="12307" y="42962"/>
                  </a:cubicBezTo>
                  <a:cubicBezTo>
                    <a:pt x="13076" y="44444"/>
                    <a:pt x="13846" y="45925"/>
                    <a:pt x="15384" y="45925"/>
                  </a:cubicBezTo>
                  <a:cubicBezTo>
                    <a:pt x="18461" y="45925"/>
                    <a:pt x="20000" y="41481"/>
                    <a:pt x="23076" y="40000"/>
                  </a:cubicBezTo>
                  <a:cubicBezTo>
                    <a:pt x="23846" y="40000"/>
                    <a:pt x="33846" y="38518"/>
                    <a:pt x="33846" y="37037"/>
                  </a:cubicBezTo>
                  <a:cubicBezTo>
                    <a:pt x="33846" y="38518"/>
                    <a:pt x="29230" y="38518"/>
                    <a:pt x="28461" y="38518"/>
                  </a:cubicBezTo>
                  <a:cubicBezTo>
                    <a:pt x="26153" y="40000"/>
                    <a:pt x="22307" y="41481"/>
                    <a:pt x="20000" y="44444"/>
                  </a:cubicBezTo>
                  <a:cubicBezTo>
                    <a:pt x="17692" y="48888"/>
                    <a:pt x="24615" y="47407"/>
                    <a:pt x="25384" y="47407"/>
                  </a:cubicBezTo>
                  <a:cubicBezTo>
                    <a:pt x="26923" y="47407"/>
                    <a:pt x="28461" y="48888"/>
                    <a:pt x="30000" y="45925"/>
                  </a:cubicBezTo>
                  <a:cubicBezTo>
                    <a:pt x="30769" y="45925"/>
                    <a:pt x="30769" y="44444"/>
                    <a:pt x="30769" y="42962"/>
                  </a:cubicBezTo>
                  <a:cubicBezTo>
                    <a:pt x="31538" y="42962"/>
                    <a:pt x="32307" y="42962"/>
                    <a:pt x="32307" y="44444"/>
                  </a:cubicBezTo>
                  <a:cubicBezTo>
                    <a:pt x="32307" y="44444"/>
                    <a:pt x="32307" y="44444"/>
                    <a:pt x="31538" y="44444"/>
                  </a:cubicBezTo>
                  <a:cubicBezTo>
                    <a:pt x="33076" y="44444"/>
                    <a:pt x="36923" y="41481"/>
                    <a:pt x="38461" y="42962"/>
                  </a:cubicBezTo>
                  <a:cubicBezTo>
                    <a:pt x="37692" y="41481"/>
                    <a:pt x="33846" y="47407"/>
                    <a:pt x="33076" y="47407"/>
                  </a:cubicBezTo>
                  <a:cubicBezTo>
                    <a:pt x="33846" y="48888"/>
                    <a:pt x="38461" y="45925"/>
                    <a:pt x="40000" y="45925"/>
                  </a:cubicBezTo>
                  <a:cubicBezTo>
                    <a:pt x="42307" y="45925"/>
                    <a:pt x="44615" y="44444"/>
                    <a:pt x="46923" y="41481"/>
                  </a:cubicBezTo>
                  <a:cubicBezTo>
                    <a:pt x="47692" y="40000"/>
                    <a:pt x="47692" y="37037"/>
                    <a:pt x="47692" y="37037"/>
                  </a:cubicBezTo>
                  <a:cubicBezTo>
                    <a:pt x="49230" y="37037"/>
                    <a:pt x="49230" y="37037"/>
                    <a:pt x="50000" y="35555"/>
                  </a:cubicBezTo>
                  <a:cubicBezTo>
                    <a:pt x="50769" y="35555"/>
                    <a:pt x="56153" y="29629"/>
                    <a:pt x="56153" y="31111"/>
                  </a:cubicBezTo>
                  <a:cubicBezTo>
                    <a:pt x="56153" y="31111"/>
                    <a:pt x="53076" y="35555"/>
                    <a:pt x="53076" y="35555"/>
                  </a:cubicBezTo>
                  <a:cubicBezTo>
                    <a:pt x="52307" y="37037"/>
                    <a:pt x="49230" y="40000"/>
                    <a:pt x="49230" y="41481"/>
                  </a:cubicBezTo>
                  <a:cubicBezTo>
                    <a:pt x="49230" y="42962"/>
                    <a:pt x="57692" y="41481"/>
                    <a:pt x="57692" y="42962"/>
                  </a:cubicBezTo>
                  <a:cubicBezTo>
                    <a:pt x="57692" y="41481"/>
                    <a:pt x="46153" y="47407"/>
                    <a:pt x="46153" y="45925"/>
                  </a:cubicBezTo>
                  <a:cubicBezTo>
                    <a:pt x="46153" y="45925"/>
                    <a:pt x="53076" y="47407"/>
                    <a:pt x="52307" y="47407"/>
                  </a:cubicBezTo>
                  <a:cubicBezTo>
                    <a:pt x="52307" y="48888"/>
                    <a:pt x="49230" y="48888"/>
                    <a:pt x="48461" y="48888"/>
                  </a:cubicBezTo>
                  <a:cubicBezTo>
                    <a:pt x="46923" y="48888"/>
                    <a:pt x="44615" y="48888"/>
                    <a:pt x="43076" y="50370"/>
                  </a:cubicBezTo>
                  <a:cubicBezTo>
                    <a:pt x="40000" y="50370"/>
                    <a:pt x="36923" y="50370"/>
                    <a:pt x="33846" y="51851"/>
                  </a:cubicBezTo>
                  <a:cubicBezTo>
                    <a:pt x="33076" y="51851"/>
                    <a:pt x="33076" y="53333"/>
                    <a:pt x="34615" y="53333"/>
                  </a:cubicBezTo>
                  <a:cubicBezTo>
                    <a:pt x="35384" y="54814"/>
                    <a:pt x="37692" y="56296"/>
                    <a:pt x="38461" y="57777"/>
                  </a:cubicBezTo>
                  <a:cubicBezTo>
                    <a:pt x="40000" y="60740"/>
                    <a:pt x="38461" y="63703"/>
                    <a:pt x="40769" y="63703"/>
                  </a:cubicBezTo>
                  <a:cubicBezTo>
                    <a:pt x="41538" y="62222"/>
                    <a:pt x="43846" y="63703"/>
                    <a:pt x="44615" y="62222"/>
                  </a:cubicBezTo>
                  <a:cubicBezTo>
                    <a:pt x="37692" y="69629"/>
                    <a:pt x="33846" y="53333"/>
                    <a:pt x="28461" y="53333"/>
                  </a:cubicBezTo>
                  <a:cubicBezTo>
                    <a:pt x="26923" y="53333"/>
                    <a:pt x="20000" y="50370"/>
                    <a:pt x="20000" y="53333"/>
                  </a:cubicBezTo>
                  <a:cubicBezTo>
                    <a:pt x="20000" y="53333"/>
                    <a:pt x="19230" y="56296"/>
                    <a:pt x="19230" y="56296"/>
                  </a:cubicBezTo>
                  <a:cubicBezTo>
                    <a:pt x="20000" y="56296"/>
                    <a:pt x="24615" y="56296"/>
                    <a:pt x="24615" y="57777"/>
                  </a:cubicBezTo>
                  <a:cubicBezTo>
                    <a:pt x="24615" y="57777"/>
                    <a:pt x="20000" y="57777"/>
                    <a:pt x="20000" y="60740"/>
                  </a:cubicBezTo>
                  <a:cubicBezTo>
                    <a:pt x="20000" y="62222"/>
                    <a:pt x="24615" y="62222"/>
                    <a:pt x="26153" y="63703"/>
                  </a:cubicBezTo>
                  <a:cubicBezTo>
                    <a:pt x="26923" y="65185"/>
                    <a:pt x="27692" y="66666"/>
                    <a:pt x="28461" y="68148"/>
                  </a:cubicBezTo>
                  <a:cubicBezTo>
                    <a:pt x="29230" y="71111"/>
                    <a:pt x="30769" y="72592"/>
                    <a:pt x="32307" y="74074"/>
                  </a:cubicBezTo>
                  <a:cubicBezTo>
                    <a:pt x="33846" y="75555"/>
                    <a:pt x="34615" y="75555"/>
                    <a:pt x="36153" y="74074"/>
                  </a:cubicBezTo>
                  <a:cubicBezTo>
                    <a:pt x="36923" y="74074"/>
                    <a:pt x="38461" y="72592"/>
                    <a:pt x="39230" y="74074"/>
                  </a:cubicBezTo>
                  <a:cubicBezTo>
                    <a:pt x="39230" y="74074"/>
                    <a:pt x="38461" y="77037"/>
                    <a:pt x="38461" y="77037"/>
                  </a:cubicBezTo>
                  <a:cubicBezTo>
                    <a:pt x="36923" y="77037"/>
                    <a:pt x="34615" y="75555"/>
                    <a:pt x="33846" y="77037"/>
                  </a:cubicBezTo>
                  <a:cubicBezTo>
                    <a:pt x="33846" y="75555"/>
                    <a:pt x="36923" y="80000"/>
                    <a:pt x="36923" y="80000"/>
                  </a:cubicBezTo>
                  <a:cubicBezTo>
                    <a:pt x="36923" y="81481"/>
                    <a:pt x="33076" y="78518"/>
                    <a:pt x="33076" y="78518"/>
                  </a:cubicBezTo>
                  <a:cubicBezTo>
                    <a:pt x="30769" y="75555"/>
                    <a:pt x="29230" y="75555"/>
                    <a:pt x="26923" y="75555"/>
                  </a:cubicBezTo>
                  <a:cubicBezTo>
                    <a:pt x="25384" y="75555"/>
                    <a:pt x="24615" y="75555"/>
                    <a:pt x="23076" y="77037"/>
                  </a:cubicBezTo>
                  <a:cubicBezTo>
                    <a:pt x="21538" y="78518"/>
                    <a:pt x="20769" y="77037"/>
                    <a:pt x="20000" y="78518"/>
                  </a:cubicBezTo>
                  <a:cubicBezTo>
                    <a:pt x="19230" y="80000"/>
                    <a:pt x="19230" y="81481"/>
                    <a:pt x="17692" y="81481"/>
                  </a:cubicBezTo>
                  <a:cubicBezTo>
                    <a:pt x="16923" y="82962"/>
                    <a:pt x="16153" y="87407"/>
                    <a:pt x="17692" y="87407"/>
                  </a:cubicBezTo>
                  <a:cubicBezTo>
                    <a:pt x="19230" y="87407"/>
                    <a:pt x="20769" y="85925"/>
                    <a:pt x="20769" y="87407"/>
                  </a:cubicBezTo>
                  <a:cubicBezTo>
                    <a:pt x="21538" y="90370"/>
                    <a:pt x="24615" y="88888"/>
                    <a:pt x="24615" y="87407"/>
                  </a:cubicBezTo>
                  <a:cubicBezTo>
                    <a:pt x="25384" y="87407"/>
                    <a:pt x="26923" y="82962"/>
                    <a:pt x="26923" y="81481"/>
                  </a:cubicBezTo>
                  <a:cubicBezTo>
                    <a:pt x="26923" y="82962"/>
                    <a:pt x="26923" y="82962"/>
                    <a:pt x="26923" y="84444"/>
                  </a:cubicBezTo>
                  <a:cubicBezTo>
                    <a:pt x="26923" y="84444"/>
                    <a:pt x="27692" y="84444"/>
                    <a:pt x="27692" y="84444"/>
                  </a:cubicBezTo>
                  <a:cubicBezTo>
                    <a:pt x="27692" y="84444"/>
                    <a:pt x="26923" y="85925"/>
                    <a:pt x="26923" y="87407"/>
                  </a:cubicBezTo>
                  <a:cubicBezTo>
                    <a:pt x="26923" y="87407"/>
                    <a:pt x="26923" y="87407"/>
                    <a:pt x="27692" y="87407"/>
                  </a:cubicBezTo>
                  <a:cubicBezTo>
                    <a:pt x="27692" y="87407"/>
                    <a:pt x="25384" y="88888"/>
                    <a:pt x="26153" y="88888"/>
                  </a:cubicBezTo>
                  <a:cubicBezTo>
                    <a:pt x="26153" y="88888"/>
                    <a:pt x="26153" y="88888"/>
                    <a:pt x="26153" y="88888"/>
                  </a:cubicBezTo>
                  <a:cubicBezTo>
                    <a:pt x="26153" y="90370"/>
                    <a:pt x="23846" y="88888"/>
                    <a:pt x="23076" y="90370"/>
                  </a:cubicBezTo>
                  <a:cubicBezTo>
                    <a:pt x="23846" y="90370"/>
                    <a:pt x="26923" y="90370"/>
                    <a:pt x="27692" y="91851"/>
                  </a:cubicBezTo>
                  <a:cubicBezTo>
                    <a:pt x="27692" y="91851"/>
                    <a:pt x="23846" y="96296"/>
                    <a:pt x="24615" y="96296"/>
                  </a:cubicBezTo>
                  <a:cubicBezTo>
                    <a:pt x="24615" y="97777"/>
                    <a:pt x="28461" y="96296"/>
                    <a:pt x="28461" y="96296"/>
                  </a:cubicBezTo>
                  <a:cubicBezTo>
                    <a:pt x="28461" y="96296"/>
                    <a:pt x="27692" y="96296"/>
                    <a:pt x="27692" y="96296"/>
                  </a:cubicBezTo>
                  <a:cubicBezTo>
                    <a:pt x="27692" y="97777"/>
                    <a:pt x="31538" y="96296"/>
                    <a:pt x="32307" y="94814"/>
                  </a:cubicBezTo>
                  <a:cubicBezTo>
                    <a:pt x="32307" y="94814"/>
                    <a:pt x="35384" y="87407"/>
                    <a:pt x="36153" y="88888"/>
                  </a:cubicBezTo>
                  <a:cubicBezTo>
                    <a:pt x="36923" y="90370"/>
                    <a:pt x="30769" y="99259"/>
                    <a:pt x="29230" y="100740"/>
                  </a:cubicBezTo>
                  <a:cubicBezTo>
                    <a:pt x="26923" y="100740"/>
                    <a:pt x="25384" y="100740"/>
                    <a:pt x="23076" y="97777"/>
                  </a:cubicBezTo>
                  <a:cubicBezTo>
                    <a:pt x="21538" y="96296"/>
                    <a:pt x="21538" y="93333"/>
                    <a:pt x="20000" y="93333"/>
                  </a:cubicBezTo>
                  <a:cubicBezTo>
                    <a:pt x="18461" y="91851"/>
                    <a:pt x="16923" y="91851"/>
                    <a:pt x="15384" y="91851"/>
                  </a:cubicBezTo>
                  <a:cubicBezTo>
                    <a:pt x="13076" y="91851"/>
                    <a:pt x="13076" y="93333"/>
                    <a:pt x="14615" y="96296"/>
                  </a:cubicBezTo>
                  <a:cubicBezTo>
                    <a:pt x="15384" y="97777"/>
                    <a:pt x="15384" y="99259"/>
                    <a:pt x="16923" y="99259"/>
                  </a:cubicBezTo>
                  <a:cubicBezTo>
                    <a:pt x="19230" y="99259"/>
                    <a:pt x="16923" y="99259"/>
                    <a:pt x="16923" y="100740"/>
                  </a:cubicBezTo>
                  <a:cubicBezTo>
                    <a:pt x="16923" y="100740"/>
                    <a:pt x="20000" y="103703"/>
                    <a:pt x="20000" y="103703"/>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07" name="Shape 2481">
              <a:extLst>
                <a:ext uri="{FF2B5EF4-FFF2-40B4-BE49-F238E27FC236}">
                  <a16:creationId xmlns:a16="http://schemas.microsoft.com/office/drawing/2014/main" id="{F4B17148-D908-8B4D-AE71-A04ADEDB5FFA}"/>
                </a:ext>
              </a:extLst>
            </p:cNvPr>
            <p:cNvSpPr/>
            <p:nvPr/>
          </p:nvSpPr>
          <p:spPr>
            <a:xfrm>
              <a:off x="8101451" y="4187854"/>
              <a:ext cx="130573" cy="47785"/>
            </a:xfrm>
            <a:custGeom>
              <a:avLst/>
              <a:gdLst/>
              <a:ahLst/>
              <a:cxnLst/>
              <a:rect l="0" t="0" r="0" b="0"/>
              <a:pathLst>
                <a:path w="120000" h="120000" extrusionOk="0">
                  <a:moveTo>
                    <a:pt x="111428" y="96000"/>
                  </a:moveTo>
                  <a:cubicBezTo>
                    <a:pt x="102857" y="72000"/>
                    <a:pt x="111428" y="72000"/>
                    <a:pt x="94285" y="48000"/>
                  </a:cubicBezTo>
                  <a:cubicBezTo>
                    <a:pt x="85714" y="48000"/>
                    <a:pt x="77142" y="48000"/>
                    <a:pt x="68571" y="48000"/>
                  </a:cubicBezTo>
                  <a:cubicBezTo>
                    <a:pt x="59999" y="48000"/>
                    <a:pt x="17142" y="0"/>
                    <a:pt x="8571" y="24000"/>
                  </a:cubicBezTo>
                  <a:cubicBezTo>
                    <a:pt x="8571" y="24000"/>
                    <a:pt x="25714" y="48000"/>
                    <a:pt x="17142" y="48000"/>
                  </a:cubicBezTo>
                  <a:cubicBezTo>
                    <a:pt x="17142" y="72000"/>
                    <a:pt x="0" y="96000"/>
                    <a:pt x="0" y="72000"/>
                  </a:cubicBezTo>
                  <a:cubicBezTo>
                    <a:pt x="0" y="96000"/>
                    <a:pt x="17142" y="72000"/>
                    <a:pt x="25714" y="72000"/>
                  </a:cubicBezTo>
                  <a:cubicBezTo>
                    <a:pt x="34285" y="72000"/>
                    <a:pt x="51428" y="96000"/>
                    <a:pt x="68571" y="96000"/>
                  </a:cubicBezTo>
                  <a:cubicBezTo>
                    <a:pt x="77142" y="96000"/>
                    <a:pt x="111428" y="96000"/>
                    <a:pt x="111428" y="96000"/>
                  </a:cubicBezTo>
                  <a:cubicBezTo>
                    <a:pt x="102857" y="72000"/>
                    <a:pt x="119999" y="120000"/>
                    <a:pt x="111428" y="96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08" name="Shape 2482">
              <a:extLst>
                <a:ext uri="{FF2B5EF4-FFF2-40B4-BE49-F238E27FC236}">
                  <a16:creationId xmlns:a16="http://schemas.microsoft.com/office/drawing/2014/main" id="{381E5463-BE1A-9D4C-BDC5-F43FA06D777E}"/>
                </a:ext>
              </a:extLst>
            </p:cNvPr>
            <p:cNvSpPr/>
            <p:nvPr/>
          </p:nvSpPr>
          <p:spPr>
            <a:xfrm>
              <a:off x="7738394" y="4226078"/>
              <a:ext cx="54141" cy="19113"/>
            </a:xfrm>
            <a:custGeom>
              <a:avLst/>
              <a:gdLst/>
              <a:ahLst/>
              <a:cxnLst/>
              <a:rect l="0" t="0" r="0" b="0"/>
              <a:pathLst>
                <a:path w="120000" h="120000" extrusionOk="0">
                  <a:moveTo>
                    <a:pt x="100000" y="60000"/>
                  </a:moveTo>
                  <a:cubicBezTo>
                    <a:pt x="80000" y="120000"/>
                    <a:pt x="0" y="0"/>
                    <a:pt x="40000" y="0"/>
                  </a:cubicBezTo>
                  <a:cubicBezTo>
                    <a:pt x="60000" y="0"/>
                    <a:pt x="120000" y="60000"/>
                    <a:pt x="100000" y="6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09" name="Shape 2483">
              <a:extLst>
                <a:ext uri="{FF2B5EF4-FFF2-40B4-BE49-F238E27FC236}">
                  <a16:creationId xmlns:a16="http://schemas.microsoft.com/office/drawing/2014/main" id="{347FDBCE-7137-DD42-BB28-8EDC8D34C3D0}"/>
                </a:ext>
              </a:extLst>
            </p:cNvPr>
            <p:cNvSpPr/>
            <p:nvPr/>
          </p:nvSpPr>
          <p:spPr>
            <a:xfrm>
              <a:off x="7980432" y="4515965"/>
              <a:ext cx="54141" cy="28672"/>
            </a:xfrm>
            <a:custGeom>
              <a:avLst/>
              <a:gdLst/>
              <a:ahLst/>
              <a:cxnLst/>
              <a:rect l="0" t="0" r="0" b="0"/>
              <a:pathLst>
                <a:path w="120000" h="120000" extrusionOk="0">
                  <a:moveTo>
                    <a:pt x="80000" y="40000"/>
                  </a:moveTo>
                  <a:cubicBezTo>
                    <a:pt x="60000" y="0"/>
                    <a:pt x="0" y="80000"/>
                    <a:pt x="20000" y="80000"/>
                  </a:cubicBezTo>
                  <a:cubicBezTo>
                    <a:pt x="40000" y="120000"/>
                    <a:pt x="120000" y="40000"/>
                    <a:pt x="80000" y="4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10" name="Shape 2484">
              <a:extLst>
                <a:ext uri="{FF2B5EF4-FFF2-40B4-BE49-F238E27FC236}">
                  <a16:creationId xmlns:a16="http://schemas.microsoft.com/office/drawing/2014/main" id="{DB4B7936-3F20-4E40-9CC4-FAC87CCEF902}"/>
                </a:ext>
              </a:extLst>
            </p:cNvPr>
            <p:cNvSpPr/>
            <p:nvPr/>
          </p:nvSpPr>
          <p:spPr>
            <a:xfrm>
              <a:off x="4805272" y="5815668"/>
              <a:ext cx="47769" cy="38226"/>
            </a:xfrm>
            <a:custGeom>
              <a:avLst/>
              <a:gdLst/>
              <a:ahLst/>
              <a:cxnLst/>
              <a:rect l="0" t="0" r="0" b="0"/>
              <a:pathLst>
                <a:path w="120000" h="120000" extrusionOk="0">
                  <a:moveTo>
                    <a:pt x="96000" y="30000"/>
                  </a:moveTo>
                  <a:cubicBezTo>
                    <a:pt x="72000" y="0"/>
                    <a:pt x="0" y="120000"/>
                    <a:pt x="24000" y="120000"/>
                  </a:cubicBezTo>
                  <a:cubicBezTo>
                    <a:pt x="24000" y="120000"/>
                    <a:pt x="120000" y="30000"/>
                    <a:pt x="96000" y="3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11" name="Shape 2485">
              <a:extLst>
                <a:ext uri="{FF2B5EF4-FFF2-40B4-BE49-F238E27FC236}">
                  <a16:creationId xmlns:a16="http://schemas.microsoft.com/office/drawing/2014/main" id="{CA3DC5D9-5B4D-3043-90F8-6790F51C262E}"/>
                </a:ext>
              </a:extLst>
            </p:cNvPr>
            <p:cNvSpPr/>
            <p:nvPr/>
          </p:nvSpPr>
          <p:spPr>
            <a:xfrm>
              <a:off x="4872154" y="5806110"/>
              <a:ext cx="9555" cy="9559"/>
            </a:xfrm>
            <a:custGeom>
              <a:avLst/>
              <a:gdLst/>
              <a:ahLst/>
              <a:cxnLst/>
              <a:rect l="0" t="0" r="0" b="0"/>
              <a:pathLst>
                <a:path w="120000" h="120000" extrusionOk="0">
                  <a:moveTo>
                    <a:pt x="0" y="0"/>
                  </a:moveTo>
                  <a:cubicBezTo>
                    <a:pt x="0" y="120000"/>
                    <a:pt x="120000" y="120000"/>
                    <a:pt x="120000" y="120000"/>
                  </a:cubicBezTo>
                  <a:cubicBezTo>
                    <a:pt x="120000" y="0"/>
                    <a:pt x="0" y="0"/>
                    <a:pt x="0" y="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12" name="Shape 2486">
              <a:extLst>
                <a:ext uri="{FF2B5EF4-FFF2-40B4-BE49-F238E27FC236}">
                  <a16:creationId xmlns:a16="http://schemas.microsoft.com/office/drawing/2014/main" id="{95469947-AFB2-7A42-B727-876158A58F34}"/>
                </a:ext>
              </a:extLst>
            </p:cNvPr>
            <p:cNvSpPr/>
            <p:nvPr/>
          </p:nvSpPr>
          <p:spPr>
            <a:xfrm>
              <a:off x="3919922" y="5815668"/>
              <a:ext cx="63694" cy="57338"/>
            </a:xfrm>
            <a:custGeom>
              <a:avLst/>
              <a:gdLst/>
              <a:ahLst/>
              <a:cxnLst/>
              <a:rect l="0" t="0" r="0" b="0"/>
              <a:pathLst>
                <a:path w="120000" h="120000" extrusionOk="0">
                  <a:moveTo>
                    <a:pt x="85714" y="40000"/>
                  </a:moveTo>
                  <a:cubicBezTo>
                    <a:pt x="119999" y="0"/>
                    <a:pt x="34285" y="0"/>
                    <a:pt x="17142" y="40000"/>
                  </a:cubicBezTo>
                  <a:cubicBezTo>
                    <a:pt x="0" y="60000"/>
                    <a:pt x="68571" y="100000"/>
                    <a:pt x="85714" y="40000"/>
                  </a:cubicBezTo>
                  <a:cubicBezTo>
                    <a:pt x="102857" y="20000"/>
                    <a:pt x="51428" y="120000"/>
                    <a:pt x="85714" y="4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13" name="Shape 2487">
              <a:extLst>
                <a:ext uri="{FF2B5EF4-FFF2-40B4-BE49-F238E27FC236}">
                  <a16:creationId xmlns:a16="http://schemas.microsoft.com/office/drawing/2014/main" id="{556DFA0C-3CCE-3649-866D-23F2A4B13027}"/>
                </a:ext>
              </a:extLst>
            </p:cNvPr>
            <p:cNvSpPr/>
            <p:nvPr/>
          </p:nvSpPr>
          <p:spPr>
            <a:xfrm>
              <a:off x="17661954" y="9138188"/>
              <a:ext cx="19108" cy="9559"/>
            </a:xfrm>
            <a:custGeom>
              <a:avLst/>
              <a:gdLst/>
              <a:ahLst/>
              <a:cxnLst/>
              <a:rect l="0" t="0" r="0" b="0"/>
              <a:pathLst>
                <a:path w="120000" h="120000" extrusionOk="0">
                  <a:moveTo>
                    <a:pt x="120000" y="0"/>
                  </a:moveTo>
                  <a:cubicBezTo>
                    <a:pt x="120000" y="120000"/>
                    <a:pt x="0" y="0"/>
                    <a:pt x="0" y="0"/>
                  </a:cubicBezTo>
                  <a:cubicBezTo>
                    <a:pt x="60000" y="0"/>
                    <a:pt x="120000" y="0"/>
                    <a:pt x="120000" y="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14" name="Shape 2488">
              <a:extLst>
                <a:ext uri="{FF2B5EF4-FFF2-40B4-BE49-F238E27FC236}">
                  <a16:creationId xmlns:a16="http://schemas.microsoft.com/office/drawing/2014/main" id="{444E6BDA-FBE4-1846-BAF1-F0D05060951B}"/>
                </a:ext>
              </a:extLst>
            </p:cNvPr>
            <p:cNvSpPr/>
            <p:nvPr/>
          </p:nvSpPr>
          <p:spPr>
            <a:xfrm>
              <a:off x="17540935" y="9119074"/>
              <a:ext cx="19108" cy="19113"/>
            </a:xfrm>
            <a:custGeom>
              <a:avLst/>
              <a:gdLst/>
              <a:ahLst/>
              <a:cxnLst/>
              <a:rect l="0" t="0" r="0" b="0"/>
              <a:pathLst>
                <a:path w="120000" h="120000" extrusionOk="0">
                  <a:moveTo>
                    <a:pt x="120000" y="0"/>
                  </a:moveTo>
                  <a:cubicBezTo>
                    <a:pt x="120000" y="60000"/>
                    <a:pt x="0" y="120000"/>
                    <a:pt x="0" y="60000"/>
                  </a:cubicBezTo>
                  <a:cubicBezTo>
                    <a:pt x="0" y="0"/>
                    <a:pt x="120000" y="0"/>
                    <a:pt x="120000" y="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15" name="Shape 2489">
              <a:extLst>
                <a:ext uri="{FF2B5EF4-FFF2-40B4-BE49-F238E27FC236}">
                  <a16:creationId xmlns:a16="http://schemas.microsoft.com/office/drawing/2014/main" id="{98EA873F-3384-7C49-A4EC-F8E7E2D6C37D}"/>
                </a:ext>
              </a:extLst>
            </p:cNvPr>
            <p:cNvSpPr/>
            <p:nvPr/>
          </p:nvSpPr>
          <p:spPr>
            <a:xfrm>
              <a:off x="17961317" y="10785116"/>
              <a:ext cx="63694" cy="47785"/>
            </a:xfrm>
            <a:custGeom>
              <a:avLst/>
              <a:gdLst/>
              <a:ahLst/>
              <a:cxnLst/>
              <a:rect l="0" t="0" r="0" b="0"/>
              <a:pathLst>
                <a:path w="120000" h="120000" extrusionOk="0">
                  <a:moveTo>
                    <a:pt x="102857" y="48000"/>
                  </a:moveTo>
                  <a:cubicBezTo>
                    <a:pt x="119999" y="0"/>
                    <a:pt x="0" y="24000"/>
                    <a:pt x="17142" y="48000"/>
                  </a:cubicBezTo>
                  <a:cubicBezTo>
                    <a:pt x="17142" y="72000"/>
                    <a:pt x="85714" y="120000"/>
                    <a:pt x="102857" y="48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16" name="Shape 2490">
              <a:extLst>
                <a:ext uri="{FF2B5EF4-FFF2-40B4-BE49-F238E27FC236}">
                  <a16:creationId xmlns:a16="http://schemas.microsoft.com/office/drawing/2014/main" id="{EB4758A8-F3A2-C746-8B56-946F2D25E8F8}"/>
                </a:ext>
              </a:extLst>
            </p:cNvPr>
            <p:cNvSpPr/>
            <p:nvPr/>
          </p:nvSpPr>
          <p:spPr>
            <a:xfrm>
              <a:off x="12451768" y="5197672"/>
              <a:ext cx="3187" cy="3187"/>
            </a:xfrm>
            <a:prstGeom prst="rect">
              <a:avLst/>
            </a:pr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17" name="Shape 2491">
              <a:extLst>
                <a:ext uri="{FF2B5EF4-FFF2-40B4-BE49-F238E27FC236}">
                  <a16:creationId xmlns:a16="http://schemas.microsoft.com/office/drawing/2014/main" id="{859EDBE8-EF4E-EC43-A838-BDE4D5D2BE74}"/>
                </a:ext>
              </a:extLst>
            </p:cNvPr>
            <p:cNvSpPr/>
            <p:nvPr/>
          </p:nvSpPr>
          <p:spPr>
            <a:xfrm>
              <a:off x="9257499" y="10504790"/>
              <a:ext cx="95541" cy="82826"/>
            </a:xfrm>
            <a:custGeom>
              <a:avLst/>
              <a:gdLst/>
              <a:ahLst/>
              <a:cxnLst/>
              <a:rect l="0" t="0" r="0" b="0"/>
              <a:pathLst>
                <a:path w="120000" h="120000" extrusionOk="0">
                  <a:moveTo>
                    <a:pt x="48000" y="53333"/>
                  </a:moveTo>
                  <a:cubicBezTo>
                    <a:pt x="48000" y="66666"/>
                    <a:pt x="12000" y="93333"/>
                    <a:pt x="0" y="106666"/>
                  </a:cubicBezTo>
                  <a:cubicBezTo>
                    <a:pt x="0" y="120000"/>
                    <a:pt x="24000" y="106666"/>
                    <a:pt x="24000" y="106666"/>
                  </a:cubicBezTo>
                  <a:cubicBezTo>
                    <a:pt x="36000" y="93333"/>
                    <a:pt x="48000" y="80000"/>
                    <a:pt x="60000" y="66666"/>
                  </a:cubicBezTo>
                  <a:cubicBezTo>
                    <a:pt x="72000" y="53333"/>
                    <a:pt x="120000" y="0"/>
                    <a:pt x="96000" y="0"/>
                  </a:cubicBezTo>
                  <a:cubicBezTo>
                    <a:pt x="84000" y="0"/>
                    <a:pt x="48000" y="40000"/>
                    <a:pt x="48000" y="53333"/>
                  </a:cubicBezTo>
                  <a:cubicBezTo>
                    <a:pt x="48000" y="66666"/>
                    <a:pt x="48000" y="40000"/>
                    <a:pt x="48000" y="53333"/>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18" name="Shape 2492">
              <a:extLst>
                <a:ext uri="{FF2B5EF4-FFF2-40B4-BE49-F238E27FC236}">
                  <a16:creationId xmlns:a16="http://schemas.microsoft.com/office/drawing/2014/main" id="{B7C7DDC1-D77B-EC43-978B-1F7DCCAF5CA7}"/>
                </a:ext>
              </a:extLst>
            </p:cNvPr>
            <p:cNvSpPr/>
            <p:nvPr/>
          </p:nvSpPr>
          <p:spPr>
            <a:xfrm>
              <a:off x="7821197" y="6733105"/>
              <a:ext cx="66878" cy="28672"/>
            </a:xfrm>
            <a:custGeom>
              <a:avLst/>
              <a:gdLst/>
              <a:ahLst/>
              <a:cxnLst/>
              <a:rect l="0" t="0" r="0" b="0"/>
              <a:pathLst>
                <a:path w="120000" h="120000" extrusionOk="0">
                  <a:moveTo>
                    <a:pt x="119999" y="40000"/>
                  </a:moveTo>
                  <a:cubicBezTo>
                    <a:pt x="119999" y="0"/>
                    <a:pt x="0" y="0"/>
                    <a:pt x="17142" y="0"/>
                  </a:cubicBezTo>
                  <a:cubicBezTo>
                    <a:pt x="34285" y="0"/>
                    <a:pt x="102857" y="120000"/>
                    <a:pt x="119999" y="4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19" name="Shape 2493">
              <a:extLst>
                <a:ext uri="{FF2B5EF4-FFF2-40B4-BE49-F238E27FC236}">
                  <a16:creationId xmlns:a16="http://schemas.microsoft.com/office/drawing/2014/main" id="{1A8AD861-66BE-DD4A-9A83-083B11E2DD33}"/>
                </a:ext>
              </a:extLst>
            </p:cNvPr>
            <p:cNvSpPr/>
            <p:nvPr/>
          </p:nvSpPr>
          <p:spPr>
            <a:xfrm>
              <a:off x="8483614" y="11766261"/>
              <a:ext cx="168790" cy="149719"/>
            </a:xfrm>
            <a:custGeom>
              <a:avLst/>
              <a:gdLst/>
              <a:ahLst/>
              <a:cxnLst/>
              <a:rect l="0" t="0" r="0" b="0"/>
              <a:pathLst>
                <a:path w="120000" h="120000" extrusionOk="0">
                  <a:moveTo>
                    <a:pt x="113333" y="105000"/>
                  </a:moveTo>
                  <a:cubicBezTo>
                    <a:pt x="86666" y="105000"/>
                    <a:pt x="73333" y="82500"/>
                    <a:pt x="53333" y="67500"/>
                  </a:cubicBezTo>
                  <a:cubicBezTo>
                    <a:pt x="46666" y="52500"/>
                    <a:pt x="33333" y="45000"/>
                    <a:pt x="26666" y="37500"/>
                  </a:cubicBezTo>
                  <a:cubicBezTo>
                    <a:pt x="20000" y="37500"/>
                    <a:pt x="6666" y="30000"/>
                    <a:pt x="6666" y="22500"/>
                  </a:cubicBezTo>
                  <a:cubicBezTo>
                    <a:pt x="6666" y="22500"/>
                    <a:pt x="13333" y="22500"/>
                    <a:pt x="13333" y="15000"/>
                  </a:cubicBezTo>
                  <a:cubicBezTo>
                    <a:pt x="20000" y="15000"/>
                    <a:pt x="6666" y="0"/>
                    <a:pt x="0" y="0"/>
                  </a:cubicBezTo>
                  <a:cubicBezTo>
                    <a:pt x="0" y="37500"/>
                    <a:pt x="0" y="75000"/>
                    <a:pt x="0" y="105000"/>
                  </a:cubicBezTo>
                  <a:cubicBezTo>
                    <a:pt x="0" y="112500"/>
                    <a:pt x="40000" y="112500"/>
                    <a:pt x="46666" y="112500"/>
                  </a:cubicBezTo>
                  <a:cubicBezTo>
                    <a:pt x="53333" y="112500"/>
                    <a:pt x="60000" y="112500"/>
                    <a:pt x="66666" y="120000"/>
                  </a:cubicBezTo>
                  <a:cubicBezTo>
                    <a:pt x="80000" y="120000"/>
                    <a:pt x="80000" y="120000"/>
                    <a:pt x="86666" y="112500"/>
                  </a:cubicBezTo>
                  <a:cubicBezTo>
                    <a:pt x="93333" y="112500"/>
                    <a:pt x="120000" y="112500"/>
                    <a:pt x="120000" y="105000"/>
                  </a:cubicBezTo>
                  <a:cubicBezTo>
                    <a:pt x="120000" y="105000"/>
                    <a:pt x="120000" y="97500"/>
                    <a:pt x="113333" y="105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20" name="Shape 2494">
              <a:extLst>
                <a:ext uri="{FF2B5EF4-FFF2-40B4-BE49-F238E27FC236}">
                  <a16:creationId xmlns:a16="http://schemas.microsoft.com/office/drawing/2014/main" id="{83F28137-C95E-2B4F-89DE-DE1E5C211741}"/>
                </a:ext>
              </a:extLst>
            </p:cNvPr>
            <p:cNvSpPr/>
            <p:nvPr/>
          </p:nvSpPr>
          <p:spPr>
            <a:xfrm>
              <a:off x="8305274" y="11747153"/>
              <a:ext cx="280255" cy="216614"/>
            </a:xfrm>
            <a:custGeom>
              <a:avLst/>
              <a:gdLst/>
              <a:ahLst/>
              <a:cxnLst/>
              <a:rect l="0" t="0" r="0" b="0"/>
              <a:pathLst>
                <a:path w="120000" h="120000" extrusionOk="0">
                  <a:moveTo>
                    <a:pt x="76000" y="88695"/>
                  </a:moveTo>
                  <a:cubicBezTo>
                    <a:pt x="76000" y="67826"/>
                    <a:pt x="76000" y="52173"/>
                    <a:pt x="76000" y="36521"/>
                  </a:cubicBezTo>
                  <a:cubicBezTo>
                    <a:pt x="76000" y="31304"/>
                    <a:pt x="76000" y="20869"/>
                    <a:pt x="76000" y="15652"/>
                  </a:cubicBezTo>
                  <a:cubicBezTo>
                    <a:pt x="76000" y="10434"/>
                    <a:pt x="64000" y="0"/>
                    <a:pt x="60000" y="5217"/>
                  </a:cubicBezTo>
                  <a:cubicBezTo>
                    <a:pt x="56000" y="10434"/>
                    <a:pt x="48000" y="5217"/>
                    <a:pt x="48000" y="15652"/>
                  </a:cubicBezTo>
                  <a:cubicBezTo>
                    <a:pt x="44000" y="26086"/>
                    <a:pt x="36000" y="36521"/>
                    <a:pt x="52000" y="31304"/>
                  </a:cubicBezTo>
                  <a:cubicBezTo>
                    <a:pt x="52000" y="31304"/>
                    <a:pt x="60000" y="31304"/>
                    <a:pt x="60000" y="31304"/>
                  </a:cubicBezTo>
                  <a:cubicBezTo>
                    <a:pt x="64000" y="31304"/>
                    <a:pt x="56000" y="41739"/>
                    <a:pt x="56000" y="41739"/>
                  </a:cubicBezTo>
                  <a:cubicBezTo>
                    <a:pt x="52000" y="41739"/>
                    <a:pt x="44000" y="52173"/>
                    <a:pt x="52000" y="57391"/>
                  </a:cubicBezTo>
                  <a:cubicBezTo>
                    <a:pt x="52000" y="62608"/>
                    <a:pt x="64000" y="62608"/>
                    <a:pt x="64000" y="67826"/>
                  </a:cubicBezTo>
                  <a:cubicBezTo>
                    <a:pt x="64000" y="67826"/>
                    <a:pt x="48000" y="67826"/>
                    <a:pt x="48000" y="67826"/>
                  </a:cubicBezTo>
                  <a:cubicBezTo>
                    <a:pt x="44000" y="67826"/>
                    <a:pt x="36000" y="62608"/>
                    <a:pt x="36000" y="62608"/>
                  </a:cubicBezTo>
                  <a:cubicBezTo>
                    <a:pt x="36000" y="62608"/>
                    <a:pt x="40000" y="67826"/>
                    <a:pt x="40000" y="62608"/>
                  </a:cubicBezTo>
                  <a:cubicBezTo>
                    <a:pt x="40000" y="57391"/>
                    <a:pt x="44000" y="52173"/>
                    <a:pt x="40000" y="46956"/>
                  </a:cubicBezTo>
                  <a:cubicBezTo>
                    <a:pt x="40000" y="46956"/>
                    <a:pt x="32000" y="57391"/>
                    <a:pt x="32000" y="57391"/>
                  </a:cubicBezTo>
                  <a:cubicBezTo>
                    <a:pt x="28000" y="62608"/>
                    <a:pt x="24000" y="57391"/>
                    <a:pt x="20000" y="57391"/>
                  </a:cubicBezTo>
                  <a:cubicBezTo>
                    <a:pt x="16000" y="57391"/>
                    <a:pt x="0" y="52173"/>
                    <a:pt x="0" y="62608"/>
                  </a:cubicBezTo>
                  <a:cubicBezTo>
                    <a:pt x="0" y="67826"/>
                    <a:pt x="8000" y="62608"/>
                    <a:pt x="8000" y="62608"/>
                  </a:cubicBezTo>
                  <a:cubicBezTo>
                    <a:pt x="12000" y="57391"/>
                    <a:pt x="8000" y="62608"/>
                    <a:pt x="12000" y="62608"/>
                  </a:cubicBezTo>
                  <a:cubicBezTo>
                    <a:pt x="16000" y="67826"/>
                    <a:pt x="16000" y="57391"/>
                    <a:pt x="20000" y="62608"/>
                  </a:cubicBezTo>
                  <a:cubicBezTo>
                    <a:pt x="20000" y="62608"/>
                    <a:pt x="24000" y="67826"/>
                    <a:pt x="24000" y="67826"/>
                  </a:cubicBezTo>
                  <a:cubicBezTo>
                    <a:pt x="24000" y="67826"/>
                    <a:pt x="8000" y="73043"/>
                    <a:pt x="16000" y="78260"/>
                  </a:cubicBezTo>
                  <a:cubicBezTo>
                    <a:pt x="20000" y="83478"/>
                    <a:pt x="24000" y="73043"/>
                    <a:pt x="24000" y="78260"/>
                  </a:cubicBezTo>
                  <a:cubicBezTo>
                    <a:pt x="28000" y="78260"/>
                    <a:pt x="32000" y="83478"/>
                    <a:pt x="32000" y="83478"/>
                  </a:cubicBezTo>
                  <a:cubicBezTo>
                    <a:pt x="32000" y="83478"/>
                    <a:pt x="32000" y="83478"/>
                    <a:pt x="28000" y="83478"/>
                  </a:cubicBezTo>
                  <a:cubicBezTo>
                    <a:pt x="28000" y="88695"/>
                    <a:pt x="36000" y="88695"/>
                    <a:pt x="40000" y="88695"/>
                  </a:cubicBezTo>
                  <a:cubicBezTo>
                    <a:pt x="44000" y="88695"/>
                    <a:pt x="44000" y="78260"/>
                    <a:pt x="48000" y="88695"/>
                  </a:cubicBezTo>
                  <a:cubicBezTo>
                    <a:pt x="48000" y="88695"/>
                    <a:pt x="64000" y="114782"/>
                    <a:pt x="68000" y="109565"/>
                  </a:cubicBezTo>
                  <a:cubicBezTo>
                    <a:pt x="68000" y="109565"/>
                    <a:pt x="64000" y="104347"/>
                    <a:pt x="64000" y="104347"/>
                  </a:cubicBezTo>
                  <a:cubicBezTo>
                    <a:pt x="64000" y="99130"/>
                    <a:pt x="88000" y="120000"/>
                    <a:pt x="92000" y="120000"/>
                  </a:cubicBezTo>
                  <a:cubicBezTo>
                    <a:pt x="92000" y="114782"/>
                    <a:pt x="76000" y="99130"/>
                    <a:pt x="76000" y="93913"/>
                  </a:cubicBezTo>
                  <a:cubicBezTo>
                    <a:pt x="80000" y="93913"/>
                    <a:pt x="96000" y="99130"/>
                    <a:pt x="96000" y="99130"/>
                  </a:cubicBezTo>
                  <a:cubicBezTo>
                    <a:pt x="104000" y="99130"/>
                    <a:pt x="112000" y="99130"/>
                    <a:pt x="120000" y="93913"/>
                  </a:cubicBezTo>
                  <a:cubicBezTo>
                    <a:pt x="108000" y="83478"/>
                    <a:pt x="92000" y="88695"/>
                    <a:pt x="76000" y="88695"/>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21" name="Shape 2495">
              <a:extLst>
                <a:ext uri="{FF2B5EF4-FFF2-40B4-BE49-F238E27FC236}">
                  <a16:creationId xmlns:a16="http://schemas.microsoft.com/office/drawing/2014/main" id="{05DFE553-9795-EF4D-9A14-732D0C34C31A}"/>
                </a:ext>
              </a:extLst>
            </p:cNvPr>
            <p:cNvSpPr/>
            <p:nvPr/>
          </p:nvSpPr>
          <p:spPr>
            <a:xfrm>
              <a:off x="8260685" y="8501080"/>
              <a:ext cx="710193" cy="516057"/>
            </a:xfrm>
            <a:custGeom>
              <a:avLst/>
              <a:gdLst/>
              <a:ahLst/>
              <a:cxnLst/>
              <a:rect l="0" t="0" r="0" b="0"/>
              <a:pathLst>
                <a:path w="120000" h="120000" extrusionOk="0">
                  <a:moveTo>
                    <a:pt x="99473" y="61090"/>
                  </a:moveTo>
                  <a:cubicBezTo>
                    <a:pt x="99473" y="56727"/>
                    <a:pt x="99473" y="54545"/>
                    <a:pt x="104210" y="52363"/>
                  </a:cubicBezTo>
                  <a:cubicBezTo>
                    <a:pt x="104210" y="50181"/>
                    <a:pt x="107368" y="50181"/>
                    <a:pt x="105789" y="48000"/>
                  </a:cubicBezTo>
                  <a:cubicBezTo>
                    <a:pt x="104210" y="45818"/>
                    <a:pt x="102631" y="41454"/>
                    <a:pt x="105789" y="39272"/>
                  </a:cubicBezTo>
                  <a:cubicBezTo>
                    <a:pt x="120000" y="30545"/>
                    <a:pt x="96315" y="32727"/>
                    <a:pt x="96315" y="32727"/>
                  </a:cubicBezTo>
                  <a:cubicBezTo>
                    <a:pt x="96315" y="30545"/>
                    <a:pt x="97894" y="30545"/>
                    <a:pt x="99473" y="30545"/>
                  </a:cubicBezTo>
                  <a:cubicBezTo>
                    <a:pt x="101052" y="30545"/>
                    <a:pt x="101052" y="26181"/>
                    <a:pt x="101052" y="24000"/>
                  </a:cubicBezTo>
                  <a:cubicBezTo>
                    <a:pt x="101052" y="21818"/>
                    <a:pt x="94736" y="17454"/>
                    <a:pt x="94736" y="19636"/>
                  </a:cubicBezTo>
                  <a:cubicBezTo>
                    <a:pt x="94736" y="21818"/>
                    <a:pt x="93157" y="17454"/>
                    <a:pt x="93157" y="17454"/>
                  </a:cubicBezTo>
                  <a:cubicBezTo>
                    <a:pt x="91578" y="17454"/>
                    <a:pt x="91578" y="21818"/>
                    <a:pt x="90000" y="19636"/>
                  </a:cubicBezTo>
                  <a:cubicBezTo>
                    <a:pt x="90000" y="19636"/>
                    <a:pt x="90000" y="17454"/>
                    <a:pt x="90000" y="15272"/>
                  </a:cubicBezTo>
                  <a:cubicBezTo>
                    <a:pt x="88421" y="13090"/>
                    <a:pt x="86842" y="17454"/>
                    <a:pt x="85263" y="17454"/>
                  </a:cubicBezTo>
                  <a:cubicBezTo>
                    <a:pt x="85263" y="17454"/>
                    <a:pt x="85263" y="13090"/>
                    <a:pt x="85263" y="13090"/>
                  </a:cubicBezTo>
                  <a:cubicBezTo>
                    <a:pt x="85263" y="8727"/>
                    <a:pt x="90000" y="10909"/>
                    <a:pt x="91578" y="10909"/>
                  </a:cubicBezTo>
                  <a:cubicBezTo>
                    <a:pt x="93157" y="8727"/>
                    <a:pt x="86842" y="8727"/>
                    <a:pt x="86842" y="8727"/>
                  </a:cubicBezTo>
                  <a:cubicBezTo>
                    <a:pt x="83684" y="8727"/>
                    <a:pt x="80526" y="6545"/>
                    <a:pt x="77368" y="8727"/>
                  </a:cubicBezTo>
                  <a:cubicBezTo>
                    <a:pt x="74210" y="10909"/>
                    <a:pt x="72631" y="17454"/>
                    <a:pt x="69473" y="15272"/>
                  </a:cubicBezTo>
                  <a:cubicBezTo>
                    <a:pt x="64736" y="15272"/>
                    <a:pt x="63157" y="15272"/>
                    <a:pt x="60000" y="10909"/>
                  </a:cubicBezTo>
                  <a:cubicBezTo>
                    <a:pt x="56842" y="6545"/>
                    <a:pt x="50526" y="10909"/>
                    <a:pt x="45789" y="10909"/>
                  </a:cubicBezTo>
                  <a:cubicBezTo>
                    <a:pt x="42631" y="10909"/>
                    <a:pt x="42631" y="8727"/>
                    <a:pt x="41052" y="4363"/>
                  </a:cubicBezTo>
                  <a:cubicBezTo>
                    <a:pt x="39473" y="0"/>
                    <a:pt x="36315" y="0"/>
                    <a:pt x="31578" y="0"/>
                  </a:cubicBezTo>
                  <a:cubicBezTo>
                    <a:pt x="30000" y="0"/>
                    <a:pt x="17368" y="2181"/>
                    <a:pt x="17368" y="8727"/>
                  </a:cubicBezTo>
                  <a:cubicBezTo>
                    <a:pt x="17368" y="15272"/>
                    <a:pt x="23684" y="17454"/>
                    <a:pt x="20526" y="26181"/>
                  </a:cubicBezTo>
                  <a:cubicBezTo>
                    <a:pt x="17368" y="30545"/>
                    <a:pt x="11052" y="21818"/>
                    <a:pt x="12631" y="17454"/>
                  </a:cubicBezTo>
                  <a:cubicBezTo>
                    <a:pt x="12631" y="15272"/>
                    <a:pt x="15789" y="13090"/>
                    <a:pt x="15789" y="10909"/>
                  </a:cubicBezTo>
                  <a:cubicBezTo>
                    <a:pt x="17368" y="6545"/>
                    <a:pt x="12631" y="4363"/>
                    <a:pt x="12631" y="2181"/>
                  </a:cubicBezTo>
                  <a:cubicBezTo>
                    <a:pt x="7894" y="6545"/>
                    <a:pt x="6315" y="8727"/>
                    <a:pt x="6315" y="15272"/>
                  </a:cubicBezTo>
                  <a:cubicBezTo>
                    <a:pt x="4736" y="17454"/>
                    <a:pt x="0" y="26181"/>
                    <a:pt x="4736" y="26181"/>
                  </a:cubicBezTo>
                  <a:cubicBezTo>
                    <a:pt x="4736" y="26181"/>
                    <a:pt x="6315" y="26181"/>
                    <a:pt x="7894" y="28363"/>
                  </a:cubicBezTo>
                  <a:cubicBezTo>
                    <a:pt x="7894" y="30545"/>
                    <a:pt x="9473" y="32727"/>
                    <a:pt x="11052" y="34909"/>
                  </a:cubicBezTo>
                  <a:cubicBezTo>
                    <a:pt x="14210" y="39272"/>
                    <a:pt x="7894" y="48000"/>
                    <a:pt x="15789" y="50181"/>
                  </a:cubicBezTo>
                  <a:cubicBezTo>
                    <a:pt x="15789" y="50181"/>
                    <a:pt x="18947" y="50181"/>
                    <a:pt x="20526" y="50181"/>
                  </a:cubicBezTo>
                  <a:cubicBezTo>
                    <a:pt x="22105" y="50181"/>
                    <a:pt x="22105" y="48000"/>
                    <a:pt x="23684" y="48000"/>
                  </a:cubicBezTo>
                  <a:cubicBezTo>
                    <a:pt x="28421" y="48000"/>
                    <a:pt x="30000" y="54545"/>
                    <a:pt x="33157" y="58909"/>
                  </a:cubicBezTo>
                  <a:cubicBezTo>
                    <a:pt x="33157" y="58909"/>
                    <a:pt x="34736" y="61090"/>
                    <a:pt x="36315" y="58909"/>
                  </a:cubicBezTo>
                  <a:cubicBezTo>
                    <a:pt x="36315" y="56727"/>
                    <a:pt x="37894" y="58909"/>
                    <a:pt x="41052" y="58909"/>
                  </a:cubicBezTo>
                  <a:cubicBezTo>
                    <a:pt x="44210" y="61090"/>
                    <a:pt x="52105" y="54545"/>
                    <a:pt x="48947" y="63272"/>
                  </a:cubicBezTo>
                  <a:cubicBezTo>
                    <a:pt x="45789" y="69818"/>
                    <a:pt x="45789" y="76363"/>
                    <a:pt x="48947" y="82909"/>
                  </a:cubicBezTo>
                  <a:cubicBezTo>
                    <a:pt x="48947" y="85090"/>
                    <a:pt x="50526" y="87272"/>
                    <a:pt x="50526" y="89454"/>
                  </a:cubicBezTo>
                  <a:cubicBezTo>
                    <a:pt x="50526" y="91636"/>
                    <a:pt x="45789" y="93818"/>
                    <a:pt x="47368" y="96000"/>
                  </a:cubicBezTo>
                  <a:cubicBezTo>
                    <a:pt x="52105" y="102545"/>
                    <a:pt x="53684" y="120000"/>
                    <a:pt x="63157" y="115636"/>
                  </a:cubicBezTo>
                  <a:cubicBezTo>
                    <a:pt x="64736" y="115636"/>
                    <a:pt x="64736" y="117818"/>
                    <a:pt x="66315" y="117818"/>
                  </a:cubicBezTo>
                  <a:cubicBezTo>
                    <a:pt x="67894" y="117818"/>
                    <a:pt x="69473" y="115636"/>
                    <a:pt x="71052" y="113454"/>
                  </a:cubicBezTo>
                  <a:cubicBezTo>
                    <a:pt x="74210" y="111272"/>
                    <a:pt x="75789" y="106909"/>
                    <a:pt x="80526" y="102545"/>
                  </a:cubicBezTo>
                  <a:cubicBezTo>
                    <a:pt x="83684" y="100363"/>
                    <a:pt x="77368" y="100363"/>
                    <a:pt x="77368" y="96000"/>
                  </a:cubicBezTo>
                  <a:cubicBezTo>
                    <a:pt x="77368" y="93818"/>
                    <a:pt x="75789" y="91636"/>
                    <a:pt x="75789" y="89454"/>
                  </a:cubicBezTo>
                  <a:cubicBezTo>
                    <a:pt x="75789" y="87272"/>
                    <a:pt x="71052" y="85090"/>
                    <a:pt x="71052" y="82909"/>
                  </a:cubicBezTo>
                  <a:cubicBezTo>
                    <a:pt x="71052" y="80727"/>
                    <a:pt x="80526" y="82909"/>
                    <a:pt x="82105" y="82909"/>
                  </a:cubicBezTo>
                  <a:cubicBezTo>
                    <a:pt x="85263" y="82909"/>
                    <a:pt x="83684" y="85090"/>
                    <a:pt x="85263" y="87272"/>
                  </a:cubicBezTo>
                  <a:cubicBezTo>
                    <a:pt x="86842" y="87272"/>
                    <a:pt x="86842" y="82909"/>
                    <a:pt x="88421" y="82909"/>
                  </a:cubicBezTo>
                  <a:cubicBezTo>
                    <a:pt x="90000" y="80727"/>
                    <a:pt x="94736" y="80727"/>
                    <a:pt x="97894" y="78545"/>
                  </a:cubicBezTo>
                  <a:cubicBezTo>
                    <a:pt x="99473" y="76363"/>
                    <a:pt x="102631" y="74181"/>
                    <a:pt x="105789" y="72000"/>
                  </a:cubicBezTo>
                  <a:cubicBezTo>
                    <a:pt x="104210" y="67636"/>
                    <a:pt x="99473" y="65454"/>
                    <a:pt x="99473" y="6109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22" name="Shape 2496">
              <a:extLst>
                <a:ext uri="{FF2B5EF4-FFF2-40B4-BE49-F238E27FC236}">
                  <a16:creationId xmlns:a16="http://schemas.microsoft.com/office/drawing/2014/main" id="{9CEFC0F3-29E0-B74B-B2B4-1C010A9F25CA}"/>
                </a:ext>
              </a:extLst>
            </p:cNvPr>
            <p:cNvSpPr/>
            <p:nvPr/>
          </p:nvSpPr>
          <p:spPr>
            <a:xfrm>
              <a:off x="8830750" y="8641244"/>
              <a:ext cx="242034" cy="356781"/>
            </a:xfrm>
            <a:custGeom>
              <a:avLst/>
              <a:gdLst/>
              <a:ahLst/>
              <a:cxnLst/>
              <a:rect l="0" t="0" r="0" b="0"/>
              <a:pathLst>
                <a:path w="120000" h="120000" extrusionOk="0">
                  <a:moveTo>
                    <a:pt x="101538" y="91578"/>
                  </a:moveTo>
                  <a:cubicBezTo>
                    <a:pt x="101538" y="88421"/>
                    <a:pt x="78461" y="69473"/>
                    <a:pt x="83076" y="66315"/>
                  </a:cubicBezTo>
                  <a:cubicBezTo>
                    <a:pt x="87692" y="63157"/>
                    <a:pt x="83076" y="60000"/>
                    <a:pt x="92307" y="56842"/>
                  </a:cubicBezTo>
                  <a:cubicBezTo>
                    <a:pt x="106153" y="56842"/>
                    <a:pt x="101538" y="50526"/>
                    <a:pt x="101538" y="47368"/>
                  </a:cubicBezTo>
                  <a:cubicBezTo>
                    <a:pt x="101538" y="44210"/>
                    <a:pt x="101538" y="41052"/>
                    <a:pt x="101538" y="41052"/>
                  </a:cubicBezTo>
                  <a:cubicBezTo>
                    <a:pt x="101538" y="37894"/>
                    <a:pt x="96923" y="37894"/>
                    <a:pt x="92307" y="34736"/>
                  </a:cubicBezTo>
                  <a:cubicBezTo>
                    <a:pt x="87692" y="28421"/>
                    <a:pt x="73846" y="28421"/>
                    <a:pt x="73846" y="22105"/>
                  </a:cubicBezTo>
                  <a:cubicBezTo>
                    <a:pt x="69230" y="12631"/>
                    <a:pt x="50769" y="3157"/>
                    <a:pt x="41538" y="0"/>
                  </a:cubicBezTo>
                  <a:cubicBezTo>
                    <a:pt x="41538" y="9473"/>
                    <a:pt x="18461" y="9473"/>
                    <a:pt x="23076" y="15789"/>
                  </a:cubicBezTo>
                  <a:cubicBezTo>
                    <a:pt x="23076" y="18947"/>
                    <a:pt x="32307" y="22105"/>
                    <a:pt x="27692" y="25263"/>
                  </a:cubicBezTo>
                  <a:cubicBezTo>
                    <a:pt x="23076" y="25263"/>
                    <a:pt x="13846" y="28421"/>
                    <a:pt x="13846" y="31578"/>
                  </a:cubicBezTo>
                  <a:cubicBezTo>
                    <a:pt x="0" y="34736"/>
                    <a:pt x="9230" y="44210"/>
                    <a:pt x="18461" y="50526"/>
                  </a:cubicBezTo>
                  <a:cubicBezTo>
                    <a:pt x="23076" y="53684"/>
                    <a:pt x="23076" y="56842"/>
                    <a:pt x="32307" y="56842"/>
                  </a:cubicBezTo>
                  <a:cubicBezTo>
                    <a:pt x="36923" y="56842"/>
                    <a:pt x="32307" y="60000"/>
                    <a:pt x="36923" y="63157"/>
                  </a:cubicBezTo>
                  <a:cubicBezTo>
                    <a:pt x="46153" y="72631"/>
                    <a:pt x="41538" y="75789"/>
                    <a:pt x="36923" y="85263"/>
                  </a:cubicBezTo>
                  <a:cubicBezTo>
                    <a:pt x="36923" y="94736"/>
                    <a:pt x="46153" y="104210"/>
                    <a:pt x="50769" y="110526"/>
                  </a:cubicBezTo>
                  <a:cubicBezTo>
                    <a:pt x="64615" y="120000"/>
                    <a:pt x="69230" y="110526"/>
                    <a:pt x="78461" y="110526"/>
                  </a:cubicBezTo>
                  <a:cubicBezTo>
                    <a:pt x="87692" y="110526"/>
                    <a:pt x="92307" y="107368"/>
                    <a:pt x="96923" y="107368"/>
                  </a:cubicBezTo>
                  <a:cubicBezTo>
                    <a:pt x="106153" y="104210"/>
                    <a:pt x="110769" y="104210"/>
                    <a:pt x="120000" y="107368"/>
                  </a:cubicBezTo>
                  <a:cubicBezTo>
                    <a:pt x="115384" y="101052"/>
                    <a:pt x="110769" y="94736"/>
                    <a:pt x="101538" y="91578"/>
                  </a:cubicBezTo>
                  <a:cubicBezTo>
                    <a:pt x="96923" y="85263"/>
                    <a:pt x="106153" y="91578"/>
                    <a:pt x="101538" y="91578"/>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23" name="Shape 2497">
              <a:extLst>
                <a:ext uri="{FF2B5EF4-FFF2-40B4-BE49-F238E27FC236}">
                  <a16:creationId xmlns:a16="http://schemas.microsoft.com/office/drawing/2014/main" id="{C2E70852-8EEA-1848-B0ED-949010EE5C5D}"/>
                </a:ext>
              </a:extLst>
            </p:cNvPr>
            <p:cNvSpPr/>
            <p:nvPr/>
          </p:nvSpPr>
          <p:spPr>
            <a:xfrm>
              <a:off x="8986799" y="8752737"/>
              <a:ext cx="207006" cy="216614"/>
            </a:xfrm>
            <a:custGeom>
              <a:avLst/>
              <a:gdLst/>
              <a:ahLst/>
              <a:cxnLst/>
              <a:rect l="0" t="0" r="0" b="0"/>
              <a:pathLst>
                <a:path w="120000" h="120000" extrusionOk="0">
                  <a:moveTo>
                    <a:pt x="103636" y="36521"/>
                  </a:moveTo>
                  <a:cubicBezTo>
                    <a:pt x="103636" y="26086"/>
                    <a:pt x="114545" y="15652"/>
                    <a:pt x="120000" y="10434"/>
                  </a:cubicBezTo>
                  <a:cubicBezTo>
                    <a:pt x="103636" y="5217"/>
                    <a:pt x="76363" y="0"/>
                    <a:pt x="65454" y="10434"/>
                  </a:cubicBezTo>
                  <a:cubicBezTo>
                    <a:pt x="54545" y="15652"/>
                    <a:pt x="49090" y="5217"/>
                    <a:pt x="49090" y="0"/>
                  </a:cubicBezTo>
                  <a:cubicBezTo>
                    <a:pt x="43636" y="0"/>
                    <a:pt x="38181" y="10434"/>
                    <a:pt x="27272" y="5217"/>
                  </a:cubicBezTo>
                  <a:cubicBezTo>
                    <a:pt x="27272" y="10434"/>
                    <a:pt x="38181" y="31304"/>
                    <a:pt x="21818" y="31304"/>
                  </a:cubicBezTo>
                  <a:cubicBezTo>
                    <a:pt x="10909" y="36521"/>
                    <a:pt x="0" y="41739"/>
                    <a:pt x="5454" y="52173"/>
                  </a:cubicBezTo>
                  <a:cubicBezTo>
                    <a:pt x="10909" y="62608"/>
                    <a:pt x="16363" y="67826"/>
                    <a:pt x="21818" y="78260"/>
                  </a:cubicBezTo>
                  <a:cubicBezTo>
                    <a:pt x="27272" y="88695"/>
                    <a:pt x="38181" y="99130"/>
                    <a:pt x="49090" y="114782"/>
                  </a:cubicBezTo>
                  <a:cubicBezTo>
                    <a:pt x="65454" y="120000"/>
                    <a:pt x="54545" y="99130"/>
                    <a:pt x="65454" y="99130"/>
                  </a:cubicBezTo>
                  <a:cubicBezTo>
                    <a:pt x="76363" y="99130"/>
                    <a:pt x="81818" y="99130"/>
                    <a:pt x="87272" y="93913"/>
                  </a:cubicBezTo>
                  <a:cubicBezTo>
                    <a:pt x="92727" y="93913"/>
                    <a:pt x="92727" y="104347"/>
                    <a:pt x="103636" y="99130"/>
                  </a:cubicBezTo>
                  <a:cubicBezTo>
                    <a:pt x="109090" y="88695"/>
                    <a:pt x="114545" y="83478"/>
                    <a:pt x="109090" y="73043"/>
                  </a:cubicBezTo>
                  <a:cubicBezTo>
                    <a:pt x="109090" y="62608"/>
                    <a:pt x="103636" y="46956"/>
                    <a:pt x="103636" y="36521"/>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24" name="Shape 2498">
              <a:extLst>
                <a:ext uri="{FF2B5EF4-FFF2-40B4-BE49-F238E27FC236}">
                  <a16:creationId xmlns:a16="http://schemas.microsoft.com/office/drawing/2014/main" id="{C0B93900-6A0F-D745-A8F0-3E5AFD6F9BBE}"/>
                </a:ext>
              </a:extLst>
            </p:cNvPr>
            <p:cNvSpPr/>
            <p:nvPr/>
          </p:nvSpPr>
          <p:spPr>
            <a:xfrm>
              <a:off x="9155590" y="8771854"/>
              <a:ext cx="149682" cy="168835"/>
            </a:xfrm>
            <a:custGeom>
              <a:avLst/>
              <a:gdLst/>
              <a:ahLst/>
              <a:cxnLst/>
              <a:rect l="0" t="0" r="0" b="0"/>
              <a:pathLst>
                <a:path w="120000" h="120000" extrusionOk="0">
                  <a:moveTo>
                    <a:pt x="90000" y="33333"/>
                  </a:moveTo>
                  <a:cubicBezTo>
                    <a:pt x="75000" y="20000"/>
                    <a:pt x="60000" y="6666"/>
                    <a:pt x="37500" y="6666"/>
                  </a:cubicBezTo>
                  <a:cubicBezTo>
                    <a:pt x="22500" y="0"/>
                    <a:pt x="0" y="26666"/>
                    <a:pt x="7500" y="40000"/>
                  </a:cubicBezTo>
                  <a:cubicBezTo>
                    <a:pt x="7500" y="53333"/>
                    <a:pt x="15000" y="66666"/>
                    <a:pt x="15000" y="80000"/>
                  </a:cubicBezTo>
                  <a:cubicBezTo>
                    <a:pt x="22500" y="93333"/>
                    <a:pt x="7500" y="106666"/>
                    <a:pt x="0" y="113333"/>
                  </a:cubicBezTo>
                  <a:cubicBezTo>
                    <a:pt x="7500" y="120000"/>
                    <a:pt x="22500" y="113333"/>
                    <a:pt x="30000" y="113333"/>
                  </a:cubicBezTo>
                  <a:cubicBezTo>
                    <a:pt x="45000" y="113333"/>
                    <a:pt x="52500" y="120000"/>
                    <a:pt x="67500" y="113333"/>
                  </a:cubicBezTo>
                  <a:cubicBezTo>
                    <a:pt x="90000" y="106666"/>
                    <a:pt x="97500" y="66666"/>
                    <a:pt x="120000" y="53333"/>
                  </a:cubicBezTo>
                  <a:cubicBezTo>
                    <a:pt x="105000" y="46666"/>
                    <a:pt x="97500" y="40000"/>
                    <a:pt x="90000" y="33333"/>
                  </a:cubicBezTo>
                  <a:cubicBezTo>
                    <a:pt x="75000" y="26666"/>
                    <a:pt x="97500" y="40000"/>
                    <a:pt x="90000" y="33333"/>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25" name="Shape 2499">
              <a:extLst>
                <a:ext uri="{FF2B5EF4-FFF2-40B4-BE49-F238E27FC236}">
                  <a16:creationId xmlns:a16="http://schemas.microsoft.com/office/drawing/2014/main" id="{45BDB061-4BEA-0D40-B0A6-F4CCF6BEC591}"/>
                </a:ext>
              </a:extLst>
            </p:cNvPr>
            <p:cNvSpPr/>
            <p:nvPr/>
          </p:nvSpPr>
          <p:spPr>
            <a:xfrm>
              <a:off x="7821197" y="8453298"/>
              <a:ext cx="754778" cy="786830"/>
            </a:xfrm>
            <a:custGeom>
              <a:avLst/>
              <a:gdLst/>
              <a:ahLst/>
              <a:cxnLst/>
              <a:rect l="0" t="0" r="0" b="0"/>
              <a:pathLst>
                <a:path w="120000" h="120000" extrusionOk="0">
                  <a:moveTo>
                    <a:pt x="114074" y="68571"/>
                  </a:moveTo>
                  <a:cubicBezTo>
                    <a:pt x="120000" y="64285"/>
                    <a:pt x="112592" y="60000"/>
                    <a:pt x="112592" y="55714"/>
                  </a:cubicBezTo>
                  <a:cubicBezTo>
                    <a:pt x="112592" y="52857"/>
                    <a:pt x="115555" y="50000"/>
                    <a:pt x="115555" y="47142"/>
                  </a:cubicBezTo>
                  <a:cubicBezTo>
                    <a:pt x="117037" y="42857"/>
                    <a:pt x="111111" y="45714"/>
                    <a:pt x="109629" y="45714"/>
                  </a:cubicBezTo>
                  <a:cubicBezTo>
                    <a:pt x="108148" y="45714"/>
                    <a:pt x="106666" y="45714"/>
                    <a:pt x="105185" y="45714"/>
                  </a:cubicBezTo>
                  <a:cubicBezTo>
                    <a:pt x="103703" y="45714"/>
                    <a:pt x="103703" y="47142"/>
                    <a:pt x="102222" y="47142"/>
                  </a:cubicBezTo>
                  <a:cubicBezTo>
                    <a:pt x="100740" y="47142"/>
                    <a:pt x="99259" y="42857"/>
                    <a:pt x="97777" y="42857"/>
                  </a:cubicBezTo>
                  <a:cubicBezTo>
                    <a:pt x="94814" y="37142"/>
                    <a:pt x="91851" y="40000"/>
                    <a:pt x="85925" y="40000"/>
                  </a:cubicBezTo>
                  <a:cubicBezTo>
                    <a:pt x="82962" y="40000"/>
                    <a:pt x="81481" y="40000"/>
                    <a:pt x="80000" y="37142"/>
                  </a:cubicBezTo>
                  <a:cubicBezTo>
                    <a:pt x="78518" y="34285"/>
                    <a:pt x="82962" y="31428"/>
                    <a:pt x="78518" y="28571"/>
                  </a:cubicBezTo>
                  <a:cubicBezTo>
                    <a:pt x="77037" y="27142"/>
                    <a:pt x="77037" y="24285"/>
                    <a:pt x="74074" y="24285"/>
                  </a:cubicBezTo>
                  <a:cubicBezTo>
                    <a:pt x="71111" y="24285"/>
                    <a:pt x="72592" y="24285"/>
                    <a:pt x="74074" y="21428"/>
                  </a:cubicBezTo>
                  <a:cubicBezTo>
                    <a:pt x="75555" y="18571"/>
                    <a:pt x="74074" y="15714"/>
                    <a:pt x="75555" y="12857"/>
                  </a:cubicBezTo>
                  <a:cubicBezTo>
                    <a:pt x="77037" y="10000"/>
                    <a:pt x="80000" y="8571"/>
                    <a:pt x="82962" y="7142"/>
                  </a:cubicBezTo>
                  <a:cubicBezTo>
                    <a:pt x="84444" y="5714"/>
                    <a:pt x="87407" y="5714"/>
                    <a:pt x="88888" y="2857"/>
                  </a:cubicBezTo>
                  <a:cubicBezTo>
                    <a:pt x="88888" y="0"/>
                    <a:pt x="82962" y="0"/>
                    <a:pt x="82962" y="1428"/>
                  </a:cubicBezTo>
                  <a:cubicBezTo>
                    <a:pt x="80000" y="4285"/>
                    <a:pt x="75555" y="8571"/>
                    <a:pt x="71111" y="8571"/>
                  </a:cubicBezTo>
                  <a:cubicBezTo>
                    <a:pt x="66666" y="8571"/>
                    <a:pt x="66666" y="8571"/>
                    <a:pt x="65185" y="11428"/>
                  </a:cubicBezTo>
                  <a:cubicBezTo>
                    <a:pt x="63703" y="14285"/>
                    <a:pt x="63703" y="10000"/>
                    <a:pt x="60740" y="10000"/>
                  </a:cubicBezTo>
                  <a:cubicBezTo>
                    <a:pt x="54814" y="11428"/>
                    <a:pt x="57777" y="20000"/>
                    <a:pt x="53333" y="22857"/>
                  </a:cubicBezTo>
                  <a:cubicBezTo>
                    <a:pt x="51851" y="24285"/>
                    <a:pt x="48888" y="25714"/>
                    <a:pt x="47407" y="28571"/>
                  </a:cubicBezTo>
                  <a:cubicBezTo>
                    <a:pt x="47407" y="28571"/>
                    <a:pt x="47407" y="32857"/>
                    <a:pt x="45925" y="32857"/>
                  </a:cubicBezTo>
                  <a:cubicBezTo>
                    <a:pt x="44444" y="30000"/>
                    <a:pt x="42962" y="28571"/>
                    <a:pt x="41481" y="27142"/>
                  </a:cubicBezTo>
                  <a:cubicBezTo>
                    <a:pt x="40000" y="24285"/>
                    <a:pt x="38518" y="24285"/>
                    <a:pt x="37037" y="24285"/>
                  </a:cubicBezTo>
                  <a:cubicBezTo>
                    <a:pt x="31111" y="22857"/>
                    <a:pt x="28148" y="18571"/>
                    <a:pt x="22222" y="22857"/>
                  </a:cubicBezTo>
                  <a:cubicBezTo>
                    <a:pt x="19259" y="24285"/>
                    <a:pt x="13333" y="28571"/>
                    <a:pt x="10370" y="25714"/>
                  </a:cubicBezTo>
                  <a:cubicBezTo>
                    <a:pt x="8888" y="24285"/>
                    <a:pt x="7407" y="24285"/>
                    <a:pt x="5925" y="22857"/>
                  </a:cubicBezTo>
                  <a:cubicBezTo>
                    <a:pt x="2962" y="22857"/>
                    <a:pt x="4444" y="20000"/>
                    <a:pt x="1481" y="22857"/>
                  </a:cubicBezTo>
                  <a:cubicBezTo>
                    <a:pt x="0" y="24285"/>
                    <a:pt x="1481" y="24285"/>
                    <a:pt x="2962" y="25714"/>
                  </a:cubicBezTo>
                  <a:cubicBezTo>
                    <a:pt x="2962" y="27142"/>
                    <a:pt x="1481" y="28571"/>
                    <a:pt x="1481" y="30000"/>
                  </a:cubicBezTo>
                  <a:cubicBezTo>
                    <a:pt x="4444" y="30000"/>
                    <a:pt x="7407" y="31428"/>
                    <a:pt x="8888" y="31428"/>
                  </a:cubicBezTo>
                  <a:cubicBezTo>
                    <a:pt x="10370" y="32857"/>
                    <a:pt x="11851" y="32857"/>
                    <a:pt x="11851" y="34285"/>
                  </a:cubicBezTo>
                  <a:cubicBezTo>
                    <a:pt x="13333" y="35714"/>
                    <a:pt x="13333" y="34285"/>
                    <a:pt x="14814" y="34285"/>
                  </a:cubicBezTo>
                  <a:cubicBezTo>
                    <a:pt x="14814" y="32857"/>
                    <a:pt x="14814" y="37142"/>
                    <a:pt x="16296" y="37142"/>
                  </a:cubicBezTo>
                  <a:cubicBezTo>
                    <a:pt x="17777" y="38571"/>
                    <a:pt x="19259" y="37142"/>
                    <a:pt x="22222" y="35714"/>
                  </a:cubicBezTo>
                  <a:cubicBezTo>
                    <a:pt x="23703" y="35714"/>
                    <a:pt x="19259" y="32857"/>
                    <a:pt x="19259" y="32857"/>
                  </a:cubicBezTo>
                  <a:cubicBezTo>
                    <a:pt x="19259" y="31428"/>
                    <a:pt x="23703" y="28571"/>
                    <a:pt x="23703" y="27142"/>
                  </a:cubicBezTo>
                  <a:cubicBezTo>
                    <a:pt x="25185" y="25714"/>
                    <a:pt x="28148" y="24285"/>
                    <a:pt x="29629" y="25714"/>
                  </a:cubicBezTo>
                  <a:cubicBezTo>
                    <a:pt x="31111" y="25714"/>
                    <a:pt x="34074" y="27142"/>
                    <a:pt x="34074" y="27142"/>
                  </a:cubicBezTo>
                  <a:cubicBezTo>
                    <a:pt x="34074" y="28571"/>
                    <a:pt x="34074" y="28571"/>
                    <a:pt x="35555" y="28571"/>
                  </a:cubicBezTo>
                  <a:cubicBezTo>
                    <a:pt x="35555" y="30000"/>
                    <a:pt x="34074" y="31428"/>
                    <a:pt x="34074" y="31428"/>
                  </a:cubicBezTo>
                  <a:cubicBezTo>
                    <a:pt x="34074" y="32857"/>
                    <a:pt x="37037" y="35714"/>
                    <a:pt x="37037" y="37142"/>
                  </a:cubicBezTo>
                  <a:cubicBezTo>
                    <a:pt x="40000" y="41428"/>
                    <a:pt x="42962" y="41428"/>
                    <a:pt x="42962" y="47142"/>
                  </a:cubicBezTo>
                  <a:cubicBezTo>
                    <a:pt x="42962" y="51428"/>
                    <a:pt x="42962" y="55714"/>
                    <a:pt x="41481" y="60000"/>
                  </a:cubicBezTo>
                  <a:cubicBezTo>
                    <a:pt x="41481" y="61428"/>
                    <a:pt x="44444" y="61428"/>
                    <a:pt x="44444" y="62857"/>
                  </a:cubicBezTo>
                  <a:cubicBezTo>
                    <a:pt x="42962" y="64285"/>
                    <a:pt x="41481" y="65714"/>
                    <a:pt x="41481" y="67142"/>
                  </a:cubicBezTo>
                  <a:cubicBezTo>
                    <a:pt x="40000" y="68571"/>
                    <a:pt x="40000" y="71428"/>
                    <a:pt x="38518" y="71428"/>
                  </a:cubicBezTo>
                  <a:cubicBezTo>
                    <a:pt x="35555" y="72857"/>
                    <a:pt x="32592" y="71428"/>
                    <a:pt x="32592" y="75714"/>
                  </a:cubicBezTo>
                  <a:cubicBezTo>
                    <a:pt x="32592" y="78571"/>
                    <a:pt x="28148" y="78571"/>
                    <a:pt x="32592" y="80000"/>
                  </a:cubicBezTo>
                  <a:cubicBezTo>
                    <a:pt x="34074" y="81428"/>
                    <a:pt x="35555" y="81428"/>
                    <a:pt x="38518" y="82857"/>
                  </a:cubicBezTo>
                  <a:cubicBezTo>
                    <a:pt x="40000" y="84285"/>
                    <a:pt x="41481" y="85714"/>
                    <a:pt x="42962" y="87142"/>
                  </a:cubicBezTo>
                  <a:cubicBezTo>
                    <a:pt x="45925" y="88571"/>
                    <a:pt x="47407" y="87142"/>
                    <a:pt x="50370" y="87142"/>
                  </a:cubicBezTo>
                  <a:cubicBezTo>
                    <a:pt x="51851" y="87142"/>
                    <a:pt x="53333" y="88571"/>
                    <a:pt x="56296" y="90000"/>
                  </a:cubicBezTo>
                  <a:cubicBezTo>
                    <a:pt x="57777" y="90000"/>
                    <a:pt x="59259" y="90000"/>
                    <a:pt x="60740" y="91428"/>
                  </a:cubicBezTo>
                  <a:cubicBezTo>
                    <a:pt x="65185" y="94285"/>
                    <a:pt x="68148" y="97142"/>
                    <a:pt x="71111" y="101428"/>
                  </a:cubicBezTo>
                  <a:cubicBezTo>
                    <a:pt x="72592" y="105714"/>
                    <a:pt x="74074" y="107142"/>
                    <a:pt x="80000" y="108571"/>
                  </a:cubicBezTo>
                  <a:cubicBezTo>
                    <a:pt x="81481" y="108571"/>
                    <a:pt x="82962" y="107142"/>
                    <a:pt x="84444" y="105714"/>
                  </a:cubicBezTo>
                  <a:cubicBezTo>
                    <a:pt x="85925" y="105714"/>
                    <a:pt x="87407" y="108571"/>
                    <a:pt x="88888" y="107142"/>
                  </a:cubicBezTo>
                  <a:cubicBezTo>
                    <a:pt x="91851" y="105714"/>
                    <a:pt x="94814" y="107142"/>
                    <a:pt x="96296" y="108571"/>
                  </a:cubicBezTo>
                  <a:cubicBezTo>
                    <a:pt x="96296" y="110000"/>
                    <a:pt x="94814" y="112857"/>
                    <a:pt x="94814" y="114285"/>
                  </a:cubicBezTo>
                  <a:cubicBezTo>
                    <a:pt x="93333" y="115714"/>
                    <a:pt x="91851" y="115714"/>
                    <a:pt x="94814" y="117142"/>
                  </a:cubicBezTo>
                  <a:cubicBezTo>
                    <a:pt x="94814" y="117142"/>
                    <a:pt x="97777" y="120000"/>
                    <a:pt x="96296" y="120000"/>
                  </a:cubicBezTo>
                  <a:cubicBezTo>
                    <a:pt x="99259" y="120000"/>
                    <a:pt x="100740" y="104285"/>
                    <a:pt x="102222" y="101428"/>
                  </a:cubicBezTo>
                  <a:cubicBezTo>
                    <a:pt x="102222" y="95714"/>
                    <a:pt x="97777" y="94285"/>
                    <a:pt x="96296" y="90000"/>
                  </a:cubicBezTo>
                  <a:cubicBezTo>
                    <a:pt x="96296" y="87142"/>
                    <a:pt x="96296" y="85714"/>
                    <a:pt x="97777" y="85714"/>
                  </a:cubicBezTo>
                  <a:cubicBezTo>
                    <a:pt x="99259" y="85714"/>
                    <a:pt x="103703" y="84285"/>
                    <a:pt x="103703" y="82857"/>
                  </a:cubicBezTo>
                  <a:cubicBezTo>
                    <a:pt x="102222" y="82857"/>
                    <a:pt x="99259" y="82857"/>
                    <a:pt x="99259" y="81428"/>
                  </a:cubicBezTo>
                  <a:cubicBezTo>
                    <a:pt x="97777" y="81428"/>
                    <a:pt x="97777" y="78571"/>
                    <a:pt x="97777" y="78571"/>
                  </a:cubicBezTo>
                  <a:cubicBezTo>
                    <a:pt x="100740" y="78571"/>
                    <a:pt x="103703" y="78571"/>
                    <a:pt x="106666" y="78571"/>
                  </a:cubicBezTo>
                  <a:cubicBezTo>
                    <a:pt x="108148" y="78571"/>
                    <a:pt x="117037" y="74285"/>
                    <a:pt x="117037" y="75714"/>
                  </a:cubicBezTo>
                  <a:cubicBezTo>
                    <a:pt x="117037" y="72857"/>
                    <a:pt x="112592" y="68571"/>
                    <a:pt x="114074" y="68571"/>
                  </a:cubicBezTo>
                  <a:cubicBezTo>
                    <a:pt x="115555" y="67142"/>
                    <a:pt x="112592" y="68571"/>
                    <a:pt x="114074" y="68571"/>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26" name="Shape 2500">
              <a:extLst>
                <a:ext uri="{FF2B5EF4-FFF2-40B4-BE49-F238E27FC236}">
                  <a16:creationId xmlns:a16="http://schemas.microsoft.com/office/drawing/2014/main" id="{3C4964E3-A00E-E348-ACCE-EA51880DE0F2}"/>
                </a:ext>
              </a:extLst>
            </p:cNvPr>
            <p:cNvSpPr/>
            <p:nvPr/>
          </p:nvSpPr>
          <p:spPr>
            <a:xfrm>
              <a:off x="7923107" y="8978911"/>
              <a:ext cx="261145" cy="309000"/>
            </a:xfrm>
            <a:custGeom>
              <a:avLst/>
              <a:gdLst/>
              <a:ahLst/>
              <a:cxnLst/>
              <a:rect l="0" t="0" r="0" b="0"/>
              <a:pathLst>
                <a:path w="120000" h="120000" extrusionOk="0">
                  <a:moveTo>
                    <a:pt x="85714" y="21818"/>
                  </a:moveTo>
                  <a:cubicBezTo>
                    <a:pt x="77142" y="21818"/>
                    <a:pt x="72857" y="14545"/>
                    <a:pt x="64285" y="10909"/>
                  </a:cubicBezTo>
                  <a:cubicBezTo>
                    <a:pt x="59999" y="7272"/>
                    <a:pt x="51428" y="0"/>
                    <a:pt x="42857" y="0"/>
                  </a:cubicBezTo>
                  <a:cubicBezTo>
                    <a:pt x="42857" y="10909"/>
                    <a:pt x="17142" y="3636"/>
                    <a:pt x="17142" y="14545"/>
                  </a:cubicBezTo>
                  <a:cubicBezTo>
                    <a:pt x="17142" y="21818"/>
                    <a:pt x="17142" y="21818"/>
                    <a:pt x="12857" y="25454"/>
                  </a:cubicBezTo>
                  <a:cubicBezTo>
                    <a:pt x="4285" y="29090"/>
                    <a:pt x="8571" y="32727"/>
                    <a:pt x="8571" y="36363"/>
                  </a:cubicBezTo>
                  <a:cubicBezTo>
                    <a:pt x="8571" y="40000"/>
                    <a:pt x="4285" y="43636"/>
                    <a:pt x="0" y="47272"/>
                  </a:cubicBezTo>
                  <a:cubicBezTo>
                    <a:pt x="0" y="47272"/>
                    <a:pt x="0" y="50909"/>
                    <a:pt x="0" y="54545"/>
                  </a:cubicBezTo>
                  <a:cubicBezTo>
                    <a:pt x="4285" y="58181"/>
                    <a:pt x="0" y="61818"/>
                    <a:pt x="0" y="65454"/>
                  </a:cubicBezTo>
                  <a:cubicBezTo>
                    <a:pt x="0" y="65454"/>
                    <a:pt x="4285" y="76363"/>
                    <a:pt x="8571" y="72727"/>
                  </a:cubicBezTo>
                  <a:cubicBezTo>
                    <a:pt x="17142" y="72727"/>
                    <a:pt x="17142" y="65454"/>
                    <a:pt x="21428" y="65454"/>
                  </a:cubicBezTo>
                  <a:cubicBezTo>
                    <a:pt x="17142" y="65454"/>
                    <a:pt x="25714" y="72727"/>
                    <a:pt x="21428" y="72727"/>
                  </a:cubicBezTo>
                  <a:cubicBezTo>
                    <a:pt x="21428" y="80000"/>
                    <a:pt x="21428" y="83636"/>
                    <a:pt x="12857" y="87272"/>
                  </a:cubicBezTo>
                  <a:cubicBezTo>
                    <a:pt x="12857" y="87272"/>
                    <a:pt x="17142" y="94545"/>
                    <a:pt x="12857" y="94545"/>
                  </a:cubicBezTo>
                  <a:cubicBezTo>
                    <a:pt x="12857" y="98181"/>
                    <a:pt x="8571" y="98181"/>
                    <a:pt x="12857" y="101818"/>
                  </a:cubicBezTo>
                  <a:cubicBezTo>
                    <a:pt x="21428" y="105454"/>
                    <a:pt x="25714" y="105454"/>
                    <a:pt x="34285" y="116363"/>
                  </a:cubicBezTo>
                  <a:cubicBezTo>
                    <a:pt x="38571" y="120000"/>
                    <a:pt x="42857" y="105454"/>
                    <a:pt x="47142" y="105454"/>
                  </a:cubicBezTo>
                  <a:cubicBezTo>
                    <a:pt x="51428" y="94545"/>
                    <a:pt x="55714" y="83636"/>
                    <a:pt x="68571" y="80000"/>
                  </a:cubicBezTo>
                  <a:cubicBezTo>
                    <a:pt x="77142" y="76363"/>
                    <a:pt x="85714" y="76363"/>
                    <a:pt x="94285" y="69090"/>
                  </a:cubicBezTo>
                  <a:cubicBezTo>
                    <a:pt x="102857" y="65454"/>
                    <a:pt x="111428" y="58181"/>
                    <a:pt x="115714" y="47272"/>
                  </a:cubicBezTo>
                  <a:cubicBezTo>
                    <a:pt x="115714" y="40000"/>
                    <a:pt x="119999" y="36363"/>
                    <a:pt x="115714" y="29090"/>
                  </a:cubicBezTo>
                  <a:cubicBezTo>
                    <a:pt x="111428" y="25454"/>
                    <a:pt x="107142" y="21818"/>
                    <a:pt x="102857" y="18181"/>
                  </a:cubicBezTo>
                  <a:cubicBezTo>
                    <a:pt x="98571" y="18181"/>
                    <a:pt x="89999" y="21818"/>
                    <a:pt x="85714" y="21818"/>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27" name="Shape 2501">
              <a:extLst>
                <a:ext uri="{FF2B5EF4-FFF2-40B4-BE49-F238E27FC236}">
                  <a16:creationId xmlns:a16="http://schemas.microsoft.com/office/drawing/2014/main" id="{D778D685-854D-AE4E-9B3D-96A81ED11D40}"/>
                </a:ext>
              </a:extLst>
            </p:cNvPr>
            <p:cNvSpPr/>
            <p:nvPr/>
          </p:nvSpPr>
          <p:spPr>
            <a:xfrm>
              <a:off x="7894443" y="9036252"/>
              <a:ext cx="598726" cy="888768"/>
            </a:xfrm>
            <a:custGeom>
              <a:avLst/>
              <a:gdLst/>
              <a:ahLst/>
              <a:cxnLst/>
              <a:rect l="0" t="0" r="0" b="0"/>
              <a:pathLst>
                <a:path w="120000" h="120000" extrusionOk="0">
                  <a:moveTo>
                    <a:pt x="106875" y="26526"/>
                  </a:moveTo>
                  <a:cubicBezTo>
                    <a:pt x="99375" y="24000"/>
                    <a:pt x="110625" y="18947"/>
                    <a:pt x="105000" y="17684"/>
                  </a:cubicBezTo>
                  <a:cubicBezTo>
                    <a:pt x="101250" y="15157"/>
                    <a:pt x="97500" y="16421"/>
                    <a:pt x="93750" y="16421"/>
                  </a:cubicBezTo>
                  <a:cubicBezTo>
                    <a:pt x="90000" y="15157"/>
                    <a:pt x="90000" y="17684"/>
                    <a:pt x="86250" y="17684"/>
                  </a:cubicBezTo>
                  <a:cubicBezTo>
                    <a:pt x="82500" y="16421"/>
                    <a:pt x="78750" y="16421"/>
                    <a:pt x="76875" y="13894"/>
                  </a:cubicBezTo>
                  <a:cubicBezTo>
                    <a:pt x="75000" y="12631"/>
                    <a:pt x="73125" y="8842"/>
                    <a:pt x="71250" y="7578"/>
                  </a:cubicBezTo>
                  <a:cubicBezTo>
                    <a:pt x="67500" y="6315"/>
                    <a:pt x="65625" y="3789"/>
                    <a:pt x="61875" y="2526"/>
                  </a:cubicBezTo>
                  <a:cubicBezTo>
                    <a:pt x="60000" y="0"/>
                    <a:pt x="56250" y="1263"/>
                    <a:pt x="52500" y="0"/>
                  </a:cubicBezTo>
                  <a:cubicBezTo>
                    <a:pt x="56250" y="2526"/>
                    <a:pt x="58125" y="3789"/>
                    <a:pt x="58125" y="6315"/>
                  </a:cubicBezTo>
                  <a:cubicBezTo>
                    <a:pt x="56250" y="8842"/>
                    <a:pt x="56250" y="11368"/>
                    <a:pt x="52500" y="12631"/>
                  </a:cubicBezTo>
                  <a:cubicBezTo>
                    <a:pt x="48750" y="15157"/>
                    <a:pt x="46875" y="17684"/>
                    <a:pt x="43125" y="17684"/>
                  </a:cubicBezTo>
                  <a:cubicBezTo>
                    <a:pt x="39375" y="18947"/>
                    <a:pt x="35625" y="18947"/>
                    <a:pt x="31875" y="21473"/>
                  </a:cubicBezTo>
                  <a:cubicBezTo>
                    <a:pt x="30000" y="22736"/>
                    <a:pt x="22500" y="34105"/>
                    <a:pt x="20625" y="32842"/>
                  </a:cubicBezTo>
                  <a:cubicBezTo>
                    <a:pt x="16875" y="29052"/>
                    <a:pt x="15000" y="29052"/>
                    <a:pt x="11250" y="27789"/>
                  </a:cubicBezTo>
                  <a:cubicBezTo>
                    <a:pt x="9375" y="27789"/>
                    <a:pt x="9375" y="27789"/>
                    <a:pt x="11250" y="26526"/>
                  </a:cubicBezTo>
                  <a:cubicBezTo>
                    <a:pt x="13125" y="25263"/>
                    <a:pt x="13125" y="24000"/>
                    <a:pt x="11250" y="22736"/>
                  </a:cubicBezTo>
                  <a:cubicBezTo>
                    <a:pt x="7500" y="24000"/>
                    <a:pt x="0" y="29052"/>
                    <a:pt x="3750" y="32842"/>
                  </a:cubicBezTo>
                  <a:cubicBezTo>
                    <a:pt x="3750" y="32842"/>
                    <a:pt x="7500" y="36631"/>
                    <a:pt x="5625" y="37894"/>
                  </a:cubicBezTo>
                  <a:cubicBezTo>
                    <a:pt x="3750" y="37894"/>
                    <a:pt x="1875" y="39157"/>
                    <a:pt x="5625" y="40421"/>
                  </a:cubicBezTo>
                  <a:cubicBezTo>
                    <a:pt x="15000" y="44210"/>
                    <a:pt x="22500" y="51789"/>
                    <a:pt x="26250" y="59368"/>
                  </a:cubicBezTo>
                  <a:cubicBezTo>
                    <a:pt x="31875" y="65684"/>
                    <a:pt x="35625" y="73263"/>
                    <a:pt x="43125" y="79578"/>
                  </a:cubicBezTo>
                  <a:cubicBezTo>
                    <a:pt x="45000" y="82105"/>
                    <a:pt x="48750" y="84631"/>
                    <a:pt x="48750" y="88421"/>
                  </a:cubicBezTo>
                  <a:cubicBezTo>
                    <a:pt x="48750" y="89684"/>
                    <a:pt x="46875" y="88421"/>
                    <a:pt x="46875" y="89684"/>
                  </a:cubicBezTo>
                  <a:cubicBezTo>
                    <a:pt x="48750" y="90947"/>
                    <a:pt x="50625" y="92210"/>
                    <a:pt x="52500" y="93473"/>
                  </a:cubicBezTo>
                  <a:cubicBezTo>
                    <a:pt x="54375" y="96000"/>
                    <a:pt x="56250" y="98526"/>
                    <a:pt x="60000" y="99789"/>
                  </a:cubicBezTo>
                  <a:cubicBezTo>
                    <a:pt x="65625" y="101052"/>
                    <a:pt x="71250" y="103578"/>
                    <a:pt x="76875" y="104842"/>
                  </a:cubicBezTo>
                  <a:cubicBezTo>
                    <a:pt x="80625" y="106105"/>
                    <a:pt x="84375" y="108631"/>
                    <a:pt x="90000" y="109894"/>
                  </a:cubicBezTo>
                  <a:cubicBezTo>
                    <a:pt x="93750" y="112421"/>
                    <a:pt x="97500" y="114947"/>
                    <a:pt x="101250" y="117473"/>
                  </a:cubicBezTo>
                  <a:cubicBezTo>
                    <a:pt x="108750" y="120000"/>
                    <a:pt x="106875" y="114947"/>
                    <a:pt x="110625" y="113684"/>
                  </a:cubicBezTo>
                  <a:cubicBezTo>
                    <a:pt x="112500" y="112421"/>
                    <a:pt x="112500" y="109894"/>
                    <a:pt x="114375" y="108631"/>
                  </a:cubicBezTo>
                  <a:cubicBezTo>
                    <a:pt x="114375" y="107368"/>
                    <a:pt x="120000" y="104842"/>
                    <a:pt x="118125" y="103578"/>
                  </a:cubicBezTo>
                  <a:cubicBezTo>
                    <a:pt x="114375" y="102315"/>
                    <a:pt x="112500" y="102315"/>
                    <a:pt x="114375" y="98526"/>
                  </a:cubicBezTo>
                  <a:cubicBezTo>
                    <a:pt x="114375" y="97263"/>
                    <a:pt x="114375" y="96000"/>
                    <a:pt x="114375" y="96000"/>
                  </a:cubicBezTo>
                  <a:cubicBezTo>
                    <a:pt x="116250" y="94736"/>
                    <a:pt x="118125" y="93473"/>
                    <a:pt x="118125" y="93473"/>
                  </a:cubicBezTo>
                  <a:cubicBezTo>
                    <a:pt x="120000" y="89684"/>
                    <a:pt x="116250" y="83368"/>
                    <a:pt x="120000" y="80842"/>
                  </a:cubicBezTo>
                  <a:cubicBezTo>
                    <a:pt x="120000" y="79578"/>
                    <a:pt x="118125" y="77052"/>
                    <a:pt x="116250" y="74526"/>
                  </a:cubicBezTo>
                  <a:cubicBezTo>
                    <a:pt x="114375" y="70736"/>
                    <a:pt x="112500" y="70736"/>
                    <a:pt x="106875" y="72000"/>
                  </a:cubicBezTo>
                  <a:cubicBezTo>
                    <a:pt x="99375" y="72000"/>
                    <a:pt x="103125" y="63157"/>
                    <a:pt x="103125" y="60631"/>
                  </a:cubicBezTo>
                  <a:cubicBezTo>
                    <a:pt x="99375" y="61894"/>
                    <a:pt x="97500" y="64421"/>
                    <a:pt x="93750" y="64421"/>
                  </a:cubicBezTo>
                  <a:cubicBezTo>
                    <a:pt x="91875" y="64421"/>
                    <a:pt x="88125" y="64421"/>
                    <a:pt x="86250" y="64421"/>
                  </a:cubicBezTo>
                  <a:cubicBezTo>
                    <a:pt x="84375" y="63157"/>
                    <a:pt x="84375" y="60631"/>
                    <a:pt x="82500" y="60631"/>
                  </a:cubicBezTo>
                  <a:cubicBezTo>
                    <a:pt x="76875" y="60631"/>
                    <a:pt x="76875" y="55578"/>
                    <a:pt x="75000" y="53052"/>
                  </a:cubicBezTo>
                  <a:cubicBezTo>
                    <a:pt x="71250" y="50526"/>
                    <a:pt x="69375" y="46736"/>
                    <a:pt x="73125" y="44210"/>
                  </a:cubicBezTo>
                  <a:cubicBezTo>
                    <a:pt x="75000" y="42947"/>
                    <a:pt x="78750" y="42947"/>
                    <a:pt x="78750" y="41684"/>
                  </a:cubicBezTo>
                  <a:cubicBezTo>
                    <a:pt x="78750" y="40421"/>
                    <a:pt x="78750" y="39157"/>
                    <a:pt x="78750" y="37894"/>
                  </a:cubicBezTo>
                  <a:cubicBezTo>
                    <a:pt x="78750" y="34105"/>
                    <a:pt x="78750" y="32842"/>
                    <a:pt x="84375" y="31578"/>
                  </a:cubicBezTo>
                  <a:cubicBezTo>
                    <a:pt x="88125" y="30315"/>
                    <a:pt x="90000" y="30315"/>
                    <a:pt x="93750" y="30315"/>
                  </a:cubicBezTo>
                  <a:cubicBezTo>
                    <a:pt x="95625" y="30315"/>
                    <a:pt x="97500" y="29052"/>
                    <a:pt x="99375" y="27789"/>
                  </a:cubicBezTo>
                  <a:cubicBezTo>
                    <a:pt x="101250" y="27789"/>
                    <a:pt x="110625" y="29052"/>
                    <a:pt x="106875" y="26526"/>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28" name="Shape 2502">
              <a:extLst>
                <a:ext uri="{FF2B5EF4-FFF2-40B4-BE49-F238E27FC236}">
                  <a16:creationId xmlns:a16="http://schemas.microsoft.com/office/drawing/2014/main" id="{05C73BCB-3449-A741-A3F2-E67C96AE8185}"/>
                </a:ext>
              </a:extLst>
            </p:cNvPr>
            <p:cNvSpPr/>
            <p:nvPr/>
          </p:nvSpPr>
          <p:spPr>
            <a:xfrm>
              <a:off x="8158775" y="9867680"/>
              <a:ext cx="407642" cy="1984596"/>
            </a:xfrm>
            <a:custGeom>
              <a:avLst/>
              <a:gdLst/>
              <a:ahLst/>
              <a:cxnLst/>
              <a:rect l="0" t="0" r="0" b="0"/>
              <a:pathLst>
                <a:path w="120000" h="120000" extrusionOk="0">
                  <a:moveTo>
                    <a:pt x="109090" y="15849"/>
                  </a:moveTo>
                  <a:cubicBezTo>
                    <a:pt x="103636" y="15283"/>
                    <a:pt x="109090" y="12452"/>
                    <a:pt x="103636" y="11320"/>
                  </a:cubicBezTo>
                  <a:cubicBezTo>
                    <a:pt x="100909" y="10754"/>
                    <a:pt x="95454" y="9056"/>
                    <a:pt x="98181" y="7924"/>
                  </a:cubicBezTo>
                  <a:cubicBezTo>
                    <a:pt x="103636" y="7358"/>
                    <a:pt x="95454" y="7358"/>
                    <a:pt x="98181" y="6792"/>
                  </a:cubicBezTo>
                  <a:cubicBezTo>
                    <a:pt x="100909" y="6226"/>
                    <a:pt x="98181" y="5660"/>
                    <a:pt x="95454" y="5094"/>
                  </a:cubicBezTo>
                  <a:cubicBezTo>
                    <a:pt x="92727" y="4528"/>
                    <a:pt x="92727" y="3962"/>
                    <a:pt x="92727" y="2830"/>
                  </a:cubicBezTo>
                  <a:cubicBezTo>
                    <a:pt x="92727" y="1698"/>
                    <a:pt x="90000" y="1132"/>
                    <a:pt x="87272" y="0"/>
                  </a:cubicBezTo>
                  <a:cubicBezTo>
                    <a:pt x="84545" y="566"/>
                    <a:pt x="81818" y="1132"/>
                    <a:pt x="81818" y="1698"/>
                  </a:cubicBezTo>
                  <a:cubicBezTo>
                    <a:pt x="79090" y="2830"/>
                    <a:pt x="73636" y="2264"/>
                    <a:pt x="76363" y="3396"/>
                  </a:cubicBezTo>
                  <a:cubicBezTo>
                    <a:pt x="76363" y="5094"/>
                    <a:pt x="76363" y="6792"/>
                    <a:pt x="76363" y="8490"/>
                  </a:cubicBezTo>
                  <a:cubicBezTo>
                    <a:pt x="76363" y="10754"/>
                    <a:pt x="79090" y="13584"/>
                    <a:pt x="76363" y="15849"/>
                  </a:cubicBezTo>
                  <a:cubicBezTo>
                    <a:pt x="73636" y="16415"/>
                    <a:pt x="70909" y="16981"/>
                    <a:pt x="70909" y="17547"/>
                  </a:cubicBezTo>
                  <a:cubicBezTo>
                    <a:pt x="70909" y="18679"/>
                    <a:pt x="73636" y="19811"/>
                    <a:pt x="73636" y="20943"/>
                  </a:cubicBezTo>
                  <a:cubicBezTo>
                    <a:pt x="73636" y="24339"/>
                    <a:pt x="68181" y="28301"/>
                    <a:pt x="62727" y="31698"/>
                  </a:cubicBezTo>
                  <a:cubicBezTo>
                    <a:pt x="60000" y="33396"/>
                    <a:pt x="60000" y="34528"/>
                    <a:pt x="62727" y="36226"/>
                  </a:cubicBezTo>
                  <a:cubicBezTo>
                    <a:pt x="62727" y="37358"/>
                    <a:pt x="62727" y="37924"/>
                    <a:pt x="57272" y="38490"/>
                  </a:cubicBezTo>
                  <a:cubicBezTo>
                    <a:pt x="54545" y="39056"/>
                    <a:pt x="57272" y="39622"/>
                    <a:pt x="57272" y="40188"/>
                  </a:cubicBezTo>
                  <a:cubicBezTo>
                    <a:pt x="57272" y="41886"/>
                    <a:pt x="57272" y="43584"/>
                    <a:pt x="57272" y="45283"/>
                  </a:cubicBezTo>
                  <a:cubicBezTo>
                    <a:pt x="57272" y="45849"/>
                    <a:pt x="57272" y="46981"/>
                    <a:pt x="57272" y="47547"/>
                  </a:cubicBezTo>
                  <a:cubicBezTo>
                    <a:pt x="54545" y="48113"/>
                    <a:pt x="57272" y="49245"/>
                    <a:pt x="54545" y="49811"/>
                  </a:cubicBezTo>
                  <a:cubicBezTo>
                    <a:pt x="49090" y="52641"/>
                    <a:pt x="43636" y="55471"/>
                    <a:pt x="38181" y="58301"/>
                  </a:cubicBezTo>
                  <a:cubicBezTo>
                    <a:pt x="35454" y="60000"/>
                    <a:pt x="27272" y="60566"/>
                    <a:pt x="30000" y="62264"/>
                  </a:cubicBezTo>
                  <a:cubicBezTo>
                    <a:pt x="32727" y="63962"/>
                    <a:pt x="38181" y="66792"/>
                    <a:pt x="32727" y="69056"/>
                  </a:cubicBezTo>
                  <a:cubicBezTo>
                    <a:pt x="27272" y="70188"/>
                    <a:pt x="21818" y="73018"/>
                    <a:pt x="27272" y="74716"/>
                  </a:cubicBezTo>
                  <a:cubicBezTo>
                    <a:pt x="30000" y="75849"/>
                    <a:pt x="32727" y="75849"/>
                    <a:pt x="35454" y="75283"/>
                  </a:cubicBezTo>
                  <a:cubicBezTo>
                    <a:pt x="38181" y="74716"/>
                    <a:pt x="49090" y="74716"/>
                    <a:pt x="46363" y="75283"/>
                  </a:cubicBezTo>
                  <a:cubicBezTo>
                    <a:pt x="46363" y="75283"/>
                    <a:pt x="43636" y="75283"/>
                    <a:pt x="40909" y="75849"/>
                  </a:cubicBezTo>
                  <a:cubicBezTo>
                    <a:pt x="40909" y="76415"/>
                    <a:pt x="40909" y="76415"/>
                    <a:pt x="43636" y="76981"/>
                  </a:cubicBezTo>
                  <a:cubicBezTo>
                    <a:pt x="43636" y="76981"/>
                    <a:pt x="40909" y="77547"/>
                    <a:pt x="40909" y="77547"/>
                  </a:cubicBezTo>
                  <a:cubicBezTo>
                    <a:pt x="38181" y="78679"/>
                    <a:pt x="35454" y="80943"/>
                    <a:pt x="38181" y="82075"/>
                  </a:cubicBezTo>
                  <a:cubicBezTo>
                    <a:pt x="38181" y="82641"/>
                    <a:pt x="38181" y="82641"/>
                    <a:pt x="35454" y="83773"/>
                  </a:cubicBezTo>
                  <a:cubicBezTo>
                    <a:pt x="32727" y="84339"/>
                    <a:pt x="38181" y="84339"/>
                    <a:pt x="40909" y="84905"/>
                  </a:cubicBezTo>
                  <a:cubicBezTo>
                    <a:pt x="40909" y="84905"/>
                    <a:pt x="40909" y="84905"/>
                    <a:pt x="38181" y="85471"/>
                  </a:cubicBezTo>
                  <a:cubicBezTo>
                    <a:pt x="35454" y="85471"/>
                    <a:pt x="30000" y="86037"/>
                    <a:pt x="35454" y="86037"/>
                  </a:cubicBezTo>
                  <a:cubicBezTo>
                    <a:pt x="32727" y="86603"/>
                    <a:pt x="35454" y="88301"/>
                    <a:pt x="38181" y="88301"/>
                  </a:cubicBezTo>
                  <a:cubicBezTo>
                    <a:pt x="35454" y="88301"/>
                    <a:pt x="27272" y="87735"/>
                    <a:pt x="30000" y="89433"/>
                  </a:cubicBezTo>
                  <a:cubicBezTo>
                    <a:pt x="30000" y="89433"/>
                    <a:pt x="32727" y="92264"/>
                    <a:pt x="27272" y="91698"/>
                  </a:cubicBezTo>
                  <a:cubicBezTo>
                    <a:pt x="27272" y="91698"/>
                    <a:pt x="21818" y="90566"/>
                    <a:pt x="21818" y="90000"/>
                  </a:cubicBezTo>
                  <a:cubicBezTo>
                    <a:pt x="16363" y="89433"/>
                    <a:pt x="19090" y="88867"/>
                    <a:pt x="13636" y="89433"/>
                  </a:cubicBezTo>
                  <a:cubicBezTo>
                    <a:pt x="13636" y="89433"/>
                    <a:pt x="10909" y="90000"/>
                    <a:pt x="10909" y="90000"/>
                  </a:cubicBezTo>
                  <a:cubicBezTo>
                    <a:pt x="10909" y="90566"/>
                    <a:pt x="13636" y="90566"/>
                    <a:pt x="10909" y="91132"/>
                  </a:cubicBezTo>
                  <a:cubicBezTo>
                    <a:pt x="10909" y="91698"/>
                    <a:pt x="0" y="91698"/>
                    <a:pt x="0" y="92830"/>
                  </a:cubicBezTo>
                  <a:cubicBezTo>
                    <a:pt x="0" y="92830"/>
                    <a:pt x="2727" y="93396"/>
                    <a:pt x="5454" y="93396"/>
                  </a:cubicBezTo>
                  <a:cubicBezTo>
                    <a:pt x="5454" y="93396"/>
                    <a:pt x="2727" y="92830"/>
                    <a:pt x="5454" y="92264"/>
                  </a:cubicBezTo>
                  <a:cubicBezTo>
                    <a:pt x="5454" y="92264"/>
                    <a:pt x="13636" y="93396"/>
                    <a:pt x="19090" y="92830"/>
                  </a:cubicBezTo>
                  <a:cubicBezTo>
                    <a:pt x="30000" y="92264"/>
                    <a:pt x="13636" y="96226"/>
                    <a:pt x="19090" y="96792"/>
                  </a:cubicBezTo>
                  <a:cubicBezTo>
                    <a:pt x="21818" y="96792"/>
                    <a:pt x="27272" y="96226"/>
                    <a:pt x="30000" y="96792"/>
                  </a:cubicBezTo>
                  <a:cubicBezTo>
                    <a:pt x="32727" y="96792"/>
                    <a:pt x="32727" y="98490"/>
                    <a:pt x="30000" y="97924"/>
                  </a:cubicBezTo>
                  <a:cubicBezTo>
                    <a:pt x="30000" y="97924"/>
                    <a:pt x="21818" y="96792"/>
                    <a:pt x="21818" y="97358"/>
                  </a:cubicBezTo>
                  <a:cubicBezTo>
                    <a:pt x="19090" y="97924"/>
                    <a:pt x="16363" y="97924"/>
                    <a:pt x="19090" y="98490"/>
                  </a:cubicBezTo>
                  <a:cubicBezTo>
                    <a:pt x="19090" y="98490"/>
                    <a:pt x="24545" y="99622"/>
                    <a:pt x="21818" y="99622"/>
                  </a:cubicBezTo>
                  <a:cubicBezTo>
                    <a:pt x="19090" y="99622"/>
                    <a:pt x="19090" y="101320"/>
                    <a:pt x="19090" y="101320"/>
                  </a:cubicBezTo>
                  <a:cubicBezTo>
                    <a:pt x="16363" y="103018"/>
                    <a:pt x="24545" y="100754"/>
                    <a:pt x="24545" y="100754"/>
                  </a:cubicBezTo>
                  <a:cubicBezTo>
                    <a:pt x="24545" y="100754"/>
                    <a:pt x="21818" y="103584"/>
                    <a:pt x="24545" y="103018"/>
                  </a:cubicBezTo>
                  <a:cubicBezTo>
                    <a:pt x="24545" y="103018"/>
                    <a:pt x="21818" y="103018"/>
                    <a:pt x="21818" y="103584"/>
                  </a:cubicBezTo>
                  <a:cubicBezTo>
                    <a:pt x="19090" y="104150"/>
                    <a:pt x="21818" y="104150"/>
                    <a:pt x="24545" y="104716"/>
                  </a:cubicBezTo>
                  <a:cubicBezTo>
                    <a:pt x="24545" y="104716"/>
                    <a:pt x="19090" y="105283"/>
                    <a:pt x="19090" y="105283"/>
                  </a:cubicBezTo>
                  <a:cubicBezTo>
                    <a:pt x="16363" y="105283"/>
                    <a:pt x="19090" y="105283"/>
                    <a:pt x="19090" y="105849"/>
                  </a:cubicBezTo>
                  <a:cubicBezTo>
                    <a:pt x="16363" y="106981"/>
                    <a:pt x="27272" y="106981"/>
                    <a:pt x="27272" y="106415"/>
                  </a:cubicBezTo>
                  <a:cubicBezTo>
                    <a:pt x="27272" y="106981"/>
                    <a:pt x="24545" y="106981"/>
                    <a:pt x="27272" y="107547"/>
                  </a:cubicBezTo>
                  <a:cubicBezTo>
                    <a:pt x="27272" y="107547"/>
                    <a:pt x="27272" y="107547"/>
                    <a:pt x="27272" y="107547"/>
                  </a:cubicBezTo>
                  <a:cubicBezTo>
                    <a:pt x="27272" y="108113"/>
                    <a:pt x="21818" y="108679"/>
                    <a:pt x="21818" y="109245"/>
                  </a:cubicBezTo>
                  <a:cubicBezTo>
                    <a:pt x="19090" y="110377"/>
                    <a:pt x="27272" y="108679"/>
                    <a:pt x="30000" y="108679"/>
                  </a:cubicBezTo>
                  <a:cubicBezTo>
                    <a:pt x="27272" y="109245"/>
                    <a:pt x="30000" y="109811"/>
                    <a:pt x="30000" y="109811"/>
                  </a:cubicBezTo>
                  <a:cubicBezTo>
                    <a:pt x="30000" y="110377"/>
                    <a:pt x="21818" y="110943"/>
                    <a:pt x="21818" y="110943"/>
                  </a:cubicBezTo>
                  <a:cubicBezTo>
                    <a:pt x="27272" y="111509"/>
                    <a:pt x="27272" y="110943"/>
                    <a:pt x="30000" y="112075"/>
                  </a:cubicBezTo>
                  <a:cubicBezTo>
                    <a:pt x="32727" y="113207"/>
                    <a:pt x="38181" y="110377"/>
                    <a:pt x="35454" y="110377"/>
                  </a:cubicBezTo>
                  <a:cubicBezTo>
                    <a:pt x="38181" y="110377"/>
                    <a:pt x="38181" y="110943"/>
                    <a:pt x="40909" y="111509"/>
                  </a:cubicBezTo>
                  <a:cubicBezTo>
                    <a:pt x="40909" y="111509"/>
                    <a:pt x="40909" y="110377"/>
                    <a:pt x="40909" y="110377"/>
                  </a:cubicBezTo>
                  <a:cubicBezTo>
                    <a:pt x="40909" y="110377"/>
                    <a:pt x="40909" y="111509"/>
                    <a:pt x="40909" y="111509"/>
                  </a:cubicBezTo>
                  <a:cubicBezTo>
                    <a:pt x="43636" y="110943"/>
                    <a:pt x="43636" y="110377"/>
                    <a:pt x="43636" y="110943"/>
                  </a:cubicBezTo>
                  <a:cubicBezTo>
                    <a:pt x="46363" y="110943"/>
                    <a:pt x="43636" y="112075"/>
                    <a:pt x="43636" y="112075"/>
                  </a:cubicBezTo>
                  <a:cubicBezTo>
                    <a:pt x="40909" y="112641"/>
                    <a:pt x="46363" y="112641"/>
                    <a:pt x="43636" y="113207"/>
                  </a:cubicBezTo>
                  <a:cubicBezTo>
                    <a:pt x="40909" y="114339"/>
                    <a:pt x="46363" y="113773"/>
                    <a:pt x="49090" y="114339"/>
                  </a:cubicBezTo>
                  <a:cubicBezTo>
                    <a:pt x="57272" y="114339"/>
                    <a:pt x="65454" y="115471"/>
                    <a:pt x="57272" y="116603"/>
                  </a:cubicBezTo>
                  <a:cubicBezTo>
                    <a:pt x="54545" y="117169"/>
                    <a:pt x="46363" y="116603"/>
                    <a:pt x="43636" y="117169"/>
                  </a:cubicBezTo>
                  <a:cubicBezTo>
                    <a:pt x="40909" y="118301"/>
                    <a:pt x="49090" y="117735"/>
                    <a:pt x="51818" y="118301"/>
                  </a:cubicBezTo>
                  <a:cubicBezTo>
                    <a:pt x="49090" y="118301"/>
                    <a:pt x="49090" y="118301"/>
                    <a:pt x="49090" y="118301"/>
                  </a:cubicBezTo>
                  <a:cubicBezTo>
                    <a:pt x="49090" y="118301"/>
                    <a:pt x="60000" y="120000"/>
                    <a:pt x="65454" y="118867"/>
                  </a:cubicBezTo>
                  <a:cubicBezTo>
                    <a:pt x="68181" y="117735"/>
                    <a:pt x="62727" y="116603"/>
                    <a:pt x="68181" y="115471"/>
                  </a:cubicBezTo>
                  <a:cubicBezTo>
                    <a:pt x="70909" y="114339"/>
                    <a:pt x="79090" y="114339"/>
                    <a:pt x="81818" y="114339"/>
                  </a:cubicBezTo>
                  <a:cubicBezTo>
                    <a:pt x="95454" y="112641"/>
                    <a:pt x="76363" y="112641"/>
                    <a:pt x="70909" y="112641"/>
                  </a:cubicBezTo>
                  <a:cubicBezTo>
                    <a:pt x="65454" y="112641"/>
                    <a:pt x="57272" y="112641"/>
                    <a:pt x="51818" y="112075"/>
                  </a:cubicBezTo>
                  <a:cubicBezTo>
                    <a:pt x="46363" y="110943"/>
                    <a:pt x="46363" y="110943"/>
                    <a:pt x="46363" y="108679"/>
                  </a:cubicBezTo>
                  <a:cubicBezTo>
                    <a:pt x="46363" y="106415"/>
                    <a:pt x="43636" y="108113"/>
                    <a:pt x="35454" y="106981"/>
                  </a:cubicBezTo>
                  <a:cubicBezTo>
                    <a:pt x="32727" y="106981"/>
                    <a:pt x="32727" y="105283"/>
                    <a:pt x="32727" y="104716"/>
                  </a:cubicBezTo>
                  <a:cubicBezTo>
                    <a:pt x="30000" y="103584"/>
                    <a:pt x="30000" y="101886"/>
                    <a:pt x="35454" y="101320"/>
                  </a:cubicBezTo>
                  <a:cubicBezTo>
                    <a:pt x="38181" y="100754"/>
                    <a:pt x="38181" y="100754"/>
                    <a:pt x="40909" y="100188"/>
                  </a:cubicBezTo>
                  <a:cubicBezTo>
                    <a:pt x="40909" y="99622"/>
                    <a:pt x="43636" y="99056"/>
                    <a:pt x="46363" y="99056"/>
                  </a:cubicBezTo>
                  <a:cubicBezTo>
                    <a:pt x="49090" y="98490"/>
                    <a:pt x="43636" y="96792"/>
                    <a:pt x="46363" y="95660"/>
                  </a:cubicBezTo>
                  <a:cubicBezTo>
                    <a:pt x="46363" y="95094"/>
                    <a:pt x="51818" y="94528"/>
                    <a:pt x="54545" y="93396"/>
                  </a:cubicBezTo>
                  <a:cubicBezTo>
                    <a:pt x="54545" y="92264"/>
                    <a:pt x="54545" y="90566"/>
                    <a:pt x="57272" y="89433"/>
                  </a:cubicBezTo>
                  <a:cubicBezTo>
                    <a:pt x="57272" y="88301"/>
                    <a:pt x="62727" y="88301"/>
                    <a:pt x="57272" y="87169"/>
                  </a:cubicBezTo>
                  <a:cubicBezTo>
                    <a:pt x="54545" y="86603"/>
                    <a:pt x="46363" y="86603"/>
                    <a:pt x="57272" y="86037"/>
                  </a:cubicBezTo>
                  <a:cubicBezTo>
                    <a:pt x="70909" y="85471"/>
                    <a:pt x="54545" y="85471"/>
                    <a:pt x="51818" y="84339"/>
                  </a:cubicBezTo>
                  <a:cubicBezTo>
                    <a:pt x="51818" y="82641"/>
                    <a:pt x="51818" y="80377"/>
                    <a:pt x="51818" y="79245"/>
                  </a:cubicBezTo>
                  <a:cubicBezTo>
                    <a:pt x="51818" y="76981"/>
                    <a:pt x="51818" y="74150"/>
                    <a:pt x="51818" y="71886"/>
                  </a:cubicBezTo>
                  <a:cubicBezTo>
                    <a:pt x="54545" y="70188"/>
                    <a:pt x="57272" y="67358"/>
                    <a:pt x="62727" y="66226"/>
                  </a:cubicBezTo>
                  <a:cubicBezTo>
                    <a:pt x="70909" y="64528"/>
                    <a:pt x="62727" y="61698"/>
                    <a:pt x="62727" y="60000"/>
                  </a:cubicBezTo>
                  <a:cubicBezTo>
                    <a:pt x="62727" y="58867"/>
                    <a:pt x="65454" y="58301"/>
                    <a:pt x="70909" y="57735"/>
                  </a:cubicBezTo>
                  <a:cubicBezTo>
                    <a:pt x="76363" y="56603"/>
                    <a:pt x="73636" y="56037"/>
                    <a:pt x="73636" y="54339"/>
                  </a:cubicBezTo>
                  <a:cubicBezTo>
                    <a:pt x="73636" y="52075"/>
                    <a:pt x="81818" y="50377"/>
                    <a:pt x="79090" y="48113"/>
                  </a:cubicBezTo>
                  <a:cubicBezTo>
                    <a:pt x="79090" y="46415"/>
                    <a:pt x="76363" y="44716"/>
                    <a:pt x="73636" y="43018"/>
                  </a:cubicBezTo>
                  <a:cubicBezTo>
                    <a:pt x="73636" y="42452"/>
                    <a:pt x="70909" y="41886"/>
                    <a:pt x="73636" y="41320"/>
                  </a:cubicBezTo>
                  <a:cubicBezTo>
                    <a:pt x="76363" y="40754"/>
                    <a:pt x="79090" y="38490"/>
                    <a:pt x="79090" y="37924"/>
                  </a:cubicBezTo>
                  <a:cubicBezTo>
                    <a:pt x="79090" y="37358"/>
                    <a:pt x="76363" y="36226"/>
                    <a:pt x="81818" y="35094"/>
                  </a:cubicBezTo>
                  <a:cubicBezTo>
                    <a:pt x="84545" y="34528"/>
                    <a:pt x="81818" y="33396"/>
                    <a:pt x="84545" y="32830"/>
                  </a:cubicBezTo>
                  <a:cubicBezTo>
                    <a:pt x="84545" y="31698"/>
                    <a:pt x="90000" y="31132"/>
                    <a:pt x="92727" y="30566"/>
                  </a:cubicBezTo>
                  <a:cubicBezTo>
                    <a:pt x="92727" y="30000"/>
                    <a:pt x="100909" y="28301"/>
                    <a:pt x="100909" y="27735"/>
                  </a:cubicBezTo>
                  <a:cubicBezTo>
                    <a:pt x="100909" y="27169"/>
                    <a:pt x="98181" y="26037"/>
                    <a:pt x="98181" y="24905"/>
                  </a:cubicBezTo>
                  <a:cubicBezTo>
                    <a:pt x="98181" y="23773"/>
                    <a:pt x="98181" y="23207"/>
                    <a:pt x="98181" y="22075"/>
                  </a:cubicBezTo>
                  <a:cubicBezTo>
                    <a:pt x="98181" y="20377"/>
                    <a:pt x="100909" y="20377"/>
                    <a:pt x="109090" y="19811"/>
                  </a:cubicBezTo>
                  <a:cubicBezTo>
                    <a:pt x="120000" y="19245"/>
                    <a:pt x="120000" y="18113"/>
                    <a:pt x="120000" y="15849"/>
                  </a:cubicBezTo>
                  <a:cubicBezTo>
                    <a:pt x="117272" y="16415"/>
                    <a:pt x="111818" y="16415"/>
                    <a:pt x="109090" y="15849"/>
                  </a:cubicBezTo>
                  <a:cubicBezTo>
                    <a:pt x="109090" y="15849"/>
                    <a:pt x="109090" y="16415"/>
                    <a:pt x="109090" y="15849"/>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29" name="Shape 2503">
              <a:extLst>
                <a:ext uri="{FF2B5EF4-FFF2-40B4-BE49-F238E27FC236}">
                  <a16:creationId xmlns:a16="http://schemas.microsoft.com/office/drawing/2014/main" id="{3DC32E2B-6D1D-AB4E-BA87-10E830733FBD}"/>
                </a:ext>
              </a:extLst>
            </p:cNvPr>
            <p:cNvSpPr/>
            <p:nvPr/>
          </p:nvSpPr>
          <p:spPr>
            <a:xfrm>
              <a:off x="8435844" y="9485413"/>
              <a:ext cx="598726" cy="653037"/>
            </a:xfrm>
            <a:custGeom>
              <a:avLst/>
              <a:gdLst/>
              <a:ahLst/>
              <a:cxnLst/>
              <a:rect l="0" t="0" r="0" b="0"/>
              <a:pathLst>
                <a:path w="120000" h="120000" extrusionOk="0">
                  <a:moveTo>
                    <a:pt x="114375" y="72000"/>
                  </a:moveTo>
                  <a:cubicBezTo>
                    <a:pt x="106875" y="68571"/>
                    <a:pt x="108750" y="66857"/>
                    <a:pt x="108750" y="60000"/>
                  </a:cubicBezTo>
                  <a:cubicBezTo>
                    <a:pt x="103125" y="60000"/>
                    <a:pt x="97500" y="60000"/>
                    <a:pt x="93750" y="60000"/>
                  </a:cubicBezTo>
                  <a:cubicBezTo>
                    <a:pt x="90000" y="60000"/>
                    <a:pt x="91875" y="58285"/>
                    <a:pt x="91875" y="56571"/>
                  </a:cubicBezTo>
                  <a:cubicBezTo>
                    <a:pt x="91875" y="54857"/>
                    <a:pt x="90000" y="51428"/>
                    <a:pt x="88125" y="51428"/>
                  </a:cubicBezTo>
                  <a:cubicBezTo>
                    <a:pt x="88125" y="49714"/>
                    <a:pt x="90000" y="49714"/>
                    <a:pt x="90000" y="48000"/>
                  </a:cubicBezTo>
                  <a:cubicBezTo>
                    <a:pt x="91875" y="46285"/>
                    <a:pt x="90000" y="44571"/>
                    <a:pt x="88125" y="44571"/>
                  </a:cubicBezTo>
                  <a:cubicBezTo>
                    <a:pt x="88125" y="42857"/>
                    <a:pt x="90000" y="41142"/>
                    <a:pt x="88125" y="39428"/>
                  </a:cubicBezTo>
                  <a:cubicBezTo>
                    <a:pt x="84375" y="36000"/>
                    <a:pt x="80625" y="36000"/>
                    <a:pt x="76875" y="36000"/>
                  </a:cubicBezTo>
                  <a:cubicBezTo>
                    <a:pt x="75000" y="36000"/>
                    <a:pt x="71250" y="32571"/>
                    <a:pt x="69375" y="30857"/>
                  </a:cubicBezTo>
                  <a:cubicBezTo>
                    <a:pt x="65625" y="30857"/>
                    <a:pt x="63750" y="27428"/>
                    <a:pt x="61875" y="27428"/>
                  </a:cubicBezTo>
                  <a:cubicBezTo>
                    <a:pt x="58125" y="27428"/>
                    <a:pt x="56250" y="27428"/>
                    <a:pt x="54375" y="27428"/>
                  </a:cubicBezTo>
                  <a:cubicBezTo>
                    <a:pt x="50625" y="27428"/>
                    <a:pt x="43125" y="18857"/>
                    <a:pt x="43125" y="15428"/>
                  </a:cubicBezTo>
                  <a:cubicBezTo>
                    <a:pt x="43125" y="13714"/>
                    <a:pt x="43125" y="12000"/>
                    <a:pt x="43125" y="10285"/>
                  </a:cubicBezTo>
                  <a:cubicBezTo>
                    <a:pt x="43125" y="8571"/>
                    <a:pt x="43125" y="8571"/>
                    <a:pt x="43125" y="6857"/>
                  </a:cubicBezTo>
                  <a:cubicBezTo>
                    <a:pt x="43125" y="0"/>
                    <a:pt x="39375" y="3428"/>
                    <a:pt x="33750" y="5142"/>
                  </a:cubicBezTo>
                  <a:cubicBezTo>
                    <a:pt x="28125" y="5142"/>
                    <a:pt x="24375" y="10285"/>
                    <a:pt x="18750" y="10285"/>
                  </a:cubicBezTo>
                  <a:cubicBezTo>
                    <a:pt x="15000" y="10285"/>
                    <a:pt x="15000" y="13714"/>
                    <a:pt x="13125" y="15428"/>
                  </a:cubicBezTo>
                  <a:cubicBezTo>
                    <a:pt x="11250" y="15428"/>
                    <a:pt x="5625" y="13714"/>
                    <a:pt x="3750" y="13714"/>
                  </a:cubicBezTo>
                  <a:cubicBezTo>
                    <a:pt x="7500" y="15428"/>
                    <a:pt x="9375" y="24000"/>
                    <a:pt x="11250" y="27428"/>
                  </a:cubicBezTo>
                  <a:cubicBezTo>
                    <a:pt x="7500" y="29142"/>
                    <a:pt x="9375" y="36000"/>
                    <a:pt x="9375" y="39428"/>
                  </a:cubicBezTo>
                  <a:cubicBezTo>
                    <a:pt x="9375" y="42857"/>
                    <a:pt x="9375" y="44571"/>
                    <a:pt x="7500" y="46285"/>
                  </a:cubicBezTo>
                  <a:cubicBezTo>
                    <a:pt x="5625" y="48000"/>
                    <a:pt x="5625" y="51428"/>
                    <a:pt x="5625" y="53142"/>
                  </a:cubicBezTo>
                  <a:cubicBezTo>
                    <a:pt x="3750" y="56571"/>
                    <a:pt x="9375" y="56571"/>
                    <a:pt x="9375" y="60000"/>
                  </a:cubicBezTo>
                  <a:cubicBezTo>
                    <a:pt x="9375" y="61714"/>
                    <a:pt x="5625" y="63428"/>
                    <a:pt x="5625" y="65142"/>
                  </a:cubicBezTo>
                  <a:cubicBezTo>
                    <a:pt x="0" y="70285"/>
                    <a:pt x="7500" y="72000"/>
                    <a:pt x="7500" y="78857"/>
                  </a:cubicBezTo>
                  <a:cubicBezTo>
                    <a:pt x="7500" y="80571"/>
                    <a:pt x="7500" y="82285"/>
                    <a:pt x="7500" y="84000"/>
                  </a:cubicBezTo>
                  <a:cubicBezTo>
                    <a:pt x="9375" y="85714"/>
                    <a:pt x="11250" y="87428"/>
                    <a:pt x="13125" y="89142"/>
                  </a:cubicBezTo>
                  <a:cubicBezTo>
                    <a:pt x="13125" y="90857"/>
                    <a:pt x="9375" y="90857"/>
                    <a:pt x="13125" y="92571"/>
                  </a:cubicBezTo>
                  <a:cubicBezTo>
                    <a:pt x="13125" y="92571"/>
                    <a:pt x="11250" y="96000"/>
                    <a:pt x="11250" y="96000"/>
                  </a:cubicBezTo>
                  <a:cubicBezTo>
                    <a:pt x="11250" y="101142"/>
                    <a:pt x="16875" y="104571"/>
                    <a:pt x="16875" y="108000"/>
                  </a:cubicBezTo>
                  <a:cubicBezTo>
                    <a:pt x="18750" y="113142"/>
                    <a:pt x="15000" y="118285"/>
                    <a:pt x="24375" y="118285"/>
                  </a:cubicBezTo>
                  <a:cubicBezTo>
                    <a:pt x="26250" y="120000"/>
                    <a:pt x="26250" y="116571"/>
                    <a:pt x="26250" y="114857"/>
                  </a:cubicBezTo>
                  <a:cubicBezTo>
                    <a:pt x="26250" y="113142"/>
                    <a:pt x="30000" y="111428"/>
                    <a:pt x="31875" y="111428"/>
                  </a:cubicBezTo>
                  <a:cubicBezTo>
                    <a:pt x="33750" y="109714"/>
                    <a:pt x="35625" y="108000"/>
                    <a:pt x="37500" y="111428"/>
                  </a:cubicBezTo>
                  <a:cubicBezTo>
                    <a:pt x="41250" y="113142"/>
                    <a:pt x="45000" y="111428"/>
                    <a:pt x="46875" y="111428"/>
                  </a:cubicBezTo>
                  <a:cubicBezTo>
                    <a:pt x="50625" y="111428"/>
                    <a:pt x="50625" y="116571"/>
                    <a:pt x="52500" y="116571"/>
                  </a:cubicBezTo>
                  <a:cubicBezTo>
                    <a:pt x="54375" y="116571"/>
                    <a:pt x="56250" y="113142"/>
                    <a:pt x="58125" y="111428"/>
                  </a:cubicBezTo>
                  <a:cubicBezTo>
                    <a:pt x="60000" y="108000"/>
                    <a:pt x="67500" y="113142"/>
                    <a:pt x="69375" y="109714"/>
                  </a:cubicBezTo>
                  <a:cubicBezTo>
                    <a:pt x="73125" y="101142"/>
                    <a:pt x="71250" y="92571"/>
                    <a:pt x="82500" y="89142"/>
                  </a:cubicBezTo>
                  <a:cubicBezTo>
                    <a:pt x="86250" y="87428"/>
                    <a:pt x="91875" y="87428"/>
                    <a:pt x="97500" y="87428"/>
                  </a:cubicBezTo>
                  <a:cubicBezTo>
                    <a:pt x="103125" y="87428"/>
                    <a:pt x="106875" y="89142"/>
                    <a:pt x="110625" y="92571"/>
                  </a:cubicBezTo>
                  <a:cubicBezTo>
                    <a:pt x="112500" y="87428"/>
                    <a:pt x="120000" y="73714"/>
                    <a:pt x="114375" y="72000"/>
                  </a:cubicBezTo>
                  <a:cubicBezTo>
                    <a:pt x="112500" y="70285"/>
                    <a:pt x="116250" y="72000"/>
                    <a:pt x="114375" y="72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30" name="Shape 2504">
              <a:extLst>
                <a:ext uri="{FF2B5EF4-FFF2-40B4-BE49-F238E27FC236}">
                  <a16:creationId xmlns:a16="http://schemas.microsoft.com/office/drawing/2014/main" id="{653023C9-2D18-484F-881C-29DFA4C101B6}"/>
                </a:ext>
              </a:extLst>
            </p:cNvPr>
            <p:cNvSpPr/>
            <p:nvPr/>
          </p:nvSpPr>
          <p:spPr>
            <a:xfrm>
              <a:off x="8773425" y="9950502"/>
              <a:ext cx="420383" cy="414120"/>
            </a:xfrm>
            <a:custGeom>
              <a:avLst/>
              <a:gdLst/>
              <a:ahLst/>
              <a:cxnLst/>
              <a:rect l="0" t="0" r="0" b="0"/>
              <a:pathLst>
                <a:path w="120000" h="120000" extrusionOk="0">
                  <a:moveTo>
                    <a:pt x="106666" y="65454"/>
                  </a:moveTo>
                  <a:cubicBezTo>
                    <a:pt x="104000" y="68181"/>
                    <a:pt x="98666" y="70909"/>
                    <a:pt x="96000" y="65454"/>
                  </a:cubicBezTo>
                  <a:cubicBezTo>
                    <a:pt x="93333" y="62727"/>
                    <a:pt x="98666" y="60000"/>
                    <a:pt x="96000" y="54545"/>
                  </a:cubicBezTo>
                  <a:cubicBezTo>
                    <a:pt x="93333" y="51818"/>
                    <a:pt x="93333" y="49090"/>
                    <a:pt x="90666" y="46363"/>
                  </a:cubicBezTo>
                  <a:cubicBezTo>
                    <a:pt x="82666" y="40909"/>
                    <a:pt x="82666" y="46363"/>
                    <a:pt x="77333" y="43636"/>
                  </a:cubicBezTo>
                  <a:cubicBezTo>
                    <a:pt x="74666" y="43636"/>
                    <a:pt x="72000" y="43636"/>
                    <a:pt x="66666" y="40909"/>
                  </a:cubicBezTo>
                  <a:cubicBezTo>
                    <a:pt x="61333" y="40909"/>
                    <a:pt x="64000" y="35454"/>
                    <a:pt x="66666" y="32727"/>
                  </a:cubicBezTo>
                  <a:cubicBezTo>
                    <a:pt x="66666" y="27272"/>
                    <a:pt x="64000" y="21818"/>
                    <a:pt x="64000" y="19090"/>
                  </a:cubicBezTo>
                  <a:cubicBezTo>
                    <a:pt x="61333" y="10909"/>
                    <a:pt x="64000" y="10909"/>
                    <a:pt x="56000" y="8181"/>
                  </a:cubicBezTo>
                  <a:cubicBezTo>
                    <a:pt x="50666" y="2727"/>
                    <a:pt x="48000" y="0"/>
                    <a:pt x="37333" y="2727"/>
                  </a:cubicBezTo>
                  <a:cubicBezTo>
                    <a:pt x="29333" y="2727"/>
                    <a:pt x="18666" y="5454"/>
                    <a:pt x="13333" y="8181"/>
                  </a:cubicBezTo>
                  <a:cubicBezTo>
                    <a:pt x="5333" y="16363"/>
                    <a:pt x="8000" y="21818"/>
                    <a:pt x="5333" y="30000"/>
                  </a:cubicBezTo>
                  <a:cubicBezTo>
                    <a:pt x="5333" y="32727"/>
                    <a:pt x="2666" y="35454"/>
                    <a:pt x="2666" y="38181"/>
                  </a:cubicBezTo>
                  <a:cubicBezTo>
                    <a:pt x="0" y="40909"/>
                    <a:pt x="2666" y="40909"/>
                    <a:pt x="5333" y="46363"/>
                  </a:cubicBezTo>
                  <a:cubicBezTo>
                    <a:pt x="10666" y="54545"/>
                    <a:pt x="16000" y="57272"/>
                    <a:pt x="24000" y="65454"/>
                  </a:cubicBezTo>
                  <a:cubicBezTo>
                    <a:pt x="26666" y="68181"/>
                    <a:pt x="32000" y="68181"/>
                    <a:pt x="34666" y="68181"/>
                  </a:cubicBezTo>
                  <a:cubicBezTo>
                    <a:pt x="40000" y="68181"/>
                    <a:pt x="42666" y="70909"/>
                    <a:pt x="45333" y="73636"/>
                  </a:cubicBezTo>
                  <a:cubicBezTo>
                    <a:pt x="50666" y="76363"/>
                    <a:pt x="72000" y="84545"/>
                    <a:pt x="66666" y="95454"/>
                  </a:cubicBezTo>
                  <a:cubicBezTo>
                    <a:pt x="64000" y="98181"/>
                    <a:pt x="58666" y="100909"/>
                    <a:pt x="58666" y="106363"/>
                  </a:cubicBezTo>
                  <a:cubicBezTo>
                    <a:pt x="58666" y="111818"/>
                    <a:pt x="58666" y="111818"/>
                    <a:pt x="53333" y="114545"/>
                  </a:cubicBezTo>
                  <a:cubicBezTo>
                    <a:pt x="50666" y="120000"/>
                    <a:pt x="72000" y="117272"/>
                    <a:pt x="74666" y="120000"/>
                  </a:cubicBezTo>
                  <a:cubicBezTo>
                    <a:pt x="80000" y="120000"/>
                    <a:pt x="80000" y="120000"/>
                    <a:pt x="85333" y="117272"/>
                  </a:cubicBezTo>
                  <a:cubicBezTo>
                    <a:pt x="88000" y="111818"/>
                    <a:pt x="96000" y="117272"/>
                    <a:pt x="98666" y="114545"/>
                  </a:cubicBezTo>
                  <a:cubicBezTo>
                    <a:pt x="101333" y="111818"/>
                    <a:pt x="104000" y="109090"/>
                    <a:pt x="106666" y="106363"/>
                  </a:cubicBezTo>
                  <a:cubicBezTo>
                    <a:pt x="109333" y="100909"/>
                    <a:pt x="106666" y="95454"/>
                    <a:pt x="109333" y="92727"/>
                  </a:cubicBezTo>
                  <a:cubicBezTo>
                    <a:pt x="109333" y="87272"/>
                    <a:pt x="120000" y="65454"/>
                    <a:pt x="106666" y="65454"/>
                  </a:cubicBezTo>
                  <a:cubicBezTo>
                    <a:pt x="106666" y="68181"/>
                    <a:pt x="109333" y="65454"/>
                    <a:pt x="106666" y="65454"/>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31" name="Shape 2505">
              <a:extLst>
                <a:ext uri="{FF2B5EF4-FFF2-40B4-BE49-F238E27FC236}">
                  <a16:creationId xmlns:a16="http://schemas.microsoft.com/office/drawing/2014/main" id="{F33E9253-8BA6-F649-A36E-EA63C6D20A9A}"/>
                </a:ext>
              </a:extLst>
            </p:cNvPr>
            <p:cNvSpPr/>
            <p:nvPr/>
          </p:nvSpPr>
          <p:spPr>
            <a:xfrm>
              <a:off x="8241578" y="8800521"/>
              <a:ext cx="1856685" cy="1882657"/>
            </a:xfrm>
            <a:custGeom>
              <a:avLst/>
              <a:gdLst/>
              <a:ahLst/>
              <a:cxnLst/>
              <a:rect l="0" t="0" r="0" b="0"/>
              <a:pathLst>
                <a:path w="120000" h="120000" extrusionOk="0">
                  <a:moveTo>
                    <a:pt x="118190" y="34029"/>
                  </a:moveTo>
                  <a:cubicBezTo>
                    <a:pt x="117587" y="32835"/>
                    <a:pt x="117587" y="31641"/>
                    <a:pt x="116984" y="31044"/>
                  </a:cubicBezTo>
                  <a:cubicBezTo>
                    <a:pt x="115778" y="30447"/>
                    <a:pt x="113969" y="31044"/>
                    <a:pt x="113366" y="30447"/>
                  </a:cubicBezTo>
                  <a:cubicBezTo>
                    <a:pt x="110351" y="29850"/>
                    <a:pt x="108542" y="27462"/>
                    <a:pt x="106733" y="26268"/>
                  </a:cubicBezTo>
                  <a:cubicBezTo>
                    <a:pt x="105527" y="25671"/>
                    <a:pt x="104321" y="25074"/>
                    <a:pt x="103718" y="24477"/>
                  </a:cubicBezTo>
                  <a:cubicBezTo>
                    <a:pt x="101909" y="23880"/>
                    <a:pt x="101306" y="24477"/>
                    <a:pt x="99497" y="24477"/>
                  </a:cubicBezTo>
                  <a:cubicBezTo>
                    <a:pt x="97085" y="25074"/>
                    <a:pt x="94673" y="22089"/>
                    <a:pt x="92261" y="23283"/>
                  </a:cubicBezTo>
                  <a:cubicBezTo>
                    <a:pt x="90452" y="23880"/>
                    <a:pt x="88643" y="20895"/>
                    <a:pt x="87437" y="20298"/>
                  </a:cubicBezTo>
                  <a:cubicBezTo>
                    <a:pt x="85628" y="19104"/>
                    <a:pt x="83216" y="17910"/>
                    <a:pt x="81407" y="17910"/>
                  </a:cubicBezTo>
                  <a:cubicBezTo>
                    <a:pt x="80201" y="17313"/>
                    <a:pt x="78994" y="17313"/>
                    <a:pt x="78391" y="17910"/>
                  </a:cubicBezTo>
                  <a:cubicBezTo>
                    <a:pt x="77788" y="19701"/>
                    <a:pt x="75979" y="20298"/>
                    <a:pt x="75376" y="21492"/>
                  </a:cubicBezTo>
                  <a:cubicBezTo>
                    <a:pt x="74170" y="23283"/>
                    <a:pt x="74773" y="22686"/>
                    <a:pt x="73567" y="21492"/>
                  </a:cubicBezTo>
                  <a:cubicBezTo>
                    <a:pt x="73567" y="21492"/>
                    <a:pt x="72964" y="20895"/>
                    <a:pt x="72964" y="20895"/>
                  </a:cubicBezTo>
                  <a:cubicBezTo>
                    <a:pt x="71758" y="20298"/>
                    <a:pt x="72361" y="21492"/>
                    <a:pt x="71758" y="22089"/>
                  </a:cubicBezTo>
                  <a:cubicBezTo>
                    <a:pt x="71155" y="22686"/>
                    <a:pt x="69346" y="17313"/>
                    <a:pt x="69949" y="17313"/>
                  </a:cubicBezTo>
                  <a:cubicBezTo>
                    <a:pt x="69949" y="17313"/>
                    <a:pt x="68140" y="19701"/>
                    <a:pt x="67537" y="19701"/>
                  </a:cubicBezTo>
                  <a:cubicBezTo>
                    <a:pt x="67537" y="19701"/>
                    <a:pt x="69949" y="17910"/>
                    <a:pt x="69346" y="17313"/>
                  </a:cubicBezTo>
                  <a:cubicBezTo>
                    <a:pt x="68140" y="16716"/>
                    <a:pt x="68140" y="19701"/>
                    <a:pt x="66934" y="19701"/>
                  </a:cubicBezTo>
                  <a:cubicBezTo>
                    <a:pt x="66934" y="19701"/>
                    <a:pt x="69346" y="16119"/>
                    <a:pt x="69346" y="15522"/>
                  </a:cubicBezTo>
                  <a:cubicBezTo>
                    <a:pt x="69346" y="14925"/>
                    <a:pt x="70552" y="14925"/>
                    <a:pt x="70552" y="14328"/>
                  </a:cubicBezTo>
                  <a:cubicBezTo>
                    <a:pt x="71155" y="13731"/>
                    <a:pt x="71758" y="14925"/>
                    <a:pt x="72361" y="13731"/>
                  </a:cubicBezTo>
                  <a:cubicBezTo>
                    <a:pt x="72964" y="13134"/>
                    <a:pt x="72361" y="13134"/>
                    <a:pt x="72361" y="11940"/>
                  </a:cubicBezTo>
                  <a:cubicBezTo>
                    <a:pt x="72964" y="11343"/>
                    <a:pt x="72964" y="10149"/>
                    <a:pt x="71758" y="9552"/>
                  </a:cubicBezTo>
                  <a:cubicBezTo>
                    <a:pt x="69949" y="8955"/>
                    <a:pt x="69949" y="6567"/>
                    <a:pt x="69949" y="4776"/>
                  </a:cubicBezTo>
                  <a:cubicBezTo>
                    <a:pt x="69949" y="4179"/>
                    <a:pt x="69346" y="3582"/>
                    <a:pt x="68743" y="2985"/>
                  </a:cubicBezTo>
                  <a:cubicBezTo>
                    <a:pt x="68140" y="2388"/>
                    <a:pt x="67537" y="4179"/>
                    <a:pt x="66934" y="4776"/>
                  </a:cubicBezTo>
                  <a:cubicBezTo>
                    <a:pt x="66331" y="6567"/>
                    <a:pt x="65125" y="8955"/>
                    <a:pt x="63316" y="8955"/>
                  </a:cubicBezTo>
                  <a:cubicBezTo>
                    <a:pt x="62713" y="8955"/>
                    <a:pt x="62110" y="8358"/>
                    <a:pt x="60904" y="8358"/>
                  </a:cubicBezTo>
                  <a:cubicBezTo>
                    <a:pt x="60301" y="8358"/>
                    <a:pt x="59698" y="8955"/>
                    <a:pt x="59095" y="8358"/>
                  </a:cubicBezTo>
                  <a:cubicBezTo>
                    <a:pt x="57889" y="7761"/>
                    <a:pt x="57286" y="8358"/>
                    <a:pt x="56080" y="8358"/>
                  </a:cubicBezTo>
                  <a:cubicBezTo>
                    <a:pt x="54874" y="8358"/>
                    <a:pt x="55477" y="8358"/>
                    <a:pt x="54874" y="9552"/>
                  </a:cubicBezTo>
                  <a:cubicBezTo>
                    <a:pt x="54271" y="10149"/>
                    <a:pt x="51256" y="9552"/>
                    <a:pt x="50653" y="10149"/>
                  </a:cubicBezTo>
                  <a:cubicBezTo>
                    <a:pt x="49447" y="10149"/>
                    <a:pt x="47638" y="11343"/>
                    <a:pt x="46432" y="11343"/>
                  </a:cubicBezTo>
                  <a:cubicBezTo>
                    <a:pt x="44623" y="11343"/>
                    <a:pt x="43417" y="8955"/>
                    <a:pt x="43417" y="7761"/>
                  </a:cubicBezTo>
                  <a:cubicBezTo>
                    <a:pt x="42211" y="5970"/>
                    <a:pt x="44623" y="4776"/>
                    <a:pt x="44020" y="2985"/>
                  </a:cubicBezTo>
                  <a:cubicBezTo>
                    <a:pt x="43417" y="1791"/>
                    <a:pt x="42814" y="0"/>
                    <a:pt x="41608" y="597"/>
                  </a:cubicBezTo>
                  <a:cubicBezTo>
                    <a:pt x="41608" y="1194"/>
                    <a:pt x="37386" y="2985"/>
                    <a:pt x="36783" y="2985"/>
                  </a:cubicBezTo>
                  <a:cubicBezTo>
                    <a:pt x="36180" y="2985"/>
                    <a:pt x="34974" y="2985"/>
                    <a:pt x="34974" y="3582"/>
                  </a:cubicBezTo>
                  <a:cubicBezTo>
                    <a:pt x="34371" y="3582"/>
                    <a:pt x="34371" y="5373"/>
                    <a:pt x="33768" y="4179"/>
                  </a:cubicBezTo>
                  <a:cubicBezTo>
                    <a:pt x="33165" y="3582"/>
                    <a:pt x="28341" y="2985"/>
                    <a:pt x="28341" y="3582"/>
                  </a:cubicBezTo>
                  <a:cubicBezTo>
                    <a:pt x="28341" y="3582"/>
                    <a:pt x="29547" y="4179"/>
                    <a:pt x="29547" y="4179"/>
                  </a:cubicBezTo>
                  <a:cubicBezTo>
                    <a:pt x="30150" y="4776"/>
                    <a:pt x="30150" y="5373"/>
                    <a:pt x="30150" y="6567"/>
                  </a:cubicBezTo>
                  <a:cubicBezTo>
                    <a:pt x="30753" y="6567"/>
                    <a:pt x="30753" y="7761"/>
                    <a:pt x="31356" y="8358"/>
                  </a:cubicBezTo>
                  <a:cubicBezTo>
                    <a:pt x="31356" y="8358"/>
                    <a:pt x="32562" y="8358"/>
                    <a:pt x="32562" y="8358"/>
                  </a:cubicBezTo>
                  <a:cubicBezTo>
                    <a:pt x="32562" y="8955"/>
                    <a:pt x="31356" y="9552"/>
                    <a:pt x="30753" y="9552"/>
                  </a:cubicBezTo>
                  <a:cubicBezTo>
                    <a:pt x="30150" y="10149"/>
                    <a:pt x="30150" y="10746"/>
                    <a:pt x="29547" y="11343"/>
                  </a:cubicBezTo>
                  <a:cubicBezTo>
                    <a:pt x="29547" y="11343"/>
                    <a:pt x="26532" y="13731"/>
                    <a:pt x="25929" y="13134"/>
                  </a:cubicBezTo>
                  <a:cubicBezTo>
                    <a:pt x="25929" y="12537"/>
                    <a:pt x="25326" y="12537"/>
                    <a:pt x="24723" y="13134"/>
                  </a:cubicBezTo>
                  <a:cubicBezTo>
                    <a:pt x="24120" y="13731"/>
                    <a:pt x="22914" y="12537"/>
                    <a:pt x="22914" y="12537"/>
                  </a:cubicBezTo>
                  <a:cubicBezTo>
                    <a:pt x="21708" y="11940"/>
                    <a:pt x="21105" y="9552"/>
                    <a:pt x="20502" y="9552"/>
                  </a:cubicBezTo>
                  <a:cubicBezTo>
                    <a:pt x="19296" y="8955"/>
                    <a:pt x="17487" y="10746"/>
                    <a:pt x="16281" y="10746"/>
                  </a:cubicBezTo>
                  <a:cubicBezTo>
                    <a:pt x="15075" y="10746"/>
                    <a:pt x="13869" y="10746"/>
                    <a:pt x="12663" y="10746"/>
                  </a:cubicBezTo>
                  <a:cubicBezTo>
                    <a:pt x="12663" y="10746"/>
                    <a:pt x="12663" y="11940"/>
                    <a:pt x="13266" y="11940"/>
                  </a:cubicBezTo>
                  <a:cubicBezTo>
                    <a:pt x="13266" y="12537"/>
                    <a:pt x="14472" y="12537"/>
                    <a:pt x="15075" y="12537"/>
                  </a:cubicBezTo>
                  <a:cubicBezTo>
                    <a:pt x="15075" y="13134"/>
                    <a:pt x="12663" y="13731"/>
                    <a:pt x="12060" y="13731"/>
                  </a:cubicBezTo>
                  <a:cubicBezTo>
                    <a:pt x="11457" y="14328"/>
                    <a:pt x="12663" y="16119"/>
                    <a:pt x="13266" y="16716"/>
                  </a:cubicBezTo>
                  <a:cubicBezTo>
                    <a:pt x="14472" y="19104"/>
                    <a:pt x="14472" y="20895"/>
                    <a:pt x="13266" y="23283"/>
                  </a:cubicBezTo>
                  <a:cubicBezTo>
                    <a:pt x="13266" y="24477"/>
                    <a:pt x="13266" y="28059"/>
                    <a:pt x="12060" y="28059"/>
                  </a:cubicBezTo>
                  <a:cubicBezTo>
                    <a:pt x="11457" y="28656"/>
                    <a:pt x="10251" y="28059"/>
                    <a:pt x="9045" y="28656"/>
                  </a:cubicBezTo>
                  <a:cubicBezTo>
                    <a:pt x="8442" y="29253"/>
                    <a:pt x="6633" y="29253"/>
                    <a:pt x="6030" y="29253"/>
                  </a:cubicBezTo>
                  <a:cubicBezTo>
                    <a:pt x="3015" y="30447"/>
                    <a:pt x="3015" y="31641"/>
                    <a:pt x="3015" y="34029"/>
                  </a:cubicBezTo>
                  <a:cubicBezTo>
                    <a:pt x="3015" y="35223"/>
                    <a:pt x="1206" y="35223"/>
                    <a:pt x="1206" y="35820"/>
                  </a:cubicBezTo>
                  <a:cubicBezTo>
                    <a:pt x="1206" y="37611"/>
                    <a:pt x="0" y="38208"/>
                    <a:pt x="1206" y="39402"/>
                  </a:cubicBezTo>
                  <a:cubicBezTo>
                    <a:pt x="2412" y="40597"/>
                    <a:pt x="2412" y="41791"/>
                    <a:pt x="3015" y="42985"/>
                  </a:cubicBezTo>
                  <a:cubicBezTo>
                    <a:pt x="3015" y="43582"/>
                    <a:pt x="3618" y="43582"/>
                    <a:pt x="4221" y="43582"/>
                  </a:cubicBezTo>
                  <a:cubicBezTo>
                    <a:pt x="4824" y="43582"/>
                    <a:pt x="4824" y="44179"/>
                    <a:pt x="5427" y="44776"/>
                  </a:cubicBezTo>
                  <a:cubicBezTo>
                    <a:pt x="6633" y="46567"/>
                    <a:pt x="9648" y="44776"/>
                    <a:pt x="10854" y="43582"/>
                  </a:cubicBezTo>
                  <a:cubicBezTo>
                    <a:pt x="10854" y="45373"/>
                    <a:pt x="9648" y="48358"/>
                    <a:pt x="11457" y="48955"/>
                  </a:cubicBezTo>
                  <a:cubicBezTo>
                    <a:pt x="12060" y="48955"/>
                    <a:pt x="13869" y="48358"/>
                    <a:pt x="14472" y="48358"/>
                  </a:cubicBezTo>
                  <a:cubicBezTo>
                    <a:pt x="16281" y="48955"/>
                    <a:pt x="16884" y="48955"/>
                    <a:pt x="18090" y="47761"/>
                  </a:cubicBezTo>
                  <a:cubicBezTo>
                    <a:pt x="18090" y="47164"/>
                    <a:pt x="19296" y="47164"/>
                    <a:pt x="19899" y="47164"/>
                  </a:cubicBezTo>
                  <a:cubicBezTo>
                    <a:pt x="21105" y="45970"/>
                    <a:pt x="22311" y="45373"/>
                    <a:pt x="23517" y="45373"/>
                  </a:cubicBezTo>
                  <a:cubicBezTo>
                    <a:pt x="24723" y="44776"/>
                    <a:pt x="27738" y="43582"/>
                    <a:pt x="26532" y="45970"/>
                  </a:cubicBezTo>
                  <a:cubicBezTo>
                    <a:pt x="26532" y="47164"/>
                    <a:pt x="25929" y="48358"/>
                    <a:pt x="26532" y="49552"/>
                  </a:cubicBezTo>
                  <a:cubicBezTo>
                    <a:pt x="27135" y="50746"/>
                    <a:pt x="28341" y="51940"/>
                    <a:pt x="29547" y="52537"/>
                  </a:cubicBezTo>
                  <a:cubicBezTo>
                    <a:pt x="30753" y="53731"/>
                    <a:pt x="32562" y="53134"/>
                    <a:pt x="33768" y="53731"/>
                  </a:cubicBezTo>
                  <a:cubicBezTo>
                    <a:pt x="34371" y="54328"/>
                    <a:pt x="34974" y="54925"/>
                    <a:pt x="35577" y="54925"/>
                  </a:cubicBezTo>
                  <a:cubicBezTo>
                    <a:pt x="36180" y="54925"/>
                    <a:pt x="36783" y="55522"/>
                    <a:pt x="36783" y="56119"/>
                  </a:cubicBezTo>
                  <a:cubicBezTo>
                    <a:pt x="37989" y="56119"/>
                    <a:pt x="41005" y="55522"/>
                    <a:pt x="41005" y="57313"/>
                  </a:cubicBezTo>
                  <a:cubicBezTo>
                    <a:pt x="41608" y="58507"/>
                    <a:pt x="41005" y="58507"/>
                    <a:pt x="41608" y="59701"/>
                  </a:cubicBezTo>
                  <a:cubicBezTo>
                    <a:pt x="42211" y="60298"/>
                    <a:pt x="41608" y="60298"/>
                    <a:pt x="41005" y="60895"/>
                  </a:cubicBezTo>
                  <a:cubicBezTo>
                    <a:pt x="41005" y="60895"/>
                    <a:pt x="42211" y="63880"/>
                    <a:pt x="42211" y="64477"/>
                  </a:cubicBezTo>
                  <a:cubicBezTo>
                    <a:pt x="42211" y="65074"/>
                    <a:pt x="47035" y="64477"/>
                    <a:pt x="47638" y="64477"/>
                  </a:cubicBezTo>
                  <a:cubicBezTo>
                    <a:pt x="47638" y="65671"/>
                    <a:pt x="47035" y="67462"/>
                    <a:pt x="48241" y="68059"/>
                  </a:cubicBezTo>
                  <a:cubicBezTo>
                    <a:pt x="50050" y="69253"/>
                    <a:pt x="50050" y="70447"/>
                    <a:pt x="49447" y="72835"/>
                  </a:cubicBezTo>
                  <a:cubicBezTo>
                    <a:pt x="48844" y="74029"/>
                    <a:pt x="48241" y="75820"/>
                    <a:pt x="48844" y="77611"/>
                  </a:cubicBezTo>
                  <a:cubicBezTo>
                    <a:pt x="48844" y="78208"/>
                    <a:pt x="49447" y="79402"/>
                    <a:pt x="49447" y="80597"/>
                  </a:cubicBezTo>
                  <a:cubicBezTo>
                    <a:pt x="49447" y="81194"/>
                    <a:pt x="48241" y="82388"/>
                    <a:pt x="49447" y="82388"/>
                  </a:cubicBezTo>
                  <a:cubicBezTo>
                    <a:pt x="50050" y="82985"/>
                    <a:pt x="51859" y="83582"/>
                    <a:pt x="53065" y="82985"/>
                  </a:cubicBezTo>
                  <a:cubicBezTo>
                    <a:pt x="54271" y="81791"/>
                    <a:pt x="56683" y="85970"/>
                    <a:pt x="56080" y="86567"/>
                  </a:cubicBezTo>
                  <a:cubicBezTo>
                    <a:pt x="56080" y="87164"/>
                    <a:pt x="56080" y="87761"/>
                    <a:pt x="56683" y="88358"/>
                  </a:cubicBezTo>
                  <a:cubicBezTo>
                    <a:pt x="57286" y="88955"/>
                    <a:pt x="58492" y="87761"/>
                    <a:pt x="59095" y="88358"/>
                  </a:cubicBezTo>
                  <a:cubicBezTo>
                    <a:pt x="61507" y="89552"/>
                    <a:pt x="59095" y="91940"/>
                    <a:pt x="59095" y="93731"/>
                  </a:cubicBezTo>
                  <a:cubicBezTo>
                    <a:pt x="60301" y="91940"/>
                    <a:pt x="61507" y="95522"/>
                    <a:pt x="61507" y="95522"/>
                  </a:cubicBezTo>
                  <a:cubicBezTo>
                    <a:pt x="62110" y="97910"/>
                    <a:pt x="60904" y="98507"/>
                    <a:pt x="59095" y="99104"/>
                  </a:cubicBezTo>
                  <a:cubicBezTo>
                    <a:pt x="56683" y="100298"/>
                    <a:pt x="55477" y="101492"/>
                    <a:pt x="54271" y="103283"/>
                  </a:cubicBezTo>
                  <a:cubicBezTo>
                    <a:pt x="53668" y="104477"/>
                    <a:pt x="53065" y="105074"/>
                    <a:pt x="51859" y="105671"/>
                  </a:cubicBezTo>
                  <a:cubicBezTo>
                    <a:pt x="51256" y="106865"/>
                    <a:pt x="50050" y="107462"/>
                    <a:pt x="48844" y="108656"/>
                  </a:cubicBezTo>
                  <a:cubicBezTo>
                    <a:pt x="50050" y="108656"/>
                    <a:pt x="51256" y="108059"/>
                    <a:pt x="51859" y="108059"/>
                  </a:cubicBezTo>
                  <a:cubicBezTo>
                    <a:pt x="52462" y="108059"/>
                    <a:pt x="53065" y="109253"/>
                    <a:pt x="53668" y="109253"/>
                  </a:cubicBezTo>
                  <a:cubicBezTo>
                    <a:pt x="53668" y="109850"/>
                    <a:pt x="54271" y="110447"/>
                    <a:pt x="54874" y="111044"/>
                  </a:cubicBezTo>
                  <a:cubicBezTo>
                    <a:pt x="55477" y="111641"/>
                    <a:pt x="56080" y="111044"/>
                    <a:pt x="56683" y="111641"/>
                  </a:cubicBezTo>
                  <a:cubicBezTo>
                    <a:pt x="57889" y="112835"/>
                    <a:pt x="60301" y="113432"/>
                    <a:pt x="60904" y="115223"/>
                  </a:cubicBezTo>
                  <a:cubicBezTo>
                    <a:pt x="61507" y="116417"/>
                    <a:pt x="62110" y="118805"/>
                    <a:pt x="62713" y="120000"/>
                  </a:cubicBezTo>
                  <a:cubicBezTo>
                    <a:pt x="63316" y="119402"/>
                    <a:pt x="63919" y="118805"/>
                    <a:pt x="64522" y="117611"/>
                  </a:cubicBezTo>
                  <a:cubicBezTo>
                    <a:pt x="64522" y="117014"/>
                    <a:pt x="65125" y="115820"/>
                    <a:pt x="65728" y="115223"/>
                  </a:cubicBezTo>
                  <a:cubicBezTo>
                    <a:pt x="66331" y="113432"/>
                    <a:pt x="68140" y="112835"/>
                    <a:pt x="69949" y="111641"/>
                  </a:cubicBezTo>
                  <a:cubicBezTo>
                    <a:pt x="71155" y="110447"/>
                    <a:pt x="71155" y="109253"/>
                    <a:pt x="71758" y="107462"/>
                  </a:cubicBezTo>
                  <a:cubicBezTo>
                    <a:pt x="72964" y="105074"/>
                    <a:pt x="74773" y="104477"/>
                    <a:pt x="75979" y="102686"/>
                  </a:cubicBezTo>
                  <a:cubicBezTo>
                    <a:pt x="77788" y="100895"/>
                    <a:pt x="75979" y="98507"/>
                    <a:pt x="76582" y="96119"/>
                  </a:cubicBezTo>
                  <a:cubicBezTo>
                    <a:pt x="77185" y="95522"/>
                    <a:pt x="77185" y="94925"/>
                    <a:pt x="77185" y="93731"/>
                  </a:cubicBezTo>
                  <a:cubicBezTo>
                    <a:pt x="77185" y="93134"/>
                    <a:pt x="77185" y="93134"/>
                    <a:pt x="77788" y="93134"/>
                  </a:cubicBezTo>
                  <a:cubicBezTo>
                    <a:pt x="78994" y="92537"/>
                    <a:pt x="79597" y="91343"/>
                    <a:pt x="80201" y="90746"/>
                  </a:cubicBezTo>
                  <a:cubicBezTo>
                    <a:pt x="80804" y="90149"/>
                    <a:pt x="81407" y="89552"/>
                    <a:pt x="82613" y="88955"/>
                  </a:cubicBezTo>
                  <a:cubicBezTo>
                    <a:pt x="83216" y="88955"/>
                    <a:pt x="83819" y="88358"/>
                    <a:pt x="85025" y="87761"/>
                  </a:cubicBezTo>
                  <a:cubicBezTo>
                    <a:pt x="85628" y="87761"/>
                    <a:pt x="86231" y="88358"/>
                    <a:pt x="86834" y="88358"/>
                  </a:cubicBezTo>
                  <a:cubicBezTo>
                    <a:pt x="87437" y="88358"/>
                    <a:pt x="86834" y="87761"/>
                    <a:pt x="86834" y="87761"/>
                  </a:cubicBezTo>
                  <a:cubicBezTo>
                    <a:pt x="86231" y="87164"/>
                    <a:pt x="88643" y="86567"/>
                    <a:pt x="88643" y="86567"/>
                  </a:cubicBezTo>
                  <a:cubicBezTo>
                    <a:pt x="88643" y="86567"/>
                    <a:pt x="89849" y="84776"/>
                    <a:pt x="89849" y="85373"/>
                  </a:cubicBezTo>
                  <a:cubicBezTo>
                    <a:pt x="90452" y="85970"/>
                    <a:pt x="93467" y="84776"/>
                    <a:pt x="93467" y="84776"/>
                  </a:cubicBezTo>
                  <a:cubicBezTo>
                    <a:pt x="94070" y="84776"/>
                    <a:pt x="93467" y="85373"/>
                    <a:pt x="94070" y="85373"/>
                  </a:cubicBezTo>
                  <a:cubicBezTo>
                    <a:pt x="94673" y="85373"/>
                    <a:pt x="96482" y="85373"/>
                    <a:pt x="97085" y="84776"/>
                  </a:cubicBezTo>
                  <a:cubicBezTo>
                    <a:pt x="97688" y="84179"/>
                    <a:pt x="97688" y="83582"/>
                    <a:pt x="98291" y="82985"/>
                  </a:cubicBezTo>
                  <a:cubicBezTo>
                    <a:pt x="98894" y="82985"/>
                    <a:pt x="99497" y="82388"/>
                    <a:pt x="99497" y="81791"/>
                  </a:cubicBezTo>
                  <a:cubicBezTo>
                    <a:pt x="100100" y="81194"/>
                    <a:pt x="99497" y="80000"/>
                    <a:pt x="100100" y="79402"/>
                  </a:cubicBezTo>
                  <a:cubicBezTo>
                    <a:pt x="100703" y="78805"/>
                    <a:pt x="101306" y="78208"/>
                    <a:pt x="101909" y="77611"/>
                  </a:cubicBezTo>
                  <a:cubicBezTo>
                    <a:pt x="103115" y="75820"/>
                    <a:pt x="103718" y="75223"/>
                    <a:pt x="103718" y="73432"/>
                  </a:cubicBezTo>
                  <a:cubicBezTo>
                    <a:pt x="103718" y="72238"/>
                    <a:pt x="103718" y="71641"/>
                    <a:pt x="104321" y="70447"/>
                  </a:cubicBezTo>
                  <a:cubicBezTo>
                    <a:pt x="104321" y="69850"/>
                    <a:pt x="104924" y="69850"/>
                    <a:pt x="105527" y="69253"/>
                  </a:cubicBezTo>
                  <a:cubicBezTo>
                    <a:pt x="106130" y="68656"/>
                    <a:pt x="105527" y="67462"/>
                    <a:pt x="105527" y="66865"/>
                  </a:cubicBezTo>
                  <a:cubicBezTo>
                    <a:pt x="105527" y="65671"/>
                    <a:pt x="106130" y="65074"/>
                    <a:pt x="106130" y="63880"/>
                  </a:cubicBezTo>
                  <a:cubicBezTo>
                    <a:pt x="106733" y="62089"/>
                    <a:pt x="106130" y="60298"/>
                    <a:pt x="106130" y="58507"/>
                  </a:cubicBezTo>
                  <a:cubicBezTo>
                    <a:pt x="106130" y="57313"/>
                    <a:pt x="105527" y="56119"/>
                    <a:pt x="106130" y="55522"/>
                  </a:cubicBezTo>
                  <a:cubicBezTo>
                    <a:pt x="106733" y="54328"/>
                    <a:pt x="106130" y="54925"/>
                    <a:pt x="106130" y="53731"/>
                  </a:cubicBezTo>
                  <a:cubicBezTo>
                    <a:pt x="106130" y="53731"/>
                    <a:pt x="107336" y="54328"/>
                    <a:pt x="107336" y="54328"/>
                  </a:cubicBezTo>
                  <a:cubicBezTo>
                    <a:pt x="107336" y="54328"/>
                    <a:pt x="107336" y="53731"/>
                    <a:pt x="107336" y="53731"/>
                  </a:cubicBezTo>
                  <a:cubicBezTo>
                    <a:pt x="107336" y="53731"/>
                    <a:pt x="107939" y="53731"/>
                    <a:pt x="107939" y="53731"/>
                  </a:cubicBezTo>
                  <a:cubicBezTo>
                    <a:pt x="109145" y="53731"/>
                    <a:pt x="109748" y="51940"/>
                    <a:pt x="109748" y="51343"/>
                  </a:cubicBezTo>
                  <a:cubicBezTo>
                    <a:pt x="110351" y="50746"/>
                    <a:pt x="110954" y="49552"/>
                    <a:pt x="111557" y="48358"/>
                  </a:cubicBezTo>
                  <a:cubicBezTo>
                    <a:pt x="112763" y="47164"/>
                    <a:pt x="113969" y="47164"/>
                    <a:pt x="114572" y="45970"/>
                  </a:cubicBezTo>
                  <a:cubicBezTo>
                    <a:pt x="117587" y="42388"/>
                    <a:pt x="120000" y="38208"/>
                    <a:pt x="118190" y="34029"/>
                  </a:cubicBezTo>
                  <a:cubicBezTo>
                    <a:pt x="116984" y="31641"/>
                    <a:pt x="119396" y="35820"/>
                    <a:pt x="118190" y="34029"/>
                  </a:cubicBezTo>
                  <a:close/>
                  <a:moveTo>
                    <a:pt x="69346" y="111044"/>
                  </a:moveTo>
                  <a:cubicBezTo>
                    <a:pt x="68140" y="111641"/>
                    <a:pt x="67537" y="112835"/>
                    <a:pt x="66331" y="113432"/>
                  </a:cubicBezTo>
                  <a:cubicBezTo>
                    <a:pt x="64522" y="114029"/>
                    <a:pt x="67537" y="112238"/>
                    <a:pt x="67537" y="111641"/>
                  </a:cubicBezTo>
                  <a:cubicBezTo>
                    <a:pt x="68140" y="111044"/>
                    <a:pt x="68743" y="109850"/>
                    <a:pt x="69949" y="108656"/>
                  </a:cubicBezTo>
                  <a:cubicBezTo>
                    <a:pt x="71155" y="107462"/>
                    <a:pt x="70552" y="109850"/>
                    <a:pt x="69346" y="111044"/>
                  </a:cubicBezTo>
                  <a:cubicBezTo>
                    <a:pt x="69346" y="111044"/>
                    <a:pt x="69949" y="110447"/>
                    <a:pt x="69346" y="111044"/>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32" name="Shape 2506">
              <a:extLst>
                <a:ext uri="{FF2B5EF4-FFF2-40B4-BE49-F238E27FC236}">
                  <a16:creationId xmlns:a16="http://schemas.microsoft.com/office/drawing/2014/main" id="{33D53F33-6B60-E540-8FD2-6033F68AF93E}"/>
                </a:ext>
              </a:extLst>
            </p:cNvPr>
            <p:cNvSpPr/>
            <p:nvPr/>
          </p:nvSpPr>
          <p:spPr>
            <a:xfrm>
              <a:off x="8961323" y="10485676"/>
              <a:ext cx="251592" cy="261214"/>
            </a:xfrm>
            <a:custGeom>
              <a:avLst/>
              <a:gdLst/>
              <a:ahLst/>
              <a:cxnLst/>
              <a:rect l="0" t="0" r="0" b="0"/>
              <a:pathLst>
                <a:path w="120000" h="120000" extrusionOk="0">
                  <a:moveTo>
                    <a:pt x="93333" y="42857"/>
                  </a:moveTo>
                  <a:cubicBezTo>
                    <a:pt x="88888" y="34285"/>
                    <a:pt x="80000" y="34285"/>
                    <a:pt x="75555" y="29999"/>
                  </a:cubicBezTo>
                  <a:cubicBezTo>
                    <a:pt x="71111" y="25714"/>
                    <a:pt x="66666" y="29999"/>
                    <a:pt x="62222" y="25714"/>
                  </a:cubicBezTo>
                  <a:cubicBezTo>
                    <a:pt x="57777" y="21428"/>
                    <a:pt x="53333" y="17142"/>
                    <a:pt x="48888" y="12857"/>
                  </a:cubicBezTo>
                  <a:cubicBezTo>
                    <a:pt x="44444" y="0"/>
                    <a:pt x="40000" y="4285"/>
                    <a:pt x="26666" y="8571"/>
                  </a:cubicBezTo>
                  <a:cubicBezTo>
                    <a:pt x="22222" y="8571"/>
                    <a:pt x="22222" y="4285"/>
                    <a:pt x="17777" y="12857"/>
                  </a:cubicBezTo>
                  <a:cubicBezTo>
                    <a:pt x="13333" y="17142"/>
                    <a:pt x="13333" y="21428"/>
                    <a:pt x="13333" y="25714"/>
                  </a:cubicBezTo>
                  <a:cubicBezTo>
                    <a:pt x="13333" y="34285"/>
                    <a:pt x="13333" y="42857"/>
                    <a:pt x="13333" y="51428"/>
                  </a:cubicBezTo>
                  <a:cubicBezTo>
                    <a:pt x="13333" y="55714"/>
                    <a:pt x="13333" y="64285"/>
                    <a:pt x="8888" y="72857"/>
                  </a:cubicBezTo>
                  <a:cubicBezTo>
                    <a:pt x="0" y="81428"/>
                    <a:pt x="0" y="81428"/>
                    <a:pt x="4444" y="94285"/>
                  </a:cubicBezTo>
                  <a:cubicBezTo>
                    <a:pt x="8888" y="102857"/>
                    <a:pt x="8888" y="102857"/>
                    <a:pt x="17777" y="107142"/>
                  </a:cubicBezTo>
                  <a:cubicBezTo>
                    <a:pt x="26666" y="107142"/>
                    <a:pt x="35555" y="107142"/>
                    <a:pt x="40000" y="111428"/>
                  </a:cubicBezTo>
                  <a:cubicBezTo>
                    <a:pt x="44444" y="111428"/>
                    <a:pt x="53333" y="119999"/>
                    <a:pt x="57777" y="119999"/>
                  </a:cubicBezTo>
                  <a:cubicBezTo>
                    <a:pt x="66666" y="115714"/>
                    <a:pt x="75555" y="119999"/>
                    <a:pt x="84444" y="119999"/>
                  </a:cubicBezTo>
                  <a:cubicBezTo>
                    <a:pt x="88888" y="119999"/>
                    <a:pt x="102222" y="111428"/>
                    <a:pt x="106666" y="107142"/>
                  </a:cubicBezTo>
                  <a:cubicBezTo>
                    <a:pt x="115555" y="98571"/>
                    <a:pt x="120000" y="89999"/>
                    <a:pt x="115555" y="81428"/>
                  </a:cubicBezTo>
                  <a:cubicBezTo>
                    <a:pt x="111111" y="72857"/>
                    <a:pt x="111111" y="68571"/>
                    <a:pt x="106666" y="59999"/>
                  </a:cubicBezTo>
                  <a:cubicBezTo>
                    <a:pt x="106666" y="51428"/>
                    <a:pt x="102222" y="47142"/>
                    <a:pt x="93333" y="42857"/>
                  </a:cubicBezTo>
                  <a:cubicBezTo>
                    <a:pt x="88888" y="38571"/>
                    <a:pt x="97777" y="42857"/>
                    <a:pt x="93333" y="42857"/>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33" name="Shape 2507">
              <a:extLst>
                <a:ext uri="{FF2B5EF4-FFF2-40B4-BE49-F238E27FC236}">
                  <a16:creationId xmlns:a16="http://schemas.microsoft.com/office/drawing/2014/main" id="{55A5F6C3-1CC0-2649-8595-7F2CB8292B8F}"/>
                </a:ext>
              </a:extLst>
            </p:cNvPr>
            <p:cNvSpPr/>
            <p:nvPr/>
          </p:nvSpPr>
          <p:spPr>
            <a:xfrm>
              <a:off x="8241578" y="10074740"/>
              <a:ext cx="961781" cy="1672411"/>
            </a:xfrm>
            <a:custGeom>
              <a:avLst/>
              <a:gdLst/>
              <a:ahLst/>
              <a:cxnLst/>
              <a:rect l="0" t="0" r="0" b="0"/>
              <a:pathLst>
                <a:path w="120000" h="120000" extrusionOk="0">
                  <a:moveTo>
                    <a:pt x="90873" y="41564"/>
                  </a:moveTo>
                  <a:cubicBezTo>
                    <a:pt x="94368" y="39553"/>
                    <a:pt x="92038" y="37541"/>
                    <a:pt x="93203" y="34860"/>
                  </a:cubicBezTo>
                  <a:cubicBezTo>
                    <a:pt x="93203" y="34189"/>
                    <a:pt x="93203" y="32849"/>
                    <a:pt x="93203" y="32178"/>
                  </a:cubicBezTo>
                  <a:cubicBezTo>
                    <a:pt x="94368" y="30167"/>
                    <a:pt x="96699" y="29497"/>
                    <a:pt x="99029" y="28156"/>
                  </a:cubicBezTo>
                  <a:cubicBezTo>
                    <a:pt x="103689" y="26145"/>
                    <a:pt x="106019" y="22793"/>
                    <a:pt x="110679" y="20782"/>
                  </a:cubicBezTo>
                  <a:cubicBezTo>
                    <a:pt x="113009" y="20111"/>
                    <a:pt x="116504" y="20111"/>
                    <a:pt x="118834" y="19441"/>
                  </a:cubicBezTo>
                  <a:cubicBezTo>
                    <a:pt x="120000" y="18100"/>
                    <a:pt x="118834" y="16089"/>
                    <a:pt x="117669" y="15418"/>
                  </a:cubicBezTo>
                  <a:cubicBezTo>
                    <a:pt x="116504" y="14078"/>
                    <a:pt x="117669" y="14078"/>
                    <a:pt x="115339" y="14078"/>
                  </a:cubicBezTo>
                  <a:cubicBezTo>
                    <a:pt x="113009" y="13407"/>
                    <a:pt x="114174" y="16089"/>
                    <a:pt x="113009" y="16759"/>
                  </a:cubicBezTo>
                  <a:cubicBezTo>
                    <a:pt x="111844" y="17430"/>
                    <a:pt x="110679" y="18770"/>
                    <a:pt x="109514" y="19441"/>
                  </a:cubicBezTo>
                  <a:cubicBezTo>
                    <a:pt x="108349" y="20111"/>
                    <a:pt x="104854" y="19441"/>
                    <a:pt x="102524" y="20111"/>
                  </a:cubicBezTo>
                  <a:cubicBezTo>
                    <a:pt x="101359" y="21452"/>
                    <a:pt x="97864" y="20111"/>
                    <a:pt x="95533" y="20111"/>
                  </a:cubicBezTo>
                  <a:cubicBezTo>
                    <a:pt x="94368" y="20111"/>
                    <a:pt x="92038" y="20782"/>
                    <a:pt x="90873" y="20111"/>
                  </a:cubicBezTo>
                  <a:cubicBezTo>
                    <a:pt x="88543" y="20111"/>
                    <a:pt x="92038" y="18770"/>
                    <a:pt x="92038" y="18770"/>
                  </a:cubicBezTo>
                  <a:cubicBezTo>
                    <a:pt x="93203" y="18100"/>
                    <a:pt x="92038" y="17430"/>
                    <a:pt x="92038" y="17430"/>
                  </a:cubicBezTo>
                  <a:cubicBezTo>
                    <a:pt x="92038" y="16089"/>
                    <a:pt x="93203" y="15418"/>
                    <a:pt x="94368" y="14748"/>
                  </a:cubicBezTo>
                  <a:cubicBezTo>
                    <a:pt x="99029" y="12067"/>
                    <a:pt x="89708" y="10726"/>
                    <a:pt x="86213" y="9385"/>
                  </a:cubicBezTo>
                  <a:cubicBezTo>
                    <a:pt x="82718" y="8044"/>
                    <a:pt x="78058" y="8044"/>
                    <a:pt x="74563" y="6033"/>
                  </a:cubicBezTo>
                  <a:cubicBezTo>
                    <a:pt x="73398" y="5363"/>
                    <a:pt x="71067" y="4692"/>
                    <a:pt x="69902" y="4022"/>
                  </a:cubicBezTo>
                  <a:cubicBezTo>
                    <a:pt x="68737" y="2681"/>
                    <a:pt x="67572" y="1340"/>
                    <a:pt x="66407" y="1340"/>
                  </a:cubicBezTo>
                  <a:cubicBezTo>
                    <a:pt x="65242" y="670"/>
                    <a:pt x="61747" y="670"/>
                    <a:pt x="60582" y="1340"/>
                  </a:cubicBezTo>
                  <a:cubicBezTo>
                    <a:pt x="59417" y="2011"/>
                    <a:pt x="58252" y="4022"/>
                    <a:pt x="55922" y="2681"/>
                  </a:cubicBezTo>
                  <a:cubicBezTo>
                    <a:pt x="54757" y="1340"/>
                    <a:pt x="52427" y="1340"/>
                    <a:pt x="50097" y="1340"/>
                  </a:cubicBezTo>
                  <a:cubicBezTo>
                    <a:pt x="47766" y="1340"/>
                    <a:pt x="47766" y="0"/>
                    <a:pt x="45436" y="670"/>
                  </a:cubicBezTo>
                  <a:cubicBezTo>
                    <a:pt x="44271" y="1340"/>
                    <a:pt x="40776" y="2011"/>
                    <a:pt x="40776" y="2681"/>
                  </a:cubicBezTo>
                  <a:cubicBezTo>
                    <a:pt x="39611" y="4022"/>
                    <a:pt x="40776" y="5363"/>
                    <a:pt x="40776" y="6033"/>
                  </a:cubicBezTo>
                  <a:cubicBezTo>
                    <a:pt x="39611" y="8715"/>
                    <a:pt x="36116" y="8715"/>
                    <a:pt x="32621" y="9385"/>
                  </a:cubicBezTo>
                  <a:cubicBezTo>
                    <a:pt x="30291" y="10055"/>
                    <a:pt x="31456" y="13407"/>
                    <a:pt x="31456" y="14748"/>
                  </a:cubicBezTo>
                  <a:cubicBezTo>
                    <a:pt x="31456" y="16089"/>
                    <a:pt x="32621" y="17430"/>
                    <a:pt x="32621" y="18100"/>
                  </a:cubicBezTo>
                  <a:cubicBezTo>
                    <a:pt x="32621" y="18770"/>
                    <a:pt x="29126" y="20782"/>
                    <a:pt x="29126" y="21452"/>
                  </a:cubicBezTo>
                  <a:cubicBezTo>
                    <a:pt x="27961" y="22122"/>
                    <a:pt x="24466" y="23463"/>
                    <a:pt x="24466" y="24134"/>
                  </a:cubicBezTo>
                  <a:cubicBezTo>
                    <a:pt x="24466" y="24804"/>
                    <a:pt x="24466" y="25474"/>
                    <a:pt x="24466" y="26145"/>
                  </a:cubicBezTo>
                  <a:cubicBezTo>
                    <a:pt x="24466" y="26815"/>
                    <a:pt x="23300" y="27486"/>
                    <a:pt x="23300" y="28156"/>
                  </a:cubicBezTo>
                  <a:cubicBezTo>
                    <a:pt x="23300" y="28826"/>
                    <a:pt x="24466" y="30837"/>
                    <a:pt x="22135" y="31508"/>
                  </a:cubicBezTo>
                  <a:cubicBezTo>
                    <a:pt x="22135" y="32178"/>
                    <a:pt x="22135" y="33519"/>
                    <a:pt x="22135" y="34189"/>
                  </a:cubicBezTo>
                  <a:cubicBezTo>
                    <a:pt x="20970" y="34189"/>
                    <a:pt x="19805" y="34189"/>
                    <a:pt x="19805" y="34860"/>
                  </a:cubicBezTo>
                  <a:cubicBezTo>
                    <a:pt x="19805" y="36201"/>
                    <a:pt x="22135" y="36871"/>
                    <a:pt x="22135" y="38212"/>
                  </a:cubicBezTo>
                  <a:cubicBezTo>
                    <a:pt x="22135" y="38882"/>
                    <a:pt x="22135" y="40223"/>
                    <a:pt x="23300" y="40893"/>
                  </a:cubicBezTo>
                  <a:cubicBezTo>
                    <a:pt x="25631" y="43575"/>
                    <a:pt x="20970" y="46256"/>
                    <a:pt x="20970" y="48938"/>
                  </a:cubicBezTo>
                  <a:cubicBezTo>
                    <a:pt x="19805" y="50279"/>
                    <a:pt x="22135" y="51620"/>
                    <a:pt x="20970" y="52960"/>
                  </a:cubicBezTo>
                  <a:cubicBezTo>
                    <a:pt x="19805" y="53631"/>
                    <a:pt x="17475" y="54301"/>
                    <a:pt x="16310" y="55642"/>
                  </a:cubicBezTo>
                  <a:cubicBezTo>
                    <a:pt x="15145" y="56983"/>
                    <a:pt x="19805" y="62346"/>
                    <a:pt x="17475" y="63016"/>
                  </a:cubicBezTo>
                  <a:cubicBezTo>
                    <a:pt x="12815" y="64357"/>
                    <a:pt x="13980" y="67709"/>
                    <a:pt x="12815" y="70391"/>
                  </a:cubicBezTo>
                  <a:cubicBezTo>
                    <a:pt x="10485" y="72402"/>
                    <a:pt x="11650" y="75754"/>
                    <a:pt x="11650" y="78435"/>
                  </a:cubicBezTo>
                  <a:cubicBezTo>
                    <a:pt x="11650" y="80446"/>
                    <a:pt x="11650" y="82458"/>
                    <a:pt x="11650" y="84469"/>
                  </a:cubicBezTo>
                  <a:cubicBezTo>
                    <a:pt x="11650" y="85139"/>
                    <a:pt x="17475" y="87150"/>
                    <a:pt x="15145" y="87150"/>
                  </a:cubicBezTo>
                  <a:cubicBezTo>
                    <a:pt x="15145" y="87150"/>
                    <a:pt x="10485" y="87821"/>
                    <a:pt x="12815" y="88491"/>
                  </a:cubicBezTo>
                  <a:cubicBezTo>
                    <a:pt x="15145" y="88491"/>
                    <a:pt x="15145" y="89162"/>
                    <a:pt x="13980" y="90502"/>
                  </a:cubicBezTo>
                  <a:cubicBezTo>
                    <a:pt x="12815" y="91843"/>
                    <a:pt x="12815" y="93184"/>
                    <a:pt x="12815" y="95195"/>
                  </a:cubicBezTo>
                  <a:cubicBezTo>
                    <a:pt x="12815" y="96536"/>
                    <a:pt x="10485" y="97206"/>
                    <a:pt x="9320" y="98547"/>
                  </a:cubicBezTo>
                  <a:cubicBezTo>
                    <a:pt x="8155" y="99217"/>
                    <a:pt x="9320" y="100558"/>
                    <a:pt x="9320" y="101899"/>
                  </a:cubicBezTo>
                  <a:cubicBezTo>
                    <a:pt x="9320" y="102569"/>
                    <a:pt x="6990" y="104581"/>
                    <a:pt x="5825" y="104581"/>
                  </a:cubicBezTo>
                  <a:cubicBezTo>
                    <a:pt x="0" y="105921"/>
                    <a:pt x="3495" y="109944"/>
                    <a:pt x="4660" y="111955"/>
                  </a:cubicBezTo>
                  <a:cubicBezTo>
                    <a:pt x="5825" y="113296"/>
                    <a:pt x="9320" y="111284"/>
                    <a:pt x="9320" y="113966"/>
                  </a:cubicBezTo>
                  <a:cubicBezTo>
                    <a:pt x="9320" y="114636"/>
                    <a:pt x="8155" y="116648"/>
                    <a:pt x="10485" y="117318"/>
                  </a:cubicBezTo>
                  <a:cubicBezTo>
                    <a:pt x="11650" y="117988"/>
                    <a:pt x="12815" y="117988"/>
                    <a:pt x="15145" y="117988"/>
                  </a:cubicBezTo>
                  <a:cubicBezTo>
                    <a:pt x="17475" y="118659"/>
                    <a:pt x="20970" y="118659"/>
                    <a:pt x="23300" y="118659"/>
                  </a:cubicBezTo>
                  <a:cubicBezTo>
                    <a:pt x="24466" y="118659"/>
                    <a:pt x="25631" y="118659"/>
                    <a:pt x="26796" y="119329"/>
                  </a:cubicBezTo>
                  <a:cubicBezTo>
                    <a:pt x="26796" y="118659"/>
                    <a:pt x="27961" y="118659"/>
                    <a:pt x="29126" y="118659"/>
                  </a:cubicBezTo>
                  <a:cubicBezTo>
                    <a:pt x="29126" y="119329"/>
                    <a:pt x="31456" y="120000"/>
                    <a:pt x="31456" y="120000"/>
                  </a:cubicBezTo>
                  <a:cubicBezTo>
                    <a:pt x="32621" y="120000"/>
                    <a:pt x="30291" y="117988"/>
                    <a:pt x="30291" y="117318"/>
                  </a:cubicBezTo>
                  <a:cubicBezTo>
                    <a:pt x="27961" y="115977"/>
                    <a:pt x="27961" y="114636"/>
                    <a:pt x="27961" y="113296"/>
                  </a:cubicBezTo>
                  <a:cubicBezTo>
                    <a:pt x="27961" y="111955"/>
                    <a:pt x="27961" y="111284"/>
                    <a:pt x="31456" y="109944"/>
                  </a:cubicBezTo>
                  <a:cubicBezTo>
                    <a:pt x="33786" y="109273"/>
                    <a:pt x="29126" y="109273"/>
                    <a:pt x="29126" y="109273"/>
                  </a:cubicBezTo>
                  <a:cubicBezTo>
                    <a:pt x="29126" y="109273"/>
                    <a:pt x="31456" y="108603"/>
                    <a:pt x="30291" y="108603"/>
                  </a:cubicBezTo>
                  <a:cubicBezTo>
                    <a:pt x="31456" y="108603"/>
                    <a:pt x="31456" y="109273"/>
                    <a:pt x="32621" y="109273"/>
                  </a:cubicBezTo>
                  <a:cubicBezTo>
                    <a:pt x="33786" y="109944"/>
                    <a:pt x="34951" y="109273"/>
                    <a:pt x="36116" y="109273"/>
                  </a:cubicBezTo>
                  <a:cubicBezTo>
                    <a:pt x="37281" y="107932"/>
                    <a:pt x="36116" y="106592"/>
                    <a:pt x="36116" y="105251"/>
                  </a:cubicBezTo>
                  <a:cubicBezTo>
                    <a:pt x="37281" y="103910"/>
                    <a:pt x="39611" y="103240"/>
                    <a:pt x="43106" y="102569"/>
                  </a:cubicBezTo>
                  <a:cubicBezTo>
                    <a:pt x="44271" y="101899"/>
                    <a:pt x="45436" y="101899"/>
                    <a:pt x="46601" y="101229"/>
                  </a:cubicBezTo>
                  <a:cubicBezTo>
                    <a:pt x="47766" y="100558"/>
                    <a:pt x="45436" y="99888"/>
                    <a:pt x="45436" y="99888"/>
                  </a:cubicBezTo>
                  <a:cubicBezTo>
                    <a:pt x="45436" y="99217"/>
                    <a:pt x="48932" y="98547"/>
                    <a:pt x="47766" y="97206"/>
                  </a:cubicBezTo>
                  <a:cubicBezTo>
                    <a:pt x="46601" y="95865"/>
                    <a:pt x="41941" y="97206"/>
                    <a:pt x="40776" y="95865"/>
                  </a:cubicBezTo>
                  <a:cubicBezTo>
                    <a:pt x="39611" y="95195"/>
                    <a:pt x="38446" y="95195"/>
                    <a:pt x="37281" y="93854"/>
                  </a:cubicBezTo>
                  <a:cubicBezTo>
                    <a:pt x="36116" y="92513"/>
                    <a:pt x="38446" y="90502"/>
                    <a:pt x="39611" y="89832"/>
                  </a:cubicBezTo>
                  <a:cubicBezTo>
                    <a:pt x="41941" y="89162"/>
                    <a:pt x="43106" y="87821"/>
                    <a:pt x="45436" y="87821"/>
                  </a:cubicBezTo>
                  <a:cubicBezTo>
                    <a:pt x="47766" y="87150"/>
                    <a:pt x="47766" y="88491"/>
                    <a:pt x="48932" y="86480"/>
                  </a:cubicBezTo>
                  <a:cubicBezTo>
                    <a:pt x="48932" y="85139"/>
                    <a:pt x="51262" y="84469"/>
                    <a:pt x="50097" y="83128"/>
                  </a:cubicBezTo>
                  <a:cubicBezTo>
                    <a:pt x="48932" y="81117"/>
                    <a:pt x="54757" y="81117"/>
                    <a:pt x="55922" y="79776"/>
                  </a:cubicBezTo>
                  <a:cubicBezTo>
                    <a:pt x="55922" y="79776"/>
                    <a:pt x="50097" y="77094"/>
                    <a:pt x="55922" y="77765"/>
                  </a:cubicBezTo>
                  <a:cubicBezTo>
                    <a:pt x="57087" y="78435"/>
                    <a:pt x="57087" y="79106"/>
                    <a:pt x="58252" y="79106"/>
                  </a:cubicBezTo>
                  <a:cubicBezTo>
                    <a:pt x="60582" y="79106"/>
                    <a:pt x="60582" y="77094"/>
                    <a:pt x="59417" y="76424"/>
                  </a:cubicBezTo>
                  <a:cubicBezTo>
                    <a:pt x="59417" y="75754"/>
                    <a:pt x="57087" y="77094"/>
                    <a:pt x="57087" y="77094"/>
                  </a:cubicBezTo>
                  <a:cubicBezTo>
                    <a:pt x="54757" y="77094"/>
                    <a:pt x="52427" y="76424"/>
                    <a:pt x="52427" y="75754"/>
                  </a:cubicBezTo>
                  <a:cubicBezTo>
                    <a:pt x="52427" y="75083"/>
                    <a:pt x="50097" y="70391"/>
                    <a:pt x="52427" y="70391"/>
                  </a:cubicBezTo>
                  <a:cubicBezTo>
                    <a:pt x="55922" y="71061"/>
                    <a:pt x="58252" y="72402"/>
                    <a:pt x="62912" y="72402"/>
                  </a:cubicBezTo>
                  <a:cubicBezTo>
                    <a:pt x="64077" y="72402"/>
                    <a:pt x="65242" y="71731"/>
                    <a:pt x="66407" y="71731"/>
                  </a:cubicBezTo>
                  <a:cubicBezTo>
                    <a:pt x="68737" y="70391"/>
                    <a:pt x="66407" y="69720"/>
                    <a:pt x="67572" y="68379"/>
                  </a:cubicBezTo>
                  <a:cubicBezTo>
                    <a:pt x="67572" y="67709"/>
                    <a:pt x="68737" y="67039"/>
                    <a:pt x="68737" y="67039"/>
                  </a:cubicBezTo>
                  <a:cubicBezTo>
                    <a:pt x="69902" y="65698"/>
                    <a:pt x="68737" y="65698"/>
                    <a:pt x="68737" y="65027"/>
                  </a:cubicBezTo>
                  <a:cubicBezTo>
                    <a:pt x="67572" y="64357"/>
                    <a:pt x="67572" y="63016"/>
                    <a:pt x="68737" y="63016"/>
                  </a:cubicBezTo>
                  <a:cubicBezTo>
                    <a:pt x="71067" y="63016"/>
                    <a:pt x="69902" y="64357"/>
                    <a:pt x="69902" y="64357"/>
                  </a:cubicBezTo>
                  <a:cubicBezTo>
                    <a:pt x="68737" y="63687"/>
                    <a:pt x="75728" y="63687"/>
                    <a:pt x="75728" y="63687"/>
                  </a:cubicBezTo>
                  <a:cubicBezTo>
                    <a:pt x="80388" y="63687"/>
                    <a:pt x="83883" y="62346"/>
                    <a:pt x="88543" y="62346"/>
                  </a:cubicBezTo>
                  <a:cubicBezTo>
                    <a:pt x="89708" y="61675"/>
                    <a:pt x="93203" y="61005"/>
                    <a:pt x="95533" y="60335"/>
                  </a:cubicBezTo>
                  <a:cubicBezTo>
                    <a:pt x="96699" y="59664"/>
                    <a:pt x="96699" y="58994"/>
                    <a:pt x="97864" y="58324"/>
                  </a:cubicBezTo>
                  <a:cubicBezTo>
                    <a:pt x="99029" y="57653"/>
                    <a:pt x="100194" y="56983"/>
                    <a:pt x="101359" y="55642"/>
                  </a:cubicBezTo>
                  <a:cubicBezTo>
                    <a:pt x="101359" y="53631"/>
                    <a:pt x="99029" y="53631"/>
                    <a:pt x="96699" y="52290"/>
                  </a:cubicBezTo>
                  <a:cubicBezTo>
                    <a:pt x="95533" y="50949"/>
                    <a:pt x="99029" y="50279"/>
                    <a:pt x="96699" y="48938"/>
                  </a:cubicBezTo>
                  <a:cubicBezTo>
                    <a:pt x="95533" y="48268"/>
                    <a:pt x="90873" y="47597"/>
                    <a:pt x="90873" y="46256"/>
                  </a:cubicBezTo>
                  <a:cubicBezTo>
                    <a:pt x="90873" y="46256"/>
                    <a:pt x="90873" y="45586"/>
                    <a:pt x="92038" y="45586"/>
                  </a:cubicBezTo>
                  <a:cubicBezTo>
                    <a:pt x="92038" y="44916"/>
                    <a:pt x="90873" y="44916"/>
                    <a:pt x="90873" y="44245"/>
                  </a:cubicBezTo>
                  <a:cubicBezTo>
                    <a:pt x="90873" y="43575"/>
                    <a:pt x="89708" y="42234"/>
                    <a:pt x="90873" y="41564"/>
                  </a:cubicBezTo>
                  <a:cubicBezTo>
                    <a:pt x="92038" y="40893"/>
                    <a:pt x="89708" y="42234"/>
                    <a:pt x="90873" y="41564"/>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34" name="Shape 2508">
              <a:extLst>
                <a:ext uri="{FF2B5EF4-FFF2-40B4-BE49-F238E27FC236}">
                  <a16:creationId xmlns:a16="http://schemas.microsoft.com/office/drawing/2014/main" id="{836C5B65-012A-4D45-8362-E3D5BE929011}"/>
                </a:ext>
              </a:extLst>
            </p:cNvPr>
            <p:cNvSpPr/>
            <p:nvPr/>
          </p:nvSpPr>
          <p:spPr>
            <a:xfrm>
              <a:off x="7617373" y="8313135"/>
              <a:ext cx="203822" cy="226173"/>
            </a:xfrm>
            <a:custGeom>
              <a:avLst/>
              <a:gdLst/>
              <a:ahLst/>
              <a:cxnLst/>
              <a:rect l="0" t="0" r="0" b="0"/>
              <a:pathLst>
                <a:path w="120000" h="120000" extrusionOk="0">
                  <a:moveTo>
                    <a:pt x="81818" y="115000"/>
                  </a:moveTo>
                  <a:cubicBezTo>
                    <a:pt x="87272" y="120000"/>
                    <a:pt x="92727" y="120000"/>
                    <a:pt x="103636" y="120000"/>
                  </a:cubicBezTo>
                  <a:cubicBezTo>
                    <a:pt x="92727" y="105000"/>
                    <a:pt x="103636" y="100000"/>
                    <a:pt x="103636" y="85000"/>
                  </a:cubicBezTo>
                  <a:cubicBezTo>
                    <a:pt x="103636" y="75000"/>
                    <a:pt x="109090" y="60000"/>
                    <a:pt x="109090" y="50000"/>
                  </a:cubicBezTo>
                  <a:cubicBezTo>
                    <a:pt x="109090" y="45000"/>
                    <a:pt x="114545" y="40000"/>
                    <a:pt x="114545" y="35000"/>
                  </a:cubicBezTo>
                  <a:cubicBezTo>
                    <a:pt x="120000" y="30000"/>
                    <a:pt x="114545" y="25000"/>
                    <a:pt x="120000" y="15000"/>
                  </a:cubicBezTo>
                  <a:cubicBezTo>
                    <a:pt x="120000" y="0"/>
                    <a:pt x="98181" y="20000"/>
                    <a:pt x="92727" y="20000"/>
                  </a:cubicBezTo>
                  <a:cubicBezTo>
                    <a:pt x="81818" y="20000"/>
                    <a:pt x="76363" y="15000"/>
                    <a:pt x="65454" y="25000"/>
                  </a:cubicBezTo>
                  <a:cubicBezTo>
                    <a:pt x="65454" y="25000"/>
                    <a:pt x="54545" y="45000"/>
                    <a:pt x="49090" y="40000"/>
                  </a:cubicBezTo>
                  <a:cubicBezTo>
                    <a:pt x="38181" y="40000"/>
                    <a:pt x="32727" y="40000"/>
                    <a:pt x="21818" y="45000"/>
                  </a:cubicBezTo>
                  <a:cubicBezTo>
                    <a:pt x="21818" y="50000"/>
                    <a:pt x="21818" y="60000"/>
                    <a:pt x="16363" y="60000"/>
                  </a:cubicBezTo>
                  <a:cubicBezTo>
                    <a:pt x="16363" y="65000"/>
                    <a:pt x="5454" y="65000"/>
                    <a:pt x="0" y="65000"/>
                  </a:cubicBezTo>
                  <a:cubicBezTo>
                    <a:pt x="10909" y="75000"/>
                    <a:pt x="21818" y="90000"/>
                    <a:pt x="32727" y="95000"/>
                  </a:cubicBezTo>
                  <a:cubicBezTo>
                    <a:pt x="38181" y="105000"/>
                    <a:pt x="49090" y="110000"/>
                    <a:pt x="60000" y="110000"/>
                  </a:cubicBezTo>
                  <a:cubicBezTo>
                    <a:pt x="65454" y="110000"/>
                    <a:pt x="76363" y="110000"/>
                    <a:pt x="81818" y="115000"/>
                  </a:cubicBezTo>
                  <a:cubicBezTo>
                    <a:pt x="87272" y="115000"/>
                    <a:pt x="81818" y="110000"/>
                    <a:pt x="81818" y="115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35" name="Shape 2509">
              <a:extLst>
                <a:ext uri="{FF2B5EF4-FFF2-40B4-BE49-F238E27FC236}">
                  <a16:creationId xmlns:a16="http://schemas.microsoft.com/office/drawing/2014/main" id="{3E81B2C1-1F6B-4F4D-A68A-D8FB291FC558}"/>
                </a:ext>
              </a:extLst>
            </p:cNvPr>
            <p:cNvSpPr/>
            <p:nvPr/>
          </p:nvSpPr>
          <p:spPr>
            <a:xfrm>
              <a:off x="7681070" y="8520191"/>
              <a:ext cx="159235" cy="140163"/>
            </a:xfrm>
            <a:custGeom>
              <a:avLst/>
              <a:gdLst/>
              <a:ahLst/>
              <a:cxnLst/>
              <a:rect l="0" t="0" r="0" b="0"/>
              <a:pathLst>
                <a:path w="120000" h="120000" extrusionOk="0">
                  <a:moveTo>
                    <a:pt x="112941" y="80000"/>
                  </a:moveTo>
                  <a:cubicBezTo>
                    <a:pt x="112941" y="72000"/>
                    <a:pt x="112941" y="64000"/>
                    <a:pt x="120000" y="64000"/>
                  </a:cubicBezTo>
                  <a:cubicBezTo>
                    <a:pt x="112941" y="56000"/>
                    <a:pt x="112941" y="48000"/>
                    <a:pt x="105882" y="48000"/>
                  </a:cubicBezTo>
                  <a:cubicBezTo>
                    <a:pt x="98823" y="40000"/>
                    <a:pt x="91764" y="16000"/>
                    <a:pt x="84705" y="16000"/>
                  </a:cubicBezTo>
                  <a:cubicBezTo>
                    <a:pt x="70588" y="16000"/>
                    <a:pt x="63529" y="16000"/>
                    <a:pt x="56470" y="8000"/>
                  </a:cubicBezTo>
                  <a:cubicBezTo>
                    <a:pt x="49411" y="0"/>
                    <a:pt x="28235" y="0"/>
                    <a:pt x="21176" y="0"/>
                  </a:cubicBezTo>
                  <a:cubicBezTo>
                    <a:pt x="28235" y="8000"/>
                    <a:pt x="0" y="48000"/>
                    <a:pt x="21176" y="48000"/>
                  </a:cubicBezTo>
                  <a:cubicBezTo>
                    <a:pt x="28235" y="48000"/>
                    <a:pt x="28235" y="64000"/>
                    <a:pt x="42352" y="56000"/>
                  </a:cubicBezTo>
                  <a:cubicBezTo>
                    <a:pt x="49411" y="48000"/>
                    <a:pt x="28235" y="40000"/>
                    <a:pt x="28235" y="40000"/>
                  </a:cubicBezTo>
                  <a:cubicBezTo>
                    <a:pt x="35294" y="40000"/>
                    <a:pt x="49411" y="48000"/>
                    <a:pt x="49411" y="56000"/>
                  </a:cubicBezTo>
                  <a:cubicBezTo>
                    <a:pt x="56470" y="72000"/>
                    <a:pt x="70588" y="64000"/>
                    <a:pt x="77647" y="80000"/>
                  </a:cubicBezTo>
                  <a:cubicBezTo>
                    <a:pt x="84705" y="88000"/>
                    <a:pt x="84705" y="104000"/>
                    <a:pt x="98823" y="112000"/>
                  </a:cubicBezTo>
                  <a:cubicBezTo>
                    <a:pt x="120000" y="120000"/>
                    <a:pt x="120000" y="96000"/>
                    <a:pt x="112941" y="80000"/>
                  </a:cubicBezTo>
                  <a:cubicBezTo>
                    <a:pt x="112941" y="72000"/>
                    <a:pt x="112941" y="88000"/>
                    <a:pt x="112941" y="8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36" name="Shape 2510">
              <a:extLst>
                <a:ext uri="{FF2B5EF4-FFF2-40B4-BE49-F238E27FC236}">
                  <a16:creationId xmlns:a16="http://schemas.microsoft.com/office/drawing/2014/main" id="{F8679E82-B1A1-9C45-B399-03C7ECD44C69}"/>
                </a:ext>
              </a:extLst>
            </p:cNvPr>
            <p:cNvSpPr/>
            <p:nvPr/>
          </p:nvSpPr>
          <p:spPr>
            <a:xfrm>
              <a:off x="7502723" y="8360917"/>
              <a:ext cx="105096" cy="82826"/>
            </a:xfrm>
            <a:custGeom>
              <a:avLst/>
              <a:gdLst/>
              <a:ahLst/>
              <a:cxnLst/>
              <a:rect l="0" t="0" r="0" b="0"/>
              <a:pathLst>
                <a:path w="120000" h="120000" extrusionOk="0">
                  <a:moveTo>
                    <a:pt x="43636" y="13333"/>
                  </a:moveTo>
                  <a:cubicBezTo>
                    <a:pt x="43636" y="0"/>
                    <a:pt x="43636" y="0"/>
                    <a:pt x="43636" y="0"/>
                  </a:cubicBezTo>
                  <a:cubicBezTo>
                    <a:pt x="32727" y="13333"/>
                    <a:pt x="10909" y="40000"/>
                    <a:pt x="0" y="53333"/>
                  </a:cubicBezTo>
                  <a:cubicBezTo>
                    <a:pt x="21818" y="66666"/>
                    <a:pt x="120000" y="120000"/>
                    <a:pt x="120000" y="66666"/>
                  </a:cubicBezTo>
                  <a:cubicBezTo>
                    <a:pt x="120000" y="26666"/>
                    <a:pt x="65454" y="40000"/>
                    <a:pt x="43636" y="13333"/>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37" name="Shape 2511">
              <a:extLst>
                <a:ext uri="{FF2B5EF4-FFF2-40B4-BE49-F238E27FC236}">
                  <a16:creationId xmlns:a16="http://schemas.microsoft.com/office/drawing/2014/main" id="{0E991DD4-CF60-D543-8842-C29FFE0E5F0E}"/>
                </a:ext>
              </a:extLst>
            </p:cNvPr>
            <p:cNvSpPr/>
            <p:nvPr/>
          </p:nvSpPr>
          <p:spPr>
            <a:xfrm>
              <a:off x="7391258" y="8192086"/>
              <a:ext cx="187900" cy="216614"/>
            </a:xfrm>
            <a:custGeom>
              <a:avLst/>
              <a:gdLst/>
              <a:ahLst/>
              <a:cxnLst/>
              <a:rect l="0" t="0" r="0" b="0"/>
              <a:pathLst>
                <a:path w="120000" h="120000" extrusionOk="0">
                  <a:moveTo>
                    <a:pt x="96000" y="83478"/>
                  </a:moveTo>
                  <a:cubicBezTo>
                    <a:pt x="96000" y="73043"/>
                    <a:pt x="114000" y="67826"/>
                    <a:pt x="120000" y="62608"/>
                  </a:cubicBezTo>
                  <a:cubicBezTo>
                    <a:pt x="102000" y="57391"/>
                    <a:pt x="96000" y="57391"/>
                    <a:pt x="96000" y="41739"/>
                  </a:cubicBezTo>
                  <a:cubicBezTo>
                    <a:pt x="96000" y="36521"/>
                    <a:pt x="102000" y="10434"/>
                    <a:pt x="96000" y="5217"/>
                  </a:cubicBezTo>
                  <a:cubicBezTo>
                    <a:pt x="90000" y="0"/>
                    <a:pt x="60000" y="5217"/>
                    <a:pt x="48000" y="5217"/>
                  </a:cubicBezTo>
                  <a:cubicBezTo>
                    <a:pt x="36000" y="5217"/>
                    <a:pt x="36000" y="20869"/>
                    <a:pt x="42000" y="31304"/>
                  </a:cubicBezTo>
                  <a:cubicBezTo>
                    <a:pt x="48000" y="36521"/>
                    <a:pt x="72000" y="52173"/>
                    <a:pt x="48000" y="52173"/>
                  </a:cubicBezTo>
                  <a:cubicBezTo>
                    <a:pt x="42000" y="52173"/>
                    <a:pt x="30000" y="52173"/>
                    <a:pt x="24000" y="52173"/>
                  </a:cubicBezTo>
                  <a:cubicBezTo>
                    <a:pt x="12000" y="52173"/>
                    <a:pt x="12000" y="73043"/>
                    <a:pt x="12000" y="78260"/>
                  </a:cubicBezTo>
                  <a:cubicBezTo>
                    <a:pt x="0" y="109565"/>
                    <a:pt x="48000" y="104347"/>
                    <a:pt x="72000" y="109565"/>
                  </a:cubicBezTo>
                  <a:cubicBezTo>
                    <a:pt x="78000" y="120000"/>
                    <a:pt x="96000" y="88695"/>
                    <a:pt x="96000" y="83478"/>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38" name="Shape 2512">
              <a:extLst>
                <a:ext uri="{FF2B5EF4-FFF2-40B4-BE49-F238E27FC236}">
                  <a16:creationId xmlns:a16="http://schemas.microsoft.com/office/drawing/2014/main" id="{DA2E0017-751A-E24E-AFE9-B253B4BA1E0A}"/>
                </a:ext>
              </a:extLst>
            </p:cNvPr>
            <p:cNvSpPr/>
            <p:nvPr/>
          </p:nvSpPr>
          <p:spPr>
            <a:xfrm>
              <a:off x="6254319" y="7453038"/>
              <a:ext cx="1398090" cy="898323"/>
            </a:xfrm>
            <a:custGeom>
              <a:avLst/>
              <a:gdLst/>
              <a:ahLst/>
              <a:cxnLst/>
              <a:rect l="0" t="0" r="0" b="0"/>
              <a:pathLst>
                <a:path w="120000" h="120000" extrusionOk="0">
                  <a:moveTo>
                    <a:pt x="100800" y="111250"/>
                  </a:moveTo>
                  <a:cubicBezTo>
                    <a:pt x="101600" y="111250"/>
                    <a:pt x="107200" y="112500"/>
                    <a:pt x="105600" y="110000"/>
                  </a:cubicBezTo>
                  <a:cubicBezTo>
                    <a:pt x="104800" y="107500"/>
                    <a:pt x="103200" y="106250"/>
                    <a:pt x="102400" y="103750"/>
                  </a:cubicBezTo>
                  <a:cubicBezTo>
                    <a:pt x="102400" y="103750"/>
                    <a:pt x="103200" y="100000"/>
                    <a:pt x="104000" y="100000"/>
                  </a:cubicBezTo>
                  <a:cubicBezTo>
                    <a:pt x="104800" y="98750"/>
                    <a:pt x="108800" y="100000"/>
                    <a:pt x="110400" y="100000"/>
                  </a:cubicBezTo>
                  <a:cubicBezTo>
                    <a:pt x="112800" y="100000"/>
                    <a:pt x="112000" y="93750"/>
                    <a:pt x="115200" y="97500"/>
                  </a:cubicBezTo>
                  <a:cubicBezTo>
                    <a:pt x="116000" y="95000"/>
                    <a:pt x="116800" y="93750"/>
                    <a:pt x="116800" y="91250"/>
                  </a:cubicBezTo>
                  <a:cubicBezTo>
                    <a:pt x="116800" y="88750"/>
                    <a:pt x="116000" y="86250"/>
                    <a:pt x="116800" y="85000"/>
                  </a:cubicBezTo>
                  <a:cubicBezTo>
                    <a:pt x="117600" y="82500"/>
                    <a:pt x="120000" y="80000"/>
                    <a:pt x="120000" y="78750"/>
                  </a:cubicBezTo>
                  <a:cubicBezTo>
                    <a:pt x="119200" y="76250"/>
                    <a:pt x="118400" y="76250"/>
                    <a:pt x="116800" y="76250"/>
                  </a:cubicBezTo>
                  <a:cubicBezTo>
                    <a:pt x="114400" y="76250"/>
                    <a:pt x="111200" y="76250"/>
                    <a:pt x="108800" y="77500"/>
                  </a:cubicBezTo>
                  <a:cubicBezTo>
                    <a:pt x="107200" y="77500"/>
                    <a:pt x="106400" y="78750"/>
                    <a:pt x="105600" y="80000"/>
                  </a:cubicBezTo>
                  <a:cubicBezTo>
                    <a:pt x="104800" y="82500"/>
                    <a:pt x="105600" y="85000"/>
                    <a:pt x="104800" y="87500"/>
                  </a:cubicBezTo>
                  <a:cubicBezTo>
                    <a:pt x="104800" y="88750"/>
                    <a:pt x="100800" y="95000"/>
                    <a:pt x="100800" y="95000"/>
                  </a:cubicBezTo>
                  <a:cubicBezTo>
                    <a:pt x="97600" y="93750"/>
                    <a:pt x="94400" y="95000"/>
                    <a:pt x="91200" y="97500"/>
                  </a:cubicBezTo>
                  <a:cubicBezTo>
                    <a:pt x="89600" y="97500"/>
                    <a:pt x="88800" y="96250"/>
                    <a:pt x="88000" y="95000"/>
                  </a:cubicBezTo>
                  <a:cubicBezTo>
                    <a:pt x="87200" y="93750"/>
                    <a:pt x="85600" y="93750"/>
                    <a:pt x="84000" y="92500"/>
                  </a:cubicBezTo>
                  <a:cubicBezTo>
                    <a:pt x="82400" y="92500"/>
                    <a:pt x="82400" y="88750"/>
                    <a:pt x="81600" y="86250"/>
                  </a:cubicBezTo>
                  <a:cubicBezTo>
                    <a:pt x="80800" y="83750"/>
                    <a:pt x="79200" y="82500"/>
                    <a:pt x="78400" y="80000"/>
                  </a:cubicBezTo>
                  <a:cubicBezTo>
                    <a:pt x="77600" y="75000"/>
                    <a:pt x="76000" y="68750"/>
                    <a:pt x="76800" y="63750"/>
                  </a:cubicBezTo>
                  <a:cubicBezTo>
                    <a:pt x="76800" y="60000"/>
                    <a:pt x="76000" y="55000"/>
                    <a:pt x="77600" y="51250"/>
                  </a:cubicBezTo>
                  <a:cubicBezTo>
                    <a:pt x="78400" y="50000"/>
                    <a:pt x="78400" y="48750"/>
                    <a:pt x="78400" y="47500"/>
                  </a:cubicBezTo>
                  <a:cubicBezTo>
                    <a:pt x="79200" y="45000"/>
                    <a:pt x="77600" y="46250"/>
                    <a:pt x="76800" y="45000"/>
                  </a:cubicBezTo>
                  <a:cubicBezTo>
                    <a:pt x="75200" y="45000"/>
                    <a:pt x="73600" y="43750"/>
                    <a:pt x="72000" y="43750"/>
                  </a:cubicBezTo>
                  <a:cubicBezTo>
                    <a:pt x="71200" y="42500"/>
                    <a:pt x="69600" y="40000"/>
                    <a:pt x="69600" y="37500"/>
                  </a:cubicBezTo>
                  <a:cubicBezTo>
                    <a:pt x="69600" y="33750"/>
                    <a:pt x="67200" y="32500"/>
                    <a:pt x="65600" y="30000"/>
                  </a:cubicBezTo>
                  <a:cubicBezTo>
                    <a:pt x="64800" y="27500"/>
                    <a:pt x="64800" y="25000"/>
                    <a:pt x="64000" y="22500"/>
                  </a:cubicBezTo>
                  <a:cubicBezTo>
                    <a:pt x="63200" y="21250"/>
                    <a:pt x="61600" y="21250"/>
                    <a:pt x="60000" y="21250"/>
                  </a:cubicBezTo>
                  <a:cubicBezTo>
                    <a:pt x="59200" y="20000"/>
                    <a:pt x="57600" y="20000"/>
                    <a:pt x="56800" y="21250"/>
                  </a:cubicBezTo>
                  <a:cubicBezTo>
                    <a:pt x="56800" y="22500"/>
                    <a:pt x="56000" y="25000"/>
                    <a:pt x="54400" y="25000"/>
                  </a:cubicBezTo>
                  <a:cubicBezTo>
                    <a:pt x="52800" y="25000"/>
                    <a:pt x="50400" y="22500"/>
                    <a:pt x="49600" y="20000"/>
                  </a:cubicBezTo>
                  <a:cubicBezTo>
                    <a:pt x="48800" y="16250"/>
                    <a:pt x="48800" y="15000"/>
                    <a:pt x="47200" y="12500"/>
                  </a:cubicBezTo>
                  <a:cubicBezTo>
                    <a:pt x="45600" y="11250"/>
                    <a:pt x="43200" y="7500"/>
                    <a:pt x="41600" y="7500"/>
                  </a:cubicBezTo>
                  <a:cubicBezTo>
                    <a:pt x="40800" y="6250"/>
                    <a:pt x="36000" y="6250"/>
                    <a:pt x="36000" y="7500"/>
                  </a:cubicBezTo>
                  <a:cubicBezTo>
                    <a:pt x="34400" y="11250"/>
                    <a:pt x="33600" y="10000"/>
                    <a:pt x="31200" y="10000"/>
                  </a:cubicBezTo>
                  <a:cubicBezTo>
                    <a:pt x="28000" y="10000"/>
                    <a:pt x="25600" y="10000"/>
                    <a:pt x="23200" y="10000"/>
                  </a:cubicBezTo>
                  <a:cubicBezTo>
                    <a:pt x="22400" y="10000"/>
                    <a:pt x="20000" y="7500"/>
                    <a:pt x="18400" y="6250"/>
                  </a:cubicBezTo>
                  <a:cubicBezTo>
                    <a:pt x="16000" y="5000"/>
                    <a:pt x="13600" y="3750"/>
                    <a:pt x="10400" y="1250"/>
                  </a:cubicBezTo>
                  <a:cubicBezTo>
                    <a:pt x="7200" y="0"/>
                    <a:pt x="3200" y="1250"/>
                    <a:pt x="0" y="2500"/>
                  </a:cubicBezTo>
                  <a:cubicBezTo>
                    <a:pt x="800" y="8750"/>
                    <a:pt x="4000" y="13750"/>
                    <a:pt x="5600" y="20000"/>
                  </a:cubicBezTo>
                  <a:cubicBezTo>
                    <a:pt x="6400" y="22500"/>
                    <a:pt x="8800" y="25000"/>
                    <a:pt x="10400" y="26250"/>
                  </a:cubicBezTo>
                  <a:cubicBezTo>
                    <a:pt x="11200" y="28750"/>
                    <a:pt x="12800" y="32500"/>
                    <a:pt x="12000" y="35000"/>
                  </a:cubicBezTo>
                  <a:cubicBezTo>
                    <a:pt x="12000" y="35000"/>
                    <a:pt x="6400" y="32500"/>
                    <a:pt x="9600" y="36250"/>
                  </a:cubicBezTo>
                  <a:cubicBezTo>
                    <a:pt x="10400" y="37500"/>
                    <a:pt x="11200" y="38750"/>
                    <a:pt x="12000" y="40000"/>
                  </a:cubicBezTo>
                  <a:cubicBezTo>
                    <a:pt x="13600" y="40000"/>
                    <a:pt x="14400" y="40000"/>
                    <a:pt x="15200" y="41250"/>
                  </a:cubicBezTo>
                  <a:cubicBezTo>
                    <a:pt x="16800" y="42500"/>
                    <a:pt x="18400" y="45000"/>
                    <a:pt x="20000" y="47500"/>
                  </a:cubicBezTo>
                  <a:cubicBezTo>
                    <a:pt x="20800" y="48750"/>
                    <a:pt x="20000" y="51250"/>
                    <a:pt x="19200" y="52500"/>
                  </a:cubicBezTo>
                  <a:cubicBezTo>
                    <a:pt x="18400" y="53750"/>
                    <a:pt x="20000" y="55000"/>
                    <a:pt x="20800" y="55000"/>
                  </a:cubicBezTo>
                  <a:cubicBezTo>
                    <a:pt x="23200" y="57500"/>
                    <a:pt x="24800" y="60000"/>
                    <a:pt x="26400" y="62500"/>
                  </a:cubicBezTo>
                  <a:cubicBezTo>
                    <a:pt x="27200" y="63750"/>
                    <a:pt x="28000" y="66250"/>
                    <a:pt x="28800" y="66250"/>
                  </a:cubicBezTo>
                  <a:cubicBezTo>
                    <a:pt x="29600" y="66250"/>
                    <a:pt x="30400" y="63750"/>
                    <a:pt x="29600" y="62500"/>
                  </a:cubicBezTo>
                  <a:cubicBezTo>
                    <a:pt x="29600" y="61250"/>
                    <a:pt x="28800" y="60000"/>
                    <a:pt x="28800" y="58750"/>
                  </a:cubicBezTo>
                  <a:cubicBezTo>
                    <a:pt x="28000" y="57500"/>
                    <a:pt x="26400" y="58750"/>
                    <a:pt x="25600" y="57500"/>
                  </a:cubicBezTo>
                  <a:cubicBezTo>
                    <a:pt x="24000" y="55000"/>
                    <a:pt x="25600" y="55000"/>
                    <a:pt x="25600" y="52500"/>
                  </a:cubicBezTo>
                  <a:cubicBezTo>
                    <a:pt x="25600" y="52500"/>
                    <a:pt x="24000" y="50000"/>
                    <a:pt x="24000" y="48750"/>
                  </a:cubicBezTo>
                  <a:cubicBezTo>
                    <a:pt x="22400" y="46250"/>
                    <a:pt x="22400" y="42500"/>
                    <a:pt x="20800" y="40000"/>
                  </a:cubicBezTo>
                  <a:cubicBezTo>
                    <a:pt x="19200" y="38750"/>
                    <a:pt x="17600" y="36250"/>
                    <a:pt x="16800" y="33750"/>
                  </a:cubicBezTo>
                  <a:cubicBezTo>
                    <a:pt x="16800" y="32500"/>
                    <a:pt x="16800" y="30000"/>
                    <a:pt x="16000" y="28750"/>
                  </a:cubicBezTo>
                  <a:cubicBezTo>
                    <a:pt x="15200" y="27500"/>
                    <a:pt x="14400" y="26250"/>
                    <a:pt x="13600" y="25000"/>
                  </a:cubicBezTo>
                  <a:cubicBezTo>
                    <a:pt x="12800" y="22500"/>
                    <a:pt x="12000" y="21250"/>
                    <a:pt x="10400" y="20000"/>
                  </a:cubicBezTo>
                  <a:cubicBezTo>
                    <a:pt x="9600" y="18750"/>
                    <a:pt x="9600" y="16250"/>
                    <a:pt x="9600" y="15000"/>
                  </a:cubicBezTo>
                  <a:cubicBezTo>
                    <a:pt x="9600" y="13750"/>
                    <a:pt x="8000" y="7500"/>
                    <a:pt x="8800" y="6250"/>
                  </a:cubicBezTo>
                  <a:cubicBezTo>
                    <a:pt x="9600" y="5000"/>
                    <a:pt x="10400" y="8750"/>
                    <a:pt x="11200" y="8750"/>
                  </a:cubicBezTo>
                  <a:cubicBezTo>
                    <a:pt x="12000" y="8750"/>
                    <a:pt x="12000" y="8750"/>
                    <a:pt x="12000" y="8750"/>
                  </a:cubicBezTo>
                  <a:cubicBezTo>
                    <a:pt x="13600" y="7500"/>
                    <a:pt x="13600" y="8750"/>
                    <a:pt x="14400" y="10000"/>
                  </a:cubicBezTo>
                  <a:cubicBezTo>
                    <a:pt x="15200" y="10000"/>
                    <a:pt x="16000" y="10000"/>
                    <a:pt x="16000" y="11250"/>
                  </a:cubicBezTo>
                  <a:cubicBezTo>
                    <a:pt x="16000" y="13750"/>
                    <a:pt x="16800" y="16250"/>
                    <a:pt x="17600" y="18750"/>
                  </a:cubicBezTo>
                  <a:cubicBezTo>
                    <a:pt x="17600" y="20000"/>
                    <a:pt x="18400" y="22500"/>
                    <a:pt x="18400" y="23750"/>
                  </a:cubicBezTo>
                  <a:cubicBezTo>
                    <a:pt x="18400" y="25000"/>
                    <a:pt x="17600" y="26250"/>
                    <a:pt x="17600" y="27500"/>
                  </a:cubicBezTo>
                  <a:cubicBezTo>
                    <a:pt x="18400" y="27500"/>
                    <a:pt x="18400" y="25000"/>
                    <a:pt x="18400" y="25000"/>
                  </a:cubicBezTo>
                  <a:cubicBezTo>
                    <a:pt x="19200" y="23750"/>
                    <a:pt x="20000" y="27500"/>
                    <a:pt x="20800" y="27500"/>
                  </a:cubicBezTo>
                  <a:cubicBezTo>
                    <a:pt x="21600" y="28750"/>
                    <a:pt x="25600" y="32500"/>
                    <a:pt x="25600" y="33750"/>
                  </a:cubicBezTo>
                  <a:cubicBezTo>
                    <a:pt x="25600" y="36250"/>
                    <a:pt x="26400" y="37500"/>
                    <a:pt x="27200" y="37500"/>
                  </a:cubicBezTo>
                  <a:cubicBezTo>
                    <a:pt x="28000" y="38750"/>
                    <a:pt x="28000" y="40000"/>
                    <a:pt x="28800" y="41250"/>
                  </a:cubicBezTo>
                  <a:cubicBezTo>
                    <a:pt x="29600" y="42500"/>
                    <a:pt x="30400" y="41250"/>
                    <a:pt x="30400" y="42500"/>
                  </a:cubicBezTo>
                  <a:cubicBezTo>
                    <a:pt x="31200" y="43750"/>
                    <a:pt x="29600" y="45000"/>
                    <a:pt x="30400" y="47500"/>
                  </a:cubicBezTo>
                  <a:cubicBezTo>
                    <a:pt x="32000" y="48750"/>
                    <a:pt x="33600" y="50000"/>
                    <a:pt x="35200" y="52500"/>
                  </a:cubicBezTo>
                  <a:cubicBezTo>
                    <a:pt x="36000" y="53750"/>
                    <a:pt x="36000" y="55000"/>
                    <a:pt x="36800" y="56250"/>
                  </a:cubicBezTo>
                  <a:cubicBezTo>
                    <a:pt x="37600" y="57500"/>
                    <a:pt x="38400" y="57500"/>
                    <a:pt x="39200" y="60000"/>
                  </a:cubicBezTo>
                  <a:cubicBezTo>
                    <a:pt x="40800" y="61250"/>
                    <a:pt x="41600" y="63750"/>
                    <a:pt x="43200" y="66250"/>
                  </a:cubicBezTo>
                  <a:cubicBezTo>
                    <a:pt x="44000" y="67500"/>
                    <a:pt x="44800" y="68750"/>
                    <a:pt x="45600" y="70000"/>
                  </a:cubicBezTo>
                  <a:cubicBezTo>
                    <a:pt x="46400" y="72500"/>
                    <a:pt x="44800" y="72500"/>
                    <a:pt x="44800" y="73750"/>
                  </a:cubicBezTo>
                  <a:cubicBezTo>
                    <a:pt x="44800" y="75000"/>
                    <a:pt x="47200" y="73750"/>
                    <a:pt x="47200" y="76250"/>
                  </a:cubicBezTo>
                  <a:cubicBezTo>
                    <a:pt x="46400" y="78750"/>
                    <a:pt x="45600" y="78750"/>
                    <a:pt x="46400" y="81250"/>
                  </a:cubicBezTo>
                  <a:cubicBezTo>
                    <a:pt x="46400" y="81250"/>
                    <a:pt x="44800" y="83750"/>
                    <a:pt x="45600" y="85000"/>
                  </a:cubicBezTo>
                  <a:cubicBezTo>
                    <a:pt x="46400" y="86250"/>
                    <a:pt x="47200" y="88750"/>
                    <a:pt x="48000" y="90000"/>
                  </a:cubicBezTo>
                  <a:cubicBezTo>
                    <a:pt x="48800" y="91250"/>
                    <a:pt x="49600" y="91250"/>
                    <a:pt x="50400" y="91250"/>
                  </a:cubicBezTo>
                  <a:cubicBezTo>
                    <a:pt x="52800" y="92500"/>
                    <a:pt x="52800" y="95000"/>
                    <a:pt x="54400" y="96250"/>
                  </a:cubicBezTo>
                  <a:cubicBezTo>
                    <a:pt x="56800" y="98750"/>
                    <a:pt x="60000" y="98750"/>
                    <a:pt x="61600" y="101250"/>
                  </a:cubicBezTo>
                  <a:cubicBezTo>
                    <a:pt x="64800" y="103750"/>
                    <a:pt x="68000" y="106250"/>
                    <a:pt x="71200" y="107500"/>
                  </a:cubicBezTo>
                  <a:cubicBezTo>
                    <a:pt x="73600" y="110000"/>
                    <a:pt x="77600" y="112500"/>
                    <a:pt x="80800" y="113750"/>
                  </a:cubicBezTo>
                  <a:cubicBezTo>
                    <a:pt x="84000" y="113750"/>
                    <a:pt x="86400" y="108750"/>
                    <a:pt x="90400" y="110000"/>
                  </a:cubicBezTo>
                  <a:cubicBezTo>
                    <a:pt x="93600" y="111250"/>
                    <a:pt x="96000" y="116250"/>
                    <a:pt x="98400" y="120000"/>
                  </a:cubicBezTo>
                  <a:cubicBezTo>
                    <a:pt x="98400" y="118750"/>
                    <a:pt x="99200" y="112500"/>
                    <a:pt x="100800" y="111250"/>
                  </a:cubicBezTo>
                  <a:cubicBezTo>
                    <a:pt x="101600" y="111250"/>
                    <a:pt x="100000" y="111250"/>
                    <a:pt x="100800" y="11125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39" name="Shape 2513">
              <a:extLst>
                <a:ext uri="{FF2B5EF4-FFF2-40B4-BE49-F238E27FC236}">
                  <a16:creationId xmlns:a16="http://schemas.microsoft.com/office/drawing/2014/main" id="{DBEA59BE-3FCB-E845-99E6-DAECE81C66EA}"/>
                </a:ext>
              </a:extLst>
            </p:cNvPr>
            <p:cNvSpPr/>
            <p:nvPr/>
          </p:nvSpPr>
          <p:spPr>
            <a:xfrm>
              <a:off x="7531389" y="8287652"/>
              <a:ext cx="280255" cy="149719"/>
            </a:xfrm>
            <a:custGeom>
              <a:avLst/>
              <a:gdLst/>
              <a:ahLst/>
              <a:cxnLst/>
              <a:rect l="0" t="0" r="0" b="0"/>
              <a:pathLst>
                <a:path w="120000" h="120000" extrusionOk="0">
                  <a:moveTo>
                    <a:pt x="48000" y="112500"/>
                  </a:moveTo>
                  <a:cubicBezTo>
                    <a:pt x="52000" y="112500"/>
                    <a:pt x="52000" y="105000"/>
                    <a:pt x="52000" y="97500"/>
                  </a:cubicBezTo>
                  <a:cubicBezTo>
                    <a:pt x="52000" y="90000"/>
                    <a:pt x="60000" y="82500"/>
                    <a:pt x="64000" y="82500"/>
                  </a:cubicBezTo>
                  <a:cubicBezTo>
                    <a:pt x="72000" y="75000"/>
                    <a:pt x="72000" y="90000"/>
                    <a:pt x="80000" y="75000"/>
                  </a:cubicBezTo>
                  <a:cubicBezTo>
                    <a:pt x="84000" y="67500"/>
                    <a:pt x="88000" y="45000"/>
                    <a:pt x="96000" y="52500"/>
                  </a:cubicBezTo>
                  <a:cubicBezTo>
                    <a:pt x="108000" y="52500"/>
                    <a:pt x="108000" y="45000"/>
                    <a:pt x="120000" y="37500"/>
                  </a:cubicBezTo>
                  <a:cubicBezTo>
                    <a:pt x="104000" y="22500"/>
                    <a:pt x="100000" y="0"/>
                    <a:pt x="80000" y="7500"/>
                  </a:cubicBezTo>
                  <a:cubicBezTo>
                    <a:pt x="72000" y="7500"/>
                    <a:pt x="64000" y="15000"/>
                    <a:pt x="56000" y="15000"/>
                  </a:cubicBezTo>
                  <a:cubicBezTo>
                    <a:pt x="48000" y="15000"/>
                    <a:pt x="40000" y="7500"/>
                    <a:pt x="32000" y="7500"/>
                  </a:cubicBezTo>
                  <a:cubicBezTo>
                    <a:pt x="20000" y="15000"/>
                    <a:pt x="16000" y="15000"/>
                    <a:pt x="8000" y="30000"/>
                  </a:cubicBezTo>
                  <a:cubicBezTo>
                    <a:pt x="8000" y="37500"/>
                    <a:pt x="0" y="52500"/>
                    <a:pt x="4000" y="67500"/>
                  </a:cubicBezTo>
                  <a:cubicBezTo>
                    <a:pt x="16000" y="82500"/>
                    <a:pt x="32000" y="67500"/>
                    <a:pt x="32000" y="105000"/>
                  </a:cubicBezTo>
                  <a:cubicBezTo>
                    <a:pt x="32000" y="105000"/>
                    <a:pt x="40000" y="105000"/>
                    <a:pt x="40000" y="105000"/>
                  </a:cubicBezTo>
                  <a:cubicBezTo>
                    <a:pt x="40000" y="105000"/>
                    <a:pt x="36000" y="120000"/>
                    <a:pt x="36000" y="120000"/>
                  </a:cubicBezTo>
                  <a:cubicBezTo>
                    <a:pt x="40000" y="120000"/>
                    <a:pt x="48000" y="120000"/>
                    <a:pt x="48000" y="1125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40" name="Shape 2514">
              <a:extLst>
                <a:ext uri="{FF2B5EF4-FFF2-40B4-BE49-F238E27FC236}">
                  <a16:creationId xmlns:a16="http://schemas.microsoft.com/office/drawing/2014/main" id="{DD248218-95EA-8948-8F9F-3C29AD42EC32}"/>
                </a:ext>
              </a:extLst>
            </p:cNvPr>
            <p:cNvSpPr/>
            <p:nvPr/>
          </p:nvSpPr>
          <p:spPr>
            <a:xfrm>
              <a:off x="7531389" y="8163413"/>
              <a:ext cx="66878" cy="140163"/>
            </a:xfrm>
            <a:custGeom>
              <a:avLst/>
              <a:gdLst/>
              <a:ahLst/>
              <a:cxnLst/>
              <a:rect l="0" t="0" r="0" b="0"/>
              <a:pathLst>
                <a:path w="120000" h="120000" extrusionOk="0">
                  <a:moveTo>
                    <a:pt x="85714" y="8000"/>
                  </a:moveTo>
                  <a:cubicBezTo>
                    <a:pt x="68571" y="0"/>
                    <a:pt x="34285" y="24000"/>
                    <a:pt x="34285" y="32000"/>
                  </a:cubicBezTo>
                  <a:cubicBezTo>
                    <a:pt x="17142" y="40000"/>
                    <a:pt x="17142" y="32000"/>
                    <a:pt x="17142" y="48000"/>
                  </a:cubicBezTo>
                  <a:cubicBezTo>
                    <a:pt x="17142" y="56000"/>
                    <a:pt x="0" y="120000"/>
                    <a:pt x="34285" y="112000"/>
                  </a:cubicBezTo>
                  <a:cubicBezTo>
                    <a:pt x="34285" y="104000"/>
                    <a:pt x="85714" y="80000"/>
                    <a:pt x="102857" y="64000"/>
                  </a:cubicBezTo>
                  <a:cubicBezTo>
                    <a:pt x="102857" y="40000"/>
                    <a:pt x="102857" y="32000"/>
                    <a:pt x="119999" y="16000"/>
                  </a:cubicBezTo>
                  <a:cubicBezTo>
                    <a:pt x="119999" y="8000"/>
                    <a:pt x="102857" y="8000"/>
                    <a:pt x="85714" y="8000"/>
                  </a:cubicBezTo>
                  <a:cubicBezTo>
                    <a:pt x="68571" y="0"/>
                    <a:pt x="102857" y="8000"/>
                    <a:pt x="85714" y="8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41" name="Shape 2515">
              <a:extLst>
                <a:ext uri="{FF2B5EF4-FFF2-40B4-BE49-F238E27FC236}">
                  <a16:creationId xmlns:a16="http://schemas.microsoft.com/office/drawing/2014/main" id="{BBF609DE-F318-CD4C-B1EC-B562FBABFC44}"/>
                </a:ext>
              </a:extLst>
            </p:cNvPr>
            <p:cNvSpPr/>
            <p:nvPr/>
          </p:nvSpPr>
          <p:spPr>
            <a:xfrm>
              <a:off x="8232021" y="8080588"/>
              <a:ext cx="121017" cy="101936"/>
            </a:xfrm>
            <a:custGeom>
              <a:avLst/>
              <a:gdLst/>
              <a:ahLst/>
              <a:cxnLst/>
              <a:rect l="0" t="0" r="0" b="0"/>
              <a:pathLst>
                <a:path w="120000" h="120000" extrusionOk="0">
                  <a:moveTo>
                    <a:pt x="110769" y="32727"/>
                  </a:moveTo>
                  <a:cubicBezTo>
                    <a:pt x="92307" y="32727"/>
                    <a:pt x="73846" y="0"/>
                    <a:pt x="55384" y="10909"/>
                  </a:cubicBezTo>
                  <a:cubicBezTo>
                    <a:pt x="27692" y="21818"/>
                    <a:pt x="64615" y="32727"/>
                    <a:pt x="64615" y="54545"/>
                  </a:cubicBezTo>
                  <a:cubicBezTo>
                    <a:pt x="73846" y="65454"/>
                    <a:pt x="92307" y="87272"/>
                    <a:pt x="83076" y="98181"/>
                  </a:cubicBezTo>
                  <a:cubicBezTo>
                    <a:pt x="73846" y="109090"/>
                    <a:pt x="64615" y="109090"/>
                    <a:pt x="55384" y="109090"/>
                  </a:cubicBezTo>
                  <a:cubicBezTo>
                    <a:pt x="36923" y="98181"/>
                    <a:pt x="55384" y="98181"/>
                    <a:pt x="46153" y="87272"/>
                  </a:cubicBezTo>
                  <a:cubicBezTo>
                    <a:pt x="46153" y="87272"/>
                    <a:pt x="0" y="98181"/>
                    <a:pt x="0" y="98181"/>
                  </a:cubicBezTo>
                  <a:cubicBezTo>
                    <a:pt x="0" y="120000"/>
                    <a:pt x="18461" y="120000"/>
                    <a:pt x="27692" y="120000"/>
                  </a:cubicBezTo>
                  <a:cubicBezTo>
                    <a:pt x="55384" y="109090"/>
                    <a:pt x="83076" y="120000"/>
                    <a:pt x="120000" y="120000"/>
                  </a:cubicBezTo>
                  <a:cubicBezTo>
                    <a:pt x="120000" y="87272"/>
                    <a:pt x="110769" y="54545"/>
                    <a:pt x="110769" y="32727"/>
                  </a:cubicBezTo>
                  <a:cubicBezTo>
                    <a:pt x="101538" y="32727"/>
                    <a:pt x="110769" y="54545"/>
                    <a:pt x="110769" y="32727"/>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42" name="Shape 2516">
              <a:extLst>
                <a:ext uri="{FF2B5EF4-FFF2-40B4-BE49-F238E27FC236}">
                  <a16:creationId xmlns:a16="http://schemas.microsoft.com/office/drawing/2014/main" id="{3E8BE2A5-D8C3-8D42-B575-4A4551DD29D9}"/>
                </a:ext>
              </a:extLst>
            </p:cNvPr>
            <p:cNvSpPr/>
            <p:nvPr/>
          </p:nvSpPr>
          <p:spPr>
            <a:xfrm>
              <a:off x="8343488" y="8080588"/>
              <a:ext cx="168790" cy="140163"/>
            </a:xfrm>
            <a:custGeom>
              <a:avLst/>
              <a:gdLst/>
              <a:ahLst/>
              <a:cxnLst/>
              <a:rect l="0" t="0" r="0" b="0"/>
              <a:pathLst>
                <a:path w="120000" h="120000" extrusionOk="0">
                  <a:moveTo>
                    <a:pt x="93333" y="56000"/>
                  </a:moveTo>
                  <a:cubicBezTo>
                    <a:pt x="80000" y="48000"/>
                    <a:pt x="66666" y="32000"/>
                    <a:pt x="53333" y="24000"/>
                  </a:cubicBezTo>
                  <a:cubicBezTo>
                    <a:pt x="46666" y="16000"/>
                    <a:pt x="13333" y="0"/>
                    <a:pt x="6666" y="8000"/>
                  </a:cubicBezTo>
                  <a:cubicBezTo>
                    <a:pt x="6666" y="8000"/>
                    <a:pt x="20000" y="24000"/>
                    <a:pt x="0" y="24000"/>
                  </a:cubicBezTo>
                  <a:cubicBezTo>
                    <a:pt x="0" y="40000"/>
                    <a:pt x="6666" y="56000"/>
                    <a:pt x="6666" y="80000"/>
                  </a:cubicBezTo>
                  <a:cubicBezTo>
                    <a:pt x="6666" y="88000"/>
                    <a:pt x="6666" y="88000"/>
                    <a:pt x="13333" y="96000"/>
                  </a:cubicBezTo>
                  <a:cubicBezTo>
                    <a:pt x="20000" y="120000"/>
                    <a:pt x="20000" y="88000"/>
                    <a:pt x="26666" y="80000"/>
                  </a:cubicBezTo>
                  <a:cubicBezTo>
                    <a:pt x="40000" y="64000"/>
                    <a:pt x="73333" y="80000"/>
                    <a:pt x="86666" y="80000"/>
                  </a:cubicBezTo>
                  <a:cubicBezTo>
                    <a:pt x="100000" y="80000"/>
                    <a:pt x="100000" y="88000"/>
                    <a:pt x="113333" y="80000"/>
                  </a:cubicBezTo>
                  <a:cubicBezTo>
                    <a:pt x="120000" y="64000"/>
                    <a:pt x="113333" y="56000"/>
                    <a:pt x="93333" y="56000"/>
                  </a:cubicBezTo>
                  <a:cubicBezTo>
                    <a:pt x="80000" y="56000"/>
                    <a:pt x="106666" y="56000"/>
                    <a:pt x="93333" y="56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43" name="Shape 2517">
              <a:extLst>
                <a:ext uri="{FF2B5EF4-FFF2-40B4-BE49-F238E27FC236}">
                  <a16:creationId xmlns:a16="http://schemas.microsoft.com/office/drawing/2014/main" id="{297793BB-1F24-D044-9B54-266575A453D5}"/>
                </a:ext>
              </a:extLst>
            </p:cNvPr>
            <p:cNvSpPr/>
            <p:nvPr/>
          </p:nvSpPr>
          <p:spPr>
            <a:xfrm>
              <a:off x="3843490" y="4965125"/>
              <a:ext cx="1812103" cy="1216876"/>
            </a:xfrm>
            <a:custGeom>
              <a:avLst/>
              <a:gdLst/>
              <a:ahLst/>
              <a:cxnLst/>
              <a:rect l="0" t="0" r="0" b="0"/>
              <a:pathLst>
                <a:path w="120000" h="120000" extrusionOk="0">
                  <a:moveTo>
                    <a:pt x="120000" y="116307"/>
                  </a:moveTo>
                  <a:cubicBezTo>
                    <a:pt x="119381" y="115384"/>
                    <a:pt x="118144" y="115384"/>
                    <a:pt x="119381" y="113538"/>
                  </a:cubicBezTo>
                  <a:cubicBezTo>
                    <a:pt x="119381" y="112615"/>
                    <a:pt x="118762" y="112615"/>
                    <a:pt x="118144" y="112615"/>
                  </a:cubicBezTo>
                  <a:cubicBezTo>
                    <a:pt x="116907" y="110769"/>
                    <a:pt x="114432" y="109846"/>
                    <a:pt x="113814" y="108923"/>
                  </a:cubicBezTo>
                  <a:cubicBezTo>
                    <a:pt x="111340" y="104307"/>
                    <a:pt x="110103" y="98769"/>
                    <a:pt x="107628" y="95076"/>
                  </a:cubicBezTo>
                  <a:cubicBezTo>
                    <a:pt x="106391" y="94153"/>
                    <a:pt x="105154" y="92307"/>
                    <a:pt x="104536" y="91384"/>
                  </a:cubicBezTo>
                  <a:cubicBezTo>
                    <a:pt x="103298" y="90461"/>
                    <a:pt x="103298" y="87692"/>
                    <a:pt x="102061" y="87692"/>
                  </a:cubicBezTo>
                  <a:cubicBezTo>
                    <a:pt x="101443" y="87692"/>
                    <a:pt x="99587" y="89538"/>
                    <a:pt x="99587" y="89538"/>
                  </a:cubicBezTo>
                  <a:cubicBezTo>
                    <a:pt x="100206" y="91384"/>
                    <a:pt x="98350" y="92307"/>
                    <a:pt x="97731" y="92307"/>
                  </a:cubicBezTo>
                  <a:cubicBezTo>
                    <a:pt x="95876" y="93230"/>
                    <a:pt x="94020" y="89538"/>
                    <a:pt x="92783" y="87692"/>
                  </a:cubicBezTo>
                  <a:cubicBezTo>
                    <a:pt x="92164" y="86769"/>
                    <a:pt x="91546" y="86769"/>
                    <a:pt x="90927" y="84923"/>
                  </a:cubicBezTo>
                  <a:cubicBezTo>
                    <a:pt x="90309" y="83076"/>
                    <a:pt x="89072" y="84000"/>
                    <a:pt x="88453" y="84923"/>
                  </a:cubicBezTo>
                  <a:cubicBezTo>
                    <a:pt x="87216" y="84923"/>
                    <a:pt x="87216" y="84000"/>
                    <a:pt x="85979" y="84923"/>
                  </a:cubicBezTo>
                  <a:cubicBezTo>
                    <a:pt x="85979" y="84923"/>
                    <a:pt x="85360" y="84923"/>
                    <a:pt x="85360" y="84000"/>
                  </a:cubicBezTo>
                  <a:cubicBezTo>
                    <a:pt x="85360" y="83076"/>
                    <a:pt x="85360" y="83076"/>
                    <a:pt x="85360" y="82153"/>
                  </a:cubicBezTo>
                  <a:cubicBezTo>
                    <a:pt x="85360" y="78461"/>
                    <a:pt x="85360" y="73846"/>
                    <a:pt x="85360" y="70153"/>
                  </a:cubicBezTo>
                  <a:cubicBezTo>
                    <a:pt x="85360" y="59076"/>
                    <a:pt x="85360" y="47076"/>
                    <a:pt x="85360" y="35076"/>
                  </a:cubicBezTo>
                  <a:cubicBezTo>
                    <a:pt x="85360" y="30461"/>
                    <a:pt x="85360" y="24923"/>
                    <a:pt x="85360" y="19384"/>
                  </a:cubicBezTo>
                  <a:cubicBezTo>
                    <a:pt x="85360" y="18461"/>
                    <a:pt x="85360" y="16615"/>
                    <a:pt x="85360" y="14769"/>
                  </a:cubicBezTo>
                  <a:cubicBezTo>
                    <a:pt x="85360" y="13846"/>
                    <a:pt x="84742" y="13846"/>
                    <a:pt x="83505" y="12923"/>
                  </a:cubicBezTo>
                  <a:cubicBezTo>
                    <a:pt x="80412" y="11076"/>
                    <a:pt x="78556" y="11076"/>
                    <a:pt x="75463" y="11076"/>
                  </a:cubicBezTo>
                  <a:cubicBezTo>
                    <a:pt x="72371" y="11076"/>
                    <a:pt x="69896" y="10153"/>
                    <a:pt x="66804" y="9230"/>
                  </a:cubicBezTo>
                  <a:cubicBezTo>
                    <a:pt x="63092" y="9230"/>
                    <a:pt x="60000" y="7384"/>
                    <a:pt x="56907" y="7384"/>
                  </a:cubicBezTo>
                  <a:cubicBezTo>
                    <a:pt x="55051" y="7384"/>
                    <a:pt x="53814" y="8307"/>
                    <a:pt x="51958" y="7384"/>
                  </a:cubicBezTo>
                  <a:cubicBezTo>
                    <a:pt x="51958" y="7384"/>
                    <a:pt x="49484" y="6461"/>
                    <a:pt x="49484" y="6461"/>
                  </a:cubicBezTo>
                  <a:cubicBezTo>
                    <a:pt x="49484" y="6461"/>
                    <a:pt x="50103" y="4615"/>
                    <a:pt x="50103" y="3692"/>
                  </a:cubicBezTo>
                  <a:cubicBezTo>
                    <a:pt x="50103" y="3692"/>
                    <a:pt x="48247" y="3692"/>
                    <a:pt x="48247" y="3692"/>
                  </a:cubicBezTo>
                  <a:cubicBezTo>
                    <a:pt x="47010" y="3692"/>
                    <a:pt x="45154" y="4615"/>
                    <a:pt x="43917" y="4615"/>
                  </a:cubicBezTo>
                  <a:cubicBezTo>
                    <a:pt x="42680" y="4615"/>
                    <a:pt x="43298" y="923"/>
                    <a:pt x="41443" y="2769"/>
                  </a:cubicBezTo>
                  <a:cubicBezTo>
                    <a:pt x="40824" y="2769"/>
                    <a:pt x="40206" y="4615"/>
                    <a:pt x="39587" y="3692"/>
                  </a:cubicBezTo>
                  <a:cubicBezTo>
                    <a:pt x="38350" y="3692"/>
                    <a:pt x="38350" y="2769"/>
                    <a:pt x="39587" y="1846"/>
                  </a:cubicBezTo>
                  <a:cubicBezTo>
                    <a:pt x="40824" y="1846"/>
                    <a:pt x="38969" y="923"/>
                    <a:pt x="38350" y="923"/>
                  </a:cubicBezTo>
                  <a:cubicBezTo>
                    <a:pt x="35876" y="0"/>
                    <a:pt x="35876" y="923"/>
                    <a:pt x="34639" y="2769"/>
                  </a:cubicBezTo>
                  <a:cubicBezTo>
                    <a:pt x="32783" y="5538"/>
                    <a:pt x="30309" y="3692"/>
                    <a:pt x="27835" y="4615"/>
                  </a:cubicBezTo>
                  <a:cubicBezTo>
                    <a:pt x="25360" y="5538"/>
                    <a:pt x="27835" y="7384"/>
                    <a:pt x="27835" y="7384"/>
                  </a:cubicBezTo>
                  <a:cubicBezTo>
                    <a:pt x="27216" y="7384"/>
                    <a:pt x="26597" y="7384"/>
                    <a:pt x="26597" y="7384"/>
                  </a:cubicBezTo>
                  <a:cubicBezTo>
                    <a:pt x="26597" y="7384"/>
                    <a:pt x="27216" y="9230"/>
                    <a:pt x="26597" y="9230"/>
                  </a:cubicBezTo>
                  <a:cubicBezTo>
                    <a:pt x="25979" y="9230"/>
                    <a:pt x="25979" y="7384"/>
                    <a:pt x="25979" y="6461"/>
                  </a:cubicBezTo>
                  <a:cubicBezTo>
                    <a:pt x="25360" y="6461"/>
                    <a:pt x="23505" y="9230"/>
                    <a:pt x="23505" y="9230"/>
                  </a:cubicBezTo>
                  <a:cubicBezTo>
                    <a:pt x="22268" y="10153"/>
                    <a:pt x="21030" y="8307"/>
                    <a:pt x="19793" y="10153"/>
                  </a:cubicBezTo>
                  <a:cubicBezTo>
                    <a:pt x="18556" y="11076"/>
                    <a:pt x="17319" y="12000"/>
                    <a:pt x="16701" y="13846"/>
                  </a:cubicBezTo>
                  <a:cubicBezTo>
                    <a:pt x="16701" y="15692"/>
                    <a:pt x="16701" y="17538"/>
                    <a:pt x="15463" y="18461"/>
                  </a:cubicBezTo>
                  <a:cubicBezTo>
                    <a:pt x="14226" y="19384"/>
                    <a:pt x="13608" y="20307"/>
                    <a:pt x="12371" y="20307"/>
                  </a:cubicBezTo>
                  <a:cubicBezTo>
                    <a:pt x="11752" y="20307"/>
                    <a:pt x="8041" y="20307"/>
                    <a:pt x="7422" y="21230"/>
                  </a:cubicBezTo>
                  <a:cubicBezTo>
                    <a:pt x="7422" y="22153"/>
                    <a:pt x="6185" y="24923"/>
                    <a:pt x="6185" y="24923"/>
                  </a:cubicBezTo>
                  <a:cubicBezTo>
                    <a:pt x="6804" y="25846"/>
                    <a:pt x="8659" y="25846"/>
                    <a:pt x="9278" y="26769"/>
                  </a:cubicBezTo>
                  <a:cubicBezTo>
                    <a:pt x="11134" y="27692"/>
                    <a:pt x="12989" y="29538"/>
                    <a:pt x="14226" y="31384"/>
                  </a:cubicBezTo>
                  <a:cubicBezTo>
                    <a:pt x="14845" y="32307"/>
                    <a:pt x="14845" y="34153"/>
                    <a:pt x="16082" y="35076"/>
                  </a:cubicBezTo>
                  <a:cubicBezTo>
                    <a:pt x="17319" y="35076"/>
                    <a:pt x="17938" y="35076"/>
                    <a:pt x="19175" y="34153"/>
                  </a:cubicBezTo>
                  <a:cubicBezTo>
                    <a:pt x="19175" y="34153"/>
                    <a:pt x="21030" y="35076"/>
                    <a:pt x="21030" y="35076"/>
                  </a:cubicBezTo>
                  <a:cubicBezTo>
                    <a:pt x="22268" y="37846"/>
                    <a:pt x="19175" y="36000"/>
                    <a:pt x="19175" y="36000"/>
                  </a:cubicBezTo>
                  <a:cubicBezTo>
                    <a:pt x="17938" y="36000"/>
                    <a:pt x="19793" y="37846"/>
                    <a:pt x="20412" y="38769"/>
                  </a:cubicBezTo>
                  <a:cubicBezTo>
                    <a:pt x="21030" y="40615"/>
                    <a:pt x="21649" y="39692"/>
                    <a:pt x="22886" y="38769"/>
                  </a:cubicBezTo>
                  <a:cubicBezTo>
                    <a:pt x="23505" y="37846"/>
                    <a:pt x="25360" y="37846"/>
                    <a:pt x="25979" y="38769"/>
                  </a:cubicBezTo>
                  <a:cubicBezTo>
                    <a:pt x="26597" y="39692"/>
                    <a:pt x="23505" y="40615"/>
                    <a:pt x="23505" y="40615"/>
                  </a:cubicBezTo>
                  <a:cubicBezTo>
                    <a:pt x="22886" y="40615"/>
                    <a:pt x="23505" y="40615"/>
                    <a:pt x="23505" y="41538"/>
                  </a:cubicBezTo>
                  <a:cubicBezTo>
                    <a:pt x="23505" y="42461"/>
                    <a:pt x="22268" y="41538"/>
                    <a:pt x="22268" y="41538"/>
                  </a:cubicBezTo>
                  <a:cubicBezTo>
                    <a:pt x="21649" y="41538"/>
                    <a:pt x="21030" y="42461"/>
                    <a:pt x="19793" y="42461"/>
                  </a:cubicBezTo>
                  <a:cubicBezTo>
                    <a:pt x="18556" y="42461"/>
                    <a:pt x="16082" y="43384"/>
                    <a:pt x="14845" y="42461"/>
                  </a:cubicBezTo>
                  <a:cubicBezTo>
                    <a:pt x="13608" y="41538"/>
                    <a:pt x="15463" y="39692"/>
                    <a:pt x="14845" y="38769"/>
                  </a:cubicBezTo>
                  <a:cubicBezTo>
                    <a:pt x="14226" y="38769"/>
                    <a:pt x="12989" y="38769"/>
                    <a:pt x="12371" y="39692"/>
                  </a:cubicBezTo>
                  <a:cubicBezTo>
                    <a:pt x="11752" y="39692"/>
                    <a:pt x="10515" y="39692"/>
                    <a:pt x="9896" y="39692"/>
                  </a:cubicBezTo>
                  <a:cubicBezTo>
                    <a:pt x="8659" y="40615"/>
                    <a:pt x="9278" y="42461"/>
                    <a:pt x="9278" y="42461"/>
                  </a:cubicBezTo>
                  <a:cubicBezTo>
                    <a:pt x="8041" y="42461"/>
                    <a:pt x="6804" y="41538"/>
                    <a:pt x="5567" y="42461"/>
                  </a:cubicBezTo>
                  <a:cubicBezTo>
                    <a:pt x="4948" y="43384"/>
                    <a:pt x="3711" y="44307"/>
                    <a:pt x="3092" y="45230"/>
                  </a:cubicBezTo>
                  <a:cubicBezTo>
                    <a:pt x="0" y="48000"/>
                    <a:pt x="7422" y="48000"/>
                    <a:pt x="7422" y="48923"/>
                  </a:cubicBezTo>
                  <a:cubicBezTo>
                    <a:pt x="6804" y="49846"/>
                    <a:pt x="4948" y="49846"/>
                    <a:pt x="6185" y="50769"/>
                  </a:cubicBezTo>
                  <a:cubicBezTo>
                    <a:pt x="6804" y="51692"/>
                    <a:pt x="6804" y="53538"/>
                    <a:pt x="7422" y="53538"/>
                  </a:cubicBezTo>
                  <a:cubicBezTo>
                    <a:pt x="9896" y="54461"/>
                    <a:pt x="11752" y="53538"/>
                    <a:pt x="14226" y="53538"/>
                  </a:cubicBezTo>
                  <a:cubicBezTo>
                    <a:pt x="14845" y="54461"/>
                    <a:pt x="15463" y="54461"/>
                    <a:pt x="16082" y="54461"/>
                  </a:cubicBezTo>
                  <a:cubicBezTo>
                    <a:pt x="17319" y="54461"/>
                    <a:pt x="16701" y="54461"/>
                    <a:pt x="17938" y="55384"/>
                  </a:cubicBezTo>
                  <a:cubicBezTo>
                    <a:pt x="17938" y="55384"/>
                    <a:pt x="19175" y="53538"/>
                    <a:pt x="19793" y="53538"/>
                  </a:cubicBezTo>
                  <a:cubicBezTo>
                    <a:pt x="20412" y="52615"/>
                    <a:pt x="21030" y="52615"/>
                    <a:pt x="21649" y="52615"/>
                  </a:cubicBezTo>
                  <a:cubicBezTo>
                    <a:pt x="22268" y="51692"/>
                    <a:pt x="22886" y="50769"/>
                    <a:pt x="22886" y="50769"/>
                  </a:cubicBezTo>
                  <a:cubicBezTo>
                    <a:pt x="23505" y="51692"/>
                    <a:pt x="24123" y="52615"/>
                    <a:pt x="23505" y="53538"/>
                  </a:cubicBezTo>
                  <a:cubicBezTo>
                    <a:pt x="22886" y="54461"/>
                    <a:pt x="22268" y="54461"/>
                    <a:pt x="23505" y="56307"/>
                  </a:cubicBezTo>
                  <a:cubicBezTo>
                    <a:pt x="24742" y="60000"/>
                    <a:pt x="23505" y="62769"/>
                    <a:pt x="20412" y="61846"/>
                  </a:cubicBezTo>
                  <a:cubicBezTo>
                    <a:pt x="20412" y="61846"/>
                    <a:pt x="19793" y="60923"/>
                    <a:pt x="19175" y="61846"/>
                  </a:cubicBezTo>
                  <a:cubicBezTo>
                    <a:pt x="18556" y="62769"/>
                    <a:pt x="17938" y="64615"/>
                    <a:pt x="17319" y="64615"/>
                  </a:cubicBezTo>
                  <a:cubicBezTo>
                    <a:pt x="16082" y="65538"/>
                    <a:pt x="12371" y="62769"/>
                    <a:pt x="12989" y="65538"/>
                  </a:cubicBezTo>
                  <a:cubicBezTo>
                    <a:pt x="12989" y="65538"/>
                    <a:pt x="11134" y="67384"/>
                    <a:pt x="11752" y="67384"/>
                  </a:cubicBezTo>
                  <a:cubicBezTo>
                    <a:pt x="11752" y="67384"/>
                    <a:pt x="12371" y="67384"/>
                    <a:pt x="12371" y="67384"/>
                  </a:cubicBezTo>
                  <a:cubicBezTo>
                    <a:pt x="12989" y="68307"/>
                    <a:pt x="11134" y="69230"/>
                    <a:pt x="10515" y="70153"/>
                  </a:cubicBezTo>
                  <a:cubicBezTo>
                    <a:pt x="9896" y="70153"/>
                    <a:pt x="9278" y="71076"/>
                    <a:pt x="9278" y="72000"/>
                  </a:cubicBezTo>
                  <a:cubicBezTo>
                    <a:pt x="8659" y="73846"/>
                    <a:pt x="9896" y="73846"/>
                    <a:pt x="8659" y="74769"/>
                  </a:cubicBezTo>
                  <a:cubicBezTo>
                    <a:pt x="7422" y="75692"/>
                    <a:pt x="8659" y="77538"/>
                    <a:pt x="9278" y="78461"/>
                  </a:cubicBezTo>
                  <a:cubicBezTo>
                    <a:pt x="9278" y="79384"/>
                    <a:pt x="11134" y="74769"/>
                    <a:pt x="11752" y="74769"/>
                  </a:cubicBezTo>
                  <a:cubicBezTo>
                    <a:pt x="11752" y="74769"/>
                    <a:pt x="10515" y="77538"/>
                    <a:pt x="10515" y="77538"/>
                  </a:cubicBezTo>
                  <a:cubicBezTo>
                    <a:pt x="9896" y="78461"/>
                    <a:pt x="11752" y="80307"/>
                    <a:pt x="12371" y="80307"/>
                  </a:cubicBezTo>
                  <a:cubicBezTo>
                    <a:pt x="12989" y="81230"/>
                    <a:pt x="12989" y="82153"/>
                    <a:pt x="13608" y="81230"/>
                  </a:cubicBezTo>
                  <a:cubicBezTo>
                    <a:pt x="14226" y="80307"/>
                    <a:pt x="14845" y="79384"/>
                    <a:pt x="14845" y="79384"/>
                  </a:cubicBezTo>
                  <a:cubicBezTo>
                    <a:pt x="14845" y="80307"/>
                    <a:pt x="15463" y="82153"/>
                    <a:pt x="16082" y="82153"/>
                  </a:cubicBezTo>
                  <a:cubicBezTo>
                    <a:pt x="14845" y="83076"/>
                    <a:pt x="14226" y="82153"/>
                    <a:pt x="13608" y="82153"/>
                  </a:cubicBezTo>
                  <a:cubicBezTo>
                    <a:pt x="12989" y="83076"/>
                    <a:pt x="12371" y="80307"/>
                    <a:pt x="11752" y="80307"/>
                  </a:cubicBezTo>
                  <a:cubicBezTo>
                    <a:pt x="11134" y="80307"/>
                    <a:pt x="9896" y="83076"/>
                    <a:pt x="11134" y="84000"/>
                  </a:cubicBezTo>
                  <a:cubicBezTo>
                    <a:pt x="12371" y="84923"/>
                    <a:pt x="12371" y="85846"/>
                    <a:pt x="13608" y="86769"/>
                  </a:cubicBezTo>
                  <a:cubicBezTo>
                    <a:pt x="14226" y="88615"/>
                    <a:pt x="15463" y="87692"/>
                    <a:pt x="16701" y="87692"/>
                  </a:cubicBezTo>
                  <a:cubicBezTo>
                    <a:pt x="17319" y="86769"/>
                    <a:pt x="18556" y="87692"/>
                    <a:pt x="18556" y="85846"/>
                  </a:cubicBezTo>
                  <a:cubicBezTo>
                    <a:pt x="18556" y="84000"/>
                    <a:pt x="19175" y="81230"/>
                    <a:pt x="20412" y="82153"/>
                  </a:cubicBezTo>
                  <a:cubicBezTo>
                    <a:pt x="20412" y="81230"/>
                    <a:pt x="19175" y="84923"/>
                    <a:pt x="19175" y="85846"/>
                  </a:cubicBezTo>
                  <a:cubicBezTo>
                    <a:pt x="19175" y="86769"/>
                    <a:pt x="21649" y="89538"/>
                    <a:pt x="21030" y="90461"/>
                  </a:cubicBezTo>
                  <a:cubicBezTo>
                    <a:pt x="19793" y="92307"/>
                    <a:pt x="21649" y="93230"/>
                    <a:pt x="21649" y="93230"/>
                  </a:cubicBezTo>
                  <a:cubicBezTo>
                    <a:pt x="21030" y="93230"/>
                    <a:pt x="19793" y="96000"/>
                    <a:pt x="19793" y="96000"/>
                  </a:cubicBezTo>
                  <a:cubicBezTo>
                    <a:pt x="20412" y="96923"/>
                    <a:pt x="23505" y="94153"/>
                    <a:pt x="23505" y="94153"/>
                  </a:cubicBezTo>
                  <a:cubicBezTo>
                    <a:pt x="23505" y="95076"/>
                    <a:pt x="22886" y="95076"/>
                    <a:pt x="22886" y="96000"/>
                  </a:cubicBezTo>
                  <a:cubicBezTo>
                    <a:pt x="22886" y="96000"/>
                    <a:pt x="24123" y="94153"/>
                    <a:pt x="24742" y="93230"/>
                  </a:cubicBezTo>
                  <a:cubicBezTo>
                    <a:pt x="25360" y="93230"/>
                    <a:pt x="27835" y="94153"/>
                    <a:pt x="27835" y="95076"/>
                  </a:cubicBezTo>
                  <a:cubicBezTo>
                    <a:pt x="28453" y="96000"/>
                    <a:pt x="29690" y="98769"/>
                    <a:pt x="29690" y="96923"/>
                  </a:cubicBezTo>
                  <a:cubicBezTo>
                    <a:pt x="29690" y="96000"/>
                    <a:pt x="30927" y="92307"/>
                    <a:pt x="30927" y="92307"/>
                  </a:cubicBezTo>
                  <a:cubicBezTo>
                    <a:pt x="30927" y="91384"/>
                    <a:pt x="32783" y="94153"/>
                    <a:pt x="32783" y="93230"/>
                  </a:cubicBezTo>
                  <a:cubicBezTo>
                    <a:pt x="32783" y="93230"/>
                    <a:pt x="30927" y="93230"/>
                    <a:pt x="30927" y="94153"/>
                  </a:cubicBezTo>
                  <a:cubicBezTo>
                    <a:pt x="30927" y="96000"/>
                    <a:pt x="32783" y="96000"/>
                    <a:pt x="33402" y="95076"/>
                  </a:cubicBezTo>
                  <a:cubicBezTo>
                    <a:pt x="34020" y="94153"/>
                    <a:pt x="34639" y="95076"/>
                    <a:pt x="35257" y="94153"/>
                  </a:cubicBezTo>
                  <a:cubicBezTo>
                    <a:pt x="35257" y="94153"/>
                    <a:pt x="36494" y="92307"/>
                    <a:pt x="36494" y="92307"/>
                  </a:cubicBezTo>
                  <a:cubicBezTo>
                    <a:pt x="36494" y="92307"/>
                    <a:pt x="35257" y="95076"/>
                    <a:pt x="34639" y="96000"/>
                  </a:cubicBezTo>
                  <a:cubicBezTo>
                    <a:pt x="34639" y="96923"/>
                    <a:pt x="34639" y="96923"/>
                    <a:pt x="34020" y="97846"/>
                  </a:cubicBezTo>
                  <a:cubicBezTo>
                    <a:pt x="34020" y="98769"/>
                    <a:pt x="34639" y="97846"/>
                    <a:pt x="34639" y="98769"/>
                  </a:cubicBezTo>
                  <a:cubicBezTo>
                    <a:pt x="34639" y="98769"/>
                    <a:pt x="34020" y="99692"/>
                    <a:pt x="33402" y="100615"/>
                  </a:cubicBezTo>
                  <a:cubicBezTo>
                    <a:pt x="33402" y="102461"/>
                    <a:pt x="33402" y="102461"/>
                    <a:pt x="34020" y="103384"/>
                  </a:cubicBezTo>
                  <a:cubicBezTo>
                    <a:pt x="34020" y="103384"/>
                    <a:pt x="32164" y="105230"/>
                    <a:pt x="31546" y="105230"/>
                  </a:cubicBezTo>
                  <a:cubicBezTo>
                    <a:pt x="30927" y="107076"/>
                    <a:pt x="30309" y="108000"/>
                    <a:pt x="29072" y="108923"/>
                  </a:cubicBezTo>
                  <a:cubicBezTo>
                    <a:pt x="27835" y="108923"/>
                    <a:pt x="26597" y="110769"/>
                    <a:pt x="25979" y="111692"/>
                  </a:cubicBezTo>
                  <a:cubicBezTo>
                    <a:pt x="25360" y="111692"/>
                    <a:pt x="25360" y="112615"/>
                    <a:pt x="24742" y="112615"/>
                  </a:cubicBezTo>
                  <a:cubicBezTo>
                    <a:pt x="24742" y="113538"/>
                    <a:pt x="25360" y="114461"/>
                    <a:pt x="25360" y="114461"/>
                  </a:cubicBezTo>
                  <a:cubicBezTo>
                    <a:pt x="24742" y="115384"/>
                    <a:pt x="22886" y="114461"/>
                    <a:pt x="22268" y="114461"/>
                  </a:cubicBezTo>
                  <a:cubicBezTo>
                    <a:pt x="20412" y="114461"/>
                    <a:pt x="19793" y="115384"/>
                    <a:pt x="18556" y="117230"/>
                  </a:cubicBezTo>
                  <a:cubicBezTo>
                    <a:pt x="17938" y="118153"/>
                    <a:pt x="18556" y="120000"/>
                    <a:pt x="19175" y="119076"/>
                  </a:cubicBezTo>
                  <a:cubicBezTo>
                    <a:pt x="20412" y="118153"/>
                    <a:pt x="21649" y="115384"/>
                    <a:pt x="22268" y="116307"/>
                  </a:cubicBezTo>
                  <a:cubicBezTo>
                    <a:pt x="22268" y="115384"/>
                    <a:pt x="21649" y="119076"/>
                    <a:pt x="23505" y="116307"/>
                  </a:cubicBezTo>
                  <a:cubicBezTo>
                    <a:pt x="23505" y="116307"/>
                    <a:pt x="24742" y="119076"/>
                    <a:pt x="25360" y="117230"/>
                  </a:cubicBezTo>
                  <a:cubicBezTo>
                    <a:pt x="25360" y="116307"/>
                    <a:pt x="24742" y="116307"/>
                    <a:pt x="25360" y="116307"/>
                  </a:cubicBezTo>
                  <a:cubicBezTo>
                    <a:pt x="25979" y="115384"/>
                    <a:pt x="25979" y="115384"/>
                    <a:pt x="26597" y="115384"/>
                  </a:cubicBezTo>
                  <a:cubicBezTo>
                    <a:pt x="27216" y="115384"/>
                    <a:pt x="27216" y="115384"/>
                    <a:pt x="27835" y="114461"/>
                  </a:cubicBezTo>
                  <a:cubicBezTo>
                    <a:pt x="28453" y="113538"/>
                    <a:pt x="29690" y="113538"/>
                    <a:pt x="30927" y="112615"/>
                  </a:cubicBezTo>
                  <a:cubicBezTo>
                    <a:pt x="32783" y="111692"/>
                    <a:pt x="30309" y="111692"/>
                    <a:pt x="31546" y="110769"/>
                  </a:cubicBezTo>
                  <a:cubicBezTo>
                    <a:pt x="32164" y="109846"/>
                    <a:pt x="32783" y="108923"/>
                    <a:pt x="33402" y="108923"/>
                  </a:cubicBezTo>
                  <a:cubicBezTo>
                    <a:pt x="34639" y="108000"/>
                    <a:pt x="35876" y="107076"/>
                    <a:pt x="36494" y="107076"/>
                  </a:cubicBezTo>
                  <a:cubicBezTo>
                    <a:pt x="38350" y="105230"/>
                    <a:pt x="37113" y="106153"/>
                    <a:pt x="37113" y="104307"/>
                  </a:cubicBezTo>
                  <a:cubicBezTo>
                    <a:pt x="37113" y="104307"/>
                    <a:pt x="42061" y="100615"/>
                    <a:pt x="42680" y="99692"/>
                  </a:cubicBezTo>
                  <a:cubicBezTo>
                    <a:pt x="43298" y="99692"/>
                    <a:pt x="44536" y="99692"/>
                    <a:pt x="44536" y="98769"/>
                  </a:cubicBezTo>
                  <a:cubicBezTo>
                    <a:pt x="44536" y="96000"/>
                    <a:pt x="45154" y="96923"/>
                    <a:pt x="46391" y="96000"/>
                  </a:cubicBezTo>
                  <a:cubicBezTo>
                    <a:pt x="48247" y="94153"/>
                    <a:pt x="42680" y="93230"/>
                    <a:pt x="45154" y="89538"/>
                  </a:cubicBezTo>
                  <a:cubicBezTo>
                    <a:pt x="46391" y="88615"/>
                    <a:pt x="47628" y="88615"/>
                    <a:pt x="48247" y="87692"/>
                  </a:cubicBezTo>
                  <a:cubicBezTo>
                    <a:pt x="48865" y="86769"/>
                    <a:pt x="48865" y="84000"/>
                    <a:pt x="47628" y="84000"/>
                  </a:cubicBezTo>
                  <a:cubicBezTo>
                    <a:pt x="48865" y="84000"/>
                    <a:pt x="48865" y="84923"/>
                    <a:pt x="50103" y="84000"/>
                  </a:cubicBezTo>
                  <a:cubicBezTo>
                    <a:pt x="50721" y="83076"/>
                    <a:pt x="51340" y="81230"/>
                    <a:pt x="52577" y="80307"/>
                  </a:cubicBezTo>
                  <a:cubicBezTo>
                    <a:pt x="53195" y="79384"/>
                    <a:pt x="54432" y="77538"/>
                    <a:pt x="55051" y="77538"/>
                  </a:cubicBezTo>
                  <a:cubicBezTo>
                    <a:pt x="55670" y="77538"/>
                    <a:pt x="58762" y="77538"/>
                    <a:pt x="58144" y="79384"/>
                  </a:cubicBezTo>
                  <a:cubicBezTo>
                    <a:pt x="57525" y="80307"/>
                    <a:pt x="56288" y="78461"/>
                    <a:pt x="55051" y="79384"/>
                  </a:cubicBezTo>
                  <a:cubicBezTo>
                    <a:pt x="53814" y="80307"/>
                    <a:pt x="53814" y="81230"/>
                    <a:pt x="53195" y="83076"/>
                  </a:cubicBezTo>
                  <a:cubicBezTo>
                    <a:pt x="53195" y="84923"/>
                    <a:pt x="51958" y="86769"/>
                    <a:pt x="51958" y="88615"/>
                  </a:cubicBezTo>
                  <a:cubicBezTo>
                    <a:pt x="51340" y="89538"/>
                    <a:pt x="53814" y="88615"/>
                    <a:pt x="53814" y="89538"/>
                  </a:cubicBezTo>
                  <a:cubicBezTo>
                    <a:pt x="53195" y="89538"/>
                    <a:pt x="50103" y="91384"/>
                    <a:pt x="52577" y="91384"/>
                  </a:cubicBezTo>
                  <a:cubicBezTo>
                    <a:pt x="54432" y="91384"/>
                    <a:pt x="55670" y="89538"/>
                    <a:pt x="57525" y="88615"/>
                  </a:cubicBezTo>
                  <a:cubicBezTo>
                    <a:pt x="58762" y="86769"/>
                    <a:pt x="60000" y="86769"/>
                    <a:pt x="61237" y="85846"/>
                  </a:cubicBezTo>
                  <a:cubicBezTo>
                    <a:pt x="63711" y="84923"/>
                    <a:pt x="62474" y="83076"/>
                    <a:pt x="62474" y="81230"/>
                  </a:cubicBezTo>
                  <a:cubicBezTo>
                    <a:pt x="61855" y="77538"/>
                    <a:pt x="67422" y="80307"/>
                    <a:pt x="68659" y="81230"/>
                  </a:cubicBezTo>
                  <a:cubicBezTo>
                    <a:pt x="69896" y="81230"/>
                    <a:pt x="70515" y="83076"/>
                    <a:pt x="71752" y="84000"/>
                  </a:cubicBezTo>
                  <a:cubicBezTo>
                    <a:pt x="71752" y="84000"/>
                    <a:pt x="72989" y="81230"/>
                    <a:pt x="73608" y="82153"/>
                  </a:cubicBezTo>
                  <a:cubicBezTo>
                    <a:pt x="73608" y="82153"/>
                    <a:pt x="73608" y="84000"/>
                    <a:pt x="73608" y="84923"/>
                  </a:cubicBezTo>
                  <a:cubicBezTo>
                    <a:pt x="74845" y="85846"/>
                    <a:pt x="75463" y="85846"/>
                    <a:pt x="76082" y="85846"/>
                  </a:cubicBezTo>
                  <a:cubicBezTo>
                    <a:pt x="77938" y="85846"/>
                    <a:pt x="79793" y="84923"/>
                    <a:pt x="81030" y="85846"/>
                  </a:cubicBezTo>
                  <a:cubicBezTo>
                    <a:pt x="81649" y="85846"/>
                    <a:pt x="82268" y="86769"/>
                    <a:pt x="82886" y="85846"/>
                  </a:cubicBezTo>
                  <a:cubicBezTo>
                    <a:pt x="83505" y="85846"/>
                    <a:pt x="83505" y="86769"/>
                    <a:pt x="84123" y="87692"/>
                  </a:cubicBezTo>
                  <a:cubicBezTo>
                    <a:pt x="84742" y="87692"/>
                    <a:pt x="85979" y="88615"/>
                    <a:pt x="86597" y="88615"/>
                  </a:cubicBezTo>
                  <a:cubicBezTo>
                    <a:pt x="87835" y="88615"/>
                    <a:pt x="88453" y="86769"/>
                    <a:pt x="89072" y="86769"/>
                  </a:cubicBezTo>
                  <a:cubicBezTo>
                    <a:pt x="90309" y="85846"/>
                    <a:pt x="89690" y="88615"/>
                    <a:pt x="89690" y="88615"/>
                  </a:cubicBezTo>
                  <a:cubicBezTo>
                    <a:pt x="89072" y="89538"/>
                    <a:pt x="89072" y="89538"/>
                    <a:pt x="89690" y="90461"/>
                  </a:cubicBezTo>
                  <a:cubicBezTo>
                    <a:pt x="91546" y="91384"/>
                    <a:pt x="92783" y="92307"/>
                    <a:pt x="94020" y="93230"/>
                  </a:cubicBezTo>
                  <a:cubicBezTo>
                    <a:pt x="95257" y="95076"/>
                    <a:pt x="96494" y="96923"/>
                    <a:pt x="97731" y="97846"/>
                  </a:cubicBezTo>
                  <a:cubicBezTo>
                    <a:pt x="98350" y="97846"/>
                    <a:pt x="98969" y="96923"/>
                    <a:pt x="99587" y="96923"/>
                  </a:cubicBezTo>
                  <a:cubicBezTo>
                    <a:pt x="100206" y="96000"/>
                    <a:pt x="98969" y="95076"/>
                    <a:pt x="98969" y="94153"/>
                  </a:cubicBezTo>
                  <a:cubicBezTo>
                    <a:pt x="98969" y="93230"/>
                    <a:pt x="100824" y="95076"/>
                    <a:pt x="100824" y="95076"/>
                  </a:cubicBezTo>
                  <a:cubicBezTo>
                    <a:pt x="100824" y="96000"/>
                    <a:pt x="102680" y="97846"/>
                    <a:pt x="103298" y="96923"/>
                  </a:cubicBezTo>
                  <a:cubicBezTo>
                    <a:pt x="103298" y="96923"/>
                    <a:pt x="102061" y="91384"/>
                    <a:pt x="102061" y="91384"/>
                  </a:cubicBezTo>
                  <a:cubicBezTo>
                    <a:pt x="102680" y="91384"/>
                    <a:pt x="103917" y="96000"/>
                    <a:pt x="104536" y="96000"/>
                  </a:cubicBezTo>
                  <a:cubicBezTo>
                    <a:pt x="104536" y="96923"/>
                    <a:pt x="105154" y="98769"/>
                    <a:pt x="105773" y="98769"/>
                  </a:cubicBezTo>
                  <a:cubicBezTo>
                    <a:pt x="106391" y="98769"/>
                    <a:pt x="107010" y="96923"/>
                    <a:pt x="107010" y="96923"/>
                  </a:cubicBezTo>
                  <a:cubicBezTo>
                    <a:pt x="105773" y="97846"/>
                    <a:pt x="109484" y="101538"/>
                    <a:pt x="109484" y="102461"/>
                  </a:cubicBezTo>
                  <a:cubicBezTo>
                    <a:pt x="108865" y="102461"/>
                    <a:pt x="108865" y="102461"/>
                    <a:pt x="108865" y="102461"/>
                  </a:cubicBezTo>
                  <a:cubicBezTo>
                    <a:pt x="108247" y="103384"/>
                    <a:pt x="109484" y="103384"/>
                    <a:pt x="109484" y="104307"/>
                  </a:cubicBezTo>
                  <a:cubicBezTo>
                    <a:pt x="109484" y="104307"/>
                    <a:pt x="108247" y="105230"/>
                    <a:pt x="108865" y="105230"/>
                  </a:cubicBezTo>
                  <a:cubicBezTo>
                    <a:pt x="109484" y="106153"/>
                    <a:pt x="110103" y="107076"/>
                    <a:pt x="110721" y="108000"/>
                  </a:cubicBezTo>
                  <a:cubicBezTo>
                    <a:pt x="111958" y="109846"/>
                    <a:pt x="112577" y="110769"/>
                    <a:pt x="113814" y="111692"/>
                  </a:cubicBezTo>
                  <a:cubicBezTo>
                    <a:pt x="113814" y="111692"/>
                    <a:pt x="112577" y="115384"/>
                    <a:pt x="113195" y="115384"/>
                  </a:cubicBezTo>
                  <a:cubicBezTo>
                    <a:pt x="113814" y="116307"/>
                    <a:pt x="113814" y="114461"/>
                    <a:pt x="113814" y="114461"/>
                  </a:cubicBezTo>
                  <a:cubicBezTo>
                    <a:pt x="114432" y="113538"/>
                    <a:pt x="114432" y="116307"/>
                    <a:pt x="115051" y="117230"/>
                  </a:cubicBezTo>
                  <a:cubicBezTo>
                    <a:pt x="115051" y="117230"/>
                    <a:pt x="115051" y="116307"/>
                    <a:pt x="115051" y="115384"/>
                  </a:cubicBezTo>
                  <a:cubicBezTo>
                    <a:pt x="115051" y="117230"/>
                    <a:pt x="118762" y="120000"/>
                    <a:pt x="119381" y="117230"/>
                  </a:cubicBezTo>
                  <a:cubicBezTo>
                    <a:pt x="119381" y="117230"/>
                    <a:pt x="119381" y="118153"/>
                    <a:pt x="119381" y="118153"/>
                  </a:cubicBezTo>
                  <a:cubicBezTo>
                    <a:pt x="119381" y="118153"/>
                    <a:pt x="120000" y="117230"/>
                    <a:pt x="120000" y="116307"/>
                  </a:cubicBezTo>
                  <a:cubicBezTo>
                    <a:pt x="119381" y="116307"/>
                    <a:pt x="120000" y="117230"/>
                    <a:pt x="120000" y="116307"/>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44" name="Shape 2518">
              <a:extLst>
                <a:ext uri="{FF2B5EF4-FFF2-40B4-BE49-F238E27FC236}">
                  <a16:creationId xmlns:a16="http://schemas.microsoft.com/office/drawing/2014/main" id="{E41527FD-F645-FA4B-BF56-A940B68F6CB6}"/>
                </a:ext>
              </a:extLst>
            </p:cNvPr>
            <p:cNvSpPr/>
            <p:nvPr/>
          </p:nvSpPr>
          <p:spPr>
            <a:xfrm>
              <a:off x="5888074" y="6516486"/>
              <a:ext cx="2697452" cy="1337929"/>
            </a:xfrm>
            <a:custGeom>
              <a:avLst/>
              <a:gdLst/>
              <a:ahLst/>
              <a:cxnLst/>
              <a:rect l="0" t="0" r="0" b="0"/>
              <a:pathLst>
                <a:path w="120000" h="120000" extrusionOk="0">
                  <a:moveTo>
                    <a:pt x="28235" y="90629"/>
                  </a:moveTo>
                  <a:cubicBezTo>
                    <a:pt x="29480" y="90629"/>
                    <a:pt x="30726" y="90629"/>
                    <a:pt x="32387" y="90629"/>
                  </a:cubicBezTo>
                  <a:cubicBezTo>
                    <a:pt x="32802" y="90629"/>
                    <a:pt x="33633" y="90629"/>
                    <a:pt x="34048" y="90629"/>
                  </a:cubicBezTo>
                  <a:cubicBezTo>
                    <a:pt x="34463" y="90629"/>
                    <a:pt x="34463" y="88951"/>
                    <a:pt x="34878" y="88951"/>
                  </a:cubicBezTo>
                  <a:cubicBezTo>
                    <a:pt x="35294" y="88111"/>
                    <a:pt x="37785" y="88111"/>
                    <a:pt x="37785" y="88951"/>
                  </a:cubicBezTo>
                  <a:cubicBezTo>
                    <a:pt x="39031" y="90629"/>
                    <a:pt x="40276" y="92307"/>
                    <a:pt x="41522" y="93986"/>
                  </a:cubicBezTo>
                  <a:cubicBezTo>
                    <a:pt x="41522" y="93986"/>
                    <a:pt x="41937" y="96503"/>
                    <a:pt x="41937" y="97342"/>
                  </a:cubicBezTo>
                  <a:cubicBezTo>
                    <a:pt x="42352" y="99020"/>
                    <a:pt x="42352" y="99020"/>
                    <a:pt x="43598" y="99860"/>
                  </a:cubicBezTo>
                  <a:cubicBezTo>
                    <a:pt x="44429" y="100699"/>
                    <a:pt x="44844" y="101538"/>
                    <a:pt x="45259" y="99860"/>
                  </a:cubicBezTo>
                  <a:cubicBezTo>
                    <a:pt x="45674" y="97342"/>
                    <a:pt x="46089" y="97342"/>
                    <a:pt x="47335" y="98181"/>
                  </a:cubicBezTo>
                  <a:cubicBezTo>
                    <a:pt x="48166" y="98181"/>
                    <a:pt x="49411" y="99020"/>
                    <a:pt x="49411" y="100699"/>
                  </a:cubicBezTo>
                  <a:cubicBezTo>
                    <a:pt x="50242" y="103216"/>
                    <a:pt x="51072" y="104055"/>
                    <a:pt x="51903" y="106573"/>
                  </a:cubicBezTo>
                  <a:cubicBezTo>
                    <a:pt x="52733" y="108251"/>
                    <a:pt x="52318" y="111608"/>
                    <a:pt x="53564" y="112447"/>
                  </a:cubicBezTo>
                  <a:cubicBezTo>
                    <a:pt x="54394" y="114125"/>
                    <a:pt x="56055" y="114125"/>
                    <a:pt x="56885" y="114965"/>
                  </a:cubicBezTo>
                  <a:cubicBezTo>
                    <a:pt x="56885" y="114125"/>
                    <a:pt x="56055" y="108251"/>
                    <a:pt x="56055" y="108251"/>
                  </a:cubicBezTo>
                  <a:cubicBezTo>
                    <a:pt x="56885" y="109090"/>
                    <a:pt x="56470" y="106573"/>
                    <a:pt x="56885" y="106573"/>
                  </a:cubicBezTo>
                  <a:cubicBezTo>
                    <a:pt x="56885" y="105734"/>
                    <a:pt x="57716" y="105734"/>
                    <a:pt x="58131" y="104895"/>
                  </a:cubicBezTo>
                  <a:cubicBezTo>
                    <a:pt x="58546" y="104895"/>
                    <a:pt x="58961" y="102377"/>
                    <a:pt x="58961" y="102377"/>
                  </a:cubicBezTo>
                  <a:cubicBezTo>
                    <a:pt x="59377" y="103216"/>
                    <a:pt x="59792" y="103216"/>
                    <a:pt x="60207" y="102377"/>
                  </a:cubicBezTo>
                  <a:cubicBezTo>
                    <a:pt x="61038" y="101538"/>
                    <a:pt x="61453" y="101538"/>
                    <a:pt x="61868" y="99860"/>
                  </a:cubicBezTo>
                  <a:cubicBezTo>
                    <a:pt x="62698" y="99020"/>
                    <a:pt x="61453" y="99020"/>
                    <a:pt x="61453" y="98181"/>
                  </a:cubicBezTo>
                  <a:cubicBezTo>
                    <a:pt x="61453" y="98181"/>
                    <a:pt x="62698" y="99020"/>
                    <a:pt x="63114" y="98181"/>
                  </a:cubicBezTo>
                  <a:cubicBezTo>
                    <a:pt x="63944" y="97342"/>
                    <a:pt x="64359" y="97342"/>
                    <a:pt x="65190" y="97342"/>
                  </a:cubicBezTo>
                  <a:cubicBezTo>
                    <a:pt x="66020" y="97342"/>
                    <a:pt x="66435" y="99860"/>
                    <a:pt x="67266" y="99020"/>
                  </a:cubicBezTo>
                  <a:cubicBezTo>
                    <a:pt x="68512" y="97342"/>
                    <a:pt x="68927" y="99020"/>
                    <a:pt x="69757" y="99860"/>
                  </a:cubicBezTo>
                  <a:cubicBezTo>
                    <a:pt x="70588" y="100699"/>
                    <a:pt x="71003" y="99020"/>
                    <a:pt x="71418" y="99020"/>
                  </a:cubicBezTo>
                  <a:cubicBezTo>
                    <a:pt x="71833" y="98181"/>
                    <a:pt x="73079" y="99860"/>
                    <a:pt x="73079" y="100699"/>
                  </a:cubicBezTo>
                  <a:cubicBezTo>
                    <a:pt x="73494" y="101538"/>
                    <a:pt x="73910" y="100699"/>
                    <a:pt x="73494" y="99860"/>
                  </a:cubicBezTo>
                  <a:cubicBezTo>
                    <a:pt x="73494" y="99860"/>
                    <a:pt x="73079" y="99020"/>
                    <a:pt x="72664" y="99020"/>
                  </a:cubicBezTo>
                  <a:cubicBezTo>
                    <a:pt x="72249" y="98181"/>
                    <a:pt x="73079" y="98181"/>
                    <a:pt x="73079" y="98181"/>
                  </a:cubicBezTo>
                  <a:cubicBezTo>
                    <a:pt x="72664" y="96503"/>
                    <a:pt x="72664" y="95664"/>
                    <a:pt x="71833" y="96503"/>
                  </a:cubicBezTo>
                  <a:cubicBezTo>
                    <a:pt x="71833" y="96503"/>
                    <a:pt x="70173" y="96503"/>
                    <a:pt x="71003" y="94825"/>
                  </a:cubicBezTo>
                  <a:cubicBezTo>
                    <a:pt x="71833" y="94825"/>
                    <a:pt x="72249" y="95664"/>
                    <a:pt x="72664" y="95664"/>
                  </a:cubicBezTo>
                  <a:cubicBezTo>
                    <a:pt x="73910" y="94825"/>
                    <a:pt x="74740" y="94825"/>
                    <a:pt x="75986" y="94825"/>
                  </a:cubicBezTo>
                  <a:cubicBezTo>
                    <a:pt x="76401" y="94825"/>
                    <a:pt x="75986" y="94825"/>
                    <a:pt x="76401" y="95664"/>
                  </a:cubicBezTo>
                  <a:cubicBezTo>
                    <a:pt x="76401" y="95664"/>
                    <a:pt x="76816" y="95664"/>
                    <a:pt x="77231" y="94825"/>
                  </a:cubicBezTo>
                  <a:cubicBezTo>
                    <a:pt x="78062" y="94825"/>
                    <a:pt x="78892" y="94825"/>
                    <a:pt x="79723" y="94825"/>
                  </a:cubicBezTo>
                  <a:cubicBezTo>
                    <a:pt x="80553" y="94825"/>
                    <a:pt x="80553" y="96503"/>
                    <a:pt x="81384" y="97342"/>
                  </a:cubicBezTo>
                  <a:cubicBezTo>
                    <a:pt x="82214" y="99020"/>
                    <a:pt x="83044" y="97342"/>
                    <a:pt x="83875" y="96503"/>
                  </a:cubicBezTo>
                  <a:cubicBezTo>
                    <a:pt x="84290" y="96503"/>
                    <a:pt x="86782" y="101538"/>
                    <a:pt x="86782" y="102377"/>
                  </a:cubicBezTo>
                  <a:cubicBezTo>
                    <a:pt x="87197" y="103216"/>
                    <a:pt x="86366" y="104895"/>
                    <a:pt x="86782" y="105734"/>
                  </a:cubicBezTo>
                  <a:cubicBezTo>
                    <a:pt x="87197" y="107412"/>
                    <a:pt x="86782" y="107412"/>
                    <a:pt x="87197" y="109090"/>
                  </a:cubicBezTo>
                  <a:cubicBezTo>
                    <a:pt x="87197" y="109930"/>
                    <a:pt x="87612" y="110769"/>
                    <a:pt x="87612" y="110769"/>
                  </a:cubicBezTo>
                  <a:cubicBezTo>
                    <a:pt x="88027" y="110769"/>
                    <a:pt x="88027" y="111608"/>
                    <a:pt x="88442" y="111608"/>
                  </a:cubicBezTo>
                  <a:cubicBezTo>
                    <a:pt x="88858" y="112447"/>
                    <a:pt x="88442" y="114125"/>
                    <a:pt x="88858" y="114965"/>
                  </a:cubicBezTo>
                  <a:cubicBezTo>
                    <a:pt x="89273" y="115804"/>
                    <a:pt x="89688" y="115804"/>
                    <a:pt x="90103" y="117482"/>
                  </a:cubicBezTo>
                  <a:cubicBezTo>
                    <a:pt x="90934" y="120000"/>
                    <a:pt x="90519" y="117482"/>
                    <a:pt x="91349" y="118321"/>
                  </a:cubicBezTo>
                  <a:cubicBezTo>
                    <a:pt x="91349" y="118321"/>
                    <a:pt x="91349" y="120000"/>
                    <a:pt x="91349" y="120000"/>
                  </a:cubicBezTo>
                  <a:cubicBezTo>
                    <a:pt x="91764" y="120000"/>
                    <a:pt x="92179" y="114125"/>
                    <a:pt x="92179" y="113286"/>
                  </a:cubicBezTo>
                  <a:cubicBezTo>
                    <a:pt x="92179" y="110769"/>
                    <a:pt x="91764" y="109090"/>
                    <a:pt x="91349" y="105734"/>
                  </a:cubicBezTo>
                  <a:cubicBezTo>
                    <a:pt x="90519" y="103216"/>
                    <a:pt x="90519" y="100699"/>
                    <a:pt x="90103" y="98181"/>
                  </a:cubicBezTo>
                  <a:cubicBezTo>
                    <a:pt x="89273" y="96503"/>
                    <a:pt x="88858" y="93146"/>
                    <a:pt x="89273" y="90629"/>
                  </a:cubicBezTo>
                  <a:cubicBezTo>
                    <a:pt x="89688" y="88111"/>
                    <a:pt x="90519" y="86433"/>
                    <a:pt x="91764" y="84755"/>
                  </a:cubicBezTo>
                  <a:cubicBezTo>
                    <a:pt x="92179" y="83916"/>
                    <a:pt x="92595" y="83916"/>
                    <a:pt x="93010" y="83076"/>
                  </a:cubicBezTo>
                  <a:cubicBezTo>
                    <a:pt x="93425" y="82237"/>
                    <a:pt x="93840" y="80559"/>
                    <a:pt x="94256" y="80559"/>
                  </a:cubicBezTo>
                  <a:cubicBezTo>
                    <a:pt x="95086" y="78881"/>
                    <a:pt x="96332" y="78881"/>
                    <a:pt x="97162" y="77202"/>
                  </a:cubicBezTo>
                  <a:cubicBezTo>
                    <a:pt x="97577" y="76363"/>
                    <a:pt x="97993" y="74685"/>
                    <a:pt x="98823" y="74685"/>
                  </a:cubicBezTo>
                  <a:cubicBezTo>
                    <a:pt x="98823" y="74685"/>
                    <a:pt x="100484" y="74685"/>
                    <a:pt x="100069" y="73006"/>
                  </a:cubicBezTo>
                  <a:cubicBezTo>
                    <a:pt x="100069" y="73006"/>
                    <a:pt x="98823" y="73846"/>
                    <a:pt x="98823" y="73846"/>
                  </a:cubicBezTo>
                  <a:cubicBezTo>
                    <a:pt x="98823" y="73006"/>
                    <a:pt x="99653" y="73846"/>
                    <a:pt x="99238" y="72167"/>
                  </a:cubicBezTo>
                  <a:cubicBezTo>
                    <a:pt x="99238" y="72167"/>
                    <a:pt x="98823" y="71328"/>
                    <a:pt x="99238" y="71328"/>
                  </a:cubicBezTo>
                  <a:cubicBezTo>
                    <a:pt x="99238" y="70489"/>
                    <a:pt x="99238" y="71328"/>
                    <a:pt x="99653" y="70489"/>
                  </a:cubicBezTo>
                  <a:cubicBezTo>
                    <a:pt x="99238" y="71328"/>
                    <a:pt x="100069" y="72167"/>
                    <a:pt x="100069" y="71328"/>
                  </a:cubicBezTo>
                  <a:cubicBezTo>
                    <a:pt x="100484" y="71328"/>
                    <a:pt x="101730" y="69650"/>
                    <a:pt x="101314" y="68811"/>
                  </a:cubicBezTo>
                  <a:cubicBezTo>
                    <a:pt x="101314" y="69650"/>
                    <a:pt x="98823" y="68811"/>
                    <a:pt x="99238" y="67972"/>
                  </a:cubicBezTo>
                  <a:cubicBezTo>
                    <a:pt x="99238" y="67132"/>
                    <a:pt x="99653" y="68811"/>
                    <a:pt x="100069" y="67972"/>
                  </a:cubicBezTo>
                  <a:cubicBezTo>
                    <a:pt x="100069" y="67972"/>
                    <a:pt x="100899" y="67132"/>
                    <a:pt x="100899" y="67132"/>
                  </a:cubicBezTo>
                  <a:cubicBezTo>
                    <a:pt x="100899" y="67132"/>
                    <a:pt x="100484" y="66293"/>
                    <a:pt x="100484" y="65454"/>
                  </a:cubicBezTo>
                  <a:cubicBezTo>
                    <a:pt x="100899" y="64615"/>
                    <a:pt x="100899" y="63776"/>
                    <a:pt x="100069" y="63776"/>
                  </a:cubicBezTo>
                  <a:cubicBezTo>
                    <a:pt x="100069" y="63776"/>
                    <a:pt x="98408" y="62097"/>
                    <a:pt x="98408" y="62097"/>
                  </a:cubicBezTo>
                  <a:cubicBezTo>
                    <a:pt x="98823" y="61258"/>
                    <a:pt x="99238" y="62097"/>
                    <a:pt x="99653" y="62097"/>
                  </a:cubicBezTo>
                  <a:cubicBezTo>
                    <a:pt x="100069" y="61258"/>
                    <a:pt x="99238" y="59580"/>
                    <a:pt x="98823" y="59580"/>
                  </a:cubicBezTo>
                  <a:cubicBezTo>
                    <a:pt x="98408" y="58741"/>
                    <a:pt x="97993" y="57902"/>
                    <a:pt x="97993" y="57062"/>
                  </a:cubicBezTo>
                  <a:cubicBezTo>
                    <a:pt x="97577" y="56223"/>
                    <a:pt x="98823" y="54545"/>
                    <a:pt x="98408" y="53706"/>
                  </a:cubicBezTo>
                  <a:cubicBezTo>
                    <a:pt x="98823" y="54545"/>
                    <a:pt x="98408" y="55384"/>
                    <a:pt x="98408" y="56223"/>
                  </a:cubicBezTo>
                  <a:cubicBezTo>
                    <a:pt x="98408" y="56223"/>
                    <a:pt x="99238" y="57902"/>
                    <a:pt x="99238" y="57902"/>
                  </a:cubicBezTo>
                  <a:cubicBezTo>
                    <a:pt x="100069" y="56223"/>
                    <a:pt x="99238" y="52027"/>
                    <a:pt x="100484" y="51188"/>
                  </a:cubicBezTo>
                  <a:cubicBezTo>
                    <a:pt x="100069" y="51188"/>
                    <a:pt x="100069" y="55384"/>
                    <a:pt x="100484" y="56223"/>
                  </a:cubicBezTo>
                  <a:cubicBezTo>
                    <a:pt x="100484" y="57902"/>
                    <a:pt x="101314" y="57902"/>
                    <a:pt x="101314" y="59580"/>
                  </a:cubicBezTo>
                  <a:cubicBezTo>
                    <a:pt x="101314" y="60419"/>
                    <a:pt x="100069" y="62097"/>
                    <a:pt x="100484" y="62937"/>
                  </a:cubicBezTo>
                  <a:cubicBezTo>
                    <a:pt x="100484" y="62937"/>
                    <a:pt x="102975" y="57902"/>
                    <a:pt x="102560" y="56223"/>
                  </a:cubicBezTo>
                  <a:cubicBezTo>
                    <a:pt x="102560" y="54545"/>
                    <a:pt x="101730" y="53706"/>
                    <a:pt x="101730" y="52027"/>
                  </a:cubicBezTo>
                  <a:cubicBezTo>
                    <a:pt x="101314" y="51188"/>
                    <a:pt x="101730" y="48671"/>
                    <a:pt x="102560" y="49510"/>
                  </a:cubicBezTo>
                  <a:cubicBezTo>
                    <a:pt x="102145" y="48671"/>
                    <a:pt x="101730" y="51188"/>
                    <a:pt x="102145" y="52027"/>
                  </a:cubicBezTo>
                  <a:cubicBezTo>
                    <a:pt x="102975" y="53706"/>
                    <a:pt x="102975" y="54545"/>
                    <a:pt x="103806" y="52027"/>
                  </a:cubicBezTo>
                  <a:cubicBezTo>
                    <a:pt x="104221" y="51188"/>
                    <a:pt x="105051" y="48671"/>
                    <a:pt x="104636" y="46993"/>
                  </a:cubicBezTo>
                  <a:cubicBezTo>
                    <a:pt x="104636" y="46993"/>
                    <a:pt x="104221" y="46153"/>
                    <a:pt x="104636" y="45314"/>
                  </a:cubicBezTo>
                  <a:cubicBezTo>
                    <a:pt x="104636" y="45314"/>
                    <a:pt x="105051" y="43636"/>
                    <a:pt x="105051" y="43636"/>
                  </a:cubicBezTo>
                  <a:cubicBezTo>
                    <a:pt x="105051" y="43636"/>
                    <a:pt x="105051" y="45314"/>
                    <a:pt x="105051" y="45314"/>
                  </a:cubicBezTo>
                  <a:cubicBezTo>
                    <a:pt x="105051" y="45314"/>
                    <a:pt x="107128" y="42797"/>
                    <a:pt x="107958" y="42797"/>
                  </a:cubicBezTo>
                  <a:cubicBezTo>
                    <a:pt x="108373" y="41958"/>
                    <a:pt x="109204" y="42797"/>
                    <a:pt x="109619" y="42797"/>
                  </a:cubicBezTo>
                  <a:cubicBezTo>
                    <a:pt x="110449" y="41958"/>
                    <a:pt x="110034" y="41118"/>
                    <a:pt x="110034" y="40279"/>
                  </a:cubicBezTo>
                  <a:cubicBezTo>
                    <a:pt x="110449" y="40279"/>
                    <a:pt x="110449" y="41958"/>
                    <a:pt x="110865" y="41958"/>
                  </a:cubicBezTo>
                  <a:cubicBezTo>
                    <a:pt x="110865" y="41958"/>
                    <a:pt x="111695" y="41118"/>
                    <a:pt x="111695" y="41118"/>
                  </a:cubicBezTo>
                  <a:cubicBezTo>
                    <a:pt x="112525" y="42797"/>
                    <a:pt x="114186" y="38601"/>
                    <a:pt x="112941" y="38601"/>
                  </a:cubicBezTo>
                  <a:cubicBezTo>
                    <a:pt x="112941" y="38601"/>
                    <a:pt x="112941" y="40279"/>
                    <a:pt x="112525" y="40279"/>
                  </a:cubicBezTo>
                  <a:cubicBezTo>
                    <a:pt x="112110" y="40279"/>
                    <a:pt x="111280" y="36923"/>
                    <a:pt x="111280" y="36923"/>
                  </a:cubicBezTo>
                  <a:cubicBezTo>
                    <a:pt x="111695" y="36083"/>
                    <a:pt x="111280" y="35244"/>
                    <a:pt x="111695" y="34405"/>
                  </a:cubicBezTo>
                  <a:cubicBezTo>
                    <a:pt x="112110" y="32727"/>
                    <a:pt x="112525" y="31048"/>
                    <a:pt x="112941" y="30209"/>
                  </a:cubicBezTo>
                  <a:cubicBezTo>
                    <a:pt x="113356" y="30209"/>
                    <a:pt x="113771" y="29370"/>
                    <a:pt x="113771" y="29370"/>
                  </a:cubicBezTo>
                  <a:cubicBezTo>
                    <a:pt x="114602" y="30209"/>
                    <a:pt x="115017" y="27692"/>
                    <a:pt x="115432" y="26853"/>
                  </a:cubicBezTo>
                  <a:cubicBezTo>
                    <a:pt x="115432" y="26853"/>
                    <a:pt x="116262" y="27692"/>
                    <a:pt x="116678" y="26853"/>
                  </a:cubicBezTo>
                  <a:cubicBezTo>
                    <a:pt x="117508" y="26013"/>
                    <a:pt x="118339" y="26013"/>
                    <a:pt x="118754" y="25174"/>
                  </a:cubicBezTo>
                  <a:cubicBezTo>
                    <a:pt x="119169" y="25174"/>
                    <a:pt x="120000" y="24335"/>
                    <a:pt x="119584" y="23496"/>
                  </a:cubicBezTo>
                  <a:cubicBezTo>
                    <a:pt x="118754" y="21818"/>
                    <a:pt x="118754" y="20979"/>
                    <a:pt x="118339" y="20139"/>
                  </a:cubicBezTo>
                  <a:cubicBezTo>
                    <a:pt x="116678" y="19300"/>
                    <a:pt x="119169" y="11748"/>
                    <a:pt x="116678" y="11748"/>
                  </a:cubicBezTo>
                  <a:cubicBezTo>
                    <a:pt x="116262" y="10909"/>
                    <a:pt x="115847" y="12587"/>
                    <a:pt x="115432" y="11748"/>
                  </a:cubicBezTo>
                  <a:cubicBezTo>
                    <a:pt x="115017" y="10909"/>
                    <a:pt x="115017" y="10069"/>
                    <a:pt x="114602" y="10909"/>
                  </a:cubicBezTo>
                  <a:cubicBezTo>
                    <a:pt x="114186" y="11748"/>
                    <a:pt x="113771" y="13426"/>
                    <a:pt x="113356" y="14265"/>
                  </a:cubicBezTo>
                  <a:cubicBezTo>
                    <a:pt x="112941" y="15104"/>
                    <a:pt x="112941" y="16783"/>
                    <a:pt x="112525" y="17622"/>
                  </a:cubicBezTo>
                  <a:cubicBezTo>
                    <a:pt x="112525" y="19300"/>
                    <a:pt x="112110" y="21818"/>
                    <a:pt x="111280" y="21818"/>
                  </a:cubicBezTo>
                  <a:cubicBezTo>
                    <a:pt x="110449" y="21818"/>
                    <a:pt x="110449" y="23496"/>
                    <a:pt x="109619" y="23496"/>
                  </a:cubicBezTo>
                  <a:cubicBezTo>
                    <a:pt x="107543" y="23496"/>
                    <a:pt x="105467" y="23496"/>
                    <a:pt x="103391" y="23496"/>
                  </a:cubicBezTo>
                  <a:cubicBezTo>
                    <a:pt x="102560" y="23496"/>
                    <a:pt x="102560" y="23496"/>
                    <a:pt x="102145" y="24335"/>
                  </a:cubicBezTo>
                  <a:cubicBezTo>
                    <a:pt x="101730" y="26013"/>
                    <a:pt x="100069" y="27692"/>
                    <a:pt x="100069" y="28531"/>
                  </a:cubicBezTo>
                  <a:cubicBezTo>
                    <a:pt x="100484" y="31048"/>
                    <a:pt x="99238" y="32727"/>
                    <a:pt x="98408" y="32727"/>
                  </a:cubicBezTo>
                  <a:cubicBezTo>
                    <a:pt x="97577" y="32727"/>
                    <a:pt x="97162" y="31888"/>
                    <a:pt x="96332" y="31888"/>
                  </a:cubicBezTo>
                  <a:cubicBezTo>
                    <a:pt x="95501" y="31888"/>
                    <a:pt x="94671" y="32727"/>
                    <a:pt x="94256" y="32727"/>
                  </a:cubicBezTo>
                  <a:cubicBezTo>
                    <a:pt x="94256" y="32727"/>
                    <a:pt x="94256" y="35244"/>
                    <a:pt x="94671" y="35244"/>
                  </a:cubicBezTo>
                  <a:cubicBezTo>
                    <a:pt x="94256" y="36083"/>
                    <a:pt x="93840" y="36923"/>
                    <a:pt x="93010" y="37762"/>
                  </a:cubicBezTo>
                  <a:cubicBezTo>
                    <a:pt x="92179" y="38601"/>
                    <a:pt x="90934" y="40279"/>
                    <a:pt x="89688" y="41118"/>
                  </a:cubicBezTo>
                  <a:cubicBezTo>
                    <a:pt x="88442" y="41958"/>
                    <a:pt x="87197" y="41958"/>
                    <a:pt x="85951" y="41118"/>
                  </a:cubicBezTo>
                  <a:cubicBezTo>
                    <a:pt x="85536" y="40279"/>
                    <a:pt x="85121" y="39440"/>
                    <a:pt x="85536" y="38601"/>
                  </a:cubicBezTo>
                  <a:cubicBezTo>
                    <a:pt x="85536" y="38601"/>
                    <a:pt x="85951" y="36923"/>
                    <a:pt x="86366" y="36923"/>
                  </a:cubicBezTo>
                  <a:cubicBezTo>
                    <a:pt x="86366" y="36923"/>
                    <a:pt x="86366" y="37762"/>
                    <a:pt x="86366" y="38601"/>
                  </a:cubicBezTo>
                  <a:cubicBezTo>
                    <a:pt x="87197" y="35244"/>
                    <a:pt x="87612" y="32727"/>
                    <a:pt x="86782" y="29370"/>
                  </a:cubicBezTo>
                  <a:cubicBezTo>
                    <a:pt x="86366" y="28531"/>
                    <a:pt x="85536" y="30209"/>
                    <a:pt x="85121" y="30209"/>
                  </a:cubicBezTo>
                  <a:cubicBezTo>
                    <a:pt x="84705" y="31048"/>
                    <a:pt x="84705" y="30209"/>
                    <a:pt x="84290" y="30209"/>
                  </a:cubicBezTo>
                  <a:cubicBezTo>
                    <a:pt x="83875" y="29370"/>
                    <a:pt x="84705" y="28531"/>
                    <a:pt x="84705" y="28531"/>
                  </a:cubicBezTo>
                  <a:cubicBezTo>
                    <a:pt x="86366" y="25174"/>
                    <a:pt x="85121" y="21818"/>
                    <a:pt x="83460" y="20979"/>
                  </a:cubicBezTo>
                  <a:cubicBezTo>
                    <a:pt x="82214" y="20139"/>
                    <a:pt x="82214" y="20979"/>
                    <a:pt x="81384" y="21818"/>
                  </a:cubicBezTo>
                  <a:cubicBezTo>
                    <a:pt x="81384" y="22657"/>
                    <a:pt x="81384" y="22657"/>
                    <a:pt x="81384" y="23496"/>
                  </a:cubicBezTo>
                  <a:cubicBezTo>
                    <a:pt x="81384" y="24335"/>
                    <a:pt x="80553" y="23496"/>
                    <a:pt x="80138" y="23496"/>
                  </a:cubicBezTo>
                  <a:cubicBezTo>
                    <a:pt x="79723" y="23496"/>
                    <a:pt x="78892" y="30209"/>
                    <a:pt x="78892" y="31048"/>
                  </a:cubicBezTo>
                  <a:cubicBezTo>
                    <a:pt x="79307" y="35244"/>
                    <a:pt x="79723" y="37762"/>
                    <a:pt x="78062" y="39440"/>
                  </a:cubicBezTo>
                  <a:cubicBezTo>
                    <a:pt x="78062" y="40279"/>
                    <a:pt x="76816" y="41118"/>
                    <a:pt x="76816" y="40279"/>
                  </a:cubicBezTo>
                  <a:cubicBezTo>
                    <a:pt x="76816" y="38601"/>
                    <a:pt x="76401" y="36923"/>
                    <a:pt x="76401" y="35244"/>
                  </a:cubicBezTo>
                  <a:cubicBezTo>
                    <a:pt x="76401" y="34405"/>
                    <a:pt x="77231" y="25174"/>
                    <a:pt x="77231" y="25174"/>
                  </a:cubicBezTo>
                  <a:cubicBezTo>
                    <a:pt x="76816" y="25174"/>
                    <a:pt x="75986" y="26853"/>
                    <a:pt x="75986" y="26013"/>
                  </a:cubicBezTo>
                  <a:cubicBezTo>
                    <a:pt x="75986" y="25174"/>
                    <a:pt x="77231" y="21818"/>
                    <a:pt x="77647" y="20979"/>
                  </a:cubicBezTo>
                  <a:cubicBezTo>
                    <a:pt x="78062" y="19300"/>
                    <a:pt x="79307" y="19300"/>
                    <a:pt x="80138" y="18461"/>
                  </a:cubicBezTo>
                  <a:cubicBezTo>
                    <a:pt x="81384" y="18461"/>
                    <a:pt x="82629" y="19300"/>
                    <a:pt x="83875" y="19300"/>
                  </a:cubicBezTo>
                  <a:cubicBezTo>
                    <a:pt x="85121" y="19300"/>
                    <a:pt x="83460" y="16783"/>
                    <a:pt x="82629" y="16783"/>
                  </a:cubicBezTo>
                  <a:cubicBezTo>
                    <a:pt x="81799" y="16783"/>
                    <a:pt x="82629" y="14265"/>
                    <a:pt x="81384" y="14265"/>
                  </a:cubicBezTo>
                  <a:cubicBezTo>
                    <a:pt x="80553" y="15104"/>
                    <a:pt x="79723" y="15944"/>
                    <a:pt x="78477" y="15944"/>
                  </a:cubicBezTo>
                  <a:cubicBezTo>
                    <a:pt x="77647" y="15944"/>
                    <a:pt x="76816" y="14265"/>
                    <a:pt x="75986" y="13426"/>
                  </a:cubicBezTo>
                  <a:cubicBezTo>
                    <a:pt x="75986" y="13426"/>
                    <a:pt x="74740" y="13426"/>
                    <a:pt x="75155" y="12587"/>
                  </a:cubicBezTo>
                  <a:cubicBezTo>
                    <a:pt x="75570" y="12587"/>
                    <a:pt x="76401" y="11748"/>
                    <a:pt x="76401" y="10909"/>
                  </a:cubicBezTo>
                  <a:cubicBezTo>
                    <a:pt x="76401" y="10909"/>
                    <a:pt x="73079" y="13426"/>
                    <a:pt x="72664" y="13426"/>
                  </a:cubicBezTo>
                  <a:cubicBezTo>
                    <a:pt x="72249" y="14265"/>
                    <a:pt x="71833" y="15104"/>
                    <a:pt x="71418" y="15104"/>
                  </a:cubicBezTo>
                  <a:cubicBezTo>
                    <a:pt x="70588" y="15104"/>
                    <a:pt x="70588" y="13426"/>
                    <a:pt x="69757" y="13426"/>
                  </a:cubicBezTo>
                  <a:cubicBezTo>
                    <a:pt x="69342" y="13426"/>
                    <a:pt x="67266" y="15104"/>
                    <a:pt x="68512" y="12587"/>
                  </a:cubicBezTo>
                  <a:cubicBezTo>
                    <a:pt x="69757" y="10909"/>
                    <a:pt x="71003" y="9230"/>
                    <a:pt x="72249" y="7552"/>
                  </a:cubicBezTo>
                  <a:cubicBezTo>
                    <a:pt x="71418" y="7552"/>
                    <a:pt x="70588" y="5874"/>
                    <a:pt x="69757" y="7552"/>
                  </a:cubicBezTo>
                  <a:cubicBezTo>
                    <a:pt x="68512" y="8391"/>
                    <a:pt x="68096" y="6713"/>
                    <a:pt x="66851" y="5874"/>
                  </a:cubicBezTo>
                  <a:cubicBezTo>
                    <a:pt x="66435" y="5874"/>
                    <a:pt x="66020" y="5034"/>
                    <a:pt x="65605" y="4195"/>
                  </a:cubicBezTo>
                  <a:cubicBezTo>
                    <a:pt x="64775" y="4195"/>
                    <a:pt x="64359" y="5034"/>
                    <a:pt x="63529" y="5034"/>
                  </a:cubicBezTo>
                  <a:cubicBezTo>
                    <a:pt x="63114" y="4195"/>
                    <a:pt x="62283" y="4195"/>
                    <a:pt x="62283" y="2517"/>
                  </a:cubicBezTo>
                  <a:cubicBezTo>
                    <a:pt x="62283" y="2517"/>
                    <a:pt x="61453" y="0"/>
                    <a:pt x="61453" y="839"/>
                  </a:cubicBezTo>
                  <a:cubicBezTo>
                    <a:pt x="61038" y="839"/>
                    <a:pt x="61453" y="3356"/>
                    <a:pt x="61038" y="3356"/>
                  </a:cubicBezTo>
                  <a:cubicBezTo>
                    <a:pt x="60622" y="3356"/>
                    <a:pt x="60207" y="3356"/>
                    <a:pt x="60207" y="3356"/>
                  </a:cubicBezTo>
                  <a:cubicBezTo>
                    <a:pt x="58961" y="3356"/>
                    <a:pt x="57716" y="3356"/>
                    <a:pt x="56470" y="3356"/>
                  </a:cubicBezTo>
                  <a:cubicBezTo>
                    <a:pt x="51903" y="3356"/>
                    <a:pt x="47750" y="3356"/>
                    <a:pt x="43598" y="3356"/>
                  </a:cubicBezTo>
                  <a:cubicBezTo>
                    <a:pt x="33217" y="3356"/>
                    <a:pt x="22837" y="3356"/>
                    <a:pt x="12456" y="3356"/>
                  </a:cubicBezTo>
                  <a:cubicBezTo>
                    <a:pt x="9965" y="3356"/>
                    <a:pt x="7058" y="3356"/>
                    <a:pt x="4567" y="3356"/>
                  </a:cubicBezTo>
                  <a:cubicBezTo>
                    <a:pt x="4982" y="4195"/>
                    <a:pt x="5813" y="10909"/>
                    <a:pt x="4567" y="11748"/>
                  </a:cubicBezTo>
                  <a:cubicBezTo>
                    <a:pt x="3737" y="11748"/>
                    <a:pt x="3321" y="11748"/>
                    <a:pt x="4152" y="10069"/>
                  </a:cubicBezTo>
                  <a:cubicBezTo>
                    <a:pt x="4982" y="7552"/>
                    <a:pt x="3737" y="7552"/>
                    <a:pt x="2906" y="7552"/>
                  </a:cubicBezTo>
                  <a:cubicBezTo>
                    <a:pt x="2076" y="7552"/>
                    <a:pt x="830" y="5874"/>
                    <a:pt x="415" y="5874"/>
                  </a:cubicBezTo>
                  <a:cubicBezTo>
                    <a:pt x="0" y="6713"/>
                    <a:pt x="830" y="10069"/>
                    <a:pt x="830" y="10069"/>
                  </a:cubicBezTo>
                  <a:cubicBezTo>
                    <a:pt x="1245" y="12587"/>
                    <a:pt x="1660" y="13426"/>
                    <a:pt x="1660" y="15104"/>
                  </a:cubicBezTo>
                  <a:cubicBezTo>
                    <a:pt x="1660" y="15944"/>
                    <a:pt x="2906" y="17622"/>
                    <a:pt x="3321" y="17622"/>
                  </a:cubicBezTo>
                  <a:cubicBezTo>
                    <a:pt x="2906" y="17622"/>
                    <a:pt x="2491" y="17622"/>
                    <a:pt x="2076" y="18461"/>
                  </a:cubicBezTo>
                  <a:cubicBezTo>
                    <a:pt x="1660" y="19300"/>
                    <a:pt x="2076" y="20139"/>
                    <a:pt x="2076" y="20979"/>
                  </a:cubicBezTo>
                  <a:cubicBezTo>
                    <a:pt x="2076" y="23496"/>
                    <a:pt x="2076" y="25174"/>
                    <a:pt x="1660" y="26853"/>
                  </a:cubicBezTo>
                  <a:cubicBezTo>
                    <a:pt x="1660" y="29370"/>
                    <a:pt x="1245" y="31048"/>
                    <a:pt x="830" y="33566"/>
                  </a:cubicBezTo>
                  <a:cubicBezTo>
                    <a:pt x="415" y="36083"/>
                    <a:pt x="1245" y="38601"/>
                    <a:pt x="1660" y="41118"/>
                  </a:cubicBezTo>
                  <a:cubicBezTo>
                    <a:pt x="1660" y="43636"/>
                    <a:pt x="1245" y="45314"/>
                    <a:pt x="1245" y="46993"/>
                  </a:cubicBezTo>
                  <a:cubicBezTo>
                    <a:pt x="1245" y="47832"/>
                    <a:pt x="1660" y="48671"/>
                    <a:pt x="1660" y="49510"/>
                  </a:cubicBezTo>
                  <a:cubicBezTo>
                    <a:pt x="2076" y="50349"/>
                    <a:pt x="2076" y="52027"/>
                    <a:pt x="2076" y="52867"/>
                  </a:cubicBezTo>
                  <a:cubicBezTo>
                    <a:pt x="2491" y="55384"/>
                    <a:pt x="3737" y="56223"/>
                    <a:pt x="4152" y="58741"/>
                  </a:cubicBezTo>
                  <a:cubicBezTo>
                    <a:pt x="4567" y="60419"/>
                    <a:pt x="4567" y="59580"/>
                    <a:pt x="4982" y="58741"/>
                  </a:cubicBezTo>
                  <a:cubicBezTo>
                    <a:pt x="4982" y="58741"/>
                    <a:pt x="5397" y="61258"/>
                    <a:pt x="5397" y="61258"/>
                  </a:cubicBezTo>
                  <a:cubicBezTo>
                    <a:pt x="5397" y="61258"/>
                    <a:pt x="4982" y="60419"/>
                    <a:pt x="4982" y="61258"/>
                  </a:cubicBezTo>
                  <a:cubicBezTo>
                    <a:pt x="4982" y="62097"/>
                    <a:pt x="4982" y="62937"/>
                    <a:pt x="5397" y="63776"/>
                  </a:cubicBezTo>
                  <a:cubicBezTo>
                    <a:pt x="5813" y="63776"/>
                    <a:pt x="5813" y="63776"/>
                    <a:pt x="6228" y="64615"/>
                  </a:cubicBezTo>
                  <a:cubicBezTo>
                    <a:pt x="6643" y="65454"/>
                    <a:pt x="5813" y="66293"/>
                    <a:pt x="6228" y="67132"/>
                  </a:cubicBezTo>
                  <a:cubicBezTo>
                    <a:pt x="7058" y="69650"/>
                    <a:pt x="8719" y="71328"/>
                    <a:pt x="8719" y="73846"/>
                  </a:cubicBezTo>
                  <a:cubicBezTo>
                    <a:pt x="9134" y="75524"/>
                    <a:pt x="9550" y="75524"/>
                    <a:pt x="10380" y="76363"/>
                  </a:cubicBezTo>
                  <a:cubicBezTo>
                    <a:pt x="11211" y="77202"/>
                    <a:pt x="12041" y="78041"/>
                    <a:pt x="12871" y="78041"/>
                  </a:cubicBezTo>
                  <a:cubicBezTo>
                    <a:pt x="13702" y="78041"/>
                    <a:pt x="14532" y="79720"/>
                    <a:pt x="14948" y="80559"/>
                  </a:cubicBezTo>
                  <a:cubicBezTo>
                    <a:pt x="14948" y="81398"/>
                    <a:pt x="16608" y="84755"/>
                    <a:pt x="16193" y="85594"/>
                  </a:cubicBezTo>
                  <a:cubicBezTo>
                    <a:pt x="17854" y="84755"/>
                    <a:pt x="19930" y="83916"/>
                    <a:pt x="21591" y="84755"/>
                  </a:cubicBezTo>
                  <a:cubicBezTo>
                    <a:pt x="24083" y="86433"/>
                    <a:pt x="26159" y="88951"/>
                    <a:pt x="28235" y="90629"/>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45" name="Shape 2519">
              <a:extLst>
                <a:ext uri="{FF2B5EF4-FFF2-40B4-BE49-F238E27FC236}">
                  <a16:creationId xmlns:a16="http://schemas.microsoft.com/office/drawing/2014/main" id="{ED253165-AB1F-6048-8A5C-FB6F9C55F976}"/>
                </a:ext>
              </a:extLst>
            </p:cNvPr>
            <p:cNvSpPr/>
            <p:nvPr/>
          </p:nvSpPr>
          <p:spPr>
            <a:xfrm>
              <a:off x="5133298" y="4907788"/>
              <a:ext cx="3984073" cy="2048307"/>
            </a:xfrm>
            <a:custGeom>
              <a:avLst/>
              <a:gdLst/>
              <a:ahLst/>
              <a:cxnLst/>
              <a:rect l="0" t="0" r="0" b="0"/>
              <a:pathLst>
                <a:path w="120000" h="120000" extrusionOk="0">
                  <a:moveTo>
                    <a:pt x="64355" y="95342"/>
                  </a:moveTo>
                  <a:cubicBezTo>
                    <a:pt x="64355" y="95342"/>
                    <a:pt x="64355" y="94794"/>
                    <a:pt x="64355" y="94794"/>
                  </a:cubicBezTo>
                  <a:cubicBezTo>
                    <a:pt x="64355" y="94794"/>
                    <a:pt x="65199" y="96986"/>
                    <a:pt x="65199" y="96986"/>
                  </a:cubicBezTo>
                  <a:cubicBezTo>
                    <a:pt x="65761" y="96986"/>
                    <a:pt x="66042" y="97534"/>
                    <a:pt x="66323" y="97534"/>
                  </a:cubicBezTo>
                  <a:cubicBezTo>
                    <a:pt x="66885" y="97534"/>
                    <a:pt x="66885" y="96986"/>
                    <a:pt x="67166" y="97534"/>
                  </a:cubicBezTo>
                  <a:cubicBezTo>
                    <a:pt x="68009" y="98082"/>
                    <a:pt x="68571" y="98630"/>
                    <a:pt x="69133" y="99178"/>
                  </a:cubicBezTo>
                  <a:cubicBezTo>
                    <a:pt x="69414" y="99726"/>
                    <a:pt x="69695" y="99178"/>
                    <a:pt x="69976" y="99178"/>
                  </a:cubicBezTo>
                  <a:cubicBezTo>
                    <a:pt x="70257" y="98630"/>
                    <a:pt x="70538" y="98630"/>
                    <a:pt x="70819" y="98630"/>
                  </a:cubicBezTo>
                  <a:cubicBezTo>
                    <a:pt x="71100" y="98630"/>
                    <a:pt x="71381" y="99178"/>
                    <a:pt x="71662" y="99178"/>
                  </a:cubicBezTo>
                  <a:cubicBezTo>
                    <a:pt x="72224" y="99178"/>
                    <a:pt x="72505" y="98630"/>
                    <a:pt x="72786" y="98082"/>
                  </a:cubicBezTo>
                  <a:cubicBezTo>
                    <a:pt x="73067" y="97534"/>
                    <a:pt x="73911" y="95890"/>
                    <a:pt x="74192" y="95890"/>
                  </a:cubicBezTo>
                  <a:cubicBezTo>
                    <a:pt x="74192" y="95890"/>
                    <a:pt x="74473" y="96438"/>
                    <a:pt x="74473" y="96438"/>
                  </a:cubicBezTo>
                  <a:cubicBezTo>
                    <a:pt x="75035" y="96438"/>
                    <a:pt x="75316" y="96438"/>
                    <a:pt x="75597" y="96438"/>
                  </a:cubicBezTo>
                  <a:cubicBezTo>
                    <a:pt x="76721" y="96438"/>
                    <a:pt x="76440" y="98082"/>
                    <a:pt x="77002" y="99178"/>
                  </a:cubicBezTo>
                  <a:cubicBezTo>
                    <a:pt x="77283" y="99726"/>
                    <a:pt x="78407" y="99178"/>
                    <a:pt x="78407" y="100273"/>
                  </a:cubicBezTo>
                  <a:cubicBezTo>
                    <a:pt x="78407" y="101369"/>
                    <a:pt x="78688" y="102465"/>
                    <a:pt x="78969" y="103561"/>
                  </a:cubicBezTo>
                  <a:cubicBezTo>
                    <a:pt x="78969" y="106301"/>
                    <a:pt x="81498" y="105753"/>
                    <a:pt x="82341" y="106301"/>
                  </a:cubicBezTo>
                  <a:cubicBezTo>
                    <a:pt x="82903" y="106301"/>
                    <a:pt x="83747" y="106301"/>
                    <a:pt x="84028" y="106849"/>
                  </a:cubicBezTo>
                  <a:cubicBezTo>
                    <a:pt x="84309" y="107397"/>
                    <a:pt x="85714" y="110136"/>
                    <a:pt x="85433" y="110136"/>
                  </a:cubicBezTo>
                  <a:cubicBezTo>
                    <a:pt x="84871" y="111232"/>
                    <a:pt x="84871" y="111232"/>
                    <a:pt x="84309" y="110684"/>
                  </a:cubicBezTo>
                  <a:cubicBezTo>
                    <a:pt x="84028" y="110136"/>
                    <a:pt x="82903" y="109041"/>
                    <a:pt x="82903" y="109041"/>
                  </a:cubicBezTo>
                  <a:cubicBezTo>
                    <a:pt x="82903" y="109589"/>
                    <a:pt x="83747" y="110136"/>
                    <a:pt x="83466" y="111232"/>
                  </a:cubicBezTo>
                  <a:cubicBezTo>
                    <a:pt x="83185" y="111780"/>
                    <a:pt x="82903" y="112876"/>
                    <a:pt x="82903" y="113424"/>
                  </a:cubicBezTo>
                  <a:cubicBezTo>
                    <a:pt x="82903" y="114520"/>
                    <a:pt x="82903" y="115068"/>
                    <a:pt x="82622" y="115616"/>
                  </a:cubicBezTo>
                  <a:cubicBezTo>
                    <a:pt x="82622" y="116164"/>
                    <a:pt x="81779" y="116712"/>
                    <a:pt x="81779" y="116712"/>
                  </a:cubicBezTo>
                  <a:cubicBezTo>
                    <a:pt x="81498" y="117260"/>
                    <a:pt x="80655" y="120000"/>
                    <a:pt x="81779" y="120000"/>
                  </a:cubicBezTo>
                  <a:cubicBezTo>
                    <a:pt x="82060" y="120000"/>
                    <a:pt x="82622" y="118904"/>
                    <a:pt x="83185" y="117808"/>
                  </a:cubicBezTo>
                  <a:cubicBezTo>
                    <a:pt x="83747" y="117260"/>
                    <a:pt x="84028" y="118356"/>
                    <a:pt x="84590" y="117808"/>
                  </a:cubicBezTo>
                  <a:cubicBezTo>
                    <a:pt x="85433" y="117808"/>
                    <a:pt x="85714" y="116712"/>
                    <a:pt x="86557" y="116712"/>
                  </a:cubicBezTo>
                  <a:cubicBezTo>
                    <a:pt x="86557" y="115616"/>
                    <a:pt x="86557" y="116164"/>
                    <a:pt x="85995" y="115616"/>
                  </a:cubicBezTo>
                  <a:cubicBezTo>
                    <a:pt x="85714" y="115616"/>
                    <a:pt x="85714" y="115068"/>
                    <a:pt x="85995" y="115068"/>
                  </a:cubicBezTo>
                  <a:cubicBezTo>
                    <a:pt x="86276" y="113972"/>
                    <a:pt x="86557" y="113424"/>
                    <a:pt x="87400" y="113424"/>
                  </a:cubicBezTo>
                  <a:cubicBezTo>
                    <a:pt x="87681" y="113424"/>
                    <a:pt x="88524" y="112328"/>
                    <a:pt x="89086" y="112876"/>
                  </a:cubicBezTo>
                  <a:cubicBezTo>
                    <a:pt x="89648" y="113424"/>
                    <a:pt x="89929" y="111232"/>
                    <a:pt x="90491" y="112876"/>
                  </a:cubicBezTo>
                  <a:cubicBezTo>
                    <a:pt x="91053" y="111780"/>
                    <a:pt x="91334" y="111232"/>
                    <a:pt x="91896" y="110136"/>
                  </a:cubicBezTo>
                  <a:cubicBezTo>
                    <a:pt x="92459" y="109589"/>
                    <a:pt x="92740" y="109589"/>
                    <a:pt x="93302" y="109589"/>
                  </a:cubicBezTo>
                  <a:cubicBezTo>
                    <a:pt x="94145" y="109589"/>
                    <a:pt x="95269" y="109589"/>
                    <a:pt x="96112" y="109589"/>
                  </a:cubicBezTo>
                  <a:cubicBezTo>
                    <a:pt x="96955" y="109589"/>
                    <a:pt x="97236" y="110136"/>
                    <a:pt x="97517" y="109041"/>
                  </a:cubicBezTo>
                  <a:cubicBezTo>
                    <a:pt x="97798" y="108493"/>
                    <a:pt x="98079" y="109041"/>
                    <a:pt x="98360" y="108493"/>
                  </a:cubicBezTo>
                  <a:cubicBezTo>
                    <a:pt x="98641" y="107397"/>
                    <a:pt x="98922" y="106849"/>
                    <a:pt x="98922" y="105753"/>
                  </a:cubicBezTo>
                  <a:cubicBezTo>
                    <a:pt x="99203" y="104657"/>
                    <a:pt x="99203" y="104109"/>
                    <a:pt x="99484" y="103013"/>
                  </a:cubicBezTo>
                  <a:cubicBezTo>
                    <a:pt x="99765" y="102465"/>
                    <a:pt x="100046" y="101917"/>
                    <a:pt x="100327" y="101369"/>
                  </a:cubicBezTo>
                  <a:cubicBezTo>
                    <a:pt x="100608" y="100821"/>
                    <a:pt x="100889" y="102465"/>
                    <a:pt x="101451" y="101917"/>
                  </a:cubicBezTo>
                  <a:cubicBezTo>
                    <a:pt x="102014" y="100821"/>
                    <a:pt x="102576" y="102465"/>
                    <a:pt x="102576" y="103561"/>
                  </a:cubicBezTo>
                  <a:cubicBezTo>
                    <a:pt x="102576" y="104109"/>
                    <a:pt x="102295" y="107397"/>
                    <a:pt x="102857" y="107397"/>
                  </a:cubicBezTo>
                  <a:cubicBezTo>
                    <a:pt x="103138" y="107945"/>
                    <a:pt x="103419" y="109041"/>
                    <a:pt x="103700" y="110136"/>
                  </a:cubicBezTo>
                  <a:cubicBezTo>
                    <a:pt x="103981" y="109041"/>
                    <a:pt x="107072" y="107397"/>
                    <a:pt x="107072" y="107397"/>
                  </a:cubicBezTo>
                  <a:cubicBezTo>
                    <a:pt x="107072" y="106849"/>
                    <a:pt x="106791" y="106849"/>
                    <a:pt x="106791" y="106301"/>
                  </a:cubicBezTo>
                  <a:cubicBezTo>
                    <a:pt x="106791" y="106301"/>
                    <a:pt x="107353" y="107397"/>
                    <a:pt x="107353" y="107397"/>
                  </a:cubicBezTo>
                  <a:cubicBezTo>
                    <a:pt x="107353" y="107945"/>
                    <a:pt x="106791" y="107945"/>
                    <a:pt x="106791" y="107945"/>
                  </a:cubicBezTo>
                  <a:cubicBezTo>
                    <a:pt x="106791" y="107945"/>
                    <a:pt x="108477" y="108493"/>
                    <a:pt x="108477" y="108493"/>
                  </a:cubicBezTo>
                  <a:cubicBezTo>
                    <a:pt x="108477" y="108493"/>
                    <a:pt x="108477" y="108493"/>
                    <a:pt x="108477" y="108493"/>
                  </a:cubicBezTo>
                  <a:cubicBezTo>
                    <a:pt x="108477" y="108493"/>
                    <a:pt x="108477" y="109041"/>
                    <a:pt x="108477" y="109041"/>
                  </a:cubicBezTo>
                  <a:cubicBezTo>
                    <a:pt x="108196" y="109041"/>
                    <a:pt x="107915" y="109041"/>
                    <a:pt x="107634" y="109589"/>
                  </a:cubicBezTo>
                  <a:cubicBezTo>
                    <a:pt x="107634" y="110136"/>
                    <a:pt x="107353" y="108493"/>
                    <a:pt x="107353" y="108493"/>
                  </a:cubicBezTo>
                  <a:cubicBezTo>
                    <a:pt x="107072" y="108493"/>
                    <a:pt x="107072" y="109041"/>
                    <a:pt x="107072" y="109041"/>
                  </a:cubicBezTo>
                  <a:cubicBezTo>
                    <a:pt x="107072" y="109041"/>
                    <a:pt x="107072" y="108493"/>
                    <a:pt x="106791" y="109041"/>
                  </a:cubicBezTo>
                  <a:cubicBezTo>
                    <a:pt x="106510" y="109589"/>
                    <a:pt x="106229" y="109589"/>
                    <a:pt x="105948" y="110136"/>
                  </a:cubicBezTo>
                  <a:cubicBezTo>
                    <a:pt x="105386" y="110684"/>
                    <a:pt x="104262" y="112328"/>
                    <a:pt x="104824" y="113972"/>
                  </a:cubicBezTo>
                  <a:cubicBezTo>
                    <a:pt x="105667" y="115068"/>
                    <a:pt x="106229" y="113972"/>
                    <a:pt x="106510" y="113424"/>
                  </a:cubicBezTo>
                  <a:cubicBezTo>
                    <a:pt x="106791" y="112876"/>
                    <a:pt x="107915" y="111232"/>
                    <a:pt x="107915" y="110684"/>
                  </a:cubicBezTo>
                  <a:cubicBezTo>
                    <a:pt x="107915" y="111232"/>
                    <a:pt x="108477" y="111780"/>
                    <a:pt x="108758" y="111232"/>
                  </a:cubicBezTo>
                  <a:cubicBezTo>
                    <a:pt x="108758" y="110684"/>
                    <a:pt x="109601" y="110136"/>
                    <a:pt x="109882" y="110136"/>
                  </a:cubicBezTo>
                  <a:cubicBezTo>
                    <a:pt x="110444" y="109589"/>
                    <a:pt x="111007" y="109041"/>
                    <a:pt x="111569" y="109041"/>
                  </a:cubicBezTo>
                  <a:cubicBezTo>
                    <a:pt x="111850" y="109041"/>
                    <a:pt x="111850" y="109041"/>
                    <a:pt x="111850" y="108493"/>
                  </a:cubicBezTo>
                  <a:cubicBezTo>
                    <a:pt x="111569" y="107945"/>
                    <a:pt x="111850" y="107945"/>
                    <a:pt x="111850" y="107945"/>
                  </a:cubicBezTo>
                  <a:cubicBezTo>
                    <a:pt x="111850" y="107397"/>
                    <a:pt x="111288" y="107945"/>
                    <a:pt x="111007" y="107397"/>
                  </a:cubicBezTo>
                  <a:cubicBezTo>
                    <a:pt x="110725" y="107397"/>
                    <a:pt x="111007" y="106301"/>
                    <a:pt x="110444" y="107397"/>
                  </a:cubicBezTo>
                  <a:cubicBezTo>
                    <a:pt x="109882" y="107945"/>
                    <a:pt x="108758" y="107397"/>
                    <a:pt x="108196" y="106849"/>
                  </a:cubicBezTo>
                  <a:cubicBezTo>
                    <a:pt x="107915" y="106849"/>
                    <a:pt x="108196" y="105753"/>
                    <a:pt x="107915" y="105753"/>
                  </a:cubicBezTo>
                  <a:cubicBezTo>
                    <a:pt x="107915" y="105753"/>
                    <a:pt x="107353" y="105753"/>
                    <a:pt x="107072" y="105205"/>
                  </a:cubicBezTo>
                  <a:cubicBezTo>
                    <a:pt x="106791" y="105205"/>
                    <a:pt x="106791" y="103561"/>
                    <a:pt x="106791" y="103013"/>
                  </a:cubicBezTo>
                  <a:cubicBezTo>
                    <a:pt x="106791" y="102465"/>
                    <a:pt x="106229" y="103013"/>
                    <a:pt x="105948" y="102465"/>
                  </a:cubicBezTo>
                  <a:cubicBezTo>
                    <a:pt x="105948" y="102465"/>
                    <a:pt x="106510" y="101369"/>
                    <a:pt x="106510" y="101369"/>
                  </a:cubicBezTo>
                  <a:cubicBezTo>
                    <a:pt x="106791" y="100821"/>
                    <a:pt x="106791" y="99178"/>
                    <a:pt x="106229" y="99178"/>
                  </a:cubicBezTo>
                  <a:cubicBezTo>
                    <a:pt x="106229" y="99178"/>
                    <a:pt x="105667" y="101369"/>
                    <a:pt x="105386" y="100273"/>
                  </a:cubicBezTo>
                  <a:cubicBezTo>
                    <a:pt x="105386" y="99178"/>
                    <a:pt x="105105" y="99726"/>
                    <a:pt x="104824" y="99178"/>
                  </a:cubicBezTo>
                  <a:cubicBezTo>
                    <a:pt x="104824" y="98630"/>
                    <a:pt x="105667" y="99178"/>
                    <a:pt x="105667" y="99178"/>
                  </a:cubicBezTo>
                  <a:cubicBezTo>
                    <a:pt x="106229" y="99178"/>
                    <a:pt x="106510" y="98630"/>
                    <a:pt x="106791" y="98630"/>
                  </a:cubicBezTo>
                  <a:cubicBezTo>
                    <a:pt x="107072" y="98082"/>
                    <a:pt x="107353" y="98082"/>
                    <a:pt x="107634" y="98082"/>
                  </a:cubicBezTo>
                  <a:cubicBezTo>
                    <a:pt x="107915" y="97534"/>
                    <a:pt x="107353" y="96438"/>
                    <a:pt x="107353" y="96438"/>
                  </a:cubicBezTo>
                  <a:cubicBezTo>
                    <a:pt x="107353" y="96438"/>
                    <a:pt x="107634" y="96438"/>
                    <a:pt x="107634" y="96438"/>
                  </a:cubicBezTo>
                  <a:cubicBezTo>
                    <a:pt x="107634" y="96438"/>
                    <a:pt x="106510" y="95342"/>
                    <a:pt x="106510" y="95342"/>
                  </a:cubicBezTo>
                  <a:cubicBezTo>
                    <a:pt x="105948" y="94794"/>
                    <a:pt x="105386" y="94794"/>
                    <a:pt x="104824" y="95342"/>
                  </a:cubicBezTo>
                  <a:cubicBezTo>
                    <a:pt x="103700" y="95890"/>
                    <a:pt x="102857" y="96438"/>
                    <a:pt x="102014" y="97534"/>
                  </a:cubicBezTo>
                  <a:cubicBezTo>
                    <a:pt x="101170" y="98082"/>
                    <a:pt x="100608" y="99178"/>
                    <a:pt x="99765" y="100273"/>
                  </a:cubicBezTo>
                  <a:cubicBezTo>
                    <a:pt x="99484" y="100821"/>
                    <a:pt x="99203" y="101369"/>
                    <a:pt x="98922" y="102465"/>
                  </a:cubicBezTo>
                  <a:cubicBezTo>
                    <a:pt x="98922" y="102465"/>
                    <a:pt x="97798" y="103561"/>
                    <a:pt x="97798" y="103561"/>
                  </a:cubicBezTo>
                  <a:cubicBezTo>
                    <a:pt x="97798" y="103013"/>
                    <a:pt x="99203" y="100821"/>
                    <a:pt x="99484" y="100273"/>
                  </a:cubicBezTo>
                  <a:cubicBezTo>
                    <a:pt x="99484" y="99726"/>
                    <a:pt x="99765" y="99178"/>
                    <a:pt x="99484" y="98630"/>
                  </a:cubicBezTo>
                  <a:cubicBezTo>
                    <a:pt x="99203" y="98630"/>
                    <a:pt x="98641" y="98082"/>
                    <a:pt x="98360" y="98082"/>
                  </a:cubicBezTo>
                  <a:cubicBezTo>
                    <a:pt x="98641" y="98082"/>
                    <a:pt x="99203" y="98630"/>
                    <a:pt x="99484" y="98630"/>
                  </a:cubicBezTo>
                  <a:cubicBezTo>
                    <a:pt x="100046" y="99178"/>
                    <a:pt x="100608" y="97534"/>
                    <a:pt x="100889" y="96986"/>
                  </a:cubicBezTo>
                  <a:cubicBezTo>
                    <a:pt x="101170" y="96438"/>
                    <a:pt x="101451" y="95342"/>
                    <a:pt x="102014" y="94794"/>
                  </a:cubicBezTo>
                  <a:cubicBezTo>
                    <a:pt x="102576" y="94794"/>
                    <a:pt x="103138" y="95342"/>
                    <a:pt x="103419" y="94246"/>
                  </a:cubicBezTo>
                  <a:cubicBezTo>
                    <a:pt x="103700" y="92054"/>
                    <a:pt x="104262" y="91506"/>
                    <a:pt x="105386" y="91506"/>
                  </a:cubicBezTo>
                  <a:cubicBezTo>
                    <a:pt x="106510" y="91506"/>
                    <a:pt x="107634" y="91506"/>
                    <a:pt x="108758" y="91506"/>
                  </a:cubicBezTo>
                  <a:cubicBezTo>
                    <a:pt x="110725" y="91506"/>
                    <a:pt x="113536" y="92602"/>
                    <a:pt x="114941" y="89315"/>
                  </a:cubicBezTo>
                  <a:cubicBezTo>
                    <a:pt x="115503" y="88219"/>
                    <a:pt x="115784" y="87671"/>
                    <a:pt x="116346" y="87671"/>
                  </a:cubicBezTo>
                  <a:cubicBezTo>
                    <a:pt x="116908" y="87671"/>
                    <a:pt x="117470" y="87671"/>
                    <a:pt x="118313" y="86575"/>
                  </a:cubicBezTo>
                  <a:cubicBezTo>
                    <a:pt x="118594" y="86575"/>
                    <a:pt x="119437" y="85479"/>
                    <a:pt x="119437" y="84931"/>
                  </a:cubicBezTo>
                  <a:cubicBezTo>
                    <a:pt x="120000" y="83287"/>
                    <a:pt x="118594" y="83835"/>
                    <a:pt x="118594" y="83287"/>
                  </a:cubicBezTo>
                  <a:cubicBezTo>
                    <a:pt x="118594" y="82739"/>
                    <a:pt x="119156" y="82739"/>
                    <a:pt x="119156" y="82739"/>
                  </a:cubicBezTo>
                  <a:cubicBezTo>
                    <a:pt x="119437" y="82191"/>
                    <a:pt x="119156" y="81643"/>
                    <a:pt x="119156" y="81095"/>
                  </a:cubicBezTo>
                  <a:cubicBezTo>
                    <a:pt x="119156" y="81095"/>
                    <a:pt x="119437" y="80547"/>
                    <a:pt x="119437" y="80547"/>
                  </a:cubicBezTo>
                  <a:cubicBezTo>
                    <a:pt x="119437" y="80000"/>
                    <a:pt x="118875" y="79452"/>
                    <a:pt x="118875" y="79452"/>
                  </a:cubicBezTo>
                  <a:cubicBezTo>
                    <a:pt x="118594" y="78904"/>
                    <a:pt x="118313" y="78904"/>
                    <a:pt x="118313" y="78356"/>
                  </a:cubicBezTo>
                  <a:cubicBezTo>
                    <a:pt x="118032" y="78356"/>
                    <a:pt x="117470" y="80000"/>
                    <a:pt x="117189" y="78904"/>
                  </a:cubicBezTo>
                  <a:cubicBezTo>
                    <a:pt x="117189" y="78904"/>
                    <a:pt x="117751" y="78356"/>
                    <a:pt x="117470" y="78356"/>
                  </a:cubicBezTo>
                  <a:cubicBezTo>
                    <a:pt x="117470" y="77808"/>
                    <a:pt x="117189" y="77260"/>
                    <a:pt x="116908" y="77260"/>
                  </a:cubicBezTo>
                  <a:cubicBezTo>
                    <a:pt x="116627" y="76712"/>
                    <a:pt x="115503" y="77260"/>
                    <a:pt x="115222" y="77808"/>
                  </a:cubicBezTo>
                  <a:cubicBezTo>
                    <a:pt x="114941" y="78904"/>
                    <a:pt x="114098" y="79452"/>
                    <a:pt x="113536" y="80000"/>
                  </a:cubicBezTo>
                  <a:cubicBezTo>
                    <a:pt x="113255" y="80000"/>
                    <a:pt x="112412" y="78904"/>
                    <a:pt x="112412" y="78356"/>
                  </a:cubicBezTo>
                  <a:cubicBezTo>
                    <a:pt x="112412" y="77808"/>
                    <a:pt x="113255" y="79452"/>
                    <a:pt x="113255" y="79452"/>
                  </a:cubicBezTo>
                  <a:cubicBezTo>
                    <a:pt x="113536" y="79452"/>
                    <a:pt x="114660" y="77808"/>
                    <a:pt x="114660" y="77808"/>
                  </a:cubicBezTo>
                  <a:cubicBezTo>
                    <a:pt x="114660" y="77808"/>
                    <a:pt x="114098" y="77260"/>
                    <a:pt x="114098" y="77260"/>
                  </a:cubicBezTo>
                  <a:cubicBezTo>
                    <a:pt x="114941" y="76712"/>
                    <a:pt x="115784" y="76712"/>
                    <a:pt x="116627" y="76164"/>
                  </a:cubicBezTo>
                  <a:cubicBezTo>
                    <a:pt x="116627" y="76164"/>
                    <a:pt x="117189" y="75616"/>
                    <a:pt x="116908" y="75068"/>
                  </a:cubicBezTo>
                  <a:cubicBezTo>
                    <a:pt x="116908" y="75068"/>
                    <a:pt x="116346" y="73972"/>
                    <a:pt x="116346" y="73972"/>
                  </a:cubicBezTo>
                  <a:cubicBezTo>
                    <a:pt x="115784" y="74520"/>
                    <a:pt x="115222" y="74520"/>
                    <a:pt x="114941" y="73424"/>
                  </a:cubicBezTo>
                  <a:cubicBezTo>
                    <a:pt x="114660" y="73424"/>
                    <a:pt x="113536" y="75068"/>
                    <a:pt x="113536" y="74520"/>
                  </a:cubicBezTo>
                  <a:cubicBezTo>
                    <a:pt x="113536" y="74520"/>
                    <a:pt x="114379" y="72876"/>
                    <a:pt x="113536" y="73424"/>
                  </a:cubicBezTo>
                  <a:cubicBezTo>
                    <a:pt x="113536" y="73424"/>
                    <a:pt x="112412" y="73972"/>
                    <a:pt x="112412" y="73972"/>
                  </a:cubicBezTo>
                  <a:cubicBezTo>
                    <a:pt x="112693" y="72876"/>
                    <a:pt x="113536" y="72876"/>
                    <a:pt x="112974" y="71232"/>
                  </a:cubicBezTo>
                  <a:cubicBezTo>
                    <a:pt x="112974" y="71232"/>
                    <a:pt x="111850" y="70136"/>
                    <a:pt x="111850" y="70136"/>
                  </a:cubicBezTo>
                  <a:cubicBezTo>
                    <a:pt x="111288" y="70136"/>
                    <a:pt x="111288" y="69041"/>
                    <a:pt x="110725" y="69041"/>
                  </a:cubicBezTo>
                  <a:cubicBezTo>
                    <a:pt x="111007" y="69041"/>
                    <a:pt x="110163" y="66849"/>
                    <a:pt x="110163" y="66849"/>
                  </a:cubicBezTo>
                  <a:cubicBezTo>
                    <a:pt x="110163" y="66849"/>
                    <a:pt x="110444" y="67397"/>
                    <a:pt x="110725" y="67397"/>
                  </a:cubicBezTo>
                  <a:cubicBezTo>
                    <a:pt x="111007" y="67945"/>
                    <a:pt x="111007" y="66849"/>
                    <a:pt x="111288" y="66849"/>
                  </a:cubicBezTo>
                  <a:cubicBezTo>
                    <a:pt x="112412" y="66301"/>
                    <a:pt x="110444" y="64657"/>
                    <a:pt x="110163" y="64109"/>
                  </a:cubicBezTo>
                  <a:cubicBezTo>
                    <a:pt x="110163" y="64657"/>
                    <a:pt x="110725" y="63561"/>
                    <a:pt x="110725" y="63561"/>
                  </a:cubicBezTo>
                  <a:cubicBezTo>
                    <a:pt x="111007" y="63013"/>
                    <a:pt x="110444" y="63013"/>
                    <a:pt x="110163" y="62465"/>
                  </a:cubicBezTo>
                  <a:cubicBezTo>
                    <a:pt x="110163" y="62465"/>
                    <a:pt x="109882" y="61917"/>
                    <a:pt x="109601" y="61917"/>
                  </a:cubicBezTo>
                  <a:cubicBezTo>
                    <a:pt x="109601" y="61917"/>
                    <a:pt x="109039" y="61917"/>
                    <a:pt x="109039" y="61917"/>
                  </a:cubicBezTo>
                  <a:cubicBezTo>
                    <a:pt x="109320" y="61369"/>
                    <a:pt x="109882" y="61917"/>
                    <a:pt x="109601" y="60273"/>
                  </a:cubicBezTo>
                  <a:cubicBezTo>
                    <a:pt x="109320" y="60273"/>
                    <a:pt x="108477" y="60821"/>
                    <a:pt x="108477" y="60821"/>
                  </a:cubicBezTo>
                  <a:cubicBezTo>
                    <a:pt x="108477" y="60273"/>
                    <a:pt x="109320" y="60273"/>
                    <a:pt x="109039" y="59178"/>
                  </a:cubicBezTo>
                  <a:cubicBezTo>
                    <a:pt x="109039" y="58630"/>
                    <a:pt x="109039" y="58082"/>
                    <a:pt x="108758" y="57534"/>
                  </a:cubicBezTo>
                  <a:cubicBezTo>
                    <a:pt x="108758" y="57534"/>
                    <a:pt x="108477" y="58082"/>
                    <a:pt x="108477" y="57534"/>
                  </a:cubicBezTo>
                  <a:cubicBezTo>
                    <a:pt x="108477" y="58082"/>
                    <a:pt x="107915" y="55890"/>
                    <a:pt x="107915" y="55890"/>
                  </a:cubicBezTo>
                  <a:cubicBezTo>
                    <a:pt x="107634" y="54794"/>
                    <a:pt x="107353" y="54246"/>
                    <a:pt x="107353" y="53698"/>
                  </a:cubicBezTo>
                  <a:cubicBezTo>
                    <a:pt x="107072" y="52602"/>
                    <a:pt x="107072" y="51506"/>
                    <a:pt x="106510" y="53150"/>
                  </a:cubicBezTo>
                  <a:cubicBezTo>
                    <a:pt x="106510" y="53150"/>
                    <a:pt x="106229" y="55342"/>
                    <a:pt x="106510" y="54794"/>
                  </a:cubicBezTo>
                  <a:cubicBezTo>
                    <a:pt x="105386" y="55342"/>
                    <a:pt x="105948" y="55342"/>
                    <a:pt x="106229" y="56986"/>
                  </a:cubicBezTo>
                  <a:cubicBezTo>
                    <a:pt x="106229" y="56438"/>
                    <a:pt x="105948" y="56438"/>
                    <a:pt x="105948" y="56986"/>
                  </a:cubicBezTo>
                  <a:cubicBezTo>
                    <a:pt x="105667" y="56986"/>
                    <a:pt x="105667" y="56986"/>
                    <a:pt x="105386" y="57534"/>
                  </a:cubicBezTo>
                  <a:cubicBezTo>
                    <a:pt x="105386" y="57534"/>
                    <a:pt x="105948" y="58082"/>
                    <a:pt x="105948" y="58082"/>
                  </a:cubicBezTo>
                  <a:cubicBezTo>
                    <a:pt x="105667" y="58630"/>
                    <a:pt x="105105" y="58082"/>
                    <a:pt x="105105" y="58630"/>
                  </a:cubicBezTo>
                  <a:cubicBezTo>
                    <a:pt x="104824" y="59178"/>
                    <a:pt x="105386" y="60273"/>
                    <a:pt x="104824" y="60821"/>
                  </a:cubicBezTo>
                  <a:cubicBezTo>
                    <a:pt x="105105" y="60821"/>
                    <a:pt x="104543" y="58630"/>
                    <a:pt x="103981" y="59726"/>
                  </a:cubicBezTo>
                  <a:cubicBezTo>
                    <a:pt x="103981" y="60273"/>
                    <a:pt x="102857" y="61917"/>
                    <a:pt x="102857" y="61917"/>
                  </a:cubicBezTo>
                  <a:cubicBezTo>
                    <a:pt x="102576" y="61917"/>
                    <a:pt x="102576" y="61369"/>
                    <a:pt x="102576" y="60821"/>
                  </a:cubicBezTo>
                  <a:cubicBezTo>
                    <a:pt x="102295" y="60821"/>
                    <a:pt x="102295" y="61369"/>
                    <a:pt x="102295" y="61369"/>
                  </a:cubicBezTo>
                  <a:cubicBezTo>
                    <a:pt x="102014" y="60821"/>
                    <a:pt x="102295" y="60821"/>
                    <a:pt x="102295" y="60273"/>
                  </a:cubicBezTo>
                  <a:cubicBezTo>
                    <a:pt x="102295" y="60821"/>
                    <a:pt x="100327" y="63561"/>
                    <a:pt x="100327" y="63013"/>
                  </a:cubicBezTo>
                  <a:cubicBezTo>
                    <a:pt x="100046" y="62465"/>
                    <a:pt x="101170" y="61917"/>
                    <a:pt x="101451" y="61917"/>
                  </a:cubicBezTo>
                  <a:cubicBezTo>
                    <a:pt x="102014" y="60821"/>
                    <a:pt x="102014" y="60273"/>
                    <a:pt x="101733" y="59178"/>
                  </a:cubicBezTo>
                  <a:cubicBezTo>
                    <a:pt x="101451" y="58630"/>
                    <a:pt x="100608" y="58630"/>
                    <a:pt x="100327" y="58630"/>
                  </a:cubicBezTo>
                  <a:cubicBezTo>
                    <a:pt x="100046" y="58630"/>
                    <a:pt x="100046" y="59178"/>
                    <a:pt x="100046" y="59178"/>
                  </a:cubicBezTo>
                  <a:cubicBezTo>
                    <a:pt x="99765" y="60273"/>
                    <a:pt x="99203" y="59178"/>
                    <a:pt x="98922" y="59178"/>
                  </a:cubicBezTo>
                  <a:cubicBezTo>
                    <a:pt x="99203" y="59178"/>
                    <a:pt x="99765" y="58082"/>
                    <a:pt x="99765" y="58082"/>
                  </a:cubicBezTo>
                  <a:cubicBezTo>
                    <a:pt x="99765" y="58082"/>
                    <a:pt x="100046" y="58630"/>
                    <a:pt x="100046" y="58630"/>
                  </a:cubicBezTo>
                  <a:cubicBezTo>
                    <a:pt x="99765" y="58630"/>
                    <a:pt x="100327" y="57534"/>
                    <a:pt x="100327" y="57534"/>
                  </a:cubicBezTo>
                  <a:cubicBezTo>
                    <a:pt x="100608" y="56438"/>
                    <a:pt x="100046" y="56986"/>
                    <a:pt x="99765" y="56438"/>
                  </a:cubicBezTo>
                  <a:cubicBezTo>
                    <a:pt x="99765" y="56438"/>
                    <a:pt x="100046" y="53698"/>
                    <a:pt x="99484" y="54246"/>
                  </a:cubicBezTo>
                  <a:cubicBezTo>
                    <a:pt x="99765" y="53698"/>
                    <a:pt x="100046" y="53698"/>
                    <a:pt x="99765" y="52602"/>
                  </a:cubicBezTo>
                  <a:cubicBezTo>
                    <a:pt x="99203" y="52054"/>
                    <a:pt x="100327" y="51506"/>
                    <a:pt x="100046" y="50410"/>
                  </a:cubicBezTo>
                  <a:cubicBezTo>
                    <a:pt x="100046" y="49863"/>
                    <a:pt x="99484" y="50958"/>
                    <a:pt x="99203" y="50410"/>
                  </a:cubicBezTo>
                  <a:cubicBezTo>
                    <a:pt x="98922" y="49863"/>
                    <a:pt x="98360" y="49863"/>
                    <a:pt x="98079" y="49863"/>
                  </a:cubicBezTo>
                  <a:cubicBezTo>
                    <a:pt x="97517" y="49315"/>
                    <a:pt x="97236" y="49315"/>
                    <a:pt x="96955" y="48219"/>
                  </a:cubicBezTo>
                  <a:cubicBezTo>
                    <a:pt x="96955" y="47123"/>
                    <a:pt x="96112" y="47671"/>
                    <a:pt x="96112" y="46575"/>
                  </a:cubicBezTo>
                  <a:cubicBezTo>
                    <a:pt x="96112" y="46027"/>
                    <a:pt x="95550" y="46575"/>
                    <a:pt x="95550" y="46575"/>
                  </a:cubicBezTo>
                  <a:cubicBezTo>
                    <a:pt x="95831" y="45479"/>
                    <a:pt x="95269" y="45479"/>
                    <a:pt x="94988" y="44931"/>
                  </a:cubicBezTo>
                  <a:cubicBezTo>
                    <a:pt x="94426" y="44383"/>
                    <a:pt x="94426" y="43835"/>
                    <a:pt x="93864" y="44383"/>
                  </a:cubicBezTo>
                  <a:cubicBezTo>
                    <a:pt x="93302" y="44931"/>
                    <a:pt x="93021" y="45479"/>
                    <a:pt x="92459" y="44931"/>
                  </a:cubicBezTo>
                  <a:cubicBezTo>
                    <a:pt x="91896" y="44383"/>
                    <a:pt x="91615" y="45479"/>
                    <a:pt x="91053" y="44931"/>
                  </a:cubicBezTo>
                  <a:cubicBezTo>
                    <a:pt x="90491" y="43835"/>
                    <a:pt x="89929" y="43835"/>
                    <a:pt x="89367" y="43835"/>
                  </a:cubicBezTo>
                  <a:cubicBezTo>
                    <a:pt x="88805" y="43835"/>
                    <a:pt x="88243" y="43835"/>
                    <a:pt x="87962" y="44931"/>
                  </a:cubicBezTo>
                  <a:cubicBezTo>
                    <a:pt x="87681" y="46027"/>
                    <a:pt x="88524" y="46575"/>
                    <a:pt x="88524" y="47123"/>
                  </a:cubicBezTo>
                  <a:cubicBezTo>
                    <a:pt x="88805" y="47671"/>
                    <a:pt x="88524" y="49315"/>
                    <a:pt x="88243" y="49863"/>
                  </a:cubicBezTo>
                  <a:cubicBezTo>
                    <a:pt x="88243" y="50410"/>
                    <a:pt x="88243" y="49863"/>
                    <a:pt x="87962" y="50410"/>
                  </a:cubicBezTo>
                  <a:cubicBezTo>
                    <a:pt x="87962" y="50410"/>
                    <a:pt x="88524" y="51506"/>
                    <a:pt x="88524" y="51506"/>
                  </a:cubicBezTo>
                  <a:cubicBezTo>
                    <a:pt x="88524" y="52602"/>
                    <a:pt x="88805" y="53698"/>
                    <a:pt x="88805" y="54246"/>
                  </a:cubicBezTo>
                  <a:cubicBezTo>
                    <a:pt x="88805" y="54794"/>
                    <a:pt x="88805" y="54794"/>
                    <a:pt x="88805" y="55342"/>
                  </a:cubicBezTo>
                  <a:cubicBezTo>
                    <a:pt x="88805" y="55890"/>
                    <a:pt x="88524" y="55342"/>
                    <a:pt x="88524" y="55342"/>
                  </a:cubicBezTo>
                  <a:cubicBezTo>
                    <a:pt x="88243" y="55890"/>
                    <a:pt x="88243" y="56986"/>
                    <a:pt x="88243" y="56986"/>
                  </a:cubicBezTo>
                  <a:cubicBezTo>
                    <a:pt x="87962" y="57534"/>
                    <a:pt x="87681" y="58082"/>
                    <a:pt x="87681" y="58630"/>
                  </a:cubicBezTo>
                  <a:cubicBezTo>
                    <a:pt x="87400" y="59726"/>
                    <a:pt x="87400" y="59726"/>
                    <a:pt x="87681" y="60273"/>
                  </a:cubicBezTo>
                  <a:cubicBezTo>
                    <a:pt x="88524" y="61369"/>
                    <a:pt x="89367" y="62465"/>
                    <a:pt x="89929" y="63561"/>
                  </a:cubicBezTo>
                  <a:cubicBezTo>
                    <a:pt x="90210" y="65205"/>
                    <a:pt x="90491" y="67945"/>
                    <a:pt x="90210" y="69589"/>
                  </a:cubicBezTo>
                  <a:cubicBezTo>
                    <a:pt x="89648" y="71780"/>
                    <a:pt x="87962" y="72876"/>
                    <a:pt x="87119" y="73972"/>
                  </a:cubicBezTo>
                  <a:cubicBezTo>
                    <a:pt x="86838" y="74520"/>
                    <a:pt x="86557" y="74520"/>
                    <a:pt x="86276" y="75068"/>
                  </a:cubicBezTo>
                  <a:cubicBezTo>
                    <a:pt x="85433" y="75616"/>
                    <a:pt x="86557" y="77260"/>
                    <a:pt x="86557" y="78356"/>
                  </a:cubicBezTo>
                  <a:cubicBezTo>
                    <a:pt x="86557" y="78356"/>
                    <a:pt x="86838" y="79452"/>
                    <a:pt x="86838" y="80000"/>
                  </a:cubicBezTo>
                  <a:cubicBezTo>
                    <a:pt x="86838" y="81095"/>
                    <a:pt x="86838" y="81643"/>
                    <a:pt x="87119" y="82739"/>
                  </a:cubicBezTo>
                  <a:cubicBezTo>
                    <a:pt x="87400" y="83835"/>
                    <a:pt x="87400" y="84383"/>
                    <a:pt x="86838" y="85479"/>
                  </a:cubicBezTo>
                  <a:cubicBezTo>
                    <a:pt x="86838" y="85479"/>
                    <a:pt x="87119" y="87671"/>
                    <a:pt x="86838" y="88219"/>
                  </a:cubicBezTo>
                  <a:cubicBezTo>
                    <a:pt x="86557" y="88219"/>
                    <a:pt x="86276" y="86027"/>
                    <a:pt x="85995" y="87123"/>
                  </a:cubicBezTo>
                  <a:cubicBezTo>
                    <a:pt x="85714" y="88219"/>
                    <a:pt x="86276" y="89863"/>
                    <a:pt x="86276" y="89863"/>
                  </a:cubicBezTo>
                  <a:cubicBezTo>
                    <a:pt x="86276" y="89315"/>
                    <a:pt x="84590" y="86575"/>
                    <a:pt x="83747" y="88219"/>
                  </a:cubicBezTo>
                  <a:cubicBezTo>
                    <a:pt x="84028" y="87671"/>
                    <a:pt x="84871" y="87123"/>
                    <a:pt x="84309" y="86027"/>
                  </a:cubicBezTo>
                  <a:cubicBezTo>
                    <a:pt x="84028" y="85479"/>
                    <a:pt x="83747" y="84931"/>
                    <a:pt x="83466" y="84931"/>
                  </a:cubicBezTo>
                  <a:cubicBezTo>
                    <a:pt x="83466" y="84383"/>
                    <a:pt x="82903" y="84383"/>
                    <a:pt x="82622" y="84383"/>
                  </a:cubicBezTo>
                  <a:cubicBezTo>
                    <a:pt x="82622" y="83835"/>
                    <a:pt x="82903" y="83835"/>
                    <a:pt x="82622" y="82739"/>
                  </a:cubicBezTo>
                  <a:cubicBezTo>
                    <a:pt x="82341" y="82191"/>
                    <a:pt x="82060" y="81095"/>
                    <a:pt x="82341" y="80000"/>
                  </a:cubicBezTo>
                  <a:cubicBezTo>
                    <a:pt x="82622" y="78356"/>
                    <a:pt x="81779" y="77808"/>
                    <a:pt x="81779" y="76712"/>
                  </a:cubicBezTo>
                  <a:cubicBezTo>
                    <a:pt x="81779" y="75616"/>
                    <a:pt x="82341" y="75068"/>
                    <a:pt x="82060" y="73972"/>
                  </a:cubicBezTo>
                  <a:cubicBezTo>
                    <a:pt x="81498" y="72876"/>
                    <a:pt x="80374" y="72876"/>
                    <a:pt x="79531" y="72876"/>
                  </a:cubicBezTo>
                  <a:cubicBezTo>
                    <a:pt x="79250" y="72876"/>
                    <a:pt x="78969" y="72876"/>
                    <a:pt x="78407" y="72876"/>
                  </a:cubicBezTo>
                  <a:cubicBezTo>
                    <a:pt x="78407" y="72876"/>
                    <a:pt x="77845" y="73972"/>
                    <a:pt x="77845" y="73972"/>
                  </a:cubicBezTo>
                  <a:cubicBezTo>
                    <a:pt x="77845" y="73424"/>
                    <a:pt x="78126" y="73424"/>
                    <a:pt x="77845" y="72876"/>
                  </a:cubicBezTo>
                  <a:cubicBezTo>
                    <a:pt x="77845" y="72328"/>
                    <a:pt x="77564" y="71780"/>
                    <a:pt x="77283" y="71780"/>
                  </a:cubicBezTo>
                  <a:cubicBezTo>
                    <a:pt x="76721" y="71232"/>
                    <a:pt x="76159" y="71232"/>
                    <a:pt x="75597" y="70684"/>
                  </a:cubicBezTo>
                  <a:cubicBezTo>
                    <a:pt x="74754" y="70136"/>
                    <a:pt x="74192" y="68493"/>
                    <a:pt x="73348" y="67397"/>
                  </a:cubicBezTo>
                  <a:cubicBezTo>
                    <a:pt x="72786" y="66849"/>
                    <a:pt x="72224" y="66301"/>
                    <a:pt x="71943" y="66301"/>
                  </a:cubicBezTo>
                  <a:cubicBezTo>
                    <a:pt x="71381" y="66301"/>
                    <a:pt x="70819" y="65205"/>
                    <a:pt x="70257" y="65205"/>
                  </a:cubicBezTo>
                  <a:cubicBezTo>
                    <a:pt x="69976" y="65205"/>
                    <a:pt x="67447" y="66301"/>
                    <a:pt x="67447" y="66301"/>
                  </a:cubicBezTo>
                  <a:cubicBezTo>
                    <a:pt x="67447" y="65753"/>
                    <a:pt x="67728" y="65753"/>
                    <a:pt x="68009" y="65205"/>
                  </a:cubicBezTo>
                  <a:cubicBezTo>
                    <a:pt x="68009" y="64657"/>
                    <a:pt x="67728" y="64109"/>
                    <a:pt x="67728" y="64109"/>
                  </a:cubicBezTo>
                  <a:cubicBezTo>
                    <a:pt x="67447" y="62465"/>
                    <a:pt x="67166" y="61369"/>
                    <a:pt x="66885" y="60273"/>
                  </a:cubicBezTo>
                  <a:cubicBezTo>
                    <a:pt x="66604" y="59178"/>
                    <a:pt x="66323" y="59178"/>
                    <a:pt x="65761" y="59178"/>
                  </a:cubicBezTo>
                  <a:cubicBezTo>
                    <a:pt x="64918" y="59178"/>
                    <a:pt x="64637" y="59178"/>
                    <a:pt x="64637" y="57534"/>
                  </a:cubicBezTo>
                  <a:cubicBezTo>
                    <a:pt x="64918" y="56438"/>
                    <a:pt x="64637" y="54794"/>
                    <a:pt x="64637" y="53698"/>
                  </a:cubicBezTo>
                  <a:cubicBezTo>
                    <a:pt x="64918" y="52054"/>
                    <a:pt x="65480" y="50958"/>
                    <a:pt x="65761" y="49315"/>
                  </a:cubicBezTo>
                  <a:cubicBezTo>
                    <a:pt x="66042" y="48219"/>
                    <a:pt x="66042" y="47671"/>
                    <a:pt x="66604" y="47123"/>
                  </a:cubicBezTo>
                  <a:cubicBezTo>
                    <a:pt x="66885" y="47123"/>
                    <a:pt x="66604" y="46575"/>
                    <a:pt x="66604" y="46027"/>
                  </a:cubicBezTo>
                  <a:cubicBezTo>
                    <a:pt x="66885" y="46027"/>
                    <a:pt x="67447" y="44931"/>
                    <a:pt x="67447" y="44931"/>
                  </a:cubicBezTo>
                  <a:cubicBezTo>
                    <a:pt x="67447" y="44931"/>
                    <a:pt x="67447" y="44931"/>
                    <a:pt x="67166" y="44383"/>
                  </a:cubicBezTo>
                  <a:cubicBezTo>
                    <a:pt x="67166" y="44383"/>
                    <a:pt x="67447" y="44383"/>
                    <a:pt x="67447" y="44383"/>
                  </a:cubicBezTo>
                  <a:cubicBezTo>
                    <a:pt x="67447" y="43287"/>
                    <a:pt x="68009" y="43835"/>
                    <a:pt x="68290" y="43835"/>
                  </a:cubicBezTo>
                  <a:cubicBezTo>
                    <a:pt x="68571" y="43835"/>
                    <a:pt x="68571" y="43287"/>
                    <a:pt x="68571" y="43287"/>
                  </a:cubicBezTo>
                  <a:cubicBezTo>
                    <a:pt x="68852" y="42191"/>
                    <a:pt x="68290" y="42739"/>
                    <a:pt x="68009" y="42191"/>
                  </a:cubicBezTo>
                  <a:cubicBezTo>
                    <a:pt x="68009" y="42191"/>
                    <a:pt x="68571" y="42191"/>
                    <a:pt x="68571" y="42191"/>
                  </a:cubicBezTo>
                  <a:cubicBezTo>
                    <a:pt x="68852" y="41643"/>
                    <a:pt x="69133" y="42191"/>
                    <a:pt x="69133" y="42191"/>
                  </a:cubicBezTo>
                  <a:cubicBezTo>
                    <a:pt x="69695" y="43287"/>
                    <a:pt x="69695" y="42191"/>
                    <a:pt x="70257" y="41643"/>
                  </a:cubicBezTo>
                  <a:cubicBezTo>
                    <a:pt x="70819" y="40547"/>
                    <a:pt x="69695" y="39452"/>
                    <a:pt x="69133" y="38904"/>
                  </a:cubicBezTo>
                  <a:cubicBezTo>
                    <a:pt x="68852" y="38904"/>
                    <a:pt x="67728" y="39452"/>
                    <a:pt x="67728" y="39452"/>
                  </a:cubicBezTo>
                  <a:cubicBezTo>
                    <a:pt x="67447" y="38356"/>
                    <a:pt x="68290" y="38356"/>
                    <a:pt x="67447" y="37808"/>
                  </a:cubicBezTo>
                  <a:cubicBezTo>
                    <a:pt x="67166" y="37808"/>
                    <a:pt x="65761" y="37808"/>
                    <a:pt x="65761" y="37260"/>
                  </a:cubicBezTo>
                  <a:cubicBezTo>
                    <a:pt x="65761" y="36712"/>
                    <a:pt x="66323" y="36712"/>
                    <a:pt x="66323" y="36712"/>
                  </a:cubicBezTo>
                  <a:cubicBezTo>
                    <a:pt x="66604" y="36164"/>
                    <a:pt x="66604" y="36712"/>
                    <a:pt x="66885" y="36712"/>
                  </a:cubicBezTo>
                  <a:cubicBezTo>
                    <a:pt x="66604" y="37260"/>
                    <a:pt x="67447" y="37260"/>
                    <a:pt x="67447" y="37260"/>
                  </a:cubicBezTo>
                  <a:cubicBezTo>
                    <a:pt x="68009" y="37260"/>
                    <a:pt x="68852" y="38356"/>
                    <a:pt x="69133" y="38356"/>
                  </a:cubicBezTo>
                  <a:cubicBezTo>
                    <a:pt x="69414" y="38356"/>
                    <a:pt x="69695" y="38904"/>
                    <a:pt x="69976" y="38904"/>
                  </a:cubicBezTo>
                  <a:cubicBezTo>
                    <a:pt x="70538" y="39452"/>
                    <a:pt x="70257" y="38904"/>
                    <a:pt x="70538" y="38904"/>
                  </a:cubicBezTo>
                  <a:cubicBezTo>
                    <a:pt x="70819" y="38904"/>
                    <a:pt x="71662" y="38904"/>
                    <a:pt x="71381" y="38356"/>
                  </a:cubicBezTo>
                  <a:cubicBezTo>
                    <a:pt x="71100" y="37808"/>
                    <a:pt x="71381" y="36712"/>
                    <a:pt x="71662" y="36164"/>
                  </a:cubicBezTo>
                  <a:cubicBezTo>
                    <a:pt x="71662" y="36712"/>
                    <a:pt x="72505" y="37260"/>
                    <a:pt x="72505" y="37260"/>
                  </a:cubicBezTo>
                  <a:cubicBezTo>
                    <a:pt x="73067" y="37260"/>
                    <a:pt x="73348" y="37260"/>
                    <a:pt x="73911" y="36712"/>
                  </a:cubicBezTo>
                  <a:cubicBezTo>
                    <a:pt x="74192" y="36164"/>
                    <a:pt x="74473" y="35068"/>
                    <a:pt x="74754" y="34520"/>
                  </a:cubicBezTo>
                  <a:cubicBezTo>
                    <a:pt x="75035" y="33972"/>
                    <a:pt x="75597" y="33424"/>
                    <a:pt x="75316" y="32328"/>
                  </a:cubicBezTo>
                  <a:cubicBezTo>
                    <a:pt x="75035" y="31232"/>
                    <a:pt x="74192" y="31780"/>
                    <a:pt x="73911" y="31780"/>
                  </a:cubicBezTo>
                  <a:cubicBezTo>
                    <a:pt x="73067" y="31780"/>
                    <a:pt x="72505" y="31232"/>
                    <a:pt x="71943" y="30684"/>
                  </a:cubicBezTo>
                  <a:cubicBezTo>
                    <a:pt x="71662" y="30136"/>
                    <a:pt x="71381" y="29589"/>
                    <a:pt x="70819" y="29041"/>
                  </a:cubicBezTo>
                  <a:cubicBezTo>
                    <a:pt x="70819" y="29041"/>
                    <a:pt x="69414" y="29041"/>
                    <a:pt x="69414" y="29041"/>
                  </a:cubicBezTo>
                  <a:cubicBezTo>
                    <a:pt x="69414" y="28493"/>
                    <a:pt x="70819" y="29041"/>
                    <a:pt x="71100" y="29041"/>
                  </a:cubicBezTo>
                  <a:cubicBezTo>
                    <a:pt x="71662" y="29041"/>
                    <a:pt x="71662" y="28493"/>
                    <a:pt x="72224" y="29041"/>
                  </a:cubicBezTo>
                  <a:cubicBezTo>
                    <a:pt x="73348" y="30136"/>
                    <a:pt x="74473" y="32328"/>
                    <a:pt x="75597" y="30684"/>
                  </a:cubicBezTo>
                  <a:cubicBezTo>
                    <a:pt x="76159" y="29589"/>
                    <a:pt x="76440" y="29041"/>
                    <a:pt x="76721" y="27945"/>
                  </a:cubicBezTo>
                  <a:cubicBezTo>
                    <a:pt x="77002" y="27397"/>
                    <a:pt x="75316" y="26849"/>
                    <a:pt x="76159" y="25753"/>
                  </a:cubicBezTo>
                  <a:cubicBezTo>
                    <a:pt x="76440" y="25753"/>
                    <a:pt x="77283" y="25753"/>
                    <a:pt x="77564" y="26301"/>
                  </a:cubicBezTo>
                  <a:cubicBezTo>
                    <a:pt x="78407" y="26301"/>
                    <a:pt x="78407" y="27397"/>
                    <a:pt x="79250" y="26301"/>
                  </a:cubicBezTo>
                  <a:cubicBezTo>
                    <a:pt x="79250" y="26301"/>
                    <a:pt x="80093" y="26849"/>
                    <a:pt x="79812" y="25753"/>
                  </a:cubicBezTo>
                  <a:cubicBezTo>
                    <a:pt x="79531" y="25205"/>
                    <a:pt x="78407" y="24109"/>
                    <a:pt x="78126" y="24109"/>
                  </a:cubicBezTo>
                  <a:cubicBezTo>
                    <a:pt x="78688" y="23561"/>
                    <a:pt x="79250" y="24657"/>
                    <a:pt x="79812" y="24657"/>
                  </a:cubicBezTo>
                  <a:cubicBezTo>
                    <a:pt x="80093" y="24657"/>
                    <a:pt x="80655" y="27397"/>
                    <a:pt x="81217" y="26849"/>
                  </a:cubicBezTo>
                  <a:cubicBezTo>
                    <a:pt x="81217" y="26849"/>
                    <a:pt x="80936" y="26301"/>
                    <a:pt x="80936" y="26301"/>
                  </a:cubicBezTo>
                  <a:cubicBezTo>
                    <a:pt x="81217" y="25753"/>
                    <a:pt x="81498" y="25753"/>
                    <a:pt x="82060" y="25205"/>
                  </a:cubicBezTo>
                  <a:cubicBezTo>
                    <a:pt x="82341" y="24657"/>
                    <a:pt x="83185" y="23013"/>
                    <a:pt x="83466" y="22465"/>
                  </a:cubicBezTo>
                  <a:cubicBezTo>
                    <a:pt x="83466" y="20821"/>
                    <a:pt x="82903" y="20821"/>
                    <a:pt x="82341" y="19726"/>
                  </a:cubicBezTo>
                  <a:cubicBezTo>
                    <a:pt x="82341" y="19726"/>
                    <a:pt x="81498" y="16438"/>
                    <a:pt x="81498" y="16986"/>
                  </a:cubicBezTo>
                  <a:cubicBezTo>
                    <a:pt x="81779" y="16438"/>
                    <a:pt x="82903" y="16438"/>
                    <a:pt x="83185" y="16438"/>
                  </a:cubicBezTo>
                  <a:cubicBezTo>
                    <a:pt x="84028" y="15890"/>
                    <a:pt x="82622" y="15342"/>
                    <a:pt x="82622" y="14794"/>
                  </a:cubicBezTo>
                  <a:cubicBezTo>
                    <a:pt x="82341" y="14246"/>
                    <a:pt x="83466" y="14246"/>
                    <a:pt x="83466" y="13698"/>
                  </a:cubicBezTo>
                  <a:cubicBezTo>
                    <a:pt x="83466" y="13698"/>
                    <a:pt x="80655" y="11506"/>
                    <a:pt x="80655" y="11506"/>
                  </a:cubicBezTo>
                  <a:cubicBezTo>
                    <a:pt x="80936" y="11506"/>
                    <a:pt x="81498" y="10958"/>
                    <a:pt x="81779" y="10958"/>
                  </a:cubicBezTo>
                  <a:cubicBezTo>
                    <a:pt x="80936" y="10958"/>
                    <a:pt x="80093" y="10410"/>
                    <a:pt x="79250" y="10410"/>
                  </a:cubicBezTo>
                  <a:cubicBezTo>
                    <a:pt x="78688" y="10410"/>
                    <a:pt x="77845" y="10958"/>
                    <a:pt x="77564" y="10410"/>
                  </a:cubicBezTo>
                  <a:cubicBezTo>
                    <a:pt x="78126" y="10958"/>
                    <a:pt x="77283" y="11506"/>
                    <a:pt x="77564" y="12602"/>
                  </a:cubicBezTo>
                  <a:cubicBezTo>
                    <a:pt x="77845" y="13150"/>
                    <a:pt x="78688" y="13698"/>
                    <a:pt x="78688" y="14246"/>
                  </a:cubicBezTo>
                  <a:cubicBezTo>
                    <a:pt x="78688" y="14246"/>
                    <a:pt x="78126" y="14794"/>
                    <a:pt x="78126" y="14794"/>
                  </a:cubicBezTo>
                  <a:cubicBezTo>
                    <a:pt x="78126" y="14794"/>
                    <a:pt x="78688" y="15342"/>
                    <a:pt x="78407" y="15342"/>
                  </a:cubicBezTo>
                  <a:cubicBezTo>
                    <a:pt x="77845" y="15890"/>
                    <a:pt x="77564" y="14794"/>
                    <a:pt x="77283" y="16986"/>
                  </a:cubicBezTo>
                  <a:cubicBezTo>
                    <a:pt x="77002" y="18082"/>
                    <a:pt x="77002" y="19178"/>
                    <a:pt x="76721" y="20273"/>
                  </a:cubicBezTo>
                  <a:cubicBezTo>
                    <a:pt x="76440" y="20273"/>
                    <a:pt x="76159" y="20821"/>
                    <a:pt x="76159" y="21369"/>
                  </a:cubicBezTo>
                  <a:cubicBezTo>
                    <a:pt x="76159" y="21917"/>
                    <a:pt x="75878" y="21917"/>
                    <a:pt x="75878" y="22465"/>
                  </a:cubicBezTo>
                  <a:cubicBezTo>
                    <a:pt x="75035" y="23013"/>
                    <a:pt x="75316" y="23561"/>
                    <a:pt x="74754" y="21917"/>
                  </a:cubicBezTo>
                  <a:cubicBezTo>
                    <a:pt x="74473" y="21369"/>
                    <a:pt x="73629" y="20273"/>
                    <a:pt x="73629" y="19178"/>
                  </a:cubicBezTo>
                  <a:cubicBezTo>
                    <a:pt x="73629" y="19178"/>
                    <a:pt x="73629" y="17534"/>
                    <a:pt x="73911" y="17534"/>
                  </a:cubicBezTo>
                  <a:cubicBezTo>
                    <a:pt x="73911" y="17534"/>
                    <a:pt x="74473" y="18082"/>
                    <a:pt x="74473" y="16986"/>
                  </a:cubicBezTo>
                  <a:cubicBezTo>
                    <a:pt x="74192" y="15890"/>
                    <a:pt x="74192" y="15342"/>
                    <a:pt x="73629" y="14246"/>
                  </a:cubicBezTo>
                  <a:cubicBezTo>
                    <a:pt x="73067" y="13698"/>
                    <a:pt x="72505" y="12602"/>
                    <a:pt x="71943" y="13698"/>
                  </a:cubicBezTo>
                  <a:cubicBezTo>
                    <a:pt x="71662" y="14246"/>
                    <a:pt x="71662" y="15342"/>
                    <a:pt x="71662" y="16438"/>
                  </a:cubicBezTo>
                  <a:cubicBezTo>
                    <a:pt x="71662" y="16986"/>
                    <a:pt x="70538" y="16986"/>
                    <a:pt x="70538" y="16438"/>
                  </a:cubicBezTo>
                  <a:cubicBezTo>
                    <a:pt x="70538" y="15890"/>
                    <a:pt x="70538" y="14246"/>
                    <a:pt x="70257" y="13698"/>
                  </a:cubicBezTo>
                  <a:cubicBezTo>
                    <a:pt x="69133" y="12054"/>
                    <a:pt x="70538" y="13698"/>
                    <a:pt x="70538" y="13150"/>
                  </a:cubicBezTo>
                  <a:cubicBezTo>
                    <a:pt x="70819" y="13150"/>
                    <a:pt x="71100" y="12602"/>
                    <a:pt x="70819" y="12602"/>
                  </a:cubicBezTo>
                  <a:cubicBezTo>
                    <a:pt x="70819" y="12054"/>
                    <a:pt x="70538" y="11506"/>
                    <a:pt x="70257" y="12054"/>
                  </a:cubicBezTo>
                  <a:cubicBezTo>
                    <a:pt x="69976" y="12602"/>
                    <a:pt x="69976" y="11506"/>
                    <a:pt x="69695" y="11506"/>
                  </a:cubicBezTo>
                  <a:cubicBezTo>
                    <a:pt x="69414" y="10958"/>
                    <a:pt x="69133" y="12054"/>
                    <a:pt x="68852" y="11506"/>
                  </a:cubicBezTo>
                  <a:cubicBezTo>
                    <a:pt x="68290" y="10958"/>
                    <a:pt x="68009" y="11506"/>
                    <a:pt x="68290" y="9863"/>
                  </a:cubicBezTo>
                  <a:cubicBezTo>
                    <a:pt x="68290" y="9863"/>
                    <a:pt x="68290" y="9863"/>
                    <a:pt x="68571" y="9863"/>
                  </a:cubicBezTo>
                  <a:cubicBezTo>
                    <a:pt x="68571" y="9315"/>
                    <a:pt x="68571" y="9315"/>
                    <a:pt x="68571" y="8767"/>
                  </a:cubicBezTo>
                  <a:cubicBezTo>
                    <a:pt x="68852" y="8767"/>
                    <a:pt x="68852" y="8767"/>
                    <a:pt x="69133" y="8767"/>
                  </a:cubicBezTo>
                  <a:cubicBezTo>
                    <a:pt x="68852" y="8767"/>
                    <a:pt x="68571" y="7123"/>
                    <a:pt x="68571" y="7123"/>
                  </a:cubicBezTo>
                  <a:cubicBezTo>
                    <a:pt x="68290" y="6027"/>
                    <a:pt x="67728" y="6027"/>
                    <a:pt x="67728" y="5479"/>
                  </a:cubicBezTo>
                  <a:cubicBezTo>
                    <a:pt x="67166" y="4931"/>
                    <a:pt x="67447" y="4931"/>
                    <a:pt x="67166" y="3835"/>
                  </a:cubicBezTo>
                  <a:cubicBezTo>
                    <a:pt x="67166" y="2739"/>
                    <a:pt x="66604" y="2191"/>
                    <a:pt x="66604" y="1643"/>
                  </a:cubicBezTo>
                  <a:cubicBezTo>
                    <a:pt x="66323" y="547"/>
                    <a:pt x="65761" y="547"/>
                    <a:pt x="65199" y="547"/>
                  </a:cubicBezTo>
                  <a:cubicBezTo>
                    <a:pt x="64918" y="547"/>
                    <a:pt x="65199" y="0"/>
                    <a:pt x="64637" y="0"/>
                  </a:cubicBezTo>
                  <a:cubicBezTo>
                    <a:pt x="64355" y="0"/>
                    <a:pt x="64074" y="0"/>
                    <a:pt x="64074" y="1095"/>
                  </a:cubicBezTo>
                  <a:cubicBezTo>
                    <a:pt x="64074" y="1095"/>
                    <a:pt x="63231" y="1643"/>
                    <a:pt x="63231" y="1643"/>
                  </a:cubicBezTo>
                  <a:cubicBezTo>
                    <a:pt x="63512" y="1643"/>
                    <a:pt x="64074" y="1643"/>
                    <a:pt x="64074" y="2191"/>
                  </a:cubicBezTo>
                  <a:cubicBezTo>
                    <a:pt x="64074" y="2191"/>
                    <a:pt x="63512" y="2739"/>
                    <a:pt x="63512" y="2739"/>
                  </a:cubicBezTo>
                  <a:cubicBezTo>
                    <a:pt x="63231" y="3287"/>
                    <a:pt x="62950" y="2191"/>
                    <a:pt x="62669" y="3287"/>
                  </a:cubicBezTo>
                  <a:cubicBezTo>
                    <a:pt x="62388" y="3287"/>
                    <a:pt x="62107" y="4931"/>
                    <a:pt x="62107" y="5479"/>
                  </a:cubicBezTo>
                  <a:cubicBezTo>
                    <a:pt x="62388" y="5479"/>
                    <a:pt x="62950" y="5479"/>
                    <a:pt x="63231" y="6027"/>
                  </a:cubicBezTo>
                  <a:cubicBezTo>
                    <a:pt x="62950" y="5479"/>
                    <a:pt x="62388" y="7671"/>
                    <a:pt x="62388" y="8219"/>
                  </a:cubicBezTo>
                  <a:cubicBezTo>
                    <a:pt x="62388" y="8767"/>
                    <a:pt x="62950" y="9863"/>
                    <a:pt x="63231" y="10410"/>
                  </a:cubicBezTo>
                  <a:cubicBezTo>
                    <a:pt x="63512" y="10410"/>
                    <a:pt x="64074" y="11506"/>
                    <a:pt x="64355" y="11506"/>
                  </a:cubicBezTo>
                  <a:cubicBezTo>
                    <a:pt x="64918" y="10958"/>
                    <a:pt x="64918" y="10958"/>
                    <a:pt x="65199" y="11506"/>
                  </a:cubicBezTo>
                  <a:cubicBezTo>
                    <a:pt x="65480" y="11506"/>
                    <a:pt x="66042" y="12602"/>
                    <a:pt x="66042" y="12602"/>
                  </a:cubicBezTo>
                  <a:cubicBezTo>
                    <a:pt x="65761" y="13150"/>
                    <a:pt x="65480" y="12054"/>
                    <a:pt x="65480" y="13150"/>
                  </a:cubicBezTo>
                  <a:cubicBezTo>
                    <a:pt x="65480" y="14246"/>
                    <a:pt x="65199" y="14246"/>
                    <a:pt x="65199" y="14794"/>
                  </a:cubicBezTo>
                  <a:cubicBezTo>
                    <a:pt x="64918" y="15890"/>
                    <a:pt x="65480" y="15890"/>
                    <a:pt x="65761" y="15342"/>
                  </a:cubicBezTo>
                  <a:cubicBezTo>
                    <a:pt x="65761" y="15342"/>
                    <a:pt x="66323" y="13698"/>
                    <a:pt x="66323" y="14246"/>
                  </a:cubicBezTo>
                  <a:cubicBezTo>
                    <a:pt x="66604" y="14794"/>
                    <a:pt x="66323" y="15890"/>
                    <a:pt x="66323" y="16438"/>
                  </a:cubicBezTo>
                  <a:cubicBezTo>
                    <a:pt x="66042" y="16986"/>
                    <a:pt x="65761" y="16986"/>
                    <a:pt x="65480" y="16986"/>
                  </a:cubicBezTo>
                  <a:cubicBezTo>
                    <a:pt x="65480" y="17534"/>
                    <a:pt x="65480" y="18082"/>
                    <a:pt x="65199" y="18630"/>
                  </a:cubicBezTo>
                  <a:cubicBezTo>
                    <a:pt x="64918" y="18630"/>
                    <a:pt x="64355" y="18630"/>
                    <a:pt x="64074" y="19178"/>
                  </a:cubicBezTo>
                  <a:cubicBezTo>
                    <a:pt x="63793" y="19178"/>
                    <a:pt x="63512" y="20273"/>
                    <a:pt x="63512" y="20273"/>
                  </a:cubicBezTo>
                  <a:cubicBezTo>
                    <a:pt x="63793" y="20821"/>
                    <a:pt x="64074" y="21369"/>
                    <a:pt x="64074" y="22465"/>
                  </a:cubicBezTo>
                  <a:cubicBezTo>
                    <a:pt x="64074" y="23013"/>
                    <a:pt x="63793" y="22465"/>
                    <a:pt x="63512" y="21917"/>
                  </a:cubicBezTo>
                  <a:cubicBezTo>
                    <a:pt x="63512" y="21917"/>
                    <a:pt x="63231" y="21917"/>
                    <a:pt x="63231" y="22465"/>
                  </a:cubicBezTo>
                  <a:cubicBezTo>
                    <a:pt x="62950" y="22465"/>
                    <a:pt x="62388" y="21917"/>
                    <a:pt x="62388" y="21369"/>
                  </a:cubicBezTo>
                  <a:cubicBezTo>
                    <a:pt x="62388" y="20821"/>
                    <a:pt x="62950" y="19178"/>
                    <a:pt x="62950" y="18630"/>
                  </a:cubicBezTo>
                  <a:cubicBezTo>
                    <a:pt x="63231" y="17534"/>
                    <a:pt x="62388" y="18630"/>
                    <a:pt x="62388" y="18630"/>
                  </a:cubicBezTo>
                  <a:cubicBezTo>
                    <a:pt x="62107" y="18630"/>
                    <a:pt x="61264" y="17534"/>
                    <a:pt x="60983" y="16986"/>
                  </a:cubicBezTo>
                  <a:cubicBezTo>
                    <a:pt x="60421" y="16438"/>
                    <a:pt x="60702" y="17534"/>
                    <a:pt x="60140" y="17534"/>
                  </a:cubicBezTo>
                  <a:cubicBezTo>
                    <a:pt x="59859" y="17534"/>
                    <a:pt x="59016" y="16986"/>
                    <a:pt x="59578" y="18082"/>
                  </a:cubicBezTo>
                  <a:cubicBezTo>
                    <a:pt x="59859" y="18630"/>
                    <a:pt x="59859" y="19178"/>
                    <a:pt x="60421" y="19178"/>
                  </a:cubicBezTo>
                  <a:cubicBezTo>
                    <a:pt x="60702" y="19178"/>
                    <a:pt x="61264" y="19178"/>
                    <a:pt x="61264" y="20273"/>
                  </a:cubicBezTo>
                  <a:cubicBezTo>
                    <a:pt x="61826" y="22465"/>
                    <a:pt x="60140" y="19726"/>
                    <a:pt x="59859" y="19178"/>
                  </a:cubicBezTo>
                  <a:cubicBezTo>
                    <a:pt x="59297" y="19178"/>
                    <a:pt x="59297" y="20273"/>
                    <a:pt x="58735" y="20273"/>
                  </a:cubicBezTo>
                  <a:cubicBezTo>
                    <a:pt x="58173" y="20273"/>
                    <a:pt x="57892" y="19726"/>
                    <a:pt x="57330" y="19726"/>
                  </a:cubicBezTo>
                  <a:cubicBezTo>
                    <a:pt x="56206" y="20273"/>
                    <a:pt x="55362" y="20273"/>
                    <a:pt x="54238" y="20273"/>
                  </a:cubicBezTo>
                  <a:cubicBezTo>
                    <a:pt x="53395" y="19726"/>
                    <a:pt x="52271" y="18630"/>
                    <a:pt x="51147" y="18082"/>
                  </a:cubicBezTo>
                  <a:cubicBezTo>
                    <a:pt x="50866" y="18082"/>
                    <a:pt x="50304" y="18082"/>
                    <a:pt x="50023" y="17534"/>
                  </a:cubicBezTo>
                  <a:cubicBezTo>
                    <a:pt x="49742" y="16438"/>
                    <a:pt x="49742" y="15342"/>
                    <a:pt x="49461" y="15342"/>
                  </a:cubicBezTo>
                  <a:cubicBezTo>
                    <a:pt x="48899" y="14794"/>
                    <a:pt x="48337" y="15342"/>
                    <a:pt x="48056" y="15342"/>
                  </a:cubicBezTo>
                  <a:cubicBezTo>
                    <a:pt x="47213" y="15890"/>
                    <a:pt x="46651" y="15890"/>
                    <a:pt x="46088" y="15890"/>
                  </a:cubicBezTo>
                  <a:cubicBezTo>
                    <a:pt x="45807" y="16438"/>
                    <a:pt x="45245" y="16986"/>
                    <a:pt x="45245" y="17534"/>
                  </a:cubicBezTo>
                  <a:cubicBezTo>
                    <a:pt x="45245" y="17534"/>
                    <a:pt x="46370" y="18630"/>
                    <a:pt x="46651" y="18630"/>
                  </a:cubicBezTo>
                  <a:cubicBezTo>
                    <a:pt x="46651" y="18630"/>
                    <a:pt x="46370" y="16986"/>
                    <a:pt x="46932" y="17534"/>
                  </a:cubicBezTo>
                  <a:cubicBezTo>
                    <a:pt x="47213" y="17534"/>
                    <a:pt x="47213" y="18082"/>
                    <a:pt x="47494" y="17534"/>
                  </a:cubicBezTo>
                  <a:cubicBezTo>
                    <a:pt x="47775" y="17534"/>
                    <a:pt x="49461" y="15342"/>
                    <a:pt x="49461" y="16438"/>
                  </a:cubicBezTo>
                  <a:cubicBezTo>
                    <a:pt x="49461" y="16986"/>
                    <a:pt x="48618" y="17534"/>
                    <a:pt x="48337" y="18082"/>
                  </a:cubicBezTo>
                  <a:cubicBezTo>
                    <a:pt x="48056" y="18630"/>
                    <a:pt x="47494" y="18630"/>
                    <a:pt x="46932" y="18630"/>
                  </a:cubicBezTo>
                  <a:cubicBezTo>
                    <a:pt x="46651" y="19178"/>
                    <a:pt x="45807" y="20273"/>
                    <a:pt x="46370" y="20821"/>
                  </a:cubicBezTo>
                  <a:cubicBezTo>
                    <a:pt x="46932" y="20821"/>
                    <a:pt x="46932" y="21369"/>
                    <a:pt x="46651" y="22465"/>
                  </a:cubicBezTo>
                  <a:cubicBezTo>
                    <a:pt x="46651" y="23013"/>
                    <a:pt x="47213" y="23013"/>
                    <a:pt x="47213" y="23561"/>
                  </a:cubicBezTo>
                  <a:cubicBezTo>
                    <a:pt x="47494" y="24109"/>
                    <a:pt x="47494" y="25205"/>
                    <a:pt x="46932" y="24109"/>
                  </a:cubicBezTo>
                  <a:cubicBezTo>
                    <a:pt x="46370" y="23013"/>
                    <a:pt x="46932" y="25205"/>
                    <a:pt x="46651" y="24657"/>
                  </a:cubicBezTo>
                  <a:cubicBezTo>
                    <a:pt x="46370" y="24657"/>
                    <a:pt x="45807" y="23013"/>
                    <a:pt x="45526" y="23561"/>
                  </a:cubicBezTo>
                  <a:cubicBezTo>
                    <a:pt x="46088" y="23013"/>
                    <a:pt x="46932" y="23561"/>
                    <a:pt x="46088" y="22465"/>
                  </a:cubicBezTo>
                  <a:cubicBezTo>
                    <a:pt x="46370" y="22465"/>
                    <a:pt x="46651" y="21917"/>
                    <a:pt x="46088" y="21369"/>
                  </a:cubicBezTo>
                  <a:cubicBezTo>
                    <a:pt x="46651" y="21917"/>
                    <a:pt x="45245" y="21917"/>
                    <a:pt x="45526" y="21917"/>
                  </a:cubicBezTo>
                  <a:cubicBezTo>
                    <a:pt x="45526" y="21369"/>
                    <a:pt x="45526" y="21369"/>
                    <a:pt x="45807" y="21369"/>
                  </a:cubicBezTo>
                  <a:cubicBezTo>
                    <a:pt x="45807" y="20821"/>
                    <a:pt x="44964" y="21917"/>
                    <a:pt x="44964" y="21917"/>
                  </a:cubicBezTo>
                  <a:cubicBezTo>
                    <a:pt x="44683" y="21917"/>
                    <a:pt x="44964" y="20821"/>
                    <a:pt x="44683" y="20273"/>
                  </a:cubicBezTo>
                  <a:cubicBezTo>
                    <a:pt x="44683" y="20273"/>
                    <a:pt x="44121" y="20273"/>
                    <a:pt x="44121" y="20273"/>
                  </a:cubicBezTo>
                  <a:cubicBezTo>
                    <a:pt x="43559" y="20273"/>
                    <a:pt x="43559" y="18630"/>
                    <a:pt x="42997" y="19178"/>
                  </a:cubicBezTo>
                  <a:cubicBezTo>
                    <a:pt x="42435" y="20273"/>
                    <a:pt x="42154" y="20273"/>
                    <a:pt x="41311" y="20273"/>
                  </a:cubicBezTo>
                  <a:cubicBezTo>
                    <a:pt x="40187" y="20273"/>
                    <a:pt x="39344" y="20273"/>
                    <a:pt x="38220" y="20273"/>
                  </a:cubicBezTo>
                  <a:cubicBezTo>
                    <a:pt x="37939" y="20273"/>
                    <a:pt x="35971" y="20273"/>
                    <a:pt x="35971" y="19726"/>
                  </a:cubicBezTo>
                  <a:cubicBezTo>
                    <a:pt x="35690" y="19726"/>
                    <a:pt x="36533" y="18630"/>
                    <a:pt x="36814" y="18082"/>
                  </a:cubicBezTo>
                  <a:cubicBezTo>
                    <a:pt x="37096" y="17534"/>
                    <a:pt x="37377" y="18082"/>
                    <a:pt x="37939" y="18082"/>
                  </a:cubicBezTo>
                  <a:cubicBezTo>
                    <a:pt x="38220" y="17534"/>
                    <a:pt x="37377" y="16438"/>
                    <a:pt x="37377" y="16438"/>
                  </a:cubicBezTo>
                  <a:cubicBezTo>
                    <a:pt x="36814" y="15342"/>
                    <a:pt x="36533" y="15342"/>
                    <a:pt x="35971" y="14794"/>
                  </a:cubicBezTo>
                  <a:cubicBezTo>
                    <a:pt x="35690" y="14794"/>
                    <a:pt x="35409" y="14246"/>
                    <a:pt x="35128" y="14794"/>
                  </a:cubicBezTo>
                  <a:cubicBezTo>
                    <a:pt x="34847" y="15342"/>
                    <a:pt x="34566" y="15890"/>
                    <a:pt x="34285" y="15342"/>
                  </a:cubicBezTo>
                  <a:cubicBezTo>
                    <a:pt x="33442" y="14246"/>
                    <a:pt x="32599" y="14246"/>
                    <a:pt x="31756" y="13698"/>
                  </a:cubicBezTo>
                  <a:cubicBezTo>
                    <a:pt x="30632" y="13150"/>
                    <a:pt x="29789" y="13150"/>
                    <a:pt x="28665" y="12054"/>
                  </a:cubicBezTo>
                  <a:cubicBezTo>
                    <a:pt x="27822" y="10958"/>
                    <a:pt x="27259" y="10410"/>
                    <a:pt x="26135" y="10410"/>
                  </a:cubicBezTo>
                  <a:cubicBezTo>
                    <a:pt x="25854" y="10410"/>
                    <a:pt x="25573" y="10410"/>
                    <a:pt x="25292" y="10958"/>
                  </a:cubicBezTo>
                  <a:cubicBezTo>
                    <a:pt x="25011" y="11506"/>
                    <a:pt x="24730" y="12602"/>
                    <a:pt x="24449" y="12602"/>
                  </a:cubicBezTo>
                  <a:cubicBezTo>
                    <a:pt x="24168" y="12602"/>
                    <a:pt x="23325" y="13150"/>
                    <a:pt x="23325" y="12602"/>
                  </a:cubicBezTo>
                  <a:cubicBezTo>
                    <a:pt x="23325" y="12054"/>
                    <a:pt x="23887" y="11506"/>
                    <a:pt x="23887" y="10958"/>
                  </a:cubicBezTo>
                  <a:cubicBezTo>
                    <a:pt x="23887" y="10958"/>
                    <a:pt x="23044" y="11506"/>
                    <a:pt x="23044" y="10958"/>
                  </a:cubicBezTo>
                  <a:cubicBezTo>
                    <a:pt x="23325" y="10410"/>
                    <a:pt x="23325" y="9863"/>
                    <a:pt x="23044" y="9315"/>
                  </a:cubicBezTo>
                  <a:cubicBezTo>
                    <a:pt x="23044" y="8219"/>
                    <a:pt x="21920" y="9315"/>
                    <a:pt x="21920" y="9863"/>
                  </a:cubicBezTo>
                  <a:cubicBezTo>
                    <a:pt x="21920" y="9863"/>
                    <a:pt x="22482" y="9315"/>
                    <a:pt x="22482" y="9863"/>
                  </a:cubicBezTo>
                  <a:cubicBezTo>
                    <a:pt x="22763" y="9863"/>
                    <a:pt x="21639" y="10958"/>
                    <a:pt x="22482" y="10958"/>
                  </a:cubicBezTo>
                  <a:cubicBezTo>
                    <a:pt x="22201" y="10958"/>
                    <a:pt x="21920" y="10958"/>
                    <a:pt x="21920" y="12054"/>
                  </a:cubicBezTo>
                  <a:cubicBezTo>
                    <a:pt x="21920" y="12602"/>
                    <a:pt x="21639" y="13150"/>
                    <a:pt x="21358" y="12602"/>
                  </a:cubicBezTo>
                  <a:cubicBezTo>
                    <a:pt x="20515" y="12054"/>
                    <a:pt x="20234" y="11506"/>
                    <a:pt x="19953" y="9863"/>
                  </a:cubicBezTo>
                  <a:cubicBezTo>
                    <a:pt x="19672" y="8767"/>
                    <a:pt x="19110" y="8219"/>
                    <a:pt x="18548" y="7123"/>
                  </a:cubicBezTo>
                  <a:cubicBezTo>
                    <a:pt x="18266" y="7123"/>
                    <a:pt x="17985" y="6027"/>
                    <a:pt x="17704" y="6575"/>
                  </a:cubicBezTo>
                  <a:cubicBezTo>
                    <a:pt x="17704" y="7671"/>
                    <a:pt x="18548" y="8219"/>
                    <a:pt x="18829" y="8767"/>
                  </a:cubicBezTo>
                  <a:cubicBezTo>
                    <a:pt x="18829" y="8219"/>
                    <a:pt x="17704" y="8767"/>
                    <a:pt x="17704" y="9315"/>
                  </a:cubicBezTo>
                  <a:cubicBezTo>
                    <a:pt x="17423" y="9863"/>
                    <a:pt x="17704" y="9863"/>
                    <a:pt x="17423" y="10410"/>
                  </a:cubicBezTo>
                  <a:cubicBezTo>
                    <a:pt x="17142" y="10410"/>
                    <a:pt x="16861" y="11506"/>
                    <a:pt x="16580" y="10958"/>
                  </a:cubicBezTo>
                  <a:cubicBezTo>
                    <a:pt x="16580" y="10958"/>
                    <a:pt x="16580" y="10410"/>
                    <a:pt x="16580" y="10410"/>
                  </a:cubicBezTo>
                  <a:cubicBezTo>
                    <a:pt x="16580" y="9863"/>
                    <a:pt x="15175" y="10958"/>
                    <a:pt x="15175" y="11506"/>
                  </a:cubicBezTo>
                  <a:cubicBezTo>
                    <a:pt x="14894" y="12054"/>
                    <a:pt x="14613" y="12602"/>
                    <a:pt x="14051" y="13150"/>
                  </a:cubicBezTo>
                  <a:cubicBezTo>
                    <a:pt x="13770" y="13698"/>
                    <a:pt x="14051" y="12054"/>
                    <a:pt x="13770" y="12054"/>
                  </a:cubicBezTo>
                  <a:cubicBezTo>
                    <a:pt x="13489" y="12054"/>
                    <a:pt x="13208" y="12602"/>
                    <a:pt x="12927" y="12602"/>
                  </a:cubicBezTo>
                  <a:cubicBezTo>
                    <a:pt x="12646" y="12602"/>
                    <a:pt x="12646" y="13698"/>
                    <a:pt x="12365" y="13698"/>
                  </a:cubicBezTo>
                  <a:cubicBezTo>
                    <a:pt x="12084" y="13698"/>
                    <a:pt x="11241" y="14794"/>
                    <a:pt x="11522" y="14794"/>
                  </a:cubicBezTo>
                  <a:cubicBezTo>
                    <a:pt x="11522" y="15342"/>
                    <a:pt x="12084" y="15342"/>
                    <a:pt x="11241" y="15890"/>
                  </a:cubicBezTo>
                  <a:cubicBezTo>
                    <a:pt x="11241" y="15890"/>
                    <a:pt x="10398" y="15890"/>
                    <a:pt x="10398" y="15342"/>
                  </a:cubicBezTo>
                  <a:cubicBezTo>
                    <a:pt x="10398" y="14794"/>
                    <a:pt x="11241" y="14246"/>
                    <a:pt x="11241" y="14246"/>
                  </a:cubicBezTo>
                  <a:cubicBezTo>
                    <a:pt x="11522" y="13150"/>
                    <a:pt x="12084" y="12602"/>
                    <a:pt x="12365" y="12054"/>
                  </a:cubicBezTo>
                  <a:cubicBezTo>
                    <a:pt x="12927" y="11506"/>
                    <a:pt x="13208" y="11506"/>
                    <a:pt x="13770" y="12054"/>
                  </a:cubicBezTo>
                  <a:cubicBezTo>
                    <a:pt x="13489" y="12054"/>
                    <a:pt x="15737" y="9863"/>
                    <a:pt x="15737" y="9863"/>
                  </a:cubicBezTo>
                  <a:cubicBezTo>
                    <a:pt x="16299" y="9315"/>
                    <a:pt x="16018" y="8767"/>
                    <a:pt x="15737" y="8767"/>
                  </a:cubicBezTo>
                  <a:cubicBezTo>
                    <a:pt x="15175" y="8767"/>
                    <a:pt x="14613" y="8767"/>
                    <a:pt x="14051" y="9315"/>
                  </a:cubicBezTo>
                  <a:cubicBezTo>
                    <a:pt x="13770" y="9315"/>
                    <a:pt x="13770" y="10410"/>
                    <a:pt x="13208" y="10410"/>
                  </a:cubicBezTo>
                  <a:cubicBezTo>
                    <a:pt x="12927" y="10410"/>
                    <a:pt x="12365" y="10958"/>
                    <a:pt x="12084" y="10958"/>
                  </a:cubicBezTo>
                  <a:cubicBezTo>
                    <a:pt x="11522" y="10958"/>
                    <a:pt x="10117" y="13698"/>
                    <a:pt x="9836" y="13150"/>
                  </a:cubicBezTo>
                  <a:cubicBezTo>
                    <a:pt x="9555" y="13150"/>
                    <a:pt x="10117" y="12602"/>
                    <a:pt x="10117" y="12054"/>
                  </a:cubicBezTo>
                  <a:cubicBezTo>
                    <a:pt x="10117" y="12054"/>
                    <a:pt x="9274" y="11506"/>
                    <a:pt x="9274" y="11506"/>
                  </a:cubicBezTo>
                  <a:cubicBezTo>
                    <a:pt x="9274" y="11506"/>
                    <a:pt x="8430" y="12602"/>
                    <a:pt x="8149" y="12602"/>
                  </a:cubicBezTo>
                  <a:cubicBezTo>
                    <a:pt x="7868" y="12602"/>
                    <a:pt x="7306" y="13150"/>
                    <a:pt x="7025" y="13698"/>
                  </a:cubicBezTo>
                  <a:cubicBezTo>
                    <a:pt x="6744" y="13698"/>
                    <a:pt x="7306" y="14246"/>
                    <a:pt x="7306" y="14246"/>
                  </a:cubicBezTo>
                  <a:cubicBezTo>
                    <a:pt x="7587" y="14246"/>
                    <a:pt x="7306" y="14794"/>
                    <a:pt x="7306" y="14794"/>
                  </a:cubicBezTo>
                  <a:cubicBezTo>
                    <a:pt x="7306" y="15342"/>
                    <a:pt x="8430" y="14794"/>
                    <a:pt x="8430" y="14794"/>
                  </a:cubicBezTo>
                  <a:cubicBezTo>
                    <a:pt x="8711" y="14246"/>
                    <a:pt x="9274" y="13698"/>
                    <a:pt x="9555" y="13150"/>
                  </a:cubicBezTo>
                  <a:cubicBezTo>
                    <a:pt x="8149" y="14246"/>
                    <a:pt x="9555" y="14794"/>
                    <a:pt x="9274" y="15890"/>
                  </a:cubicBezTo>
                  <a:cubicBezTo>
                    <a:pt x="9274" y="15890"/>
                    <a:pt x="8992" y="15342"/>
                    <a:pt x="8992" y="15342"/>
                  </a:cubicBezTo>
                  <a:cubicBezTo>
                    <a:pt x="8430" y="14794"/>
                    <a:pt x="8149" y="15342"/>
                    <a:pt x="7868" y="15890"/>
                  </a:cubicBezTo>
                  <a:cubicBezTo>
                    <a:pt x="7587" y="15890"/>
                    <a:pt x="6463" y="15342"/>
                    <a:pt x="5901" y="15342"/>
                  </a:cubicBezTo>
                  <a:cubicBezTo>
                    <a:pt x="5339" y="15342"/>
                    <a:pt x="4496" y="14246"/>
                    <a:pt x="3934" y="13698"/>
                  </a:cubicBezTo>
                  <a:cubicBezTo>
                    <a:pt x="3653" y="13698"/>
                    <a:pt x="3372" y="13150"/>
                    <a:pt x="3091" y="13150"/>
                  </a:cubicBezTo>
                  <a:cubicBezTo>
                    <a:pt x="2810" y="12602"/>
                    <a:pt x="2529" y="11506"/>
                    <a:pt x="2810" y="11506"/>
                  </a:cubicBezTo>
                  <a:cubicBezTo>
                    <a:pt x="2529" y="11506"/>
                    <a:pt x="1967" y="11506"/>
                    <a:pt x="1686" y="12054"/>
                  </a:cubicBezTo>
                  <a:cubicBezTo>
                    <a:pt x="1124" y="12054"/>
                    <a:pt x="562" y="12054"/>
                    <a:pt x="0" y="11506"/>
                  </a:cubicBezTo>
                  <a:cubicBezTo>
                    <a:pt x="0" y="22465"/>
                    <a:pt x="0" y="33424"/>
                    <a:pt x="0" y="43835"/>
                  </a:cubicBezTo>
                  <a:cubicBezTo>
                    <a:pt x="0" y="46575"/>
                    <a:pt x="0" y="48767"/>
                    <a:pt x="0" y="51506"/>
                  </a:cubicBezTo>
                  <a:cubicBezTo>
                    <a:pt x="0" y="52054"/>
                    <a:pt x="0" y="52602"/>
                    <a:pt x="0" y="53150"/>
                  </a:cubicBezTo>
                  <a:cubicBezTo>
                    <a:pt x="0" y="54246"/>
                    <a:pt x="562" y="53150"/>
                    <a:pt x="843" y="53150"/>
                  </a:cubicBezTo>
                  <a:cubicBezTo>
                    <a:pt x="1405" y="53698"/>
                    <a:pt x="1405" y="53150"/>
                    <a:pt x="1967" y="53150"/>
                  </a:cubicBezTo>
                  <a:cubicBezTo>
                    <a:pt x="2529" y="53150"/>
                    <a:pt x="2529" y="53698"/>
                    <a:pt x="2810" y="54246"/>
                  </a:cubicBezTo>
                  <a:cubicBezTo>
                    <a:pt x="3091" y="55342"/>
                    <a:pt x="4496" y="58630"/>
                    <a:pt x="5058" y="58630"/>
                  </a:cubicBezTo>
                  <a:cubicBezTo>
                    <a:pt x="5339" y="58630"/>
                    <a:pt x="5901" y="58082"/>
                    <a:pt x="6182" y="57534"/>
                  </a:cubicBezTo>
                  <a:cubicBezTo>
                    <a:pt x="6463" y="56986"/>
                    <a:pt x="6182" y="56438"/>
                    <a:pt x="6463" y="55890"/>
                  </a:cubicBezTo>
                  <a:cubicBezTo>
                    <a:pt x="6744" y="55890"/>
                    <a:pt x="7868" y="55342"/>
                    <a:pt x="7868" y="55890"/>
                  </a:cubicBezTo>
                  <a:cubicBezTo>
                    <a:pt x="8430" y="56986"/>
                    <a:pt x="8992" y="57534"/>
                    <a:pt x="9274" y="58630"/>
                  </a:cubicBezTo>
                  <a:cubicBezTo>
                    <a:pt x="9836" y="59726"/>
                    <a:pt x="10398" y="60273"/>
                    <a:pt x="10679" y="61369"/>
                  </a:cubicBezTo>
                  <a:cubicBezTo>
                    <a:pt x="10960" y="61917"/>
                    <a:pt x="10960" y="62465"/>
                    <a:pt x="11241" y="63561"/>
                  </a:cubicBezTo>
                  <a:cubicBezTo>
                    <a:pt x="11803" y="64657"/>
                    <a:pt x="12084" y="66849"/>
                    <a:pt x="12927" y="67945"/>
                  </a:cubicBezTo>
                  <a:cubicBezTo>
                    <a:pt x="13489" y="69041"/>
                    <a:pt x="14613" y="69589"/>
                    <a:pt x="15175" y="70136"/>
                  </a:cubicBezTo>
                  <a:cubicBezTo>
                    <a:pt x="15737" y="70684"/>
                    <a:pt x="14894" y="71232"/>
                    <a:pt x="15175" y="72328"/>
                  </a:cubicBezTo>
                  <a:cubicBezTo>
                    <a:pt x="15456" y="72328"/>
                    <a:pt x="15737" y="72328"/>
                    <a:pt x="15737" y="72876"/>
                  </a:cubicBezTo>
                  <a:cubicBezTo>
                    <a:pt x="15737" y="72876"/>
                    <a:pt x="15456" y="74520"/>
                    <a:pt x="15737" y="73972"/>
                  </a:cubicBezTo>
                  <a:cubicBezTo>
                    <a:pt x="15456" y="74520"/>
                    <a:pt x="14894" y="74520"/>
                    <a:pt x="14894" y="75616"/>
                  </a:cubicBezTo>
                  <a:cubicBezTo>
                    <a:pt x="14613" y="76164"/>
                    <a:pt x="15456" y="77260"/>
                    <a:pt x="15737" y="77260"/>
                  </a:cubicBezTo>
                  <a:cubicBezTo>
                    <a:pt x="15737" y="77260"/>
                    <a:pt x="15175" y="78356"/>
                    <a:pt x="15175" y="78356"/>
                  </a:cubicBezTo>
                  <a:cubicBezTo>
                    <a:pt x="15175" y="78356"/>
                    <a:pt x="14894" y="77808"/>
                    <a:pt x="14894" y="77260"/>
                  </a:cubicBezTo>
                  <a:cubicBezTo>
                    <a:pt x="14613" y="77260"/>
                    <a:pt x="14894" y="78356"/>
                    <a:pt x="14894" y="78356"/>
                  </a:cubicBezTo>
                  <a:cubicBezTo>
                    <a:pt x="15175" y="78904"/>
                    <a:pt x="14894" y="79452"/>
                    <a:pt x="15175" y="80000"/>
                  </a:cubicBezTo>
                  <a:cubicBezTo>
                    <a:pt x="15456" y="81095"/>
                    <a:pt x="15456" y="81095"/>
                    <a:pt x="16018" y="80547"/>
                  </a:cubicBezTo>
                  <a:cubicBezTo>
                    <a:pt x="16018" y="80547"/>
                    <a:pt x="16299" y="80547"/>
                    <a:pt x="16299" y="80547"/>
                  </a:cubicBezTo>
                  <a:cubicBezTo>
                    <a:pt x="16580" y="80547"/>
                    <a:pt x="16580" y="79452"/>
                    <a:pt x="16580" y="79452"/>
                  </a:cubicBezTo>
                  <a:cubicBezTo>
                    <a:pt x="16580" y="79452"/>
                    <a:pt x="16861" y="80547"/>
                    <a:pt x="17142" y="80547"/>
                  </a:cubicBezTo>
                  <a:cubicBezTo>
                    <a:pt x="17142" y="80547"/>
                    <a:pt x="16861" y="81643"/>
                    <a:pt x="16861" y="82191"/>
                  </a:cubicBezTo>
                  <a:cubicBezTo>
                    <a:pt x="16580" y="82739"/>
                    <a:pt x="16580" y="83287"/>
                    <a:pt x="17142" y="82739"/>
                  </a:cubicBezTo>
                  <a:cubicBezTo>
                    <a:pt x="17142" y="82191"/>
                    <a:pt x="17423" y="82191"/>
                    <a:pt x="17423" y="82191"/>
                  </a:cubicBezTo>
                  <a:cubicBezTo>
                    <a:pt x="17704" y="82191"/>
                    <a:pt x="17704" y="81643"/>
                    <a:pt x="17704" y="81643"/>
                  </a:cubicBezTo>
                  <a:cubicBezTo>
                    <a:pt x="18266" y="81095"/>
                    <a:pt x="17985" y="82739"/>
                    <a:pt x="17985" y="83287"/>
                  </a:cubicBezTo>
                  <a:cubicBezTo>
                    <a:pt x="17985" y="83835"/>
                    <a:pt x="18266" y="84383"/>
                    <a:pt x="18548" y="84383"/>
                  </a:cubicBezTo>
                  <a:cubicBezTo>
                    <a:pt x="18829" y="84383"/>
                    <a:pt x="19110" y="83287"/>
                    <a:pt x="19391" y="83287"/>
                  </a:cubicBezTo>
                  <a:cubicBezTo>
                    <a:pt x="19391" y="83287"/>
                    <a:pt x="19110" y="83835"/>
                    <a:pt x="19110" y="83835"/>
                  </a:cubicBezTo>
                  <a:cubicBezTo>
                    <a:pt x="19110" y="83835"/>
                    <a:pt x="19672" y="84383"/>
                    <a:pt x="19672" y="84383"/>
                  </a:cubicBezTo>
                  <a:cubicBezTo>
                    <a:pt x="19672" y="84383"/>
                    <a:pt x="17704" y="85479"/>
                    <a:pt x="18548" y="86575"/>
                  </a:cubicBezTo>
                  <a:cubicBezTo>
                    <a:pt x="18548" y="86575"/>
                    <a:pt x="20234" y="86027"/>
                    <a:pt x="19953" y="86575"/>
                  </a:cubicBezTo>
                  <a:cubicBezTo>
                    <a:pt x="19953" y="86575"/>
                    <a:pt x="18548" y="86575"/>
                    <a:pt x="18829" y="87671"/>
                  </a:cubicBezTo>
                  <a:cubicBezTo>
                    <a:pt x="18829" y="87671"/>
                    <a:pt x="19391" y="87671"/>
                    <a:pt x="19391" y="87671"/>
                  </a:cubicBezTo>
                  <a:cubicBezTo>
                    <a:pt x="19110" y="88219"/>
                    <a:pt x="18548" y="88219"/>
                    <a:pt x="18829" y="88767"/>
                  </a:cubicBezTo>
                  <a:cubicBezTo>
                    <a:pt x="19391" y="89315"/>
                    <a:pt x="19953" y="89315"/>
                    <a:pt x="20234" y="89315"/>
                  </a:cubicBezTo>
                  <a:cubicBezTo>
                    <a:pt x="20796" y="89315"/>
                    <a:pt x="20515" y="89863"/>
                    <a:pt x="20796" y="89863"/>
                  </a:cubicBezTo>
                  <a:cubicBezTo>
                    <a:pt x="21358" y="90410"/>
                    <a:pt x="21358" y="88767"/>
                    <a:pt x="21639" y="88767"/>
                  </a:cubicBezTo>
                  <a:cubicBezTo>
                    <a:pt x="21920" y="88767"/>
                    <a:pt x="21639" y="89863"/>
                    <a:pt x="21639" y="89863"/>
                  </a:cubicBezTo>
                  <a:cubicBezTo>
                    <a:pt x="21358" y="90410"/>
                    <a:pt x="21358" y="90410"/>
                    <a:pt x="21639" y="90958"/>
                  </a:cubicBezTo>
                  <a:cubicBezTo>
                    <a:pt x="22482" y="92054"/>
                    <a:pt x="22763" y="89315"/>
                    <a:pt x="22763" y="89315"/>
                  </a:cubicBezTo>
                  <a:cubicBezTo>
                    <a:pt x="22763" y="89315"/>
                    <a:pt x="22763" y="90958"/>
                    <a:pt x="22482" y="90958"/>
                  </a:cubicBezTo>
                  <a:cubicBezTo>
                    <a:pt x="22482" y="91506"/>
                    <a:pt x="23044" y="90958"/>
                    <a:pt x="23325" y="90958"/>
                  </a:cubicBezTo>
                  <a:cubicBezTo>
                    <a:pt x="23044" y="92054"/>
                    <a:pt x="22763" y="92602"/>
                    <a:pt x="23325" y="93150"/>
                  </a:cubicBezTo>
                  <a:cubicBezTo>
                    <a:pt x="23887" y="93698"/>
                    <a:pt x="24168" y="92054"/>
                    <a:pt x="24168" y="92054"/>
                  </a:cubicBezTo>
                  <a:cubicBezTo>
                    <a:pt x="24168" y="92054"/>
                    <a:pt x="24168" y="92602"/>
                    <a:pt x="24168" y="93150"/>
                  </a:cubicBezTo>
                  <a:cubicBezTo>
                    <a:pt x="24449" y="94246"/>
                    <a:pt x="24168" y="93698"/>
                    <a:pt x="23887" y="93698"/>
                  </a:cubicBezTo>
                  <a:cubicBezTo>
                    <a:pt x="23606" y="94246"/>
                    <a:pt x="25292" y="94794"/>
                    <a:pt x="25011" y="93698"/>
                  </a:cubicBezTo>
                  <a:cubicBezTo>
                    <a:pt x="25573" y="95342"/>
                    <a:pt x="25292" y="96438"/>
                    <a:pt x="26416" y="96438"/>
                  </a:cubicBezTo>
                  <a:cubicBezTo>
                    <a:pt x="27259" y="96438"/>
                    <a:pt x="27822" y="96438"/>
                    <a:pt x="28665" y="96438"/>
                  </a:cubicBezTo>
                  <a:cubicBezTo>
                    <a:pt x="31756" y="96438"/>
                    <a:pt x="34566" y="96438"/>
                    <a:pt x="37377" y="96438"/>
                  </a:cubicBezTo>
                  <a:cubicBezTo>
                    <a:pt x="44402" y="96438"/>
                    <a:pt x="51428" y="96438"/>
                    <a:pt x="58454" y="96438"/>
                  </a:cubicBezTo>
                  <a:cubicBezTo>
                    <a:pt x="59859" y="96438"/>
                    <a:pt x="61264" y="96438"/>
                    <a:pt x="62669" y="96438"/>
                  </a:cubicBezTo>
                  <a:cubicBezTo>
                    <a:pt x="62950" y="96438"/>
                    <a:pt x="64355" y="96986"/>
                    <a:pt x="64355" y="95342"/>
                  </a:cubicBezTo>
                  <a:close/>
                  <a:moveTo>
                    <a:pt x="31475" y="29589"/>
                  </a:moveTo>
                  <a:cubicBezTo>
                    <a:pt x="30913" y="29589"/>
                    <a:pt x="30351" y="29041"/>
                    <a:pt x="29789" y="29589"/>
                  </a:cubicBezTo>
                  <a:cubicBezTo>
                    <a:pt x="29227" y="31232"/>
                    <a:pt x="30351" y="30684"/>
                    <a:pt x="30351" y="31232"/>
                  </a:cubicBezTo>
                  <a:cubicBezTo>
                    <a:pt x="30351" y="30684"/>
                    <a:pt x="28103" y="32876"/>
                    <a:pt x="28103" y="32876"/>
                  </a:cubicBezTo>
                  <a:cubicBezTo>
                    <a:pt x="27540" y="32328"/>
                    <a:pt x="30070" y="29041"/>
                    <a:pt x="27822" y="30684"/>
                  </a:cubicBezTo>
                  <a:cubicBezTo>
                    <a:pt x="27540" y="30684"/>
                    <a:pt x="27259" y="31232"/>
                    <a:pt x="27259" y="31232"/>
                  </a:cubicBezTo>
                  <a:cubicBezTo>
                    <a:pt x="26978" y="31780"/>
                    <a:pt x="27259" y="32328"/>
                    <a:pt x="26978" y="32876"/>
                  </a:cubicBezTo>
                  <a:cubicBezTo>
                    <a:pt x="26697" y="32876"/>
                    <a:pt x="24730" y="32328"/>
                    <a:pt x="24730" y="32328"/>
                  </a:cubicBezTo>
                  <a:cubicBezTo>
                    <a:pt x="24730" y="31780"/>
                    <a:pt x="25573" y="32328"/>
                    <a:pt x="25573" y="31780"/>
                  </a:cubicBezTo>
                  <a:cubicBezTo>
                    <a:pt x="25854" y="31232"/>
                    <a:pt x="25573" y="31232"/>
                    <a:pt x="25854" y="30684"/>
                  </a:cubicBezTo>
                  <a:cubicBezTo>
                    <a:pt x="25854" y="30136"/>
                    <a:pt x="26416" y="29589"/>
                    <a:pt x="26416" y="29589"/>
                  </a:cubicBezTo>
                  <a:cubicBezTo>
                    <a:pt x="26416" y="29041"/>
                    <a:pt x="25573" y="28493"/>
                    <a:pt x="26416" y="28493"/>
                  </a:cubicBezTo>
                  <a:cubicBezTo>
                    <a:pt x="26416" y="28493"/>
                    <a:pt x="27540" y="29041"/>
                    <a:pt x="27540" y="28493"/>
                  </a:cubicBezTo>
                  <a:cubicBezTo>
                    <a:pt x="27540" y="27945"/>
                    <a:pt x="26135" y="27397"/>
                    <a:pt x="25854" y="27397"/>
                  </a:cubicBezTo>
                  <a:cubicBezTo>
                    <a:pt x="25573" y="27397"/>
                    <a:pt x="25011" y="27945"/>
                    <a:pt x="24449" y="27945"/>
                  </a:cubicBezTo>
                  <a:cubicBezTo>
                    <a:pt x="24168" y="27945"/>
                    <a:pt x="23606" y="27397"/>
                    <a:pt x="23044" y="27945"/>
                  </a:cubicBezTo>
                  <a:cubicBezTo>
                    <a:pt x="22763" y="27945"/>
                    <a:pt x="22201" y="29041"/>
                    <a:pt x="22482" y="27945"/>
                  </a:cubicBezTo>
                  <a:cubicBezTo>
                    <a:pt x="22763" y="26849"/>
                    <a:pt x="23325" y="27397"/>
                    <a:pt x="23606" y="26849"/>
                  </a:cubicBezTo>
                  <a:cubicBezTo>
                    <a:pt x="24168" y="26849"/>
                    <a:pt x="25011" y="26301"/>
                    <a:pt x="25573" y="25753"/>
                  </a:cubicBezTo>
                  <a:cubicBezTo>
                    <a:pt x="26697" y="25205"/>
                    <a:pt x="27822" y="25205"/>
                    <a:pt x="28665" y="24109"/>
                  </a:cubicBezTo>
                  <a:cubicBezTo>
                    <a:pt x="29227" y="24109"/>
                    <a:pt x="30070" y="23561"/>
                    <a:pt x="30351" y="24657"/>
                  </a:cubicBezTo>
                  <a:cubicBezTo>
                    <a:pt x="30632" y="25205"/>
                    <a:pt x="29508" y="25753"/>
                    <a:pt x="29227" y="26301"/>
                  </a:cubicBezTo>
                  <a:cubicBezTo>
                    <a:pt x="28665" y="26849"/>
                    <a:pt x="30913" y="26849"/>
                    <a:pt x="31194" y="26849"/>
                  </a:cubicBezTo>
                  <a:cubicBezTo>
                    <a:pt x="31194" y="26849"/>
                    <a:pt x="31756" y="26849"/>
                    <a:pt x="31756" y="26849"/>
                  </a:cubicBezTo>
                  <a:cubicBezTo>
                    <a:pt x="32037" y="26301"/>
                    <a:pt x="32599" y="25205"/>
                    <a:pt x="32880" y="25753"/>
                  </a:cubicBezTo>
                  <a:cubicBezTo>
                    <a:pt x="33161" y="26301"/>
                    <a:pt x="31756" y="29589"/>
                    <a:pt x="31475" y="29589"/>
                  </a:cubicBezTo>
                  <a:cubicBezTo>
                    <a:pt x="30913" y="29589"/>
                    <a:pt x="32037" y="29589"/>
                    <a:pt x="31475" y="29589"/>
                  </a:cubicBezTo>
                  <a:close/>
                  <a:moveTo>
                    <a:pt x="44121" y="42739"/>
                  </a:moveTo>
                  <a:cubicBezTo>
                    <a:pt x="44121" y="42739"/>
                    <a:pt x="42716" y="42739"/>
                    <a:pt x="42997" y="42739"/>
                  </a:cubicBezTo>
                  <a:cubicBezTo>
                    <a:pt x="42997" y="43287"/>
                    <a:pt x="43559" y="42739"/>
                    <a:pt x="43559" y="43287"/>
                  </a:cubicBezTo>
                  <a:cubicBezTo>
                    <a:pt x="43559" y="43835"/>
                    <a:pt x="42435" y="44383"/>
                    <a:pt x="42154" y="44383"/>
                  </a:cubicBezTo>
                  <a:cubicBezTo>
                    <a:pt x="41592" y="44383"/>
                    <a:pt x="41311" y="45479"/>
                    <a:pt x="40749" y="46027"/>
                  </a:cubicBezTo>
                  <a:cubicBezTo>
                    <a:pt x="40749" y="46027"/>
                    <a:pt x="39625" y="46027"/>
                    <a:pt x="39906" y="46575"/>
                  </a:cubicBezTo>
                  <a:cubicBezTo>
                    <a:pt x="39906" y="47123"/>
                    <a:pt x="40749" y="47123"/>
                    <a:pt x="39906" y="48219"/>
                  </a:cubicBezTo>
                  <a:cubicBezTo>
                    <a:pt x="39625" y="48219"/>
                    <a:pt x="38501" y="48219"/>
                    <a:pt x="38501" y="48767"/>
                  </a:cubicBezTo>
                  <a:cubicBezTo>
                    <a:pt x="38220" y="48767"/>
                    <a:pt x="38501" y="49315"/>
                    <a:pt x="38501" y="49315"/>
                  </a:cubicBezTo>
                  <a:cubicBezTo>
                    <a:pt x="38501" y="50410"/>
                    <a:pt x="37939" y="50410"/>
                    <a:pt x="37658" y="50410"/>
                  </a:cubicBezTo>
                  <a:cubicBezTo>
                    <a:pt x="36814" y="50958"/>
                    <a:pt x="35971" y="50958"/>
                    <a:pt x="35128" y="50958"/>
                  </a:cubicBezTo>
                  <a:cubicBezTo>
                    <a:pt x="35128" y="50958"/>
                    <a:pt x="33723" y="49315"/>
                    <a:pt x="33723" y="49315"/>
                  </a:cubicBezTo>
                  <a:cubicBezTo>
                    <a:pt x="34285" y="48767"/>
                    <a:pt x="35128" y="49315"/>
                    <a:pt x="35409" y="48767"/>
                  </a:cubicBezTo>
                  <a:cubicBezTo>
                    <a:pt x="35690" y="48767"/>
                    <a:pt x="35409" y="47671"/>
                    <a:pt x="35690" y="47671"/>
                  </a:cubicBezTo>
                  <a:cubicBezTo>
                    <a:pt x="35971" y="46575"/>
                    <a:pt x="36533" y="47123"/>
                    <a:pt x="36814" y="46575"/>
                  </a:cubicBezTo>
                  <a:cubicBezTo>
                    <a:pt x="37096" y="46575"/>
                    <a:pt x="36533" y="45479"/>
                    <a:pt x="36533" y="45479"/>
                  </a:cubicBezTo>
                  <a:cubicBezTo>
                    <a:pt x="35971" y="44931"/>
                    <a:pt x="35971" y="44931"/>
                    <a:pt x="35971" y="44383"/>
                  </a:cubicBezTo>
                  <a:cubicBezTo>
                    <a:pt x="35971" y="43287"/>
                    <a:pt x="35409" y="43835"/>
                    <a:pt x="35409" y="43287"/>
                  </a:cubicBezTo>
                  <a:cubicBezTo>
                    <a:pt x="35128" y="42739"/>
                    <a:pt x="35971" y="43287"/>
                    <a:pt x="35971" y="43287"/>
                  </a:cubicBezTo>
                  <a:cubicBezTo>
                    <a:pt x="36814" y="43835"/>
                    <a:pt x="37658" y="44383"/>
                    <a:pt x="38220" y="44931"/>
                  </a:cubicBezTo>
                  <a:cubicBezTo>
                    <a:pt x="38782" y="46027"/>
                    <a:pt x="39906" y="45479"/>
                    <a:pt x="40468" y="44931"/>
                  </a:cubicBezTo>
                  <a:cubicBezTo>
                    <a:pt x="41311" y="44383"/>
                    <a:pt x="41592" y="42739"/>
                    <a:pt x="42716" y="42191"/>
                  </a:cubicBezTo>
                  <a:cubicBezTo>
                    <a:pt x="42997" y="41643"/>
                    <a:pt x="43559" y="41643"/>
                    <a:pt x="44121" y="42191"/>
                  </a:cubicBezTo>
                  <a:cubicBezTo>
                    <a:pt x="44121" y="42191"/>
                    <a:pt x="44964" y="42739"/>
                    <a:pt x="44964" y="42739"/>
                  </a:cubicBezTo>
                  <a:cubicBezTo>
                    <a:pt x="44964" y="42739"/>
                    <a:pt x="44402" y="42739"/>
                    <a:pt x="44121" y="42739"/>
                  </a:cubicBezTo>
                  <a:close/>
                  <a:moveTo>
                    <a:pt x="62388" y="90410"/>
                  </a:moveTo>
                  <a:cubicBezTo>
                    <a:pt x="62107" y="91506"/>
                    <a:pt x="61545" y="89315"/>
                    <a:pt x="61545" y="88767"/>
                  </a:cubicBezTo>
                  <a:cubicBezTo>
                    <a:pt x="61545" y="87671"/>
                    <a:pt x="62107" y="87123"/>
                    <a:pt x="62107" y="86027"/>
                  </a:cubicBezTo>
                  <a:cubicBezTo>
                    <a:pt x="61826" y="85479"/>
                    <a:pt x="61545" y="87123"/>
                    <a:pt x="61264" y="86575"/>
                  </a:cubicBezTo>
                  <a:cubicBezTo>
                    <a:pt x="61264" y="86027"/>
                    <a:pt x="61264" y="84383"/>
                    <a:pt x="60702" y="84383"/>
                  </a:cubicBezTo>
                  <a:cubicBezTo>
                    <a:pt x="60702" y="84383"/>
                    <a:pt x="60702" y="85479"/>
                    <a:pt x="60421" y="85479"/>
                  </a:cubicBezTo>
                  <a:cubicBezTo>
                    <a:pt x="60140" y="84931"/>
                    <a:pt x="60140" y="84383"/>
                    <a:pt x="59859" y="83835"/>
                  </a:cubicBezTo>
                  <a:cubicBezTo>
                    <a:pt x="59578" y="83287"/>
                    <a:pt x="59297" y="82739"/>
                    <a:pt x="59016" y="82191"/>
                  </a:cubicBezTo>
                  <a:cubicBezTo>
                    <a:pt x="58735" y="81643"/>
                    <a:pt x="59578" y="81643"/>
                    <a:pt x="59578" y="81095"/>
                  </a:cubicBezTo>
                  <a:cubicBezTo>
                    <a:pt x="59297" y="80547"/>
                    <a:pt x="58735" y="81095"/>
                    <a:pt x="58735" y="80547"/>
                  </a:cubicBezTo>
                  <a:cubicBezTo>
                    <a:pt x="58735" y="80000"/>
                    <a:pt x="59016" y="78356"/>
                    <a:pt x="59016" y="77808"/>
                  </a:cubicBezTo>
                  <a:cubicBezTo>
                    <a:pt x="59578" y="76712"/>
                    <a:pt x="60983" y="80547"/>
                    <a:pt x="60983" y="81095"/>
                  </a:cubicBezTo>
                  <a:cubicBezTo>
                    <a:pt x="61264" y="82191"/>
                    <a:pt x="61545" y="82739"/>
                    <a:pt x="61545" y="83835"/>
                  </a:cubicBezTo>
                  <a:cubicBezTo>
                    <a:pt x="61826" y="84931"/>
                    <a:pt x="61826" y="84383"/>
                    <a:pt x="62107" y="85479"/>
                  </a:cubicBezTo>
                  <a:cubicBezTo>
                    <a:pt x="62107" y="86027"/>
                    <a:pt x="62388" y="86575"/>
                    <a:pt x="62388" y="87123"/>
                  </a:cubicBezTo>
                  <a:cubicBezTo>
                    <a:pt x="62669" y="88219"/>
                    <a:pt x="62388" y="89315"/>
                    <a:pt x="62388" y="90410"/>
                  </a:cubicBezTo>
                  <a:cubicBezTo>
                    <a:pt x="62107" y="90958"/>
                    <a:pt x="62388" y="89863"/>
                    <a:pt x="62388" y="9041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46" name="Shape 2520">
              <a:extLst>
                <a:ext uri="{FF2B5EF4-FFF2-40B4-BE49-F238E27FC236}">
                  <a16:creationId xmlns:a16="http://schemas.microsoft.com/office/drawing/2014/main" id="{1AA71E42-B38A-AE40-A354-F82A2CDC1935}"/>
                </a:ext>
              </a:extLst>
            </p:cNvPr>
            <p:cNvSpPr/>
            <p:nvPr/>
          </p:nvSpPr>
          <p:spPr>
            <a:xfrm>
              <a:off x="17343486" y="9466302"/>
              <a:ext cx="95541" cy="82826"/>
            </a:xfrm>
            <a:custGeom>
              <a:avLst/>
              <a:gdLst/>
              <a:ahLst/>
              <a:cxnLst/>
              <a:rect l="0" t="0" r="0" b="0"/>
              <a:pathLst>
                <a:path w="120000" h="120000" extrusionOk="0">
                  <a:moveTo>
                    <a:pt x="108000" y="0"/>
                  </a:moveTo>
                  <a:cubicBezTo>
                    <a:pt x="84000" y="13333"/>
                    <a:pt x="0" y="53333"/>
                    <a:pt x="24000" y="93333"/>
                  </a:cubicBezTo>
                  <a:cubicBezTo>
                    <a:pt x="48000" y="120000"/>
                    <a:pt x="108000" y="40000"/>
                    <a:pt x="120000" y="40000"/>
                  </a:cubicBezTo>
                  <a:cubicBezTo>
                    <a:pt x="120000" y="26666"/>
                    <a:pt x="108000" y="13333"/>
                    <a:pt x="108000" y="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47" name="Shape 2521">
              <a:extLst>
                <a:ext uri="{FF2B5EF4-FFF2-40B4-BE49-F238E27FC236}">
                  <a16:creationId xmlns:a16="http://schemas.microsoft.com/office/drawing/2014/main" id="{1FE8D47F-16E9-EA4C-ACF3-E9DDFEAD5E75}"/>
                </a:ext>
              </a:extLst>
            </p:cNvPr>
            <p:cNvSpPr/>
            <p:nvPr/>
          </p:nvSpPr>
          <p:spPr>
            <a:xfrm>
              <a:off x="17419916" y="9447187"/>
              <a:ext cx="121017" cy="44598"/>
            </a:xfrm>
            <a:custGeom>
              <a:avLst/>
              <a:gdLst/>
              <a:ahLst/>
              <a:cxnLst/>
              <a:rect l="0" t="0" r="0" b="0"/>
              <a:pathLst>
                <a:path w="120000" h="120000" extrusionOk="0">
                  <a:moveTo>
                    <a:pt x="110769" y="0"/>
                  </a:moveTo>
                  <a:cubicBezTo>
                    <a:pt x="120000" y="0"/>
                    <a:pt x="64615" y="0"/>
                    <a:pt x="64615" y="0"/>
                  </a:cubicBezTo>
                  <a:cubicBezTo>
                    <a:pt x="55384" y="0"/>
                    <a:pt x="0" y="24000"/>
                    <a:pt x="9230" y="48000"/>
                  </a:cubicBezTo>
                  <a:cubicBezTo>
                    <a:pt x="27692" y="120000"/>
                    <a:pt x="18461" y="120000"/>
                    <a:pt x="46153" y="72000"/>
                  </a:cubicBezTo>
                  <a:cubicBezTo>
                    <a:pt x="73846" y="48000"/>
                    <a:pt x="92307" y="48000"/>
                    <a:pt x="110769" y="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48" name="Shape 2522">
              <a:extLst>
                <a:ext uri="{FF2B5EF4-FFF2-40B4-BE49-F238E27FC236}">
                  <a16:creationId xmlns:a16="http://schemas.microsoft.com/office/drawing/2014/main" id="{30DBB38A-E13F-E649-9CAC-F78755286791}"/>
                </a:ext>
              </a:extLst>
            </p:cNvPr>
            <p:cNvSpPr/>
            <p:nvPr/>
          </p:nvSpPr>
          <p:spPr>
            <a:xfrm>
              <a:off x="12273423" y="6414549"/>
              <a:ext cx="289810" cy="159279"/>
            </a:xfrm>
            <a:custGeom>
              <a:avLst/>
              <a:gdLst/>
              <a:ahLst/>
              <a:cxnLst/>
              <a:rect l="0" t="0" r="0" b="0"/>
              <a:pathLst>
                <a:path w="120000" h="120000" extrusionOk="0">
                  <a:moveTo>
                    <a:pt x="38709" y="120000"/>
                  </a:moveTo>
                  <a:cubicBezTo>
                    <a:pt x="46451" y="120000"/>
                    <a:pt x="42580" y="98823"/>
                    <a:pt x="50322" y="98823"/>
                  </a:cubicBezTo>
                  <a:cubicBezTo>
                    <a:pt x="58064" y="98823"/>
                    <a:pt x="61935" y="112941"/>
                    <a:pt x="69677" y="112941"/>
                  </a:cubicBezTo>
                  <a:cubicBezTo>
                    <a:pt x="73548" y="112941"/>
                    <a:pt x="77419" y="112941"/>
                    <a:pt x="81290" y="112941"/>
                  </a:cubicBezTo>
                  <a:cubicBezTo>
                    <a:pt x="85161" y="112941"/>
                    <a:pt x="89032" y="105882"/>
                    <a:pt x="89032" y="105882"/>
                  </a:cubicBezTo>
                  <a:cubicBezTo>
                    <a:pt x="100645" y="98823"/>
                    <a:pt x="104516" y="91764"/>
                    <a:pt x="112258" y="77647"/>
                  </a:cubicBezTo>
                  <a:cubicBezTo>
                    <a:pt x="120000" y="63529"/>
                    <a:pt x="112258" y="56470"/>
                    <a:pt x="104516" y="49411"/>
                  </a:cubicBezTo>
                  <a:cubicBezTo>
                    <a:pt x="96774" y="42352"/>
                    <a:pt x="85161" y="21176"/>
                    <a:pt x="81290" y="35294"/>
                  </a:cubicBezTo>
                  <a:cubicBezTo>
                    <a:pt x="73548" y="56470"/>
                    <a:pt x="69677" y="28235"/>
                    <a:pt x="65806" y="21176"/>
                  </a:cubicBezTo>
                  <a:cubicBezTo>
                    <a:pt x="61935" y="14117"/>
                    <a:pt x="50322" y="21176"/>
                    <a:pt x="50322" y="0"/>
                  </a:cubicBezTo>
                  <a:cubicBezTo>
                    <a:pt x="50322" y="7058"/>
                    <a:pt x="46451" y="21176"/>
                    <a:pt x="42580" y="14117"/>
                  </a:cubicBezTo>
                  <a:cubicBezTo>
                    <a:pt x="34838" y="0"/>
                    <a:pt x="34838" y="0"/>
                    <a:pt x="30967" y="14117"/>
                  </a:cubicBezTo>
                  <a:cubicBezTo>
                    <a:pt x="27096" y="21176"/>
                    <a:pt x="0" y="35294"/>
                    <a:pt x="0" y="42352"/>
                  </a:cubicBezTo>
                  <a:cubicBezTo>
                    <a:pt x="0" y="42352"/>
                    <a:pt x="3870" y="63529"/>
                    <a:pt x="7741" y="70588"/>
                  </a:cubicBezTo>
                  <a:cubicBezTo>
                    <a:pt x="7741" y="77647"/>
                    <a:pt x="11612" y="84705"/>
                    <a:pt x="15483" y="91764"/>
                  </a:cubicBezTo>
                  <a:cubicBezTo>
                    <a:pt x="23225" y="98823"/>
                    <a:pt x="30967" y="120000"/>
                    <a:pt x="38709" y="12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49" name="Shape 2523">
              <a:extLst>
                <a:ext uri="{FF2B5EF4-FFF2-40B4-BE49-F238E27FC236}">
                  <a16:creationId xmlns:a16="http://schemas.microsoft.com/office/drawing/2014/main" id="{D33ADFC2-214A-9940-82A9-474891C09419}"/>
                </a:ext>
              </a:extLst>
            </p:cNvPr>
            <p:cNvSpPr/>
            <p:nvPr/>
          </p:nvSpPr>
          <p:spPr>
            <a:xfrm>
              <a:off x="12142851" y="6545157"/>
              <a:ext cx="347132" cy="149719"/>
            </a:xfrm>
            <a:custGeom>
              <a:avLst/>
              <a:gdLst/>
              <a:ahLst/>
              <a:cxnLst/>
              <a:rect l="0" t="0" r="0" b="0"/>
              <a:pathLst>
                <a:path w="120000" h="120000" extrusionOk="0">
                  <a:moveTo>
                    <a:pt x="103783" y="15000"/>
                  </a:moveTo>
                  <a:cubicBezTo>
                    <a:pt x="97297" y="15000"/>
                    <a:pt x="90810" y="0"/>
                    <a:pt x="87567" y="0"/>
                  </a:cubicBezTo>
                  <a:cubicBezTo>
                    <a:pt x="81081" y="0"/>
                    <a:pt x="84324" y="22500"/>
                    <a:pt x="77837" y="22500"/>
                  </a:cubicBezTo>
                  <a:cubicBezTo>
                    <a:pt x="71351" y="22500"/>
                    <a:pt x="71351" y="15000"/>
                    <a:pt x="64864" y="22500"/>
                  </a:cubicBezTo>
                  <a:cubicBezTo>
                    <a:pt x="64864" y="22500"/>
                    <a:pt x="51891" y="45000"/>
                    <a:pt x="55135" y="52500"/>
                  </a:cubicBezTo>
                  <a:cubicBezTo>
                    <a:pt x="55135" y="60000"/>
                    <a:pt x="61621" y="75000"/>
                    <a:pt x="51891" y="67500"/>
                  </a:cubicBezTo>
                  <a:cubicBezTo>
                    <a:pt x="48648" y="67500"/>
                    <a:pt x="45405" y="60000"/>
                    <a:pt x="42162" y="67500"/>
                  </a:cubicBezTo>
                  <a:cubicBezTo>
                    <a:pt x="38918" y="67500"/>
                    <a:pt x="32432" y="75000"/>
                    <a:pt x="29189" y="75000"/>
                  </a:cubicBezTo>
                  <a:cubicBezTo>
                    <a:pt x="22702" y="75000"/>
                    <a:pt x="19459" y="60000"/>
                    <a:pt x="16216" y="82500"/>
                  </a:cubicBezTo>
                  <a:cubicBezTo>
                    <a:pt x="16216" y="82500"/>
                    <a:pt x="3243" y="67500"/>
                    <a:pt x="0" y="67500"/>
                  </a:cubicBezTo>
                  <a:cubicBezTo>
                    <a:pt x="0" y="82500"/>
                    <a:pt x="3243" y="90000"/>
                    <a:pt x="12972" y="97500"/>
                  </a:cubicBezTo>
                  <a:cubicBezTo>
                    <a:pt x="16216" y="97500"/>
                    <a:pt x="16216" y="97500"/>
                    <a:pt x="19459" y="97500"/>
                  </a:cubicBezTo>
                  <a:cubicBezTo>
                    <a:pt x="22702" y="97500"/>
                    <a:pt x="22702" y="112500"/>
                    <a:pt x="25945" y="105000"/>
                  </a:cubicBezTo>
                  <a:cubicBezTo>
                    <a:pt x="32432" y="97500"/>
                    <a:pt x="32432" y="97500"/>
                    <a:pt x="38918" y="97500"/>
                  </a:cubicBezTo>
                  <a:cubicBezTo>
                    <a:pt x="45405" y="97500"/>
                    <a:pt x="42162" y="105000"/>
                    <a:pt x="48648" y="112500"/>
                  </a:cubicBezTo>
                  <a:cubicBezTo>
                    <a:pt x="55135" y="120000"/>
                    <a:pt x="64864" y="120000"/>
                    <a:pt x="71351" y="120000"/>
                  </a:cubicBezTo>
                  <a:cubicBezTo>
                    <a:pt x="81081" y="120000"/>
                    <a:pt x="84324" y="105000"/>
                    <a:pt x="94054" y="105000"/>
                  </a:cubicBezTo>
                  <a:cubicBezTo>
                    <a:pt x="100540" y="105000"/>
                    <a:pt x="107027" y="97500"/>
                    <a:pt x="107027" y="90000"/>
                  </a:cubicBezTo>
                  <a:cubicBezTo>
                    <a:pt x="110270" y="82500"/>
                    <a:pt x="110270" y="75000"/>
                    <a:pt x="110270" y="67500"/>
                  </a:cubicBezTo>
                  <a:cubicBezTo>
                    <a:pt x="110270" y="52500"/>
                    <a:pt x="113513" y="67500"/>
                    <a:pt x="116756" y="60000"/>
                  </a:cubicBezTo>
                  <a:cubicBezTo>
                    <a:pt x="120000" y="45000"/>
                    <a:pt x="116756" y="22500"/>
                    <a:pt x="116756" y="15000"/>
                  </a:cubicBezTo>
                  <a:cubicBezTo>
                    <a:pt x="110270" y="15000"/>
                    <a:pt x="107027" y="15000"/>
                    <a:pt x="103783" y="15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50" name="Shape 2524">
              <a:extLst>
                <a:ext uri="{FF2B5EF4-FFF2-40B4-BE49-F238E27FC236}">
                  <a16:creationId xmlns:a16="http://schemas.microsoft.com/office/drawing/2014/main" id="{CC58C135-87C8-6F47-B04D-0EC2ABFEC46E}"/>
                </a:ext>
              </a:extLst>
            </p:cNvPr>
            <p:cNvSpPr/>
            <p:nvPr/>
          </p:nvSpPr>
          <p:spPr>
            <a:xfrm>
              <a:off x="12021831" y="6656649"/>
              <a:ext cx="531847" cy="516057"/>
            </a:xfrm>
            <a:custGeom>
              <a:avLst/>
              <a:gdLst/>
              <a:ahLst/>
              <a:cxnLst/>
              <a:rect l="0" t="0" r="0" b="0"/>
              <a:pathLst>
                <a:path w="120000" h="120000" extrusionOk="0">
                  <a:moveTo>
                    <a:pt x="77894" y="21818"/>
                  </a:moveTo>
                  <a:cubicBezTo>
                    <a:pt x="80000" y="19636"/>
                    <a:pt x="84210" y="21818"/>
                    <a:pt x="86315" y="19636"/>
                  </a:cubicBezTo>
                  <a:cubicBezTo>
                    <a:pt x="90526" y="17454"/>
                    <a:pt x="88421" y="15272"/>
                    <a:pt x="90526" y="13090"/>
                  </a:cubicBezTo>
                  <a:cubicBezTo>
                    <a:pt x="90526" y="10909"/>
                    <a:pt x="92631" y="8727"/>
                    <a:pt x="94736" y="8727"/>
                  </a:cubicBezTo>
                  <a:cubicBezTo>
                    <a:pt x="96842" y="6545"/>
                    <a:pt x="94736" y="6545"/>
                    <a:pt x="94736" y="2181"/>
                  </a:cubicBezTo>
                  <a:cubicBezTo>
                    <a:pt x="92631" y="4363"/>
                    <a:pt x="90526" y="4363"/>
                    <a:pt x="86315" y="4363"/>
                  </a:cubicBezTo>
                  <a:cubicBezTo>
                    <a:pt x="82105" y="4363"/>
                    <a:pt x="77894" y="10909"/>
                    <a:pt x="75789" y="8727"/>
                  </a:cubicBezTo>
                  <a:cubicBezTo>
                    <a:pt x="69473" y="6545"/>
                    <a:pt x="58947" y="8727"/>
                    <a:pt x="56842" y="2181"/>
                  </a:cubicBezTo>
                  <a:cubicBezTo>
                    <a:pt x="54736" y="0"/>
                    <a:pt x="48421" y="2181"/>
                    <a:pt x="46315" y="2181"/>
                  </a:cubicBezTo>
                  <a:cubicBezTo>
                    <a:pt x="42105" y="6545"/>
                    <a:pt x="42105" y="2181"/>
                    <a:pt x="40000" y="2181"/>
                  </a:cubicBezTo>
                  <a:cubicBezTo>
                    <a:pt x="37894" y="2181"/>
                    <a:pt x="37894" y="6545"/>
                    <a:pt x="37894" y="6545"/>
                  </a:cubicBezTo>
                  <a:cubicBezTo>
                    <a:pt x="37894" y="6545"/>
                    <a:pt x="35789" y="8727"/>
                    <a:pt x="35789" y="8727"/>
                  </a:cubicBezTo>
                  <a:cubicBezTo>
                    <a:pt x="35789" y="10909"/>
                    <a:pt x="33684" y="10909"/>
                    <a:pt x="31578" y="10909"/>
                  </a:cubicBezTo>
                  <a:cubicBezTo>
                    <a:pt x="31578" y="10909"/>
                    <a:pt x="29473" y="10909"/>
                    <a:pt x="27368" y="10909"/>
                  </a:cubicBezTo>
                  <a:cubicBezTo>
                    <a:pt x="27368" y="10909"/>
                    <a:pt x="27368" y="10909"/>
                    <a:pt x="25263" y="8727"/>
                  </a:cubicBezTo>
                  <a:cubicBezTo>
                    <a:pt x="25263" y="8727"/>
                    <a:pt x="23157" y="15272"/>
                    <a:pt x="23157" y="17454"/>
                  </a:cubicBezTo>
                  <a:cubicBezTo>
                    <a:pt x="23157" y="19636"/>
                    <a:pt x="18947" y="13090"/>
                    <a:pt x="18947" y="10909"/>
                  </a:cubicBezTo>
                  <a:cubicBezTo>
                    <a:pt x="14736" y="8727"/>
                    <a:pt x="12631" y="15272"/>
                    <a:pt x="10526" y="15272"/>
                  </a:cubicBezTo>
                  <a:cubicBezTo>
                    <a:pt x="6315" y="15272"/>
                    <a:pt x="2105" y="15272"/>
                    <a:pt x="0" y="15272"/>
                  </a:cubicBezTo>
                  <a:cubicBezTo>
                    <a:pt x="0" y="17454"/>
                    <a:pt x="2105" y="19636"/>
                    <a:pt x="2105" y="21818"/>
                  </a:cubicBezTo>
                  <a:cubicBezTo>
                    <a:pt x="2105" y="26181"/>
                    <a:pt x="0" y="26181"/>
                    <a:pt x="0" y="30545"/>
                  </a:cubicBezTo>
                  <a:cubicBezTo>
                    <a:pt x="0" y="32727"/>
                    <a:pt x="0" y="39272"/>
                    <a:pt x="4210" y="39272"/>
                  </a:cubicBezTo>
                  <a:cubicBezTo>
                    <a:pt x="6315" y="41454"/>
                    <a:pt x="8421" y="39272"/>
                    <a:pt x="8421" y="45818"/>
                  </a:cubicBezTo>
                  <a:cubicBezTo>
                    <a:pt x="12631" y="43636"/>
                    <a:pt x="21052" y="34909"/>
                    <a:pt x="25263" y="37090"/>
                  </a:cubicBezTo>
                  <a:cubicBezTo>
                    <a:pt x="27368" y="39272"/>
                    <a:pt x="29473" y="41454"/>
                    <a:pt x="31578" y="41454"/>
                  </a:cubicBezTo>
                  <a:cubicBezTo>
                    <a:pt x="33684" y="41454"/>
                    <a:pt x="35789" y="45818"/>
                    <a:pt x="35789" y="48000"/>
                  </a:cubicBezTo>
                  <a:cubicBezTo>
                    <a:pt x="37894" y="50181"/>
                    <a:pt x="37894" y="52363"/>
                    <a:pt x="37894" y="54545"/>
                  </a:cubicBezTo>
                  <a:cubicBezTo>
                    <a:pt x="40000" y="56727"/>
                    <a:pt x="42105" y="58909"/>
                    <a:pt x="44210" y="61090"/>
                  </a:cubicBezTo>
                  <a:cubicBezTo>
                    <a:pt x="48421" y="63272"/>
                    <a:pt x="52631" y="67636"/>
                    <a:pt x="58947" y="72000"/>
                  </a:cubicBezTo>
                  <a:cubicBezTo>
                    <a:pt x="63157" y="76363"/>
                    <a:pt x="65263" y="76363"/>
                    <a:pt x="69473" y="78545"/>
                  </a:cubicBezTo>
                  <a:cubicBezTo>
                    <a:pt x="75789" y="82909"/>
                    <a:pt x="80000" y="89454"/>
                    <a:pt x="88421" y="91636"/>
                  </a:cubicBezTo>
                  <a:cubicBezTo>
                    <a:pt x="92631" y="93818"/>
                    <a:pt x="92631" y="100363"/>
                    <a:pt x="94736" y="104727"/>
                  </a:cubicBezTo>
                  <a:cubicBezTo>
                    <a:pt x="94736" y="109090"/>
                    <a:pt x="88421" y="113454"/>
                    <a:pt x="90526" y="120000"/>
                  </a:cubicBezTo>
                  <a:cubicBezTo>
                    <a:pt x="90526" y="117818"/>
                    <a:pt x="103157" y="106909"/>
                    <a:pt x="103157" y="104727"/>
                  </a:cubicBezTo>
                  <a:cubicBezTo>
                    <a:pt x="105263" y="102545"/>
                    <a:pt x="98947" y="98181"/>
                    <a:pt x="98947" y="98181"/>
                  </a:cubicBezTo>
                  <a:cubicBezTo>
                    <a:pt x="94736" y="93818"/>
                    <a:pt x="103157" y="85090"/>
                    <a:pt x="105263" y="87272"/>
                  </a:cubicBezTo>
                  <a:cubicBezTo>
                    <a:pt x="107368" y="89454"/>
                    <a:pt x="109473" y="89454"/>
                    <a:pt x="111578" y="89454"/>
                  </a:cubicBezTo>
                  <a:cubicBezTo>
                    <a:pt x="113684" y="91636"/>
                    <a:pt x="113684" y="93818"/>
                    <a:pt x="115789" y="96000"/>
                  </a:cubicBezTo>
                  <a:cubicBezTo>
                    <a:pt x="119999" y="96000"/>
                    <a:pt x="113684" y="87272"/>
                    <a:pt x="111578" y="85090"/>
                  </a:cubicBezTo>
                  <a:cubicBezTo>
                    <a:pt x="107368" y="80727"/>
                    <a:pt x="98947" y="80727"/>
                    <a:pt x="92631" y="76363"/>
                  </a:cubicBezTo>
                  <a:cubicBezTo>
                    <a:pt x="90526" y="74181"/>
                    <a:pt x="96842" y="69818"/>
                    <a:pt x="92631" y="69818"/>
                  </a:cubicBezTo>
                  <a:cubicBezTo>
                    <a:pt x="90526" y="67636"/>
                    <a:pt x="86315" y="69818"/>
                    <a:pt x="82105" y="67636"/>
                  </a:cubicBezTo>
                  <a:cubicBezTo>
                    <a:pt x="77894" y="65454"/>
                    <a:pt x="75789" y="61090"/>
                    <a:pt x="73684" y="56727"/>
                  </a:cubicBezTo>
                  <a:cubicBezTo>
                    <a:pt x="71578" y="52363"/>
                    <a:pt x="71578" y="48000"/>
                    <a:pt x="67368" y="45818"/>
                  </a:cubicBezTo>
                  <a:cubicBezTo>
                    <a:pt x="65263" y="43636"/>
                    <a:pt x="56842" y="41454"/>
                    <a:pt x="56842" y="37090"/>
                  </a:cubicBezTo>
                  <a:cubicBezTo>
                    <a:pt x="56842" y="34909"/>
                    <a:pt x="56842" y="32727"/>
                    <a:pt x="56842" y="32727"/>
                  </a:cubicBezTo>
                  <a:cubicBezTo>
                    <a:pt x="58947" y="28363"/>
                    <a:pt x="58947" y="28363"/>
                    <a:pt x="58947" y="26181"/>
                  </a:cubicBezTo>
                  <a:cubicBezTo>
                    <a:pt x="56842" y="19636"/>
                    <a:pt x="63157" y="21818"/>
                    <a:pt x="63157" y="19636"/>
                  </a:cubicBezTo>
                  <a:cubicBezTo>
                    <a:pt x="65263" y="17454"/>
                    <a:pt x="67368" y="17454"/>
                    <a:pt x="67368" y="17454"/>
                  </a:cubicBezTo>
                  <a:cubicBezTo>
                    <a:pt x="71578" y="17454"/>
                    <a:pt x="71578" y="19636"/>
                    <a:pt x="71578" y="21818"/>
                  </a:cubicBezTo>
                  <a:cubicBezTo>
                    <a:pt x="73684" y="21818"/>
                    <a:pt x="75789" y="21818"/>
                    <a:pt x="77894" y="21818"/>
                  </a:cubicBezTo>
                  <a:cubicBezTo>
                    <a:pt x="77894" y="19636"/>
                    <a:pt x="75789" y="21818"/>
                    <a:pt x="77894" y="21818"/>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51" name="Shape 2525">
              <a:extLst>
                <a:ext uri="{FF2B5EF4-FFF2-40B4-BE49-F238E27FC236}">
                  <a16:creationId xmlns:a16="http://schemas.microsoft.com/office/drawing/2014/main" id="{2374CEFE-2B5B-1D41-88B0-1EE8BA302FC7}"/>
                </a:ext>
              </a:extLst>
            </p:cNvPr>
            <p:cNvSpPr/>
            <p:nvPr/>
          </p:nvSpPr>
          <p:spPr>
            <a:xfrm>
              <a:off x="12330747" y="6685320"/>
              <a:ext cx="251592" cy="235730"/>
            </a:xfrm>
            <a:custGeom>
              <a:avLst/>
              <a:gdLst/>
              <a:ahLst/>
              <a:cxnLst/>
              <a:rect l="0" t="0" r="0" b="0"/>
              <a:pathLst>
                <a:path w="120000" h="120000" extrusionOk="0">
                  <a:moveTo>
                    <a:pt x="53333" y="48000"/>
                  </a:moveTo>
                  <a:cubicBezTo>
                    <a:pt x="66666" y="48000"/>
                    <a:pt x="80000" y="38400"/>
                    <a:pt x="93333" y="43200"/>
                  </a:cubicBezTo>
                  <a:cubicBezTo>
                    <a:pt x="102222" y="43200"/>
                    <a:pt x="111111" y="48000"/>
                    <a:pt x="120000" y="52800"/>
                  </a:cubicBezTo>
                  <a:cubicBezTo>
                    <a:pt x="115555" y="43200"/>
                    <a:pt x="115555" y="33600"/>
                    <a:pt x="111111" y="19200"/>
                  </a:cubicBezTo>
                  <a:cubicBezTo>
                    <a:pt x="97777" y="28800"/>
                    <a:pt x="84444" y="19200"/>
                    <a:pt x="75555" y="14400"/>
                  </a:cubicBezTo>
                  <a:cubicBezTo>
                    <a:pt x="66666" y="9600"/>
                    <a:pt x="62222" y="9600"/>
                    <a:pt x="57777" y="0"/>
                  </a:cubicBezTo>
                  <a:cubicBezTo>
                    <a:pt x="57777" y="0"/>
                    <a:pt x="48888" y="4800"/>
                    <a:pt x="48888" y="9600"/>
                  </a:cubicBezTo>
                  <a:cubicBezTo>
                    <a:pt x="40000" y="14400"/>
                    <a:pt x="44444" y="38400"/>
                    <a:pt x="26666" y="33600"/>
                  </a:cubicBezTo>
                  <a:cubicBezTo>
                    <a:pt x="17777" y="28800"/>
                    <a:pt x="8888" y="33600"/>
                    <a:pt x="4444" y="33600"/>
                  </a:cubicBezTo>
                  <a:cubicBezTo>
                    <a:pt x="0" y="38400"/>
                    <a:pt x="4444" y="52800"/>
                    <a:pt x="4444" y="52800"/>
                  </a:cubicBezTo>
                  <a:cubicBezTo>
                    <a:pt x="4444" y="52800"/>
                    <a:pt x="13333" y="48000"/>
                    <a:pt x="13333" y="48000"/>
                  </a:cubicBezTo>
                  <a:cubicBezTo>
                    <a:pt x="17777" y="48000"/>
                    <a:pt x="17777" y="57600"/>
                    <a:pt x="17777" y="62400"/>
                  </a:cubicBezTo>
                  <a:cubicBezTo>
                    <a:pt x="17777" y="52800"/>
                    <a:pt x="22222" y="38400"/>
                    <a:pt x="26666" y="48000"/>
                  </a:cubicBezTo>
                  <a:cubicBezTo>
                    <a:pt x="31111" y="62400"/>
                    <a:pt x="40000" y="72000"/>
                    <a:pt x="48888" y="81600"/>
                  </a:cubicBezTo>
                  <a:cubicBezTo>
                    <a:pt x="62222" y="96000"/>
                    <a:pt x="84444" y="105600"/>
                    <a:pt x="102222" y="120000"/>
                  </a:cubicBezTo>
                  <a:cubicBezTo>
                    <a:pt x="102222" y="110400"/>
                    <a:pt x="102222" y="110400"/>
                    <a:pt x="93333" y="105600"/>
                  </a:cubicBezTo>
                  <a:cubicBezTo>
                    <a:pt x="84444" y="100800"/>
                    <a:pt x="75555" y="96000"/>
                    <a:pt x="71111" y="91200"/>
                  </a:cubicBezTo>
                  <a:cubicBezTo>
                    <a:pt x="62222" y="81600"/>
                    <a:pt x="40000" y="48000"/>
                    <a:pt x="53333" y="48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52" name="Shape 2526">
              <a:extLst>
                <a:ext uri="{FF2B5EF4-FFF2-40B4-BE49-F238E27FC236}">
                  <a16:creationId xmlns:a16="http://schemas.microsoft.com/office/drawing/2014/main" id="{4EE7957E-7412-2E40-9D55-1A38950AF649}"/>
                </a:ext>
              </a:extLst>
            </p:cNvPr>
            <p:cNvSpPr/>
            <p:nvPr/>
          </p:nvSpPr>
          <p:spPr>
            <a:xfrm>
              <a:off x="11470873" y="6414549"/>
              <a:ext cx="617834" cy="531985"/>
            </a:xfrm>
            <a:custGeom>
              <a:avLst/>
              <a:gdLst/>
              <a:ahLst/>
              <a:cxnLst/>
              <a:rect l="0" t="0" r="0" b="0"/>
              <a:pathLst>
                <a:path w="120000" h="120000" extrusionOk="0">
                  <a:moveTo>
                    <a:pt x="107272" y="65263"/>
                  </a:moveTo>
                  <a:cubicBezTo>
                    <a:pt x="105454" y="61052"/>
                    <a:pt x="100000" y="69473"/>
                    <a:pt x="101818" y="63157"/>
                  </a:cubicBezTo>
                  <a:cubicBezTo>
                    <a:pt x="101818" y="61052"/>
                    <a:pt x="107272" y="50526"/>
                    <a:pt x="109090" y="50526"/>
                  </a:cubicBezTo>
                  <a:cubicBezTo>
                    <a:pt x="110909" y="48421"/>
                    <a:pt x="112727" y="52631"/>
                    <a:pt x="114545" y="48421"/>
                  </a:cubicBezTo>
                  <a:cubicBezTo>
                    <a:pt x="116363" y="42105"/>
                    <a:pt x="114545" y="37894"/>
                    <a:pt x="118181" y="31578"/>
                  </a:cubicBezTo>
                  <a:cubicBezTo>
                    <a:pt x="120000" y="27368"/>
                    <a:pt x="110909" y="27368"/>
                    <a:pt x="109090" y="27368"/>
                  </a:cubicBezTo>
                  <a:cubicBezTo>
                    <a:pt x="105454" y="27368"/>
                    <a:pt x="103636" y="25263"/>
                    <a:pt x="103636" y="23157"/>
                  </a:cubicBezTo>
                  <a:cubicBezTo>
                    <a:pt x="101818" y="23157"/>
                    <a:pt x="100000" y="23157"/>
                    <a:pt x="100000" y="23157"/>
                  </a:cubicBezTo>
                  <a:cubicBezTo>
                    <a:pt x="96363" y="23157"/>
                    <a:pt x="87272" y="18947"/>
                    <a:pt x="87272" y="14736"/>
                  </a:cubicBezTo>
                  <a:cubicBezTo>
                    <a:pt x="85454" y="21052"/>
                    <a:pt x="80000" y="10526"/>
                    <a:pt x="78181" y="10526"/>
                  </a:cubicBezTo>
                  <a:cubicBezTo>
                    <a:pt x="74545" y="8421"/>
                    <a:pt x="70909" y="6315"/>
                    <a:pt x="69090" y="2105"/>
                  </a:cubicBezTo>
                  <a:cubicBezTo>
                    <a:pt x="67272" y="0"/>
                    <a:pt x="63636" y="0"/>
                    <a:pt x="61818" y="2105"/>
                  </a:cubicBezTo>
                  <a:cubicBezTo>
                    <a:pt x="60000" y="4210"/>
                    <a:pt x="58181" y="8421"/>
                    <a:pt x="60000" y="10526"/>
                  </a:cubicBezTo>
                  <a:cubicBezTo>
                    <a:pt x="60000" y="12631"/>
                    <a:pt x="56363" y="14736"/>
                    <a:pt x="54545" y="16842"/>
                  </a:cubicBezTo>
                  <a:cubicBezTo>
                    <a:pt x="52727" y="16842"/>
                    <a:pt x="49090" y="16842"/>
                    <a:pt x="47272" y="21052"/>
                  </a:cubicBezTo>
                  <a:cubicBezTo>
                    <a:pt x="47272" y="23157"/>
                    <a:pt x="45454" y="25263"/>
                    <a:pt x="43636" y="25263"/>
                  </a:cubicBezTo>
                  <a:cubicBezTo>
                    <a:pt x="40000" y="25263"/>
                    <a:pt x="38181" y="25263"/>
                    <a:pt x="36363" y="23157"/>
                  </a:cubicBezTo>
                  <a:cubicBezTo>
                    <a:pt x="32727" y="23157"/>
                    <a:pt x="32727" y="21052"/>
                    <a:pt x="29090" y="21052"/>
                  </a:cubicBezTo>
                  <a:cubicBezTo>
                    <a:pt x="25454" y="18947"/>
                    <a:pt x="36363" y="33684"/>
                    <a:pt x="29090" y="33684"/>
                  </a:cubicBezTo>
                  <a:cubicBezTo>
                    <a:pt x="23636" y="33684"/>
                    <a:pt x="20000" y="35789"/>
                    <a:pt x="16363" y="31578"/>
                  </a:cubicBezTo>
                  <a:cubicBezTo>
                    <a:pt x="14545" y="29473"/>
                    <a:pt x="1818" y="33684"/>
                    <a:pt x="1818" y="35789"/>
                  </a:cubicBezTo>
                  <a:cubicBezTo>
                    <a:pt x="1818" y="37894"/>
                    <a:pt x="7272" y="37894"/>
                    <a:pt x="3636" y="40000"/>
                  </a:cubicBezTo>
                  <a:cubicBezTo>
                    <a:pt x="0" y="42105"/>
                    <a:pt x="5454" y="44210"/>
                    <a:pt x="7272" y="44210"/>
                  </a:cubicBezTo>
                  <a:cubicBezTo>
                    <a:pt x="10909" y="46315"/>
                    <a:pt x="27272" y="48421"/>
                    <a:pt x="27272" y="52631"/>
                  </a:cubicBezTo>
                  <a:cubicBezTo>
                    <a:pt x="27272" y="54736"/>
                    <a:pt x="23636" y="54736"/>
                    <a:pt x="25454" y="58947"/>
                  </a:cubicBezTo>
                  <a:cubicBezTo>
                    <a:pt x="29090" y="63157"/>
                    <a:pt x="30909" y="63157"/>
                    <a:pt x="34545" y="65263"/>
                  </a:cubicBezTo>
                  <a:cubicBezTo>
                    <a:pt x="38181" y="67368"/>
                    <a:pt x="32727" y="71578"/>
                    <a:pt x="36363" y="73684"/>
                  </a:cubicBezTo>
                  <a:cubicBezTo>
                    <a:pt x="36363" y="73684"/>
                    <a:pt x="40000" y="80000"/>
                    <a:pt x="40000" y="80000"/>
                  </a:cubicBezTo>
                  <a:cubicBezTo>
                    <a:pt x="38181" y="82105"/>
                    <a:pt x="36363" y="75789"/>
                    <a:pt x="34545" y="75789"/>
                  </a:cubicBezTo>
                  <a:cubicBezTo>
                    <a:pt x="32727" y="75789"/>
                    <a:pt x="34545" y="101052"/>
                    <a:pt x="29090" y="103157"/>
                  </a:cubicBezTo>
                  <a:cubicBezTo>
                    <a:pt x="34545" y="107368"/>
                    <a:pt x="41818" y="113684"/>
                    <a:pt x="49090" y="111578"/>
                  </a:cubicBezTo>
                  <a:cubicBezTo>
                    <a:pt x="50909" y="111578"/>
                    <a:pt x="52727" y="109473"/>
                    <a:pt x="54545" y="111578"/>
                  </a:cubicBezTo>
                  <a:cubicBezTo>
                    <a:pt x="56363" y="111578"/>
                    <a:pt x="58181" y="113684"/>
                    <a:pt x="60000" y="115789"/>
                  </a:cubicBezTo>
                  <a:cubicBezTo>
                    <a:pt x="63636" y="117894"/>
                    <a:pt x="74545" y="119999"/>
                    <a:pt x="72727" y="113684"/>
                  </a:cubicBezTo>
                  <a:cubicBezTo>
                    <a:pt x="70909" y="103157"/>
                    <a:pt x="80000" y="98947"/>
                    <a:pt x="85454" y="101052"/>
                  </a:cubicBezTo>
                  <a:cubicBezTo>
                    <a:pt x="92727" y="103157"/>
                    <a:pt x="96363" y="109473"/>
                    <a:pt x="103636" y="105263"/>
                  </a:cubicBezTo>
                  <a:cubicBezTo>
                    <a:pt x="107272" y="103157"/>
                    <a:pt x="109090" y="101052"/>
                    <a:pt x="112727" y="98947"/>
                  </a:cubicBezTo>
                  <a:cubicBezTo>
                    <a:pt x="112727" y="98947"/>
                    <a:pt x="116363" y="94736"/>
                    <a:pt x="112727" y="94736"/>
                  </a:cubicBezTo>
                  <a:cubicBezTo>
                    <a:pt x="109090" y="92631"/>
                    <a:pt x="105454" y="84210"/>
                    <a:pt x="107272" y="80000"/>
                  </a:cubicBezTo>
                  <a:cubicBezTo>
                    <a:pt x="110909" y="75789"/>
                    <a:pt x="109090" y="75789"/>
                    <a:pt x="107272" y="71578"/>
                  </a:cubicBezTo>
                  <a:cubicBezTo>
                    <a:pt x="107272" y="69473"/>
                    <a:pt x="107272" y="67368"/>
                    <a:pt x="107272" y="65263"/>
                  </a:cubicBezTo>
                  <a:cubicBezTo>
                    <a:pt x="105454" y="63157"/>
                    <a:pt x="107272" y="67368"/>
                    <a:pt x="107272" y="65263"/>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53" name="Shape 2527">
              <a:extLst>
                <a:ext uri="{FF2B5EF4-FFF2-40B4-BE49-F238E27FC236}">
                  <a16:creationId xmlns:a16="http://schemas.microsoft.com/office/drawing/2014/main" id="{A1AFA821-204E-AF4C-AC5B-8C22A76B4418}"/>
                </a:ext>
              </a:extLst>
            </p:cNvPr>
            <p:cNvSpPr/>
            <p:nvPr/>
          </p:nvSpPr>
          <p:spPr>
            <a:xfrm>
              <a:off x="11983613" y="6621611"/>
              <a:ext cx="207006" cy="140163"/>
            </a:xfrm>
            <a:custGeom>
              <a:avLst/>
              <a:gdLst/>
              <a:ahLst/>
              <a:cxnLst/>
              <a:rect l="0" t="0" r="0" b="0"/>
              <a:pathLst>
                <a:path w="120000" h="120000" extrusionOk="0">
                  <a:moveTo>
                    <a:pt x="92727" y="8000"/>
                  </a:moveTo>
                  <a:cubicBezTo>
                    <a:pt x="76363" y="0"/>
                    <a:pt x="65454" y="8000"/>
                    <a:pt x="49090" y="8000"/>
                  </a:cubicBezTo>
                  <a:cubicBezTo>
                    <a:pt x="38181" y="8000"/>
                    <a:pt x="49090" y="8000"/>
                    <a:pt x="43636" y="16000"/>
                  </a:cubicBezTo>
                  <a:cubicBezTo>
                    <a:pt x="38181" y="16000"/>
                    <a:pt x="27272" y="16000"/>
                    <a:pt x="27272" y="16000"/>
                  </a:cubicBezTo>
                  <a:cubicBezTo>
                    <a:pt x="21818" y="16000"/>
                    <a:pt x="16363" y="40000"/>
                    <a:pt x="16363" y="40000"/>
                  </a:cubicBezTo>
                  <a:cubicBezTo>
                    <a:pt x="10909" y="48000"/>
                    <a:pt x="0" y="80000"/>
                    <a:pt x="5454" y="72000"/>
                  </a:cubicBezTo>
                  <a:cubicBezTo>
                    <a:pt x="16363" y="72000"/>
                    <a:pt x="16363" y="64000"/>
                    <a:pt x="21818" y="80000"/>
                  </a:cubicBezTo>
                  <a:cubicBezTo>
                    <a:pt x="21818" y="96000"/>
                    <a:pt x="27272" y="88000"/>
                    <a:pt x="38181" y="88000"/>
                  </a:cubicBezTo>
                  <a:cubicBezTo>
                    <a:pt x="43636" y="88000"/>
                    <a:pt x="54545" y="88000"/>
                    <a:pt x="60000" y="80000"/>
                  </a:cubicBezTo>
                  <a:cubicBezTo>
                    <a:pt x="65454" y="64000"/>
                    <a:pt x="70909" y="72000"/>
                    <a:pt x="70909" y="80000"/>
                  </a:cubicBezTo>
                  <a:cubicBezTo>
                    <a:pt x="87272" y="120000"/>
                    <a:pt x="81818" y="64000"/>
                    <a:pt x="87272" y="64000"/>
                  </a:cubicBezTo>
                  <a:cubicBezTo>
                    <a:pt x="92727" y="64000"/>
                    <a:pt x="92727" y="72000"/>
                    <a:pt x="98181" y="72000"/>
                  </a:cubicBezTo>
                  <a:cubicBezTo>
                    <a:pt x="103636" y="72000"/>
                    <a:pt x="109090" y="72000"/>
                    <a:pt x="114545" y="64000"/>
                  </a:cubicBezTo>
                  <a:cubicBezTo>
                    <a:pt x="120000" y="56000"/>
                    <a:pt x="120000" y="56000"/>
                    <a:pt x="120000" y="40000"/>
                  </a:cubicBezTo>
                  <a:cubicBezTo>
                    <a:pt x="120000" y="40000"/>
                    <a:pt x="103636" y="32000"/>
                    <a:pt x="98181" y="32000"/>
                  </a:cubicBezTo>
                  <a:cubicBezTo>
                    <a:pt x="92727" y="24000"/>
                    <a:pt x="92727" y="16000"/>
                    <a:pt x="92727" y="8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54" name="Shape 2528">
              <a:extLst>
                <a:ext uri="{FF2B5EF4-FFF2-40B4-BE49-F238E27FC236}">
                  <a16:creationId xmlns:a16="http://schemas.microsoft.com/office/drawing/2014/main" id="{9727810A-0CC8-0B48-A620-FAEE248D51C5}"/>
                </a:ext>
              </a:extLst>
            </p:cNvPr>
            <p:cNvSpPr/>
            <p:nvPr/>
          </p:nvSpPr>
          <p:spPr>
            <a:xfrm>
              <a:off x="11808456" y="6395436"/>
              <a:ext cx="194267" cy="121050"/>
            </a:xfrm>
            <a:custGeom>
              <a:avLst/>
              <a:gdLst/>
              <a:ahLst/>
              <a:cxnLst/>
              <a:rect l="0" t="0" r="0" b="0"/>
              <a:pathLst>
                <a:path w="120000" h="120000" extrusionOk="0">
                  <a:moveTo>
                    <a:pt x="108571" y="83076"/>
                  </a:moveTo>
                  <a:cubicBezTo>
                    <a:pt x="102857" y="83076"/>
                    <a:pt x="120000" y="64615"/>
                    <a:pt x="114285" y="55384"/>
                  </a:cubicBezTo>
                  <a:cubicBezTo>
                    <a:pt x="114285" y="46153"/>
                    <a:pt x="108571" y="27692"/>
                    <a:pt x="102857" y="27692"/>
                  </a:cubicBezTo>
                  <a:cubicBezTo>
                    <a:pt x="97142" y="18461"/>
                    <a:pt x="85714" y="0"/>
                    <a:pt x="74285" y="0"/>
                  </a:cubicBezTo>
                  <a:cubicBezTo>
                    <a:pt x="62857" y="0"/>
                    <a:pt x="57142" y="9230"/>
                    <a:pt x="45714" y="9230"/>
                  </a:cubicBezTo>
                  <a:cubicBezTo>
                    <a:pt x="34285" y="9230"/>
                    <a:pt x="28571" y="0"/>
                    <a:pt x="17142" y="9230"/>
                  </a:cubicBezTo>
                  <a:cubicBezTo>
                    <a:pt x="0" y="27692"/>
                    <a:pt x="17142" y="46153"/>
                    <a:pt x="28571" y="55384"/>
                  </a:cubicBezTo>
                  <a:cubicBezTo>
                    <a:pt x="40000" y="64615"/>
                    <a:pt x="45714" y="64615"/>
                    <a:pt x="57142" y="83076"/>
                  </a:cubicBezTo>
                  <a:cubicBezTo>
                    <a:pt x="57142" y="92307"/>
                    <a:pt x="68571" y="92307"/>
                    <a:pt x="68571" y="83076"/>
                  </a:cubicBezTo>
                  <a:cubicBezTo>
                    <a:pt x="68571" y="92307"/>
                    <a:pt x="97142" y="120000"/>
                    <a:pt x="102857" y="120000"/>
                  </a:cubicBezTo>
                  <a:cubicBezTo>
                    <a:pt x="102857" y="101538"/>
                    <a:pt x="102857" y="92307"/>
                    <a:pt x="108571" y="83076"/>
                  </a:cubicBezTo>
                  <a:cubicBezTo>
                    <a:pt x="108571" y="83076"/>
                    <a:pt x="97142" y="92307"/>
                    <a:pt x="108571" y="83076"/>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55" name="Shape 2529">
              <a:extLst>
                <a:ext uri="{FF2B5EF4-FFF2-40B4-BE49-F238E27FC236}">
                  <a16:creationId xmlns:a16="http://schemas.microsoft.com/office/drawing/2014/main" id="{A4CA1CA4-9779-0743-A0F7-4E38D6D43F0F}"/>
                </a:ext>
              </a:extLst>
            </p:cNvPr>
            <p:cNvSpPr/>
            <p:nvPr/>
          </p:nvSpPr>
          <p:spPr>
            <a:xfrm>
              <a:off x="11967691" y="6481445"/>
              <a:ext cx="35032" cy="35041"/>
            </a:xfrm>
            <a:custGeom>
              <a:avLst/>
              <a:gdLst/>
              <a:ahLst/>
              <a:cxnLst/>
              <a:rect l="0" t="0" r="0" b="0"/>
              <a:pathLst>
                <a:path w="120000" h="120000" extrusionOk="0">
                  <a:moveTo>
                    <a:pt x="60000" y="0"/>
                  </a:moveTo>
                  <a:cubicBezTo>
                    <a:pt x="30000" y="0"/>
                    <a:pt x="30000" y="60000"/>
                    <a:pt x="30000" y="90000"/>
                  </a:cubicBezTo>
                  <a:cubicBezTo>
                    <a:pt x="30000" y="120000"/>
                    <a:pt x="90000" y="120000"/>
                    <a:pt x="120000" y="120000"/>
                  </a:cubicBezTo>
                  <a:cubicBezTo>
                    <a:pt x="120000" y="60000"/>
                    <a:pt x="120000" y="30000"/>
                    <a:pt x="60000" y="0"/>
                  </a:cubicBezTo>
                  <a:cubicBezTo>
                    <a:pt x="0" y="30000"/>
                    <a:pt x="90000" y="30000"/>
                    <a:pt x="60000" y="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56" name="Shape 2530">
              <a:extLst>
                <a:ext uri="{FF2B5EF4-FFF2-40B4-BE49-F238E27FC236}">
                  <a16:creationId xmlns:a16="http://schemas.microsoft.com/office/drawing/2014/main" id="{DB59766F-E523-714D-93A0-3FB5F2CD06B0}"/>
                </a:ext>
              </a:extLst>
            </p:cNvPr>
            <p:cNvSpPr/>
            <p:nvPr/>
          </p:nvSpPr>
          <p:spPr>
            <a:xfrm>
              <a:off x="11853041" y="6264829"/>
              <a:ext cx="187900" cy="168835"/>
            </a:xfrm>
            <a:custGeom>
              <a:avLst/>
              <a:gdLst/>
              <a:ahLst/>
              <a:cxnLst/>
              <a:rect l="0" t="0" r="0" b="0"/>
              <a:pathLst>
                <a:path w="120000" h="120000" extrusionOk="0">
                  <a:moveTo>
                    <a:pt x="30000" y="93333"/>
                  </a:moveTo>
                  <a:cubicBezTo>
                    <a:pt x="42000" y="80000"/>
                    <a:pt x="78000" y="106666"/>
                    <a:pt x="84000" y="120000"/>
                  </a:cubicBezTo>
                  <a:cubicBezTo>
                    <a:pt x="90000" y="106666"/>
                    <a:pt x="90000" y="93333"/>
                    <a:pt x="84000" y="86666"/>
                  </a:cubicBezTo>
                  <a:cubicBezTo>
                    <a:pt x="78000" y="60000"/>
                    <a:pt x="90000" y="73333"/>
                    <a:pt x="102000" y="73333"/>
                  </a:cubicBezTo>
                  <a:cubicBezTo>
                    <a:pt x="114000" y="66666"/>
                    <a:pt x="114000" y="53333"/>
                    <a:pt x="108000" y="40000"/>
                  </a:cubicBezTo>
                  <a:cubicBezTo>
                    <a:pt x="108000" y="40000"/>
                    <a:pt x="120000" y="33333"/>
                    <a:pt x="120000" y="33333"/>
                  </a:cubicBezTo>
                  <a:cubicBezTo>
                    <a:pt x="120000" y="20000"/>
                    <a:pt x="120000" y="13333"/>
                    <a:pt x="114000" y="0"/>
                  </a:cubicBezTo>
                  <a:cubicBezTo>
                    <a:pt x="114000" y="0"/>
                    <a:pt x="90000" y="6666"/>
                    <a:pt x="90000" y="6666"/>
                  </a:cubicBezTo>
                  <a:cubicBezTo>
                    <a:pt x="78000" y="6666"/>
                    <a:pt x="72000" y="6666"/>
                    <a:pt x="60000" y="20000"/>
                  </a:cubicBezTo>
                  <a:cubicBezTo>
                    <a:pt x="60000" y="20000"/>
                    <a:pt x="78000" y="33333"/>
                    <a:pt x="72000" y="40000"/>
                  </a:cubicBezTo>
                  <a:cubicBezTo>
                    <a:pt x="60000" y="53333"/>
                    <a:pt x="54000" y="26666"/>
                    <a:pt x="60000" y="26666"/>
                  </a:cubicBezTo>
                  <a:cubicBezTo>
                    <a:pt x="60000" y="26666"/>
                    <a:pt x="42000" y="33333"/>
                    <a:pt x="42000" y="40000"/>
                  </a:cubicBezTo>
                  <a:cubicBezTo>
                    <a:pt x="42000" y="46666"/>
                    <a:pt x="36000" y="46666"/>
                    <a:pt x="30000" y="53333"/>
                  </a:cubicBezTo>
                  <a:cubicBezTo>
                    <a:pt x="30000" y="60000"/>
                    <a:pt x="18000" y="80000"/>
                    <a:pt x="30000" y="80000"/>
                  </a:cubicBezTo>
                  <a:cubicBezTo>
                    <a:pt x="30000" y="80000"/>
                    <a:pt x="24000" y="80000"/>
                    <a:pt x="18000" y="80000"/>
                  </a:cubicBezTo>
                  <a:cubicBezTo>
                    <a:pt x="18000" y="80000"/>
                    <a:pt x="24000" y="80000"/>
                    <a:pt x="24000" y="80000"/>
                  </a:cubicBezTo>
                  <a:cubicBezTo>
                    <a:pt x="24000" y="80000"/>
                    <a:pt x="18000" y="80000"/>
                    <a:pt x="18000" y="80000"/>
                  </a:cubicBezTo>
                  <a:cubicBezTo>
                    <a:pt x="12000" y="86666"/>
                    <a:pt x="24000" y="93333"/>
                    <a:pt x="24000" y="93333"/>
                  </a:cubicBezTo>
                  <a:cubicBezTo>
                    <a:pt x="24000" y="86666"/>
                    <a:pt x="12000" y="86666"/>
                    <a:pt x="12000" y="86666"/>
                  </a:cubicBezTo>
                  <a:cubicBezTo>
                    <a:pt x="12000" y="86666"/>
                    <a:pt x="18000" y="93333"/>
                    <a:pt x="18000" y="93333"/>
                  </a:cubicBezTo>
                  <a:cubicBezTo>
                    <a:pt x="18000" y="93333"/>
                    <a:pt x="12000" y="86666"/>
                    <a:pt x="6000" y="93333"/>
                  </a:cubicBezTo>
                  <a:cubicBezTo>
                    <a:pt x="6000" y="93333"/>
                    <a:pt x="12000" y="100000"/>
                    <a:pt x="12000" y="100000"/>
                  </a:cubicBezTo>
                  <a:cubicBezTo>
                    <a:pt x="12000" y="93333"/>
                    <a:pt x="6000" y="93333"/>
                    <a:pt x="0" y="100000"/>
                  </a:cubicBezTo>
                  <a:cubicBezTo>
                    <a:pt x="6000" y="100000"/>
                    <a:pt x="24000" y="106666"/>
                    <a:pt x="30000" y="93333"/>
                  </a:cubicBezTo>
                  <a:cubicBezTo>
                    <a:pt x="30000" y="93333"/>
                    <a:pt x="30000" y="100000"/>
                    <a:pt x="30000" y="93333"/>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57" name="Shape 2531">
              <a:extLst>
                <a:ext uri="{FF2B5EF4-FFF2-40B4-BE49-F238E27FC236}">
                  <a16:creationId xmlns:a16="http://schemas.microsoft.com/office/drawing/2014/main" id="{D7E35A4A-C75F-1049-B710-52D73BC1F5DA}"/>
                </a:ext>
              </a:extLst>
            </p:cNvPr>
            <p:cNvSpPr/>
            <p:nvPr/>
          </p:nvSpPr>
          <p:spPr>
            <a:xfrm>
              <a:off x="12079153" y="5984500"/>
              <a:ext cx="140126" cy="207060"/>
            </a:xfrm>
            <a:custGeom>
              <a:avLst/>
              <a:gdLst/>
              <a:ahLst/>
              <a:cxnLst/>
              <a:rect l="0" t="0" r="0" b="0"/>
              <a:pathLst>
                <a:path w="120000" h="120000" extrusionOk="0">
                  <a:moveTo>
                    <a:pt x="80000" y="114545"/>
                  </a:moveTo>
                  <a:cubicBezTo>
                    <a:pt x="80000" y="109090"/>
                    <a:pt x="48000" y="98181"/>
                    <a:pt x="64000" y="92727"/>
                  </a:cubicBezTo>
                  <a:cubicBezTo>
                    <a:pt x="72000" y="87272"/>
                    <a:pt x="72000" y="70909"/>
                    <a:pt x="88000" y="65454"/>
                  </a:cubicBezTo>
                  <a:cubicBezTo>
                    <a:pt x="88000" y="65454"/>
                    <a:pt x="88000" y="70909"/>
                    <a:pt x="88000" y="70909"/>
                  </a:cubicBezTo>
                  <a:cubicBezTo>
                    <a:pt x="96000" y="70909"/>
                    <a:pt x="120000" y="60000"/>
                    <a:pt x="120000" y="54545"/>
                  </a:cubicBezTo>
                  <a:cubicBezTo>
                    <a:pt x="120000" y="49090"/>
                    <a:pt x="88000" y="49090"/>
                    <a:pt x="88000" y="38181"/>
                  </a:cubicBezTo>
                  <a:cubicBezTo>
                    <a:pt x="88000" y="32727"/>
                    <a:pt x="80000" y="32727"/>
                    <a:pt x="80000" y="27272"/>
                  </a:cubicBezTo>
                  <a:cubicBezTo>
                    <a:pt x="80000" y="21818"/>
                    <a:pt x="96000" y="27272"/>
                    <a:pt x="96000" y="21818"/>
                  </a:cubicBezTo>
                  <a:cubicBezTo>
                    <a:pt x="96000" y="16363"/>
                    <a:pt x="96000" y="10909"/>
                    <a:pt x="96000" y="5454"/>
                  </a:cubicBezTo>
                  <a:cubicBezTo>
                    <a:pt x="96000" y="0"/>
                    <a:pt x="96000" y="5454"/>
                    <a:pt x="88000" y="5454"/>
                  </a:cubicBezTo>
                  <a:cubicBezTo>
                    <a:pt x="64000" y="5454"/>
                    <a:pt x="72000" y="10909"/>
                    <a:pt x="56000" y="21818"/>
                  </a:cubicBezTo>
                  <a:cubicBezTo>
                    <a:pt x="48000" y="27272"/>
                    <a:pt x="24000" y="16363"/>
                    <a:pt x="16000" y="27272"/>
                  </a:cubicBezTo>
                  <a:cubicBezTo>
                    <a:pt x="0" y="38181"/>
                    <a:pt x="24000" y="38181"/>
                    <a:pt x="32000" y="32727"/>
                  </a:cubicBezTo>
                  <a:cubicBezTo>
                    <a:pt x="40000" y="27272"/>
                    <a:pt x="56000" y="32727"/>
                    <a:pt x="48000" y="43636"/>
                  </a:cubicBezTo>
                  <a:cubicBezTo>
                    <a:pt x="48000" y="38181"/>
                    <a:pt x="32000" y="32727"/>
                    <a:pt x="32000" y="43636"/>
                  </a:cubicBezTo>
                  <a:cubicBezTo>
                    <a:pt x="24000" y="43636"/>
                    <a:pt x="16000" y="49090"/>
                    <a:pt x="16000" y="43636"/>
                  </a:cubicBezTo>
                  <a:cubicBezTo>
                    <a:pt x="16000" y="49090"/>
                    <a:pt x="0" y="38181"/>
                    <a:pt x="0" y="49090"/>
                  </a:cubicBezTo>
                  <a:cubicBezTo>
                    <a:pt x="0" y="60000"/>
                    <a:pt x="0" y="65454"/>
                    <a:pt x="0" y="76363"/>
                  </a:cubicBezTo>
                  <a:cubicBezTo>
                    <a:pt x="8000" y="81818"/>
                    <a:pt x="16000" y="81818"/>
                    <a:pt x="16000" y="87272"/>
                  </a:cubicBezTo>
                  <a:cubicBezTo>
                    <a:pt x="24000" y="98181"/>
                    <a:pt x="8000" y="103636"/>
                    <a:pt x="16000" y="109090"/>
                  </a:cubicBezTo>
                  <a:cubicBezTo>
                    <a:pt x="32000" y="120000"/>
                    <a:pt x="64000" y="114545"/>
                    <a:pt x="80000" y="114545"/>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58" name="Shape 2532">
              <a:extLst>
                <a:ext uri="{FF2B5EF4-FFF2-40B4-BE49-F238E27FC236}">
                  <a16:creationId xmlns:a16="http://schemas.microsoft.com/office/drawing/2014/main" id="{B32531EB-3C23-444A-A3D0-B81D5DA46865}"/>
                </a:ext>
              </a:extLst>
            </p:cNvPr>
            <p:cNvSpPr/>
            <p:nvPr/>
          </p:nvSpPr>
          <p:spPr>
            <a:xfrm>
              <a:off x="11977245" y="6172449"/>
              <a:ext cx="417196" cy="484203"/>
            </a:xfrm>
            <a:custGeom>
              <a:avLst/>
              <a:gdLst/>
              <a:ahLst/>
              <a:cxnLst/>
              <a:rect l="0" t="0" r="0" b="0"/>
              <a:pathLst>
                <a:path w="120000" h="120000" extrusionOk="0">
                  <a:moveTo>
                    <a:pt x="117333" y="55384"/>
                  </a:moveTo>
                  <a:cubicBezTo>
                    <a:pt x="114666" y="50769"/>
                    <a:pt x="114666" y="46153"/>
                    <a:pt x="114666" y="41538"/>
                  </a:cubicBezTo>
                  <a:cubicBezTo>
                    <a:pt x="112000" y="36923"/>
                    <a:pt x="109333" y="34615"/>
                    <a:pt x="112000" y="27692"/>
                  </a:cubicBezTo>
                  <a:cubicBezTo>
                    <a:pt x="114666" y="23076"/>
                    <a:pt x="112000" y="18461"/>
                    <a:pt x="109333" y="16153"/>
                  </a:cubicBezTo>
                  <a:cubicBezTo>
                    <a:pt x="106666" y="13846"/>
                    <a:pt x="101333" y="11538"/>
                    <a:pt x="101333" y="9230"/>
                  </a:cubicBezTo>
                  <a:cubicBezTo>
                    <a:pt x="101333" y="9230"/>
                    <a:pt x="104000" y="6923"/>
                    <a:pt x="101333" y="4615"/>
                  </a:cubicBezTo>
                  <a:cubicBezTo>
                    <a:pt x="98666" y="4615"/>
                    <a:pt x="98666" y="11538"/>
                    <a:pt x="98666" y="11538"/>
                  </a:cubicBezTo>
                  <a:cubicBezTo>
                    <a:pt x="93333" y="11538"/>
                    <a:pt x="93333" y="9230"/>
                    <a:pt x="88000" y="9230"/>
                  </a:cubicBezTo>
                  <a:cubicBezTo>
                    <a:pt x="82666" y="11538"/>
                    <a:pt x="74666" y="16153"/>
                    <a:pt x="66666" y="16153"/>
                  </a:cubicBezTo>
                  <a:cubicBezTo>
                    <a:pt x="64000" y="13846"/>
                    <a:pt x="69333" y="11538"/>
                    <a:pt x="69333" y="9230"/>
                  </a:cubicBezTo>
                  <a:cubicBezTo>
                    <a:pt x="64000" y="9230"/>
                    <a:pt x="61333" y="11538"/>
                    <a:pt x="56000" y="9230"/>
                  </a:cubicBezTo>
                  <a:cubicBezTo>
                    <a:pt x="53333" y="6923"/>
                    <a:pt x="61333" y="2307"/>
                    <a:pt x="53333" y="2307"/>
                  </a:cubicBezTo>
                  <a:cubicBezTo>
                    <a:pt x="48000" y="2307"/>
                    <a:pt x="42666" y="2307"/>
                    <a:pt x="34666" y="0"/>
                  </a:cubicBezTo>
                  <a:cubicBezTo>
                    <a:pt x="37333" y="2307"/>
                    <a:pt x="40000" y="2307"/>
                    <a:pt x="40000" y="6923"/>
                  </a:cubicBezTo>
                  <a:cubicBezTo>
                    <a:pt x="37333" y="9230"/>
                    <a:pt x="37333" y="9230"/>
                    <a:pt x="40000" y="13846"/>
                  </a:cubicBezTo>
                  <a:cubicBezTo>
                    <a:pt x="40000" y="18461"/>
                    <a:pt x="40000" y="16153"/>
                    <a:pt x="45333" y="16153"/>
                  </a:cubicBezTo>
                  <a:cubicBezTo>
                    <a:pt x="48000" y="16153"/>
                    <a:pt x="50666" y="18461"/>
                    <a:pt x="53333" y="20769"/>
                  </a:cubicBezTo>
                  <a:cubicBezTo>
                    <a:pt x="50666" y="18461"/>
                    <a:pt x="42666" y="18461"/>
                    <a:pt x="40000" y="18461"/>
                  </a:cubicBezTo>
                  <a:cubicBezTo>
                    <a:pt x="40000" y="18461"/>
                    <a:pt x="37333" y="18461"/>
                    <a:pt x="37333" y="18461"/>
                  </a:cubicBezTo>
                  <a:cubicBezTo>
                    <a:pt x="34666" y="20769"/>
                    <a:pt x="37333" y="23076"/>
                    <a:pt x="34666" y="23076"/>
                  </a:cubicBezTo>
                  <a:cubicBezTo>
                    <a:pt x="29333" y="25384"/>
                    <a:pt x="18666" y="13846"/>
                    <a:pt x="16000" y="23076"/>
                  </a:cubicBezTo>
                  <a:cubicBezTo>
                    <a:pt x="18666" y="27692"/>
                    <a:pt x="21333" y="32307"/>
                    <a:pt x="16000" y="34615"/>
                  </a:cubicBezTo>
                  <a:cubicBezTo>
                    <a:pt x="13333" y="39230"/>
                    <a:pt x="13333" y="34615"/>
                    <a:pt x="16000" y="39230"/>
                  </a:cubicBezTo>
                  <a:cubicBezTo>
                    <a:pt x="16000" y="50769"/>
                    <a:pt x="0" y="46153"/>
                    <a:pt x="2666" y="50769"/>
                  </a:cubicBezTo>
                  <a:cubicBezTo>
                    <a:pt x="2666" y="53076"/>
                    <a:pt x="5333" y="55384"/>
                    <a:pt x="5333" y="60000"/>
                  </a:cubicBezTo>
                  <a:cubicBezTo>
                    <a:pt x="5333" y="64615"/>
                    <a:pt x="2666" y="64615"/>
                    <a:pt x="5333" y="69230"/>
                  </a:cubicBezTo>
                  <a:cubicBezTo>
                    <a:pt x="8000" y="71538"/>
                    <a:pt x="0" y="76153"/>
                    <a:pt x="2666" y="76153"/>
                  </a:cubicBezTo>
                  <a:cubicBezTo>
                    <a:pt x="8000" y="78461"/>
                    <a:pt x="5333" y="83076"/>
                    <a:pt x="8000" y="85384"/>
                  </a:cubicBezTo>
                  <a:cubicBezTo>
                    <a:pt x="10666" y="92307"/>
                    <a:pt x="21333" y="90000"/>
                    <a:pt x="29333" y="92307"/>
                  </a:cubicBezTo>
                  <a:cubicBezTo>
                    <a:pt x="29333" y="92307"/>
                    <a:pt x="24000" y="110769"/>
                    <a:pt x="24000" y="113076"/>
                  </a:cubicBezTo>
                  <a:cubicBezTo>
                    <a:pt x="34666" y="113076"/>
                    <a:pt x="40000" y="110769"/>
                    <a:pt x="50666" y="113076"/>
                  </a:cubicBezTo>
                  <a:cubicBezTo>
                    <a:pt x="50666" y="113076"/>
                    <a:pt x="61333" y="120000"/>
                    <a:pt x="61333" y="117692"/>
                  </a:cubicBezTo>
                  <a:cubicBezTo>
                    <a:pt x="64000" y="113076"/>
                    <a:pt x="66666" y="113076"/>
                    <a:pt x="69333" y="115384"/>
                  </a:cubicBezTo>
                  <a:cubicBezTo>
                    <a:pt x="72000" y="117692"/>
                    <a:pt x="85333" y="110769"/>
                    <a:pt x="88000" y="113076"/>
                  </a:cubicBezTo>
                  <a:cubicBezTo>
                    <a:pt x="88000" y="113076"/>
                    <a:pt x="98666" y="115384"/>
                    <a:pt x="96000" y="113076"/>
                  </a:cubicBezTo>
                  <a:cubicBezTo>
                    <a:pt x="93333" y="106153"/>
                    <a:pt x="90666" y="106153"/>
                    <a:pt x="96000" y="103846"/>
                  </a:cubicBezTo>
                  <a:cubicBezTo>
                    <a:pt x="101333" y="99230"/>
                    <a:pt x="101333" y="99230"/>
                    <a:pt x="106666" y="99230"/>
                  </a:cubicBezTo>
                  <a:cubicBezTo>
                    <a:pt x="109333" y="96923"/>
                    <a:pt x="96000" y="87692"/>
                    <a:pt x="93333" y="85384"/>
                  </a:cubicBezTo>
                  <a:cubicBezTo>
                    <a:pt x="90666" y="85384"/>
                    <a:pt x="82666" y="73846"/>
                    <a:pt x="85333" y="71538"/>
                  </a:cubicBezTo>
                  <a:cubicBezTo>
                    <a:pt x="96000" y="69230"/>
                    <a:pt x="101333" y="66923"/>
                    <a:pt x="109333" y="60000"/>
                  </a:cubicBezTo>
                  <a:cubicBezTo>
                    <a:pt x="112000" y="57692"/>
                    <a:pt x="114666" y="66923"/>
                    <a:pt x="117333" y="64615"/>
                  </a:cubicBezTo>
                  <a:cubicBezTo>
                    <a:pt x="120000" y="62307"/>
                    <a:pt x="120000" y="57692"/>
                    <a:pt x="117333" y="55384"/>
                  </a:cubicBezTo>
                  <a:cubicBezTo>
                    <a:pt x="117333" y="53076"/>
                    <a:pt x="117333" y="55384"/>
                    <a:pt x="117333" y="55384"/>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59" name="Shape 2533">
              <a:extLst>
                <a:ext uri="{FF2B5EF4-FFF2-40B4-BE49-F238E27FC236}">
                  <a16:creationId xmlns:a16="http://schemas.microsoft.com/office/drawing/2014/main" id="{CDBA1CCC-6D86-9A47-ABE5-A5ED38FA65A4}"/>
                </a:ext>
              </a:extLst>
            </p:cNvPr>
            <p:cNvSpPr/>
            <p:nvPr/>
          </p:nvSpPr>
          <p:spPr>
            <a:xfrm>
              <a:off x="12712915" y="6322170"/>
              <a:ext cx="831211" cy="493760"/>
            </a:xfrm>
            <a:custGeom>
              <a:avLst/>
              <a:gdLst/>
              <a:ahLst/>
              <a:cxnLst/>
              <a:rect l="0" t="0" r="0" b="0"/>
              <a:pathLst>
                <a:path w="120000" h="120000" extrusionOk="0">
                  <a:moveTo>
                    <a:pt x="0" y="61132"/>
                  </a:moveTo>
                  <a:cubicBezTo>
                    <a:pt x="0" y="67924"/>
                    <a:pt x="9438" y="67924"/>
                    <a:pt x="12134" y="67924"/>
                  </a:cubicBezTo>
                  <a:cubicBezTo>
                    <a:pt x="14831" y="67924"/>
                    <a:pt x="17528" y="72452"/>
                    <a:pt x="21573" y="70188"/>
                  </a:cubicBezTo>
                  <a:cubicBezTo>
                    <a:pt x="22921" y="65660"/>
                    <a:pt x="26966" y="63396"/>
                    <a:pt x="29662" y="63396"/>
                  </a:cubicBezTo>
                  <a:cubicBezTo>
                    <a:pt x="33707" y="58867"/>
                    <a:pt x="41797" y="63396"/>
                    <a:pt x="44494" y="67924"/>
                  </a:cubicBezTo>
                  <a:cubicBezTo>
                    <a:pt x="48539" y="76981"/>
                    <a:pt x="49887" y="86037"/>
                    <a:pt x="53932" y="92830"/>
                  </a:cubicBezTo>
                  <a:cubicBezTo>
                    <a:pt x="56629" y="90566"/>
                    <a:pt x="56629" y="88301"/>
                    <a:pt x="59325" y="86037"/>
                  </a:cubicBezTo>
                  <a:cubicBezTo>
                    <a:pt x="62022" y="86037"/>
                    <a:pt x="62022" y="90566"/>
                    <a:pt x="63370" y="92830"/>
                  </a:cubicBezTo>
                  <a:cubicBezTo>
                    <a:pt x="64719" y="95094"/>
                    <a:pt x="76853" y="97358"/>
                    <a:pt x="76853" y="95094"/>
                  </a:cubicBezTo>
                  <a:cubicBezTo>
                    <a:pt x="76853" y="97358"/>
                    <a:pt x="68764" y="101886"/>
                    <a:pt x="68764" y="104150"/>
                  </a:cubicBezTo>
                  <a:cubicBezTo>
                    <a:pt x="70112" y="106415"/>
                    <a:pt x="75505" y="104150"/>
                    <a:pt x="74157" y="110943"/>
                  </a:cubicBezTo>
                  <a:cubicBezTo>
                    <a:pt x="72808" y="115471"/>
                    <a:pt x="76853" y="120000"/>
                    <a:pt x="79550" y="115471"/>
                  </a:cubicBezTo>
                  <a:cubicBezTo>
                    <a:pt x="82247" y="113207"/>
                    <a:pt x="86292" y="108679"/>
                    <a:pt x="90337" y="108679"/>
                  </a:cubicBezTo>
                  <a:cubicBezTo>
                    <a:pt x="94382" y="108679"/>
                    <a:pt x="95730" y="108679"/>
                    <a:pt x="97078" y="104150"/>
                  </a:cubicBezTo>
                  <a:cubicBezTo>
                    <a:pt x="97078" y="104150"/>
                    <a:pt x="93033" y="104150"/>
                    <a:pt x="91685" y="104150"/>
                  </a:cubicBezTo>
                  <a:cubicBezTo>
                    <a:pt x="88988" y="104150"/>
                    <a:pt x="86292" y="106415"/>
                    <a:pt x="84943" y="99622"/>
                  </a:cubicBezTo>
                  <a:cubicBezTo>
                    <a:pt x="80898" y="90566"/>
                    <a:pt x="94382" y="86037"/>
                    <a:pt x="97078" y="86037"/>
                  </a:cubicBezTo>
                  <a:cubicBezTo>
                    <a:pt x="99775" y="83773"/>
                    <a:pt x="102471" y="81509"/>
                    <a:pt x="105168" y="79245"/>
                  </a:cubicBezTo>
                  <a:cubicBezTo>
                    <a:pt x="106516" y="74716"/>
                    <a:pt x="109213" y="70188"/>
                    <a:pt x="113258" y="70188"/>
                  </a:cubicBezTo>
                  <a:cubicBezTo>
                    <a:pt x="114606" y="70188"/>
                    <a:pt x="117303" y="70188"/>
                    <a:pt x="117303" y="63396"/>
                  </a:cubicBezTo>
                  <a:cubicBezTo>
                    <a:pt x="117303" y="61132"/>
                    <a:pt x="115955" y="61132"/>
                    <a:pt x="115955" y="58867"/>
                  </a:cubicBezTo>
                  <a:cubicBezTo>
                    <a:pt x="115955" y="56603"/>
                    <a:pt x="118651" y="56603"/>
                    <a:pt x="118651" y="56603"/>
                  </a:cubicBezTo>
                  <a:cubicBezTo>
                    <a:pt x="118651" y="56603"/>
                    <a:pt x="115955" y="54339"/>
                    <a:pt x="115955" y="54339"/>
                  </a:cubicBezTo>
                  <a:cubicBezTo>
                    <a:pt x="115955" y="52075"/>
                    <a:pt x="120000" y="52075"/>
                    <a:pt x="118651" y="47547"/>
                  </a:cubicBezTo>
                  <a:cubicBezTo>
                    <a:pt x="118651" y="47547"/>
                    <a:pt x="115955" y="45283"/>
                    <a:pt x="114606" y="43018"/>
                  </a:cubicBezTo>
                  <a:cubicBezTo>
                    <a:pt x="113258" y="40754"/>
                    <a:pt x="111910" y="45283"/>
                    <a:pt x="110561" y="40754"/>
                  </a:cubicBezTo>
                  <a:cubicBezTo>
                    <a:pt x="109213" y="38490"/>
                    <a:pt x="107865" y="38490"/>
                    <a:pt x="105168" y="40754"/>
                  </a:cubicBezTo>
                  <a:cubicBezTo>
                    <a:pt x="103820" y="40754"/>
                    <a:pt x="102471" y="33962"/>
                    <a:pt x="101123" y="33962"/>
                  </a:cubicBezTo>
                  <a:cubicBezTo>
                    <a:pt x="99775" y="31698"/>
                    <a:pt x="98426" y="36226"/>
                    <a:pt x="97078" y="38490"/>
                  </a:cubicBezTo>
                  <a:cubicBezTo>
                    <a:pt x="95730" y="38490"/>
                    <a:pt x="94382" y="31698"/>
                    <a:pt x="93033" y="31698"/>
                  </a:cubicBezTo>
                  <a:cubicBezTo>
                    <a:pt x="91685" y="31698"/>
                    <a:pt x="87640" y="33962"/>
                    <a:pt x="87640" y="31698"/>
                  </a:cubicBezTo>
                  <a:cubicBezTo>
                    <a:pt x="87640" y="29433"/>
                    <a:pt x="87640" y="24905"/>
                    <a:pt x="86292" y="22641"/>
                  </a:cubicBezTo>
                  <a:cubicBezTo>
                    <a:pt x="84943" y="20377"/>
                    <a:pt x="82247" y="22641"/>
                    <a:pt x="80898" y="20377"/>
                  </a:cubicBezTo>
                  <a:cubicBezTo>
                    <a:pt x="79550" y="18113"/>
                    <a:pt x="78202" y="13584"/>
                    <a:pt x="80898" y="11320"/>
                  </a:cubicBezTo>
                  <a:cubicBezTo>
                    <a:pt x="82247" y="11320"/>
                    <a:pt x="79550" y="4528"/>
                    <a:pt x="78202" y="4528"/>
                  </a:cubicBezTo>
                  <a:cubicBezTo>
                    <a:pt x="76853" y="2264"/>
                    <a:pt x="72808" y="4528"/>
                    <a:pt x="71460" y="2264"/>
                  </a:cubicBezTo>
                  <a:cubicBezTo>
                    <a:pt x="67415" y="0"/>
                    <a:pt x="67415" y="13584"/>
                    <a:pt x="63370" y="4528"/>
                  </a:cubicBezTo>
                  <a:cubicBezTo>
                    <a:pt x="62022" y="4528"/>
                    <a:pt x="59325" y="6792"/>
                    <a:pt x="57977" y="6792"/>
                  </a:cubicBezTo>
                  <a:cubicBezTo>
                    <a:pt x="55280" y="9056"/>
                    <a:pt x="56629" y="20377"/>
                    <a:pt x="55280" y="20377"/>
                  </a:cubicBezTo>
                  <a:cubicBezTo>
                    <a:pt x="53932" y="20377"/>
                    <a:pt x="52584" y="15849"/>
                    <a:pt x="51235" y="15849"/>
                  </a:cubicBezTo>
                  <a:cubicBezTo>
                    <a:pt x="51235" y="15849"/>
                    <a:pt x="49887" y="18113"/>
                    <a:pt x="48539" y="18113"/>
                  </a:cubicBezTo>
                  <a:cubicBezTo>
                    <a:pt x="47191" y="18113"/>
                    <a:pt x="45842" y="15849"/>
                    <a:pt x="45842" y="13584"/>
                  </a:cubicBezTo>
                  <a:cubicBezTo>
                    <a:pt x="45842" y="11320"/>
                    <a:pt x="43146" y="15849"/>
                    <a:pt x="41797" y="15849"/>
                  </a:cubicBezTo>
                  <a:cubicBezTo>
                    <a:pt x="40449" y="15849"/>
                    <a:pt x="40449" y="13584"/>
                    <a:pt x="39101" y="13584"/>
                  </a:cubicBezTo>
                  <a:cubicBezTo>
                    <a:pt x="37752" y="13584"/>
                    <a:pt x="37752" y="15849"/>
                    <a:pt x="37752" y="18113"/>
                  </a:cubicBezTo>
                  <a:cubicBezTo>
                    <a:pt x="37752" y="18113"/>
                    <a:pt x="28314" y="11320"/>
                    <a:pt x="28314" y="11320"/>
                  </a:cubicBezTo>
                  <a:cubicBezTo>
                    <a:pt x="24269" y="9056"/>
                    <a:pt x="20224" y="9056"/>
                    <a:pt x="16179" y="9056"/>
                  </a:cubicBezTo>
                  <a:cubicBezTo>
                    <a:pt x="13483" y="9056"/>
                    <a:pt x="12134" y="13584"/>
                    <a:pt x="8089" y="13584"/>
                  </a:cubicBezTo>
                  <a:cubicBezTo>
                    <a:pt x="8089" y="20377"/>
                    <a:pt x="12134" y="20377"/>
                    <a:pt x="12134" y="24905"/>
                  </a:cubicBezTo>
                  <a:cubicBezTo>
                    <a:pt x="12134" y="27169"/>
                    <a:pt x="13483" y="29433"/>
                    <a:pt x="13483" y="31698"/>
                  </a:cubicBezTo>
                  <a:cubicBezTo>
                    <a:pt x="12134" y="33962"/>
                    <a:pt x="8089" y="33962"/>
                    <a:pt x="6741" y="36226"/>
                  </a:cubicBezTo>
                  <a:cubicBezTo>
                    <a:pt x="2696" y="40754"/>
                    <a:pt x="4044" y="45283"/>
                    <a:pt x="2696" y="52075"/>
                  </a:cubicBezTo>
                  <a:cubicBezTo>
                    <a:pt x="2696" y="56603"/>
                    <a:pt x="1348" y="58867"/>
                    <a:pt x="0" y="61132"/>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60" name="Shape 2534">
              <a:extLst>
                <a:ext uri="{FF2B5EF4-FFF2-40B4-BE49-F238E27FC236}">
                  <a16:creationId xmlns:a16="http://schemas.microsoft.com/office/drawing/2014/main" id="{D5C238E2-5EC7-3242-829A-25E642A0B46F}"/>
                </a:ext>
              </a:extLst>
            </p:cNvPr>
            <p:cNvSpPr/>
            <p:nvPr/>
          </p:nvSpPr>
          <p:spPr>
            <a:xfrm>
              <a:off x="12451768" y="6506929"/>
              <a:ext cx="280255" cy="114678"/>
            </a:xfrm>
            <a:custGeom>
              <a:avLst/>
              <a:gdLst/>
              <a:ahLst/>
              <a:cxnLst/>
              <a:rect l="0" t="0" r="0" b="0"/>
              <a:pathLst>
                <a:path w="120000" h="120000" extrusionOk="0">
                  <a:moveTo>
                    <a:pt x="120000" y="40000"/>
                  </a:moveTo>
                  <a:cubicBezTo>
                    <a:pt x="108000" y="20000"/>
                    <a:pt x="104000" y="0"/>
                    <a:pt x="88000" y="0"/>
                  </a:cubicBezTo>
                  <a:cubicBezTo>
                    <a:pt x="80000" y="0"/>
                    <a:pt x="76000" y="0"/>
                    <a:pt x="68000" y="0"/>
                  </a:cubicBezTo>
                  <a:cubicBezTo>
                    <a:pt x="60000" y="0"/>
                    <a:pt x="60000" y="10000"/>
                    <a:pt x="56000" y="10000"/>
                  </a:cubicBezTo>
                  <a:cubicBezTo>
                    <a:pt x="52000" y="10000"/>
                    <a:pt x="48000" y="0"/>
                    <a:pt x="44000" y="0"/>
                  </a:cubicBezTo>
                  <a:cubicBezTo>
                    <a:pt x="40000" y="10000"/>
                    <a:pt x="36000" y="20000"/>
                    <a:pt x="32000" y="30000"/>
                  </a:cubicBezTo>
                  <a:cubicBezTo>
                    <a:pt x="24000" y="50000"/>
                    <a:pt x="0" y="40000"/>
                    <a:pt x="12000" y="90000"/>
                  </a:cubicBezTo>
                  <a:cubicBezTo>
                    <a:pt x="16000" y="110000"/>
                    <a:pt x="32000" y="120000"/>
                    <a:pt x="44000" y="110000"/>
                  </a:cubicBezTo>
                  <a:cubicBezTo>
                    <a:pt x="48000" y="110000"/>
                    <a:pt x="48000" y="90000"/>
                    <a:pt x="52000" y="90000"/>
                  </a:cubicBezTo>
                  <a:cubicBezTo>
                    <a:pt x="60000" y="90000"/>
                    <a:pt x="68000" y="90000"/>
                    <a:pt x="72000" y="90000"/>
                  </a:cubicBezTo>
                  <a:cubicBezTo>
                    <a:pt x="76000" y="90000"/>
                    <a:pt x="76000" y="70000"/>
                    <a:pt x="76000" y="60000"/>
                  </a:cubicBezTo>
                  <a:cubicBezTo>
                    <a:pt x="80000" y="50000"/>
                    <a:pt x="92000" y="70000"/>
                    <a:pt x="96000" y="70000"/>
                  </a:cubicBezTo>
                  <a:cubicBezTo>
                    <a:pt x="100000" y="70000"/>
                    <a:pt x="108000" y="70000"/>
                    <a:pt x="112000" y="70000"/>
                  </a:cubicBezTo>
                  <a:cubicBezTo>
                    <a:pt x="116000" y="70000"/>
                    <a:pt x="116000" y="50000"/>
                    <a:pt x="120000" y="4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61" name="Shape 2535">
              <a:extLst>
                <a:ext uri="{FF2B5EF4-FFF2-40B4-BE49-F238E27FC236}">
                  <a16:creationId xmlns:a16="http://schemas.microsoft.com/office/drawing/2014/main" id="{6594EFB0-8587-4541-B7BB-C3356322C93D}"/>
                </a:ext>
              </a:extLst>
            </p:cNvPr>
            <p:cNvSpPr/>
            <p:nvPr/>
          </p:nvSpPr>
          <p:spPr>
            <a:xfrm>
              <a:off x="12760682" y="6086438"/>
              <a:ext cx="439490" cy="328113"/>
            </a:xfrm>
            <a:custGeom>
              <a:avLst/>
              <a:gdLst/>
              <a:ahLst/>
              <a:cxnLst/>
              <a:rect l="0" t="0" r="0" b="0"/>
              <a:pathLst>
                <a:path w="120000" h="120000" extrusionOk="0">
                  <a:moveTo>
                    <a:pt x="28085" y="99428"/>
                  </a:moveTo>
                  <a:cubicBezTo>
                    <a:pt x="35744" y="99428"/>
                    <a:pt x="40851" y="102857"/>
                    <a:pt x="45957" y="102857"/>
                  </a:cubicBezTo>
                  <a:cubicBezTo>
                    <a:pt x="45957" y="102857"/>
                    <a:pt x="58723" y="113142"/>
                    <a:pt x="58723" y="113142"/>
                  </a:cubicBezTo>
                  <a:cubicBezTo>
                    <a:pt x="58723" y="109714"/>
                    <a:pt x="61276" y="99428"/>
                    <a:pt x="63829" y="106285"/>
                  </a:cubicBezTo>
                  <a:cubicBezTo>
                    <a:pt x="68936" y="116571"/>
                    <a:pt x="71489" y="99428"/>
                    <a:pt x="74042" y="109714"/>
                  </a:cubicBezTo>
                  <a:cubicBezTo>
                    <a:pt x="76595" y="116571"/>
                    <a:pt x="81702" y="109714"/>
                    <a:pt x="84255" y="109714"/>
                  </a:cubicBezTo>
                  <a:cubicBezTo>
                    <a:pt x="86808" y="106285"/>
                    <a:pt x="91914" y="120000"/>
                    <a:pt x="91914" y="113142"/>
                  </a:cubicBezTo>
                  <a:cubicBezTo>
                    <a:pt x="94468" y="106285"/>
                    <a:pt x="91914" y="99428"/>
                    <a:pt x="97021" y="96000"/>
                  </a:cubicBezTo>
                  <a:cubicBezTo>
                    <a:pt x="99574" y="96000"/>
                    <a:pt x="104680" y="92571"/>
                    <a:pt x="107234" y="92571"/>
                  </a:cubicBezTo>
                  <a:cubicBezTo>
                    <a:pt x="104680" y="89142"/>
                    <a:pt x="102127" y="82285"/>
                    <a:pt x="102127" y="75428"/>
                  </a:cubicBezTo>
                  <a:cubicBezTo>
                    <a:pt x="102127" y="68571"/>
                    <a:pt x="107234" y="75428"/>
                    <a:pt x="112340" y="72000"/>
                  </a:cubicBezTo>
                  <a:cubicBezTo>
                    <a:pt x="117446" y="72000"/>
                    <a:pt x="120000" y="65142"/>
                    <a:pt x="114893" y="58285"/>
                  </a:cubicBezTo>
                  <a:cubicBezTo>
                    <a:pt x="112340" y="54857"/>
                    <a:pt x="109787" y="58285"/>
                    <a:pt x="107234" y="51428"/>
                  </a:cubicBezTo>
                  <a:cubicBezTo>
                    <a:pt x="104680" y="48000"/>
                    <a:pt x="102127" y="44571"/>
                    <a:pt x="99574" y="37714"/>
                  </a:cubicBezTo>
                  <a:cubicBezTo>
                    <a:pt x="97021" y="34285"/>
                    <a:pt x="97021" y="27428"/>
                    <a:pt x="97021" y="20571"/>
                  </a:cubicBezTo>
                  <a:cubicBezTo>
                    <a:pt x="99574" y="13714"/>
                    <a:pt x="91914" y="6857"/>
                    <a:pt x="89361" y="6857"/>
                  </a:cubicBezTo>
                  <a:cubicBezTo>
                    <a:pt x="86808" y="3428"/>
                    <a:pt x="86808" y="6857"/>
                    <a:pt x="84255" y="6857"/>
                  </a:cubicBezTo>
                  <a:cubicBezTo>
                    <a:pt x="79148" y="10285"/>
                    <a:pt x="79148" y="6857"/>
                    <a:pt x="76595" y="3428"/>
                  </a:cubicBezTo>
                  <a:cubicBezTo>
                    <a:pt x="74042" y="0"/>
                    <a:pt x="74042" y="6857"/>
                    <a:pt x="71489" y="6857"/>
                  </a:cubicBezTo>
                  <a:cubicBezTo>
                    <a:pt x="68936" y="6857"/>
                    <a:pt x="63829" y="0"/>
                    <a:pt x="63829" y="0"/>
                  </a:cubicBezTo>
                  <a:cubicBezTo>
                    <a:pt x="58723" y="0"/>
                    <a:pt x="58723" y="6857"/>
                    <a:pt x="56170" y="6857"/>
                  </a:cubicBezTo>
                  <a:cubicBezTo>
                    <a:pt x="51063" y="10285"/>
                    <a:pt x="48510" y="10285"/>
                    <a:pt x="43404" y="10285"/>
                  </a:cubicBezTo>
                  <a:cubicBezTo>
                    <a:pt x="40851" y="13714"/>
                    <a:pt x="43404" y="20571"/>
                    <a:pt x="43404" y="20571"/>
                  </a:cubicBezTo>
                  <a:cubicBezTo>
                    <a:pt x="40851" y="27428"/>
                    <a:pt x="33191" y="24000"/>
                    <a:pt x="33191" y="30857"/>
                  </a:cubicBezTo>
                  <a:cubicBezTo>
                    <a:pt x="30638" y="34285"/>
                    <a:pt x="30638" y="37714"/>
                    <a:pt x="30638" y="44571"/>
                  </a:cubicBezTo>
                  <a:cubicBezTo>
                    <a:pt x="30638" y="48000"/>
                    <a:pt x="22978" y="48000"/>
                    <a:pt x="20425" y="48000"/>
                  </a:cubicBezTo>
                  <a:cubicBezTo>
                    <a:pt x="12765" y="51428"/>
                    <a:pt x="10212" y="54857"/>
                    <a:pt x="2553" y="54857"/>
                  </a:cubicBezTo>
                  <a:cubicBezTo>
                    <a:pt x="5106" y="65142"/>
                    <a:pt x="12765" y="72000"/>
                    <a:pt x="5106" y="82285"/>
                  </a:cubicBezTo>
                  <a:cubicBezTo>
                    <a:pt x="0" y="85714"/>
                    <a:pt x="0" y="89142"/>
                    <a:pt x="2553" y="92571"/>
                  </a:cubicBezTo>
                  <a:cubicBezTo>
                    <a:pt x="7659" y="96000"/>
                    <a:pt x="2553" y="102857"/>
                    <a:pt x="2553" y="106285"/>
                  </a:cubicBezTo>
                  <a:cubicBezTo>
                    <a:pt x="7659" y="106285"/>
                    <a:pt x="10212" y="106285"/>
                    <a:pt x="12765" y="102857"/>
                  </a:cubicBezTo>
                  <a:cubicBezTo>
                    <a:pt x="17872" y="99428"/>
                    <a:pt x="25531" y="99428"/>
                    <a:pt x="28085" y="99428"/>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62" name="Shape 2536">
              <a:extLst>
                <a:ext uri="{FF2B5EF4-FFF2-40B4-BE49-F238E27FC236}">
                  <a16:creationId xmlns:a16="http://schemas.microsoft.com/office/drawing/2014/main" id="{52AFF47D-33B2-3448-8DC1-D42BC284C3B6}"/>
                </a:ext>
              </a:extLst>
            </p:cNvPr>
            <p:cNvSpPr/>
            <p:nvPr/>
          </p:nvSpPr>
          <p:spPr>
            <a:xfrm>
              <a:off x="12658772" y="6067325"/>
              <a:ext cx="270700" cy="178392"/>
            </a:xfrm>
            <a:custGeom>
              <a:avLst/>
              <a:gdLst/>
              <a:ahLst/>
              <a:cxnLst/>
              <a:rect l="0" t="0" r="0" b="0"/>
              <a:pathLst>
                <a:path w="120000" h="120000" extrusionOk="0">
                  <a:moveTo>
                    <a:pt x="66206" y="113684"/>
                  </a:moveTo>
                  <a:cubicBezTo>
                    <a:pt x="74482" y="101052"/>
                    <a:pt x="86896" y="101052"/>
                    <a:pt x="95172" y="94736"/>
                  </a:cubicBezTo>
                  <a:cubicBezTo>
                    <a:pt x="95172" y="88421"/>
                    <a:pt x="95172" y="82105"/>
                    <a:pt x="95172" y="75789"/>
                  </a:cubicBezTo>
                  <a:cubicBezTo>
                    <a:pt x="99310" y="63157"/>
                    <a:pt x="103448" y="63157"/>
                    <a:pt x="111724" y="56842"/>
                  </a:cubicBezTo>
                  <a:cubicBezTo>
                    <a:pt x="120000" y="50526"/>
                    <a:pt x="115862" y="31578"/>
                    <a:pt x="107586" y="25263"/>
                  </a:cubicBezTo>
                  <a:cubicBezTo>
                    <a:pt x="99310" y="18947"/>
                    <a:pt x="91034" y="12631"/>
                    <a:pt x="78620" y="6315"/>
                  </a:cubicBezTo>
                  <a:cubicBezTo>
                    <a:pt x="70344" y="0"/>
                    <a:pt x="53793" y="6315"/>
                    <a:pt x="41379" y="6315"/>
                  </a:cubicBezTo>
                  <a:cubicBezTo>
                    <a:pt x="33103" y="6315"/>
                    <a:pt x="0" y="0"/>
                    <a:pt x="0" y="25263"/>
                  </a:cubicBezTo>
                  <a:cubicBezTo>
                    <a:pt x="0" y="25263"/>
                    <a:pt x="4137" y="31578"/>
                    <a:pt x="4137" y="37894"/>
                  </a:cubicBezTo>
                  <a:cubicBezTo>
                    <a:pt x="8275" y="44210"/>
                    <a:pt x="4137" y="50526"/>
                    <a:pt x="8275" y="56842"/>
                  </a:cubicBezTo>
                  <a:cubicBezTo>
                    <a:pt x="12413" y="56842"/>
                    <a:pt x="16551" y="69473"/>
                    <a:pt x="20689" y="63157"/>
                  </a:cubicBezTo>
                  <a:cubicBezTo>
                    <a:pt x="28965" y="63157"/>
                    <a:pt x="37241" y="56842"/>
                    <a:pt x="37241" y="69473"/>
                  </a:cubicBezTo>
                  <a:cubicBezTo>
                    <a:pt x="37241" y="75789"/>
                    <a:pt x="37241" y="88421"/>
                    <a:pt x="33103" y="94736"/>
                  </a:cubicBezTo>
                  <a:cubicBezTo>
                    <a:pt x="45517" y="94736"/>
                    <a:pt x="45517" y="94736"/>
                    <a:pt x="49655" y="113684"/>
                  </a:cubicBezTo>
                  <a:cubicBezTo>
                    <a:pt x="53793" y="113684"/>
                    <a:pt x="66206" y="113684"/>
                    <a:pt x="66206" y="113684"/>
                  </a:cubicBezTo>
                  <a:cubicBezTo>
                    <a:pt x="70344" y="107368"/>
                    <a:pt x="62068" y="120000"/>
                    <a:pt x="66206" y="113684"/>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63" name="Shape 2537">
              <a:extLst>
                <a:ext uri="{FF2B5EF4-FFF2-40B4-BE49-F238E27FC236}">
                  <a16:creationId xmlns:a16="http://schemas.microsoft.com/office/drawing/2014/main" id="{0C350326-6208-AC4B-8814-4189A8E94C5E}"/>
                </a:ext>
              </a:extLst>
            </p:cNvPr>
            <p:cNvSpPr/>
            <p:nvPr/>
          </p:nvSpPr>
          <p:spPr>
            <a:xfrm>
              <a:off x="12658772" y="5955830"/>
              <a:ext cx="334397" cy="168835"/>
            </a:xfrm>
            <a:custGeom>
              <a:avLst/>
              <a:gdLst/>
              <a:ahLst/>
              <a:cxnLst/>
              <a:rect l="0" t="0" r="0" b="0"/>
              <a:pathLst>
                <a:path w="120000" h="120000" extrusionOk="0">
                  <a:moveTo>
                    <a:pt x="36666" y="86666"/>
                  </a:moveTo>
                  <a:cubicBezTo>
                    <a:pt x="46666" y="86666"/>
                    <a:pt x="53333" y="80000"/>
                    <a:pt x="63333" y="80000"/>
                  </a:cubicBezTo>
                  <a:cubicBezTo>
                    <a:pt x="66666" y="80000"/>
                    <a:pt x="80000" y="93333"/>
                    <a:pt x="83333" y="100000"/>
                  </a:cubicBezTo>
                  <a:cubicBezTo>
                    <a:pt x="86666" y="106666"/>
                    <a:pt x="90000" y="120000"/>
                    <a:pt x="96666" y="113333"/>
                  </a:cubicBezTo>
                  <a:cubicBezTo>
                    <a:pt x="100000" y="113333"/>
                    <a:pt x="103333" y="106666"/>
                    <a:pt x="110000" y="106666"/>
                  </a:cubicBezTo>
                  <a:cubicBezTo>
                    <a:pt x="113333" y="106666"/>
                    <a:pt x="113333" y="93333"/>
                    <a:pt x="120000" y="93333"/>
                  </a:cubicBezTo>
                  <a:cubicBezTo>
                    <a:pt x="116666" y="80000"/>
                    <a:pt x="110000" y="60000"/>
                    <a:pt x="113333" y="53333"/>
                  </a:cubicBezTo>
                  <a:cubicBezTo>
                    <a:pt x="116666" y="40000"/>
                    <a:pt x="106666" y="26666"/>
                    <a:pt x="103333" y="26666"/>
                  </a:cubicBezTo>
                  <a:cubicBezTo>
                    <a:pt x="96666" y="20000"/>
                    <a:pt x="90000" y="33333"/>
                    <a:pt x="83333" y="20000"/>
                  </a:cubicBezTo>
                  <a:cubicBezTo>
                    <a:pt x="73333" y="6666"/>
                    <a:pt x="70000" y="0"/>
                    <a:pt x="60000" y="6666"/>
                  </a:cubicBezTo>
                  <a:cubicBezTo>
                    <a:pt x="53333" y="13333"/>
                    <a:pt x="56666" y="20000"/>
                    <a:pt x="56666" y="33333"/>
                  </a:cubicBezTo>
                  <a:cubicBezTo>
                    <a:pt x="53333" y="40000"/>
                    <a:pt x="53333" y="46666"/>
                    <a:pt x="50000" y="46666"/>
                  </a:cubicBezTo>
                  <a:cubicBezTo>
                    <a:pt x="40000" y="60000"/>
                    <a:pt x="33333" y="33333"/>
                    <a:pt x="26666" y="26666"/>
                  </a:cubicBezTo>
                  <a:cubicBezTo>
                    <a:pt x="10000" y="0"/>
                    <a:pt x="0" y="73333"/>
                    <a:pt x="0" y="100000"/>
                  </a:cubicBezTo>
                  <a:cubicBezTo>
                    <a:pt x="13333" y="86666"/>
                    <a:pt x="23333" y="86666"/>
                    <a:pt x="36666" y="86666"/>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64" name="Shape 2538">
              <a:extLst>
                <a:ext uri="{FF2B5EF4-FFF2-40B4-BE49-F238E27FC236}">
                  <a16:creationId xmlns:a16="http://schemas.microsoft.com/office/drawing/2014/main" id="{92299746-4815-3C4A-B27F-4F6749DA5E33}"/>
                </a:ext>
              </a:extLst>
            </p:cNvPr>
            <p:cNvSpPr/>
            <p:nvPr/>
          </p:nvSpPr>
          <p:spPr>
            <a:xfrm>
              <a:off x="12760682" y="5853895"/>
              <a:ext cx="222932" cy="140163"/>
            </a:xfrm>
            <a:custGeom>
              <a:avLst/>
              <a:gdLst/>
              <a:ahLst/>
              <a:cxnLst/>
              <a:rect l="0" t="0" r="0" b="0"/>
              <a:pathLst>
                <a:path w="120000" h="120000" extrusionOk="0">
                  <a:moveTo>
                    <a:pt x="80000" y="120000"/>
                  </a:moveTo>
                  <a:cubicBezTo>
                    <a:pt x="85000" y="120000"/>
                    <a:pt x="95000" y="120000"/>
                    <a:pt x="100000" y="120000"/>
                  </a:cubicBezTo>
                  <a:cubicBezTo>
                    <a:pt x="100000" y="112000"/>
                    <a:pt x="110000" y="112000"/>
                    <a:pt x="110000" y="104000"/>
                  </a:cubicBezTo>
                  <a:cubicBezTo>
                    <a:pt x="110000" y="96000"/>
                    <a:pt x="110000" y="88000"/>
                    <a:pt x="110000" y="80000"/>
                  </a:cubicBezTo>
                  <a:cubicBezTo>
                    <a:pt x="105000" y="64000"/>
                    <a:pt x="100000" y="56000"/>
                    <a:pt x="105000" y="40000"/>
                  </a:cubicBezTo>
                  <a:cubicBezTo>
                    <a:pt x="115000" y="32000"/>
                    <a:pt x="120000" y="16000"/>
                    <a:pt x="120000" y="0"/>
                  </a:cubicBezTo>
                  <a:cubicBezTo>
                    <a:pt x="110000" y="24000"/>
                    <a:pt x="75000" y="0"/>
                    <a:pt x="60000" y="0"/>
                  </a:cubicBezTo>
                  <a:cubicBezTo>
                    <a:pt x="50000" y="0"/>
                    <a:pt x="40000" y="0"/>
                    <a:pt x="30000" y="8000"/>
                  </a:cubicBezTo>
                  <a:cubicBezTo>
                    <a:pt x="25000" y="8000"/>
                    <a:pt x="0" y="40000"/>
                    <a:pt x="0" y="40000"/>
                  </a:cubicBezTo>
                  <a:cubicBezTo>
                    <a:pt x="0" y="48000"/>
                    <a:pt x="15000" y="40000"/>
                    <a:pt x="10000" y="48000"/>
                  </a:cubicBezTo>
                  <a:cubicBezTo>
                    <a:pt x="10000" y="56000"/>
                    <a:pt x="10000" y="56000"/>
                    <a:pt x="10000" y="64000"/>
                  </a:cubicBezTo>
                  <a:cubicBezTo>
                    <a:pt x="15000" y="80000"/>
                    <a:pt x="35000" y="72000"/>
                    <a:pt x="35000" y="72000"/>
                  </a:cubicBezTo>
                  <a:cubicBezTo>
                    <a:pt x="35000" y="80000"/>
                    <a:pt x="30000" y="96000"/>
                    <a:pt x="30000" y="104000"/>
                  </a:cubicBezTo>
                  <a:cubicBezTo>
                    <a:pt x="35000" y="96000"/>
                    <a:pt x="45000" y="88000"/>
                    <a:pt x="55000" y="96000"/>
                  </a:cubicBezTo>
                  <a:cubicBezTo>
                    <a:pt x="65000" y="104000"/>
                    <a:pt x="70000" y="120000"/>
                    <a:pt x="80000" y="12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65" name="Shape 2539">
              <a:extLst>
                <a:ext uri="{FF2B5EF4-FFF2-40B4-BE49-F238E27FC236}">
                  <a16:creationId xmlns:a16="http://schemas.microsoft.com/office/drawing/2014/main" id="{D6FE2D98-6DDA-3D47-A04A-D785C9DD1EBE}"/>
                </a:ext>
              </a:extLst>
            </p:cNvPr>
            <p:cNvSpPr/>
            <p:nvPr/>
          </p:nvSpPr>
          <p:spPr>
            <a:xfrm>
              <a:off x="12591897" y="6143779"/>
              <a:ext cx="149682" cy="73268"/>
            </a:xfrm>
            <a:custGeom>
              <a:avLst/>
              <a:gdLst/>
              <a:ahLst/>
              <a:cxnLst/>
              <a:rect l="0" t="0" r="0" b="0"/>
              <a:pathLst>
                <a:path w="120000" h="120000" extrusionOk="0">
                  <a:moveTo>
                    <a:pt x="120000" y="60000"/>
                  </a:moveTo>
                  <a:cubicBezTo>
                    <a:pt x="120000" y="15000"/>
                    <a:pt x="105000" y="30000"/>
                    <a:pt x="90000" y="30000"/>
                  </a:cubicBezTo>
                  <a:cubicBezTo>
                    <a:pt x="82500" y="45000"/>
                    <a:pt x="75000" y="15000"/>
                    <a:pt x="60000" y="0"/>
                  </a:cubicBezTo>
                  <a:cubicBezTo>
                    <a:pt x="60000" y="15000"/>
                    <a:pt x="60000" y="30000"/>
                    <a:pt x="52500" y="45000"/>
                  </a:cubicBezTo>
                  <a:cubicBezTo>
                    <a:pt x="45000" y="45000"/>
                    <a:pt x="52500" y="15000"/>
                    <a:pt x="37500" y="30000"/>
                  </a:cubicBezTo>
                  <a:cubicBezTo>
                    <a:pt x="30000" y="30000"/>
                    <a:pt x="15000" y="30000"/>
                    <a:pt x="15000" y="45000"/>
                  </a:cubicBezTo>
                  <a:cubicBezTo>
                    <a:pt x="7500" y="75000"/>
                    <a:pt x="15000" y="90000"/>
                    <a:pt x="0" y="75000"/>
                  </a:cubicBezTo>
                  <a:cubicBezTo>
                    <a:pt x="0" y="75000"/>
                    <a:pt x="0" y="75000"/>
                    <a:pt x="0" y="90000"/>
                  </a:cubicBezTo>
                  <a:cubicBezTo>
                    <a:pt x="0" y="90000"/>
                    <a:pt x="7500" y="90000"/>
                    <a:pt x="15000" y="90000"/>
                  </a:cubicBezTo>
                  <a:cubicBezTo>
                    <a:pt x="30000" y="105000"/>
                    <a:pt x="45000" y="105000"/>
                    <a:pt x="60000" y="105000"/>
                  </a:cubicBezTo>
                  <a:cubicBezTo>
                    <a:pt x="75000" y="105000"/>
                    <a:pt x="120000" y="120000"/>
                    <a:pt x="120000" y="6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66" name="Shape 2540">
              <a:extLst>
                <a:ext uri="{FF2B5EF4-FFF2-40B4-BE49-F238E27FC236}">
                  <a16:creationId xmlns:a16="http://schemas.microsoft.com/office/drawing/2014/main" id="{1178B3ED-CE92-CB47-BF32-AD63AAFC692C}"/>
                </a:ext>
              </a:extLst>
            </p:cNvPr>
            <p:cNvSpPr/>
            <p:nvPr/>
          </p:nvSpPr>
          <p:spPr>
            <a:xfrm>
              <a:off x="12359408" y="6162889"/>
              <a:ext cx="445859" cy="391822"/>
            </a:xfrm>
            <a:custGeom>
              <a:avLst/>
              <a:gdLst/>
              <a:ahLst/>
              <a:cxnLst/>
              <a:rect l="0" t="0" r="0" b="0"/>
              <a:pathLst>
                <a:path w="120000" h="120000" extrusionOk="0">
                  <a:moveTo>
                    <a:pt x="2500" y="34285"/>
                  </a:moveTo>
                  <a:cubicBezTo>
                    <a:pt x="2500" y="37142"/>
                    <a:pt x="0" y="42857"/>
                    <a:pt x="0" y="45714"/>
                  </a:cubicBezTo>
                  <a:cubicBezTo>
                    <a:pt x="2500" y="48571"/>
                    <a:pt x="5000" y="54285"/>
                    <a:pt x="5000" y="57142"/>
                  </a:cubicBezTo>
                  <a:cubicBezTo>
                    <a:pt x="5000" y="62857"/>
                    <a:pt x="7500" y="71428"/>
                    <a:pt x="10000" y="77142"/>
                  </a:cubicBezTo>
                  <a:cubicBezTo>
                    <a:pt x="12500" y="85714"/>
                    <a:pt x="20000" y="82857"/>
                    <a:pt x="22500" y="88571"/>
                  </a:cubicBezTo>
                  <a:cubicBezTo>
                    <a:pt x="22500" y="88571"/>
                    <a:pt x="22500" y="94285"/>
                    <a:pt x="25000" y="94285"/>
                  </a:cubicBezTo>
                  <a:cubicBezTo>
                    <a:pt x="27500" y="97142"/>
                    <a:pt x="30000" y="91428"/>
                    <a:pt x="32500" y="91428"/>
                  </a:cubicBezTo>
                  <a:cubicBezTo>
                    <a:pt x="37500" y="88571"/>
                    <a:pt x="47500" y="100000"/>
                    <a:pt x="52500" y="102857"/>
                  </a:cubicBezTo>
                  <a:cubicBezTo>
                    <a:pt x="55000" y="105714"/>
                    <a:pt x="57500" y="111428"/>
                    <a:pt x="62500" y="105714"/>
                  </a:cubicBezTo>
                  <a:cubicBezTo>
                    <a:pt x="65000" y="102857"/>
                    <a:pt x="77500" y="105714"/>
                    <a:pt x="82500" y="105714"/>
                  </a:cubicBezTo>
                  <a:cubicBezTo>
                    <a:pt x="90000" y="105714"/>
                    <a:pt x="92500" y="111428"/>
                    <a:pt x="97500" y="117142"/>
                  </a:cubicBezTo>
                  <a:cubicBezTo>
                    <a:pt x="100000" y="120000"/>
                    <a:pt x="100000" y="102857"/>
                    <a:pt x="102500" y="100000"/>
                  </a:cubicBezTo>
                  <a:cubicBezTo>
                    <a:pt x="105000" y="97142"/>
                    <a:pt x="107500" y="94285"/>
                    <a:pt x="110000" y="91428"/>
                  </a:cubicBezTo>
                  <a:cubicBezTo>
                    <a:pt x="112500" y="91428"/>
                    <a:pt x="120000" y="91428"/>
                    <a:pt x="120000" y="88571"/>
                  </a:cubicBezTo>
                  <a:cubicBezTo>
                    <a:pt x="117500" y="80000"/>
                    <a:pt x="117500" y="77142"/>
                    <a:pt x="112500" y="74285"/>
                  </a:cubicBezTo>
                  <a:cubicBezTo>
                    <a:pt x="107500" y="68571"/>
                    <a:pt x="115000" y="60000"/>
                    <a:pt x="110000" y="54285"/>
                  </a:cubicBezTo>
                  <a:cubicBezTo>
                    <a:pt x="105000" y="51428"/>
                    <a:pt x="117500" y="40000"/>
                    <a:pt x="115000" y="34285"/>
                  </a:cubicBezTo>
                  <a:cubicBezTo>
                    <a:pt x="112500" y="28571"/>
                    <a:pt x="110000" y="25714"/>
                    <a:pt x="110000" y="20000"/>
                  </a:cubicBezTo>
                  <a:cubicBezTo>
                    <a:pt x="110000" y="17142"/>
                    <a:pt x="110000" y="14285"/>
                    <a:pt x="105000" y="14285"/>
                  </a:cubicBezTo>
                  <a:cubicBezTo>
                    <a:pt x="92500" y="8571"/>
                    <a:pt x="75000" y="17142"/>
                    <a:pt x="62500" y="11428"/>
                  </a:cubicBezTo>
                  <a:cubicBezTo>
                    <a:pt x="62500" y="20000"/>
                    <a:pt x="52500" y="5714"/>
                    <a:pt x="50000" y="5714"/>
                  </a:cubicBezTo>
                  <a:cubicBezTo>
                    <a:pt x="42500" y="0"/>
                    <a:pt x="37500" y="5714"/>
                    <a:pt x="32500" y="11428"/>
                  </a:cubicBezTo>
                  <a:cubicBezTo>
                    <a:pt x="25000" y="14285"/>
                    <a:pt x="20000" y="17142"/>
                    <a:pt x="15000" y="17142"/>
                  </a:cubicBezTo>
                  <a:cubicBezTo>
                    <a:pt x="12500" y="20000"/>
                    <a:pt x="7500" y="20000"/>
                    <a:pt x="5000" y="20000"/>
                  </a:cubicBezTo>
                  <a:cubicBezTo>
                    <a:pt x="2500" y="22857"/>
                    <a:pt x="7500" y="25714"/>
                    <a:pt x="2500" y="25714"/>
                  </a:cubicBezTo>
                  <a:cubicBezTo>
                    <a:pt x="2500" y="28571"/>
                    <a:pt x="2500" y="31428"/>
                    <a:pt x="2500" y="34285"/>
                  </a:cubicBezTo>
                  <a:cubicBezTo>
                    <a:pt x="2500" y="40000"/>
                    <a:pt x="2500" y="34285"/>
                    <a:pt x="2500" y="34285"/>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67" name="Shape 2541">
              <a:extLst>
                <a:ext uri="{FF2B5EF4-FFF2-40B4-BE49-F238E27FC236}">
                  <a16:creationId xmlns:a16="http://schemas.microsoft.com/office/drawing/2014/main" id="{1BE966AE-9B92-E14A-9289-41089C91058D}"/>
                </a:ext>
              </a:extLst>
            </p:cNvPr>
            <p:cNvSpPr/>
            <p:nvPr/>
          </p:nvSpPr>
          <p:spPr>
            <a:xfrm>
              <a:off x="12630108" y="6573828"/>
              <a:ext cx="429937" cy="280327"/>
            </a:xfrm>
            <a:custGeom>
              <a:avLst/>
              <a:gdLst/>
              <a:ahLst/>
              <a:cxnLst/>
              <a:rect l="0" t="0" r="0" b="0"/>
              <a:pathLst>
                <a:path w="120000" h="120000" extrusionOk="0">
                  <a:moveTo>
                    <a:pt x="99130" y="52000"/>
                  </a:moveTo>
                  <a:cubicBezTo>
                    <a:pt x="101739" y="40000"/>
                    <a:pt x="93913" y="32000"/>
                    <a:pt x="91304" y="24000"/>
                  </a:cubicBezTo>
                  <a:cubicBezTo>
                    <a:pt x="86086" y="20000"/>
                    <a:pt x="83478" y="8000"/>
                    <a:pt x="83478" y="0"/>
                  </a:cubicBezTo>
                  <a:cubicBezTo>
                    <a:pt x="75652" y="4000"/>
                    <a:pt x="67826" y="16000"/>
                    <a:pt x="57391" y="16000"/>
                  </a:cubicBezTo>
                  <a:cubicBezTo>
                    <a:pt x="54782" y="16000"/>
                    <a:pt x="49565" y="12000"/>
                    <a:pt x="46956" y="12000"/>
                  </a:cubicBezTo>
                  <a:cubicBezTo>
                    <a:pt x="41739" y="12000"/>
                    <a:pt x="36521" y="12000"/>
                    <a:pt x="31304" y="12000"/>
                  </a:cubicBezTo>
                  <a:cubicBezTo>
                    <a:pt x="31304" y="12000"/>
                    <a:pt x="23478" y="24000"/>
                    <a:pt x="20869" y="24000"/>
                  </a:cubicBezTo>
                  <a:cubicBezTo>
                    <a:pt x="18260" y="36000"/>
                    <a:pt x="13043" y="44000"/>
                    <a:pt x="10434" y="56000"/>
                  </a:cubicBezTo>
                  <a:cubicBezTo>
                    <a:pt x="7826" y="56000"/>
                    <a:pt x="2608" y="56000"/>
                    <a:pt x="0" y="60000"/>
                  </a:cubicBezTo>
                  <a:cubicBezTo>
                    <a:pt x="0" y="64000"/>
                    <a:pt x="7826" y="68000"/>
                    <a:pt x="7826" y="72000"/>
                  </a:cubicBezTo>
                  <a:cubicBezTo>
                    <a:pt x="7826" y="80000"/>
                    <a:pt x="10434" y="80000"/>
                    <a:pt x="13043" y="88000"/>
                  </a:cubicBezTo>
                  <a:cubicBezTo>
                    <a:pt x="13043" y="96000"/>
                    <a:pt x="15652" y="96000"/>
                    <a:pt x="20869" y="96000"/>
                  </a:cubicBezTo>
                  <a:cubicBezTo>
                    <a:pt x="23478" y="96000"/>
                    <a:pt x="28695" y="96000"/>
                    <a:pt x="28695" y="100000"/>
                  </a:cubicBezTo>
                  <a:cubicBezTo>
                    <a:pt x="28695" y="104000"/>
                    <a:pt x="28695" y="108000"/>
                    <a:pt x="28695" y="112000"/>
                  </a:cubicBezTo>
                  <a:cubicBezTo>
                    <a:pt x="33913" y="120000"/>
                    <a:pt x="46956" y="120000"/>
                    <a:pt x="54782" y="120000"/>
                  </a:cubicBezTo>
                  <a:cubicBezTo>
                    <a:pt x="62608" y="120000"/>
                    <a:pt x="67826" y="120000"/>
                    <a:pt x="73043" y="112000"/>
                  </a:cubicBezTo>
                  <a:cubicBezTo>
                    <a:pt x="83478" y="104000"/>
                    <a:pt x="93913" y="112000"/>
                    <a:pt x="104347" y="120000"/>
                  </a:cubicBezTo>
                  <a:cubicBezTo>
                    <a:pt x="104347" y="112000"/>
                    <a:pt x="104347" y="100000"/>
                    <a:pt x="106956" y="92000"/>
                  </a:cubicBezTo>
                  <a:cubicBezTo>
                    <a:pt x="109565" y="88000"/>
                    <a:pt x="117391" y="96000"/>
                    <a:pt x="120000" y="80000"/>
                  </a:cubicBezTo>
                  <a:cubicBezTo>
                    <a:pt x="112173" y="72000"/>
                    <a:pt x="109565" y="80000"/>
                    <a:pt x="101739" y="80000"/>
                  </a:cubicBezTo>
                  <a:cubicBezTo>
                    <a:pt x="96521" y="76000"/>
                    <a:pt x="96521" y="56000"/>
                    <a:pt x="99130" y="52000"/>
                  </a:cubicBezTo>
                  <a:cubicBezTo>
                    <a:pt x="101739" y="44000"/>
                    <a:pt x="96521" y="60000"/>
                    <a:pt x="99130" y="52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68" name="Shape 2542">
              <a:extLst>
                <a:ext uri="{FF2B5EF4-FFF2-40B4-BE49-F238E27FC236}">
                  <a16:creationId xmlns:a16="http://schemas.microsoft.com/office/drawing/2014/main" id="{3E60E7D1-83D2-D044-B829-60B97AE2D409}"/>
                </a:ext>
              </a:extLst>
            </p:cNvPr>
            <p:cNvSpPr/>
            <p:nvPr/>
          </p:nvSpPr>
          <p:spPr>
            <a:xfrm>
              <a:off x="12929472" y="6564271"/>
              <a:ext cx="156050" cy="187950"/>
            </a:xfrm>
            <a:custGeom>
              <a:avLst/>
              <a:gdLst/>
              <a:ahLst/>
              <a:cxnLst/>
              <a:rect l="0" t="0" r="0" b="0"/>
              <a:pathLst>
                <a:path w="120000" h="120000" extrusionOk="0">
                  <a:moveTo>
                    <a:pt x="98823" y="60000"/>
                  </a:moveTo>
                  <a:cubicBezTo>
                    <a:pt x="84705" y="48000"/>
                    <a:pt x="77647" y="24000"/>
                    <a:pt x="63529" y="18000"/>
                  </a:cubicBezTo>
                  <a:cubicBezTo>
                    <a:pt x="56470" y="18000"/>
                    <a:pt x="0" y="0"/>
                    <a:pt x="0" y="6000"/>
                  </a:cubicBezTo>
                  <a:cubicBezTo>
                    <a:pt x="7058" y="30000"/>
                    <a:pt x="21176" y="42000"/>
                    <a:pt x="35294" y="60000"/>
                  </a:cubicBezTo>
                  <a:cubicBezTo>
                    <a:pt x="49411" y="78000"/>
                    <a:pt x="28235" y="102000"/>
                    <a:pt x="49411" y="120000"/>
                  </a:cubicBezTo>
                  <a:cubicBezTo>
                    <a:pt x="56470" y="114000"/>
                    <a:pt x="63529" y="96000"/>
                    <a:pt x="70588" y="84000"/>
                  </a:cubicBezTo>
                  <a:cubicBezTo>
                    <a:pt x="84705" y="78000"/>
                    <a:pt x="91764" y="84000"/>
                    <a:pt x="98823" y="84000"/>
                  </a:cubicBezTo>
                  <a:cubicBezTo>
                    <a:pt x="120000" y="84000"/>
                    <a:pt x="98823" y="60000"/>
                    <a:pt x="98823" y="60000"/>
                  </a:cubicBezTo>
                  <a:cubicBezTo>
                    <a:pt x="91764" y="54000"/>
                    <a:pt x="98823" y="60000"/>
                    <a:pt x="98823" y="6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69" name="Shape 2543">
              <a:extLst>
                <a:ext uri="{FF2B5EF4-FFF2-40B4-BE49-F238E27FC236}">
                  <a16:creationId xmlns:a16="http://schemas.microsoft.com/office/drawing/2014/main" id="{0E9875A8-92BF-5F4C-8AC5-35AD3A1DC042}"/>
                </a:ext>
              </a:extLst>
            </p:cNvPr>
            <p:cNvSpPr/>
            <p:nvPr/>
          </p:nvSpPr>
          <p:spPr>
            <a:xfrm>
              <a:off x="12993168" y="6666207"/>
              <a:ext cx="92356" cy="95565"/>
            </a:xfrm>
            <a:custGeom>
              <a:avLst/>
              <a:gdLst/>
              <a:ahLst/>
              <a:cxnLst/>
              <a:rect l="0" t="0" r="0" b="0"/>
              <a:pathLst>
                <a:path w="120000" h="120000" extrusionOk="0">
                  <a:moveTo>
                    <a:pt x="84000" y="108000"/>
                  </a:moveTo>
                  <a:cubicBezTo>
                    <a:pt x="72000" y="96000"/>
                    <a:pt x="72000" y="96000"/>
                    <a:pt x="84000" y="84000"/>
                  </a:cubicBezTo>
                  <a:cubicBezTo>
                    <a:pt x="96000" y="72000"/>
                    <a:pt x="108000" y="60000"/>
                    <a:pt x="120000" y="48000"/>
                  </a:cubicBezTo>
                  <a:cubicBezTo>
                    <a:pt x="120000" y="48000"/>
                    <a:pt x="96000" y="24000"/>
                    <a:pt x="96000" y="12000"/>
                  </a:cubicBezTo>
                  <a:cubicBezTo>
                    <a:pt x="96000" y="60000"/>
                    <a:pt x="36000" y="0"/>
                    <a:pt x="36000" y="48000"/>
                  </a:cubicBezTo>
                  <a:cubicBezTo>
                    <a:pt x="36000" y="72000"/>
                    <a:pt x="12000" y="96000"/>
                    <a:pt x="0" y="108000"/>
                  </a:cubicBezTo>
                  <a:cubicBezTo>
                    <a:pt x="0" y="120000"/>
                    <a:pt x="24000" y="108000"/>
                    <a:pt x="36000" y="108000"/>
                  </a:cubicBezTo>
                  <a:cubicBezTo>
                    <a:pt x="60000" y="108000"/>
                    <a:pt x="72000" y="108000"/>
                    <a:pt x="84000" y="120000"/>
                  </a:cubicBezTo>
                  <a:cubicBezTo>
                    <a:pt x="84000" y="120000"/>
                    <a:pt x="84000" y="108000"/>
                    <a:pt x="84000" y="108000"/>
                  </a:cubicBezTo>
                  <a:cubicBezTo>
                    <a:pt x="72000" y="96000"/>
                    <a:pt x="84000" y="108000"/>
                    <a:pt x="84000" y="108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70" name="Shape 2544">
              <a:extLst>
                <a:ext uri="{FF2B5EF4-FFF2-40B4-BE49-F238E27FC236}">
                  <a16:creationId xmlns:a16="http://schemas.microsoft.com/office/drawing/2014/main" id="{0FF1C1CF-BF0E-7E42-BC36-9E40C2010A8B}"/>
                </a:ext>
              </a:extLst>
            </p:cNvPr>
            <p:cNvSpPr/>
            <p:nvPr/>
          </p:nvSpPr>
          <p:spPr>
            <a:xfrm>
              <a:off x="12712915" y="6815927"/>
              <a:ext cx="299363" cy="178392"/>
            </a:xfrm>
            <a:custGeom>
              <a:avLst/>
              <a:gdLst/>
              <a:ahLst/>
              <a:cxnLst/>
              <a:rect l="0" t="0" r="0" b="0"/>
              <a:pathLst>
                <a:path w="120000" h="120000" extrusionOk="0">
                  <a:moveTo>
                    <a:pt x="63750" y="25263"/>
                  </a:moveTo>
                  <a:cubicBezTo>
                    <a:pt x="48750" y="25263"/>
                    <a:pt x="11250" y="37894"/>
                    <a:pt x="7500" y="0"/>
                  </a:cubicBezTo>
                  <a:cubicBezTo>
                    <a:pt x="3750" y="12631"/>
                    <a:pt x="0" y="25263"/>
                    <a:pt x="7500" y="31578"/>
                  </a:cubicBezTo>
                  <a:cubicBezTo>
                    <a:pt x="11250" y="37894"/>
                    <a:pt x="15000" y="44210"/>
                    <a:pt x="11250" y="50526"/>
                  </a:cubicBezTo>
                  <a:cubicBezTo>
                    <a:pt x="7500" y="56842"/>
                    <a:pt x="3750" y="56842"/>
                    <a:pt x="3750" y="69473"/>
                  </a:cubicBezTo>
                  <a:cubicBezTo>
                    <a:pt x="7500" y="82105"/>
                    <a:pt x="11250" y="88421"/>
                    <a:pt x="11250" y="107368"/>
                  </a:cubicBezTo>
                  <a:cubicBezTo>
                    <a:pt x="18750" y="107368"/>
                    <a:pt x="26250" y="107368"/>
                    <a:pt x="33750" y="107368"/>
                  </a:cubicBezTo>
                  <a:cubicBezTo>
                    <a:pt x="41250" y="107368"/>
                    <a:pt x="52500" y="120000"/>
                    <a:pt x="60000" y="113684"/>
                  </a:cubicBezTo>
                  <a:cubicBezTo>
                    <a:pt x="67500" y="113684"/>
                    <a:pt x="75000" y="101052"/>
                    <a:pt x="78750" y="94736"/>
                  </a:cubicBezTo>
                  <a:cubicBezTo>
                    <a:pt x="86250" y="82105"/>
                    <a:pt x="93750" y="88421"/>
                    <a:pt x="105000" y="88421"/>
                  </a:cubicBezTo>
                  <a:cubicBezTo>
                    <a:pt x="101250" y="75789"/>
                    <a:pt x="101250" y="69473"/>
                    <a:pt x="105000" y="50526"/>
                  </a:cubicBezTo>
                  <a:cubicBezTo>
                    <a:pt x="108750" y="37894"/>
                    <a:pt x="120000" y="25263"/>
                    <a:pt x="108750" y="18947"/>
                  </a:cubicBezTo>
                  <a:cubicBezTo>
                    <a:pt x="101250" y="12631"/>
                    <a:pt x="90000" y="6315"/>
                    <a:pt x="78750" y="12631"/>
                  </a:cubicBezTo>
                  <a:cubicBezTo>
                    <a:pt x="71250" y="12631"/>
                    <a:pt x="67500" y="25263"/>
                    <a:pt x="63750" y="25263"/>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71" name="Shape 2545">
              <a:extLst>
                <a:ext uri="{FF2B5EF4-FFF2-40B4-BE49-F238E27FC236}">
                  <a16:creationId xmlns:a16="http://schemas.microsoft.com/office/drawing/2014/main" id="{9F558E57-35CA-1240-A00F-281BC22566C7}"/>
                </a:ext>
              </a:extLst>
            </p:cNvPr>
            <p:cNvSpPr/>
            <p:nvPr/>
          </p:nvSpPr>
          <p:spPr>
            <a:xfrm>
              <a:off x="12423104" y="6771331"/>
              <a:ext cx="168790" cy="140163"/>
            </a:xfrm>
            <a:custGeom>
              <a:avLst/>
              <a:gdLst/>
              <a:ahLst/>
              <a:cxnLst/>
              <a:rect l="0" t="0" r="0" b="0"/>
              <a:pathLst>
                <a:path w="120000" h="120000" extrusionOk="0">
                  <a:moveTo>
                    <a:pt x="66666" y="0"/>
                  </a:moveTo>
                  <a:cubicBezTo>
                    <a:pt x="53333" y="0"/>
                    <a:pt x="0" y="0"/>
                    <a:pt x="6666" y="16000"/>
                  </a:cubicBezTo>
                  <a:cubicBezTo>
                    <a:pt x="6666" y="24000"/>
                    <a:pt x="20000" y="56000"/>
                    <a:pt x="26666" y="64000"/>
                  </a:cubicBezTo>
                  <a:cubicBezTo>
                    <a:pt x="40000" y="88000"/>
                    <a:pt x="66666" y="104000"/>
                    <a:pt x="86666" y="120000"/>
                  </a:cubicBezTo>
                  <a:cubicBezTo>
                    <a:pt x="86666" y="104000"/>
                    <a:pt x="86666" y="88000"/>
                    <a:pt x="100000" y="80000"/>
                  </a:cubicBezTo>
                  <a:cubicBezTo>
                    <a:pt x="113333" y="72000"/>
                    <a:pt x="120000" y="64000"/>
                    <a:pt x="113333" y="48000"/>
                  </a:cubicBezTo>
                  <a:cubicBezTo>
                    <a:pt x="113333" y="32000"/>
                    <a:pt x="113333" y="24000"/>
                    <a:pt x="106666" y="16000"/>
                  </a:cubicBezTo>
                  <a:cubicBezTo>
                    <a:pt x="93333" y="8000"/>
                    <a:pt x="80000" y="0"/>
                    <a:pt x="66666" y="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72" name="Shape 2546">
              <a:extLst>
                <a:ext uri="{FF2B5EF4-FFF2-40B4-BE49-F238E27FC236}">
                  <a16:creationId xmlns:a16="http://schemas.microsoft.com/office/drawing/2014/main" id="{44D96D68-9943-CF4D-BE92-234516E70888}"/>
                </a:ext>
              </a:extLst>
            </p:cNvPr>
            <p:cNvSpPr/>
            <p:nvPr/>
          </p:nvSpPr>
          <p:spPr>
            <a:xfrm>
              <a:off x="12544122" y="6704433"/>
              <a:ext cx="207006" cy="251657"/>
            </a:xfrm>
            <a:custGeom>
              <a:avLst/>
              <a:gdLst/>
              <a:ahLst/>
              <a:cxnLst/>
              <a:rect l="0" t="0" r="0" b="0"/>
              <a:pathLst>
                <a:path w="120000" h="120000" extrusionOk="0">
                  <a:moveTo>
                    <a:pt x="114545" y="84444"/>
                  </a:moveTo>
                  <a:cubicBezTo>
                    <a:pt x="120000" y="80000"/>
                    <a:pt x="114545" y="80000"/>
                    <a:pt x="109090" y="75555"/>
                  </a:cubicBezTo>
                  <a:cubicBezTo>
                    <a:pt x="103636" y="71111"/>
                    <a:pt x="103636" y="66666"/>
                    <a:pt x="103636" y="57777"/>
                  </a:cubicBezTo>
                  <a:cubicBezTo>
                    <a:pt x="114545" y="44444"/>
                    <a:pt x="98181" y="44444"/>
                    <a:pt x="81818" y="44444"/>
                  </a:cubicBezTo>
                  <a:cubicBezTo>
                    <a:pt x="76363" y="44444"/>
                    <a:pt x="76363" y="40000"/>
                    <a:pt x="76363" y="35555"/>
                  </a:cubicBezTo>
                  <a:cubicBezTo>
                    <a:pt x="70909" y="26666"/>
                    <a:pt x="65454" y="31111"/>
                    <a:pt x="65454" y="22222"/>
                  </a:cubicBezTo>
                  <a:cubicBezTo>
                    <a:pt x="60000" y="8888"/>
                    <a:pt x="49090" y="0"/>
                    <a:pt x="27272" y="4444"/>
                  </a:cubicBezTo>
                  <a:cubicBezTo>
                    <a:pt x="10909" y="8888"/>
                    <a:pt x="10909" y="8888"/>
                    <a:pt x="10909" y="17777"/>
                  </a:cubicBezTo>
                  <a:cubicBezTo>
                    <a:pt x="16363" y="31111"/>
                    <a:pt x="21818" y="44444"/>
                    <a:pt x="21818" y="62222"/>
                  </a:cubicBezTo>
                  <a:cubicBezTo>
                    <a:pt x="27272" y="75555"/>
                    <a:pt x="10909" y="71111"/>
                    <a:pt x="5454" y="84444"/>
                  </a:cubicBezTo>
                  <a:cubicBezTo>
                    <a:pt x="0" y="88888"/>
                    <a:pt x="0" y="97777"/>
                    <a:pt x="0" y="102222"/>
                  </a:cubicBezTo>
                  <a:cubicBezTo>
                    <a:pt x="0" y="111111"/>
                    <a:pt x="16363" y="115555"/>
                    <a:pt x="21818" y="120000"/>
                  </a:cubicBezTo>
                  <a:cubicBezTo>
                    <a:pt x="21818" y="115555"/>
                    <a:pt x="21818" y="102222"/>
                    <a:pt x="32727" y="102222"/>
                  </a:cubicBezTo>
                  <a:cubicBezTo>
                    <a:pt x="43636" y="102222"/>
                    <a:pt x="49090" y="106666"/>
                    <a:pt x="54545" y="115555"/>
                  </a:cubicBezTo>
                  <a:cubicBezTo>
                    <a:pt x="60000" y="115555"/>
                    <a:pt x="98181" y="106666"/>
                    <a:pt x="109090" y="106666"/>
                  </a:cubicBezTo>
                  <a:cubicBezTo>
                    <a:pt x="98181" y="97777"/>
                    <a:pt x="109090" y="93333"/>
                    <a:pt x="114545" y="84444"/>
                  </a:cubicBezTo>
                  <a:cubicBezTo>
                    <a:pt x="120000" y="80000"/>
                    <a:pt x="109090" y="88888"/>
                    <a:pt x="114545" y="84444"/>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73" name="Shape 2547">
              <a:extLst>
                <a:ext uri="{FF2B5EF4-FFF2-40B4-BE49-F238E27FC236}">
                  <a16:creationId xmlns:a16="http://schemas.microsoft.com/office/drawing/2014/main" id="{DD5CAFB0-B518-F048-AB31-84149E662A85}"/>
                </a:ext>
              </a:extLst>
            </p:cNvPr>
            <p:cNvSpPr/>
            <p:nvPr/>
          </p:nvSpPr>
          <p:spPr>
            <a:xfrm>
              <a:off x="12432658" y="6554715"/>
              <a:ext cx="328028" cy="178392"/>
            </a:xfrm>
            <a:custGeom>
              <a:avLst/>
              <a:gdLst/>
              <a:ahLst/>
              <a:cxnLst/>
              <a:rect l="0" t="0" r="0" b="0"/>
              <a:pathLst>
                <a:path w="120000" h="120000" extrusionOk="0">
                  <a:moveTo>
                    <a:pt x="102857" y="18947"/>
                  </a:moveTo>
                  <a:cubicBezTo>
                    <a:pt x="102857" y="12631"/>
                    <a:pt x="85714" y="12631"/>
                    <a:pt x="82285" y="6315"/>
                  </a:cubicBezTo>
                  <a:cubicBezTo>
                    <a:pt x="68571" y="0"/>
                    <a:pt x="75428" y="25263"/>
                    <a:pt x="65142" y="25263"/>
                  </a:cubicBezTo>
                  <a:cubicBezTo>
                    <a:pt x="61714" y="18947"/>
                    <a:pt x="58285" y="25263"/>
                    <a:pt x="51428" y="25263"/>
                  </a:cubicBezTo>
                  <a:cubicBezTo>
                    <a:pt x="48000" y="25263"/>
                    <a:pt x="48000" y="37894"/>
                    <a:pt x="44571" y="37894"/>
                  </a:cubicBezTo>
                  <a:cubicBezTo>
                    <a:pt x="30857" y="50526"/>
                    <a:pt x="24000" y="37894"/>
                    <a:pt x="17142" y="25263"/>
                  </a:cubicBezTo>
                  <a:cubicBezTo>
                    <a:pt x="17142" y="31578"/>
                    <a:pt x="17142" y="37894"/>
                    <a:pt x="17142" y="44210"/>
                  </a:cubicBezTo>
                  <a:cubicBezTo>
                    <a:pt x="13714" y="50526"/>
                    <a:pt x="10285" y="37894"/>
                    <a:pt x="10285" y="50526"/>
                  </a:cubicBezTo>
                  <a:cubicBezTo>
                    <a:pt x="10285" y="69473"/>
                    <a:pt x="0" y="82105"/>
                    <a:pt x="10285" y="94736"/>
                  </a:cubicBezTo>
                  <a:cubicBezTo>
                    <a:pt x="17142" y="107368"/>
                    <a:pt x="27428" y="120000"/>
                    <a:pt x="37714" y="120000"/>
                  </a:cubicBezTo>
                  <a:cubicBezTo>
                    <a:pt x="51428" y="120000"/>
                    <a:pt x="58285" y="101052"/>
                    <a:pt x="72000" y="107368"/>
                  </a:cubicBezTo>
                  <a:cubicBezTo>
                    <a:pt x="72000" y="101052"/>
                    <a:pt x="82285" y="101052"/>
                    <a:pt x="85714" y="94736"/>
                  </a:cubicBezTo>
                  <a:cubicBezTo>
                    <a:pt x="89142" y="82105"/>
                    <a:pt x="92571" y="69473"/>
                    <a:pt x="99428" y="56842"/>
                  </a:cubicBezTo>
                  <a:cubicBezTo>
                    <a:pt x="102857" y="44210"/>
                    <a:pt x="106285" y="44210"/>
                    <a:pt x="113142" y="37894"/>
                  </a:cubicBezTo>
                  <a:cubicBezTo>
                    <a:pt x="120000" y="25263"/>
                    <a:pt x="102857" y="25263"/>
                    <a:pt x="102857" y="18947"/>
                  </a:cubicBezTo>
                  <a:cubicBezTo>
                    <a:pt x="102857" y="18947"/>
                    <a:pt x="102857" y="25263"/>
                    <a:pt x="102857" y="18947"/>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74" name="Shape 2548">
              <a:extLst>
                <a:ext uri="{FF2B5EF4-FFF2-40B4-BE49-F238E27FC236}">
                  <a16:creationId xmlns:a16="http://schemas.microsoft.com/office/drawing/2014/main" id="{7F4137E9-5CF1-024D-BD12-39AA2097AC72}"/>
                </a:ext>
              </a:extLst>
            </p:cNvPr>
            <p:cNvSpPr/>
            <p:nvPr/>
          </p:nvSpPr>
          <p:spPr>
            <a:xfrm>
              <a:off x="12620554" y="6956093"/>
              <a:ext cx="289810" cy="299441"/>
            </a:xfrm>
            <a:custGeom>
              <a:avLst/>
              <a:gdLst/>
              <a:ahLst/>
              <a:cxnLst/>
              <a:rect l="0" t="0" r="0" b="0"/>
              <a:pathLst>
                <a:path w="120000" h="120000" extrusionOk="0">
                  <a:moveTo>
                    <a:pt x="120000" y="0"/>
                  </a:moveTo>
                  <a:cubicBezTo>
                    <a:pt x="108387" y="7500"/>
                    <a:pt x="104516" y="15000"/>
                    <a:pt x="89032" y="11250"/>
                  </a:cubicBezTo>
                  <a:cubicBezTo>
                    <a:pt x="81290" y="7500"/>
                    <a:pt x="58064" y="3750"/>
                    <a:pt x="50322" y="7500"/>
                  </a:cubicBezTo>
                  <a:cubicBezTo>
                    <a:pt x="50322" y="18750"/>
                    <a:pt x="38709" y="11250"/>
                    <a:pt x="34838" y="15000"/>
                  </a:cubicBezTo>
                  <a:cubicBezTo>
                    <a:pt x="30967" y="18750"/>
                    <a:pt x="27096" y="18750"/>
                    <a:pt x="23225" y="18750"/>
                  </a:cubicBezTo>
                  <a:cubicBezTo>
                    <a:pt x="15483" y="22500"/>
                    <a:pt x="15483" y="26250"/>
                    <a:pt x="15483" y="30000"/>
                  </a:cubicBezTo>
                  <a:cubicBezTo>
                    <a:pt x="11612" y="33750"/>
                    <a:pt x="11612" y="37500"/>
                    <a:pt x="7741" y="41250"/>
                  </a:cubicBezTo>
                  <a:cubicBezTo>
                    <a:pt x="0" y="48750"/>
                    <a:pt x="0" y="48750"/>
                    <a:pt x="7741" y="56250"/>
                  </a:cubicBezTo>
                  <a:cubicBezTo>
                    <a:pt x="11612" y="60000"/>
                    <a:pt x="15483" y="60000"/>
                    <a:pt x="15483" y="63750"/>
                  </a:cubicBezTo>
                  <a:cubicBezTo>
                    <a:pt x="15483" y="71250"/>
                    <a:pt x="15483" y="75000"/>
                    <a:pt x="19354" y="82500"/>
                  </a:cubicBezTo>
                  <a:cubicBezTo>
                    <a:pt x="19354" y="86250"/>
                    <a:pt x="19354" y="90000"/>
                    <a:pt x="23225" y="93750"/>
                  </a:cubicBezTo>
                  <a:cubicBezTo>
                    <a:pt x="30967" y="97500"/>
                    <a:pt x="23225" y="101250"/>
                    <a:pt x="27096" y="105000"/>
                  </a:cubicBezTo>
                  <a:cubicBezTo>
                    <a:pt x="27096" y="112500"/>
                    <a:pt x="30967" y="108750"/>
                    <a:pt x="30967" y="108750"/>
                  </a:cubicBezTo>
                  <a:cubicBezTo>
                    <a:pt x="38709" y="108750"/>
                    <a:pt x="38709" y="112500"/>
                    <a:pt x="38709" y="116250"/>
                  </a:cubicBezTo>
                  <a:cubicBezTo>
                    <a:pt x="42580" y="116250"/>
                    <a:pt x="46451" y="112500"/>
                    <a:pt x="46451" y="112500"/>
                  </a:cubicBezTo>
                  <a:cubicBezTo>
                    <a:pt x="50322" y="108750"/>
                    <a:pt x="50322" y="116250"/>
                    <a:pt x="50322" y="116250"/>
                  </a:cubicBezTo>
                  <a:cubicBezTo>
                    <a:pt x="54193" y="120000"/>
                    <a:pt x="50322" y="93750"/>
                    <a:pt x="50322" y="97500"/>
                  </a:cubicBezTo>
                  <a:cubicBezTo>
                    <a:pt x="50322" y="93750"/>
                    <a:pt x="61935" y="97500"/>
                    <a:pt x="65806" y="97500"/>
                  </a:cubicBezTo>
                  <a:cubicBezTo>
                    <a:pt x="65806" y="93750"/>
                    <a:pt x="54193" y="90000"/>
                    <a:pt x="54193" y="86250"/>
                  </a:cubicBezTo>
                  <a:cubicBezTo>
                    <a:pt x="58064" y="78750"/>
                    <a:pt x="65806" y="86250"/>
                    <a:pt x="65806" y="90000"/>
                  </a:cubicBezTo>
                  <a:cubicBezTo>
                    <a:pt x="73548" y="93750"/>
                    <a:pt x="69677" y="86250"/>
                    <a:pt x="69677" y="82500"/>
                  </a:cubicBezTo>
                  <a:cubicBezTo>
                    <a:pt x="69677" y="78750"/>
                    <a:pt x="81290" y="86250"/>
                    <a:pt x="81290" y="86250"/>
                  </a:cubicBezTo>
                  <a:cubicBezTo>
                    <a:pt x="81290" y="82500"/>
                    <a:pt x="73548" y="71250"/>
                    <a:pt x="73548" y="71250"/>
                  </a:cubicBezTo>
                  <a:cubicBezTo>
                    <a:pt x="69677" y="67500"/>
                    <a:pt x="61935" y="67500"/>
                    <a:pt x="58064" y="63750"/>
                  </a:cubicBezTo>
                  <a:cubicBezTo>
                    <a:pt x="58064" y="63750"/>
                    <a:pt x="58064" y="56250"/>
                    <a:pt x="58064" y="60000"/>
                  </a:cubicBezTo>
                  <a:cubicBezTo>
                    <a:pt x="54193" y="52500"/>
                    <a:pt x="42580" y="45000"/>
                    <a:pt x="42580" y="37500"/>
                  </a:cubicBezTo>
                  <a:cubicBezTo>
                    <a:pt x="46451" y="22500"/>
                    <a:pt x="58064" y="37500"/>
                    <a:pt x="61935" y="41250"/>
                  </a:cubicBezTo>
                  <a:cubicBezTo>
                    <a:pt x="61935" y="41250"/>
                    <a:pt x="61935" y="37500"/>
                    <a:pt x="61935" y="37500"/>
                  </a:cubicBezTo>
                  <a:cubicBezTo>
                    <a:pt x="65806" y="33750"/>
                    <a:pt x="69677" y="37500"/>
                    <a:pt x="69677" y="41250"/>
                  </a:cubicBezTo>
                  <a:cubicBezTo>
                    <a:pt x="69677" y="41250"/>
                    <a:pt x="65806" y="33750"/>
                    <a:pt x="65806" y="33750"/>
                  </a:cubicBezTo>
                  <a:cubicBezTo>
                    <a:pt x="69677" y="33750"/>
                    <a:pt x="77419" y="37500"/>
                    <a:pt x="81290" y="37500"/>
                  </a:cubicBezTo>
                  <a:cubicBezTo>
                    <a:pt x="81290" y="33750"/>
                    <a:pt x="65806" y="33750"/>
                    <a:pt x="65806" y="26250"/>
                  </a:cubicBezTo>
                  <a:cubicBezTo>
                    <a:pt x="65806" y="26250"/>
                    <a:pt x="81290" y="18750"/>
                    <a:pt x="85161" y="18750"/>
                  </a:cubicBezTo>
                  <a:cubicBezTo>
                    <a:pt x="85161" y="18750"/>
                    <a:pt x="81290" y="26250"/>
                    <a:pt x="81290" y="26250"/>
                  </a:cubicBezTo>
                  <a:cubicBezTo>
                    <a:pt x="81290" y="26250"/>
                    <a:pt x="92903" y="18750"/>
                    <a:pt x="96774" y="18750"/>
                  </a:cubicBezTo>
                  <a:cubicBezTo>
                    <a:pt x="100645" y="18750"/>
                    <a:pt x="104516" y="22500"/>
                    <a:pt x="112258" y="26250"/>
                  </a:cubicBezTo>
                  <a:cubicBezTo>
                    <a:pt x="116129" y="18750"/>
                    <a:pt x="120000" y="7500"/>
                    <a:pt x="120000" y="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75" name="Shape 2549">
              <a:extLst>
                <a:ext uri="{FF2B5EF4-FFF2-40B4-BE49-F238E27FC236}">
                  <a16:creationId xmlns:a16="http://schemas.microsoft.com/office/drawing/2014/main" id="{466E2906-88FD-CF4A-A71F-2E908EC34FAB}"/>
                </a:ext>
              </a:extLst>
            </p:cNvPr>
            <p:cNvSpPr/>
            <p:nvPr/>
          </p:nvSpPr>
          <p:spPr>
            <a:xfrm>
              <a:off x="12881704" y="6940162"/>
              <a:ext cx="140126" cy="92380"/>
            </a:xfrm>
            <a:custGeom>
              <a:avLst/>
              <a:gdLst/>
              <a:ahLst/>
              <a:cxnLst/>
              <a:rect l="0" t="0" r="0" b="0"/>
              <a:pathLst>
                <a:path w="120000" h="120000" extrusionOk="0">
                  <a:moveTo>
                    <a:pt x="120000" y="72000"/>
                  </a:moveTo>
                  <a:cubicBezTo>
                    <a:pt x="104000" y="48000"/>
                    <a:pt x="80000" y="48000"/>
                    <a:pt x="80000" y="12000"/>
                  </a:cubicBezTo>
                  <a:cubicBezTo>
                    <a:pt x="40000" y="0"/>
                    <a:pt x="32000" y="0"/>
                    <a:pt x="16000" y="60000"/>
                  </a:cubicBezTo>
                  <a:cubicBezTo>
                    <a:pt x="16000" y="72000"/>
                    <a:pt x="0" y="108000"/>
                    <a:pt x="8000" y="108000"/>
                  </a:cubicBezTo>
                  <a:cubicBezTo>
                    <a:pt x="24000" y="120000"/>
                    <a:pt x="40000" y="120000"/>
                    <a:pt x="48000" y="108000"/>
                  </a:cubicBezTo>
                  <a:cubicBezTo>
                    <a:pt x="64000" y="96000"/>
                    <a:pt x="72000" y="84000"/>
                    <a:pt x="88000" y="84000"/>
                  </a:cubicBezTo>
                  <a:cubicBezTo>
                    <a:pt x="88000" y="84000"/>
                    <a:pt x="120000" y="84000"/>
                    <a:pt x="120000" y="72000"/>
                  </a:cubicBezTo>
                  <a:cubicBezTo>
                    <a:pt x="112000" y="72000"/>
                    <a:pt x="120000" y="84000"/>
                    <a:pt x="120000" y="72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76" name="Shape 2550">
              <a:extLst>
                <a:ext uri="{FF2B5EF4-FFF2-40B4-BE49-F238E27FC236}">
                  <a16:creationId xmlns:a16="http://schemas.microsoft.com/office/drawing/2014/main" id="{2D6AC39E-A2A6-844E-838E-F78ACB476934}"/>
                </a:ext>
              </a:extLst>
            </p:cNvPr>
            <p:cNvSpPr/>
            <p:nvPr/>
          </p:nvSpPr>
          <p:spPr>
            <a:xfrm>
              <a:off x="12582340" y="6911496"/>
              <a:ext cx="82802" cy="168835"/>
            </a:xfrm>
            <a:custGeom>
              <a:avLst/>
              <a:gdLst/>
              <a:ahLst/>
              <a:cxnLst/>
              <a:rect l="0" t="0" r="0" b="0"/>
              <a:pathLst>
                <a:path w="120000" h="120000" extrusionOk="0">
                  <a:moveTo>
                    <a:pt x="80000" y="106666"/>
                  </a:moveTo>
                  <a:cubicBezTo>
                    <a:pt x="93333" y="93333"/>
                    <a:pt x="120000" y="80000"/>
                    <a:pt x="93333" y="73333"/>
                  </a:cubicBezTo>
                  <a:cubicBezTo>
                    <a:pt x="80000" y="66666"/>
                    <a:pt x="66666" y="53333"/>
                    <a:pt x="80000" y="40000"/>
                  </a:cubicBezTo>
                  <a:cubicBezTo>
                    <a:pt x="80000" y="40000"/>
                    <a:pt x="93333" y="26666"/>
                    <a:pt x="93333" y="26666"/>
                  </a:cubicBezTo>
                  <a:cubicBezTo>
                    <a:pt x="80000" y="20000"/>
                    <a:pt x="53333" y="6666"/>
                    <a:pt x="40000" y="6666"/>
                  </a:cubicBezTo>
                  <a:cubicBezTo>
                    <a:pt x="0" y="0"/>
                    <a:pt x="0" y="46666"/>
                    <a:pt x="0" y="60000"/>
                  </a:cubicBezTo>
                  <a:cubicBezTo>
                    <a:pt x="0" y="86666"/>
                    <a:pt x="26666" y="100000"/>
                    <a:pt x="53333" y="120000"/>
                  </a:cubicBezTo>
                  <a:cubicBezTo>
                    <a:pt x="66666" y="113333"/>
                    <a:pt x="80000" y="106666"/>
                    <a:pt x="80000" y="106666"/>
                  </a:cubicBezTo>
                  <a:cubicBezTo>
                    <a:pt x="93333" y="93333"/>
                    <a:pt x="80000" y="106666"/>
                    <a:pt x="80000" y="106666"/>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77" name="Shape 2551">
              <a:extLst>
                <a:ext uri="{FF2B5EF4-FFF2-40B4-BE49-F238E27FC236}">
                  <a16:creationId xmlns:a16="http://schemas.microsoft.com/office/drawing/2014/main" id="{CF13897D-E5EB-2E43-8409-8F2DBA6C7156}"/>
                </a:ext>
              </a:extLst>
            </p:cNvPr>
            <p:cNvSpPr/>
            <p:nvPr/>
          </p:nvSpPr>
          <p:spPr>
            <a:xfrm>
              <a:off x="12630108" y="6930610"/>
              <a:ext cx="121017" cy="82826"/>
            </a:xfrm>
            <a:custGeom>
              <a:avLst/>
              <a:gdLst/>
              <a:ahLst/>
              <a:cxnLst/>
              <a:rect l="0" t="0" r="0" b="0"/>
              <a:pathLst>
                <a:path w="120000" h="120000" extrusionOk="0">
                  <a:moveTo>
                    <a:pt x="101538" y="0"/>
                  </a:moveTo>
                  <a:cubicBezTo>
                    <a:pt x="83076" y="0"/>
                    <a:pt x="18461" y="0"/>
                    <a:pt x="18461" y="26666"/>
                  </a:cubicBezTo>
                  <a:cubicBezTo>
                    <a:pt x="0" y="53333"/>
                    <a:pt x="0" y="106666"/>
                    <a:pt x="27692" y="120000"/>
                  </a:cubicBezTo>
                  <a:cubicBezTo>
                    <a:pt x="36923" y="106666"/>
                    <a:pt x="55384" y="120000"/>
                    <a:pt x="64615" y="106666"/>
                  </a:cubicBezTo>
                  <a:cubicBezTo>
                    <a:pt x="73846" y="106666"/>
                    <a:pt x="83076" y="80000"/>
                    <a:pt x="92307" y="93333"/>
                  </a:cubicBezTo>
                  <a:cubicBezTo>
                    <a:pt x="120000" y="120000"/>
                    <a:pt x="101538" y="13333"/>
                    <a:pt x="101538" y="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78" name="Shape 2552">
              <a:extLst>
                <a:ext uri="{FF2B5EF4-FFF2-40B4-BE49-F238E27FC236}">
                  <a16:creationId xmlns:a16="http://schemas.microsoft.com/office/drawing/2014/main" id="{D7B5E9ED-AD88-3E45-8BFD-B6C1E8539DC3}"/>
                </a:ext>
              </a:extLst>
            </p:cNvPr>
            <p:cNvSpPr/>
            <p:nvPr/>
          </p:nvSpPr>
          <p:spPr>
            <a:xfrm>
              <a:off x="13655587" y="6984760"/>
              <a:ext cx="178346" cy="149719"/>
            </a:xfrm>
            <a:custGeom>
              <a:avLst/>
              <a:gdLst/>
              <a:ahLst/>
              <a:cxnLst/>
              <a:rect l="0" t="0" r="0" b="0"/>
              <a:pathLst>
                <a:path w="120000" h="120000" extrusionOk="0">
                  <a:moveTo>
                    <a:pt x="120000" y="105000"/>
                  </a:moveTo>
                  <a:cubicBezTo>
                    <a:pt x="120000" y="90000"/>
                    <a:pt x="120000" y="82500"/>
                    <a:pt x="107368" y="75000"/>
                  </a:cubicBezTo>
                  <a:cubicBezTo>
                    <a:pt x="94736" y="67500"/>
                    <a:pt x="107368" y="60000"/>
                    <a:pt x="101052" y="52500"/>
                  </a:cubicBezTo>
                  <a:cubicBezTo>
                    <a:pt x="94736" y="37500"/>
                    <a:pt x="88421" y="45000"/>
                    <a:pt x="88421" y="22500"/>
                  </a:cubicBezTo>
                  <a:cubicBezTo>
                    <a:pt x="88421" y="22500"/>
                    <a:pt x="69473" y="7500"/>
                    <a:pt x="75789" y="0"/>
                  </a:cubicBezTo>
                  <a:cubicBezTo>
                    <a:pt x="56842" y="0"/>
                    <a:pt x="0" y="7500"/>
                    <a:pt x="37894" y="45000"/>
                  </a:cubicBezTo>
                  <a:cubicBezTo>
                    <a:pt x="44210" y="52500"/>
                    <a:pt x="50526" y="60000"/>
                    <a:pt x="56842" y="67500"/>
                  </a:cubicBezTo>
                  <a:cubicBezTo>
                    <a:pt x="63157" y="75000"/>
                    <a:pt x="69473" y="75000"/>
                    <a:pt x="75789" y="82500"/>
                  </a:cubicBezTo>
                  <a:cubicBezTo>
                    <a:pt x="88421" y="82500"/>
                    <a:pt x="101052" y="82500"/>
                    <a:pt x="101052" y="97500"/>
                  </a:cubicBezTo>
                  <a:cubicBezTo>
                    <a:pt x="107368" y="105000"/>
                    <a:pt x="113684" y="120000"/>
                    <a:pt x="120000" y="105000"/>
                  </a:cubicBezTo>
                  <a:cubicBezTo>
                    <a:pt x="120000" y="97500"/>
                    <a:pt x="113684" y="112500"/>
                    <a:pt x="120000" y="105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79" name="Shape 2553">
              <a:extLst>
                <a:ext uri="{FF2B5EF4-FFF2-40B4-BE49-F238E27FC236}">
                  <a16:creationId xmlns:a16="http://schemas.microsoft.com/office/drawing/2014/main" id="{2AAF3204-7A0C-B444-8CEE-F6D5924CBDEA}"/>
                </a:ext>
              </a:extLst>
            </p:cNvPr>
            <p:cNvSpPr/>
            <p:nvPr/>
          </p:nvSpPr>
          <p:spPr>
            <a:xfrm>
              <a:off x="13722467" y="7061213"/>
              <a:ext cx="923566" cy="783643"/>
            </a:xfrm>
            <a:custGeom>
              <a:avLst/>
              <a:gdLst/>
              <a:ahLst/>
              <a:cxnLst/>
              <a:rect l="0" t="0" r="0" b="0"/>
              <a:pathLst>
                <a:path w="120000" h="120000" extrusionOk="0">
                  <a:moveTo>
                    <a:pt x="115151" y="104285"/>
                  </a:moveTo>
                  <a:cubicBezTo>
                    <a:pt x="112727" y="102857"/>
                    <a:pt x="113939" y="100000"/>
                    <a:pt x="112727" y="97142"/>
                  </a:cubicBezTo>
                  <a:cubicBezTo>
                    <a:pt x="112727" y="95714"/>
                    <a:pt x="110303" y="94285"/>
                    <a:pt x="109090" y="92857"/>
                  </a:cubicBezTo>
                  <a:cubicBezTo>
                    <a:pt x="106666" y="91428"/>
                    <a:pt x="105454" y="88571"/>
                    <a:pt x="104242" y="85714"/>
                  </a:cubicBezTo>
                  <a:cubicBezTo>
                    <a:pt x="101818" y="82857"/>
                    <a:pt x="103030" y="82857"/>
                    <a:pt x="105454" y="78571"/>
                  </a:cubicBezTo>
                  <a:cubicBezTo>
                    <a:pt x="106666" y="77142"/>
                    <a:pt x="109090" y="74285"/>
                    <a:pt x="107878" y="71428"/>
                  </a:cubicBezTo>
                  <a:cubicBezTo>
                    <a:pt x="106666" y="70000"/>
                    <a:pt x="103030" y="70000"/>
                    <a:pt x="101818" y="70000"/>
                  </a:cubicBezTo>
                  <a:cubicBezTo>
                    <a:pt x="100606" y="68571"/>
                    <a:pt x="101818" y="65714"/>
                    <a:pt x="101818" y="65714"/>
                  </a:cubicBezTo>
                  <a:cubicBezTo>
                    <a:pt x="100606" y="62857"/>
                    <a:pt x="100606" y="58571"/>
                    <a:pt x="101818" y="57142"/>
                  </a:cubicBezTo>
                  <a:cubicBezTo>
                    <a:pt x="104242" y="54285"/>
                    <a:pt x="100606" y="52857"/>
                    <a:pt x="99393" y="51428"/>
                  </a:cubicBezTo>
                  <a:cubicBezTo>
                    <a:pt x="99393" y="50000"/>
                    <a:pt x="101818" y="45714"/>
                    <a:pt x="103030" y="44285"/>
                  </a:cubicBezTo>
                  <a:cubicBezTo>
                    <a:pt x="103030" y="42857"/>
                    <a:pt x="105454" y="28571"/>
                    <a:pt x="104242" y="28571"/>
                  </a:cubicBezTo>
                  <a:cubicBezTo>
                    <a:pt x="100606" y="28571"/>
                    <a:pt x="99393" y="28571"/>
                    <a:pt x="95757" y="25714"/>
                  </a:cubicBezTo>
                  <a:cubicBezTo>
                    <a:pt x="94545" y="24285"/>
                    <a:pt x="93333" y="22857"/>
                    <a:pt x="92121" y="21428"/>
                  </a:cubicBezTo>
                  <a:cubicBezTo>
                    <a:pt x="90909" y="20000"/>
                    <a:pt x="87272" y="20000"/>
                    <a:pt x="86060" y="18571"/>
                  </a:cubicBezTo>
                  <a:cubicBezTo>
                    <a:pt x="83636" y="18571"/>
                    <a:pt x="82424" y="18571"/>
                    <a:pt x="80000" y="17142"/>
                  </a:cubicBezTo>
                  <a:cubicBezTo>
                    <a:pt x="78787" y="14285"/>
                    <a:pt x="76363" y="15714"/>
                    <a:pt x="73939" y="15714"/>
                  </a:cubicBezTo>
                  <a:cubicBezTo>
                    <a:pt x="72727" y="17142"/>
                    <a:pt x="70303" y="15714"/>
                    <a:pt x="69090" y="17142"/>
                  </a:cubicBezTo>
                  <a:cubicBezTo>
                    <a:pt x="66666" y="17142"/>
                    <a:pt x="65454" y="20000"/>
                    <a:pt x="64242" y="21428"/>
                  </a:cubicBezTo>
                  <a:cubicBezTo>
                    <a:pt x="63030" y="22857"/>
                    <a:pt x="59393" y="21428"/>
                    <a:pt x="59393" y="24285"/>
                  </a:cubicBezTo>
                  <a:cubicBezTo>
                    <a:pt x="59393" y="27142"/>
                    <a:pt x="58181" y="27142"/>
                    <a:pt x="55757" y="28571"/>
                  </a:cubicBezTo>
                  <a:cubicBezTo>
                    <a:pt x="49696" y="30000"/>
                    <a:pt x="44848" y="30000"/>
                    <a:pt x="40000" y="25714"/>
                  </a:cubicBezTo>
                  <a:cubicBezTo>
                    <a:pt x="38787" y="24285"/>
                    <a:pt x="37575" y="22857"/>
                    <a:pt x="36363" y="22857"/>
                  </a:cubicBezTo>
                  <a:cubicBezTo>
                    <a:pt x="33939" y="20000"/>
                    <a:pt x="32727" y="21428"/>
                    <a:pt x="30303" y="21428"/>
                  </a:cubicBezTo>
                  <a:cubicBezTo>
                    <a:pt x="29090" y="20000"/>
                    <a:pt x="29090" y="15714"/>
                    <a:pt x="29090" y="14285"/>
                  </a:cubicBezTo>
                  <a:cubicBezTo>
                    <a:pt x="25454" y="12857"/>
                    <a:pt x="24242" y="11428"/>
                    <a:pt x="24242" y="7142"/>
                  </a:cubicBezTo>
                  <a:cubicBezTo>
                    <a:pt x="24242" y="0"/>
                    <a:pt x="19393" y="4285"/>
                    <a:pt x="16969" y="7142"/>
                  </a:cubicBezTo>
                  <a:cubicBezTo>
                    <a:pt x="15757" y="8571"/>
                    <a:pt x="14545" y="10000"/>
                    <a:pt x="13333" y="10000"/>
                  </a:cubicBezTo>
                  <a:cubicBezTo>
                    <a:pt x="10909" y="8571"/>
                    <a:pt x="7272" y="8571"/>
                    <a:pt x="6060" y="5714"/>
                  </a:cubicBezTo>
                  <a:cubicBezTo>
                    <a:pt x="3636" y="2857"/>
                    <a:pt x="3636" y="1428"/>
                    <a:pt x="1212" y="4285"/>
                  </a:cubicBezTo>
                  <a:cubicBezTo>
                    <a:pt x="1212" y="5714"/>
                    <a:pt x="0" y="5714"/>
                    <a:pt x="0" y="7142"/>
                  </a:cubicBezTo>
                  <a:cubicBezTo>
                    <a:pt x="0" y="8571"/>
                    <a:pt x="0" y="10000"/>
                    <a:pt x="1212" y="11428"/>
                  </a:cubicBezTo>
                  <a:cubicBezTo>
                    <a:pt x="1212" y="11428"/>
                    <a:pt x="2424" y="14285"/>
                    <a:pt x="1212" y="14285"/>
                  </a:cubicBezTo>
                  <a:cubicBezTo>
                    <a:pt x="1212" y="15714"/>
                    <a:pt x="0" y="15714"/>
                    <a:pt x="1212" y="17142"/>
                  </a:cubicBezTo>
                  <a:cubicBezTo>
                    <a:pt x="1212" y="18571"/>
                    <a:pt x="3636" y="18571"/>
                    <a:pt x="3636" y="20000"/>
                  </a:cubicBezTo>
                  <a:cubicBezTo>
                    <a:pt x="3636" y="21428"/>
                    <a:pt x="2424" y="22857"/>
                    <a:pt x="3636" y="22857"/>
                  </a:cubicBezTo>
                  <a:cubicBezTo>
                    <a:pt x="4848" y="25714"/>
                    <a:pt x="4848" y="27142"/>
                    <a:pt x="6060" y="30000"/>
                  </a:cubicBezTo>
                  <a:cubicBezTo>
                    <a:pt x="7272" y="31428"/>
                    <a:pt x="7272" y="32857"/>
                    <a:pt x="9696" y="34285"/>
                  </a:cubicBezTo>
                  <a:cubicBezTo>
                    <a:pt x="9696" y="34285"/>
                    <a:pt x="12121" y="35714"/>
                    <a:pt x="12121" y="35714"/>
                  </a:cubicBezTo>
                  <a:cubicBezTo>
                    <a:pt x="13333" y="41428"/>
                    <a:pt x="2424" y="47142"/>
                    <a:pt x="9696" y="52857"/>
                  </a:cubicBezTo>
                  <a:cubicBezTo>
                    <a:pt x="12121" y="54285"/>
                    <a:pt x="12121" y="57142"/>
                    <a:pt x="14545" y="58571"/>
                  </a:cubicBezTo>
                  <a:cubicBezTo>
                    <a:pt x="16969" y="61428"/>
                    <a:pt x="19393" y="62857"/>
                    <a:pt x="21818" y="67142"/>
                  </a:cubicBezTo>
                  <a:cubicBezTo>
                    <a:pt x="21818" y="68571"/>
                    <a:pt x="20606" y="70000"/>
                    <a:pt x="20606" y="71428"/>
                  </a:cubicBezTo>
                  <a:cubicBezTo>
                    <a:pt x="21818" y="72857"/>
                    <a:pt x="24242" y="72857"/>
                    <a:pt x="23030" y="74285"/>
                  </a:cubicBezTo>
                  <a:cubicBezTo>
                    <a:pt x="23030" y="78571"/>
                    <a:pt x="25454" y="80000"/>
                    <a:pt x="26666" y="82857"/>
                  </a:cubicBezTo>
                  <a:cubicBezTo>
                    <a:pt x="29090" y="81428"/>
                    <a:pt x="27878" y="80000"/>
                    <a:pt x="29090" y="78571"/>
                  </a:cubicBezTo>
                  <a:cubicBezTo>
                    <a:pt x="29090" y="78571"/>
                    <a:pt x="30303" y="80000"/>
                    <a:pt x="30303" y="80000"/>
                  </a:cubicBezTo>
                  <a:cubicBezTo>
                    <a:pt x="32727" y="80000"/>
                    <a:pt x="30303" y="80000"/>
                    <a:pt x="31515" y="81428"/>
                  </a:cubicBezTo>
                  <a:cubicBezTo>
                    <a:pt x="32727" y="82857"/>
                    <a:pt x="33939" y="78571"/>
                    <a:pt x="36363" y="81428"/>
                  </a:cubicBezTo>
                  <a:cubicBezTo>
                    <a:pt x="38787" y="85714"/>
                    <a:pt x="40000" y="90000"/>
                    <a:pt x="42424" y="94285"/>
                  </a:cubicBezTo>
                  <a:cubicBezTo>
                    <a:pt x="44848" y="98571"/>
                    <a:pt x="50909" y="102857"/>
                    <a:pt x="55757" y="105714"/>
                  </a:cubicBezTo>
                  <a:cubicBezTo>
                    <a:pt x="58181" y="107142"/>
                    <a:pt x="60606" y="107142"/>
                    <a:pt x="63030" y="108571"/>
                  </a:cubicBezTo>
                  <a:cubicBezTo>
                    <a:pt x="64242" y="108571"/>
                    <a:pt x="67878" y="107142"/>
                    <a:pt x="67878" y="107142"/>
                  </a:cubicBezTo>
                  <a:cubicBezTo>
                    <a:pt x="67878" y="107142"/>
                    <a:pt x="67878" y="108571"/>
                    <a:pt x="67878" y="108571"/>
                  </a:cubicBezTo>
                  <a:cubicBezTo>
                    <a:pt x="69090" y="108571"/>
                    <a:pt x="72727" y="105714"/>
                    <a:pt x="73939" y="104285"/>
                  </a:cubicBezTo>
                  <a:cubicBezTo>
                    <a:pt x="73939" y="104285"/>
                    <a:pt x="72727" y="104285"/>
                    <a:pt x="72727" y="104285"/>
                  </a:cubicBezTo>
                  <a:cubicBezTo>
                    <a:pt x="72727" y="102857"/>
                    <a:pt x="75151" y="104285"/>
                    <a:pt x="75151" y="104285"/>
                  </a:cubicBezTo>
                  <a:cubicBezTo>
                    <a:pt x="77575" y="105714"/>
                    <a:pt x="77575" y="107142"/>
                    <a:pt x="78787" y="110000"/>
                  </a:cubicBezTo>
                  <a:cubicBezTo>
                    <a:pt x="80000" y="114285"/>
                    <a:pt x="81212" y="114285"/>
                    <a:pt x="83636" y="115714"/>
                  </a:cubicBezTo>
                  <a:cubicBezTo>
                    <a:pt x="90909" y="117142"/>
                    <a:pt x="99393" y="118571"/>
                    <a:pt x="106666" y="120000"/>
                  </a:cubicBezTo>
                  <a:cubicBezTo>
                    <a:pt x="106666" y="114285"/>
                    <a:pt x="107878" y="112857"/>
                    <a:pt x="111515" y="110000"/>
                  </a:cubicBezTo>
                  <a:cubicBezTo>
                    <a:pt x="113939" y="108571"/>
                    <a:pt x="119999" y="107142"/>
                    <a:pt x="115151" y="104285"/>
                  </a:cubicBezTo>
                  <a:cubicBezTo>
                    <a:pt x="113939" y="102857"/>
                    <a:pt x="117575" y="105714"/>
                    <a:pt x="115151" y="104285"/>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80" name="Shape 2554">
              <a:extLst>
                <a:ext uri="{FF2B5EF4-FFF2-40B4-BE49-F238E27FC236}">
                  <a16:creationId xmlns:a16="http://schemas.microsoft.com/office/drawing/2014/main" id="{1197995B-2E59-AC4B-B798-54A1235F5541}"/>
                </a:ext>
              </a:extLst>
            </p:cNvPr>
            <p:cNvSpPr/>
            <p:nvPr/>
          </p:nvSpPr>
          <p:spPr>
            <a:xfrm>
              <a:off x="13741574" y="7070772"/>
              <a:ext cx="73249" cy="54156"/>
            </a:xfrm>
            <a:custGeom>
              <a:avLst/>
              <a:gdLst/>
              <a:ahLst/>
              <a:cxnLst/>
              <a:rect l="0" t="0" r="0" b="0"/>
              <a:pathLst>
                <a:path w="120000" h="120000" extrusionOk="0">
                  <a:moveTo>
                    <a:pt x="15000" y="20000"/>
                  </a:moveTo>
                  <a:cubicBezTo>
                    <a:pt x="30000" y="20000"/>
                    <a:pt x="30000" y="60000"/>
                    <a:pt x="45000" y="80000"/>
                  </a:cubicBezTo>
                  <a:cubicBezTo>
                    <a:pt x="75000" y="80000"/>
                    <a:pt x="90000" y="100000"/>
                    <a:pt x="120000" y="120000"/>
                  </a:cubicBezTo>
                  <a:cubicBezTo>
                    <a:pt x="105000" y="40000"/>
                    <a:pt x="45000" y="20000"/>
                    <a:pt x="0" y="0"/>
                  </a:cubicBezTo>
                  <a:cubicBezTo>
                    <a:pt x="0" y="20000"/>
                    <a:pt x="0" y="20000"/>
                    <a:pt x="15000" y="20000"/>
                  </a:cubicBezTo>
                  <a:cubicBezTo>
                    <a:pt x="30000" y="20000"/>
                    <a:pt x="0" y="20000"/>
                    <a:pt x="15000" y="2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81" name="Shape 2555">
              <a:extLst>
                <a:ext uri="{FF2B5EF4-FFF2-40B4-BE49-F238E27FC236}">
                  <a16:creationId xmlns:a16="http://schemas.microsoft.com/office/drawing/2014/main" id="{606033F8-793D-0847-A349-0019C22CFD31}"/>
                </a:ext>
              </a:extLst>
            </p:cNvPr>
            <p:cNvSpPr/>
            <p:nvPr/>
          </p:nvSpPr>
          <p:spPr>
            <a:xfrm>
              <a:off x="13525013" y="6844596"/>
              <a:ext cx="328028" cy="168835"/>
            </a:xfrm>
            <a:custGeom>
              <a:avLst/>
              <a:gdLst/>
              <a:ahLst/>
              <a:cxnLst/>
              <a:rect l="0" t="0" r="0" b="0"/>
              <a:pathLst>
                <a:path w="120000" h="120000" extrusionOk="0">
                  <a:moveTo>
                    <a:pt x="89142" y="100000"/>
                  </a:moveTo>
                  <a:cubicBezTo>
                    <a:pt x="92571" y="93333"/>
                    <a:pt x="99428" y="106666"/>
                    <a:pt x="102857" y="113333"/>
                  </a:cubicBezTo>
                  <a:cubicBezTo>
                    <a:pt x="102857" y="113333"/>
                    <a:pt x="116571" y="113333"/>
                    <a:pt x="116571" y="113333"/>
                  </a:cubicBezTo>
                  <a:cubicBezTo>
                    <a:pt x="120000" y="106666"/>
                    <a:pt x="102857" y="80000"/>
                    <a:pt x="113142" y="80000"/>
                  </a:cubicBezTo>
                  <a:cubicBezTo>
                    <a:pt x="109714" y="73333"/>
                    <a:pt x="102857" y="73333"/>
                    <a:pt x="102857" y="66666"/>
                  </a:cubicBezTo>
                  <a:cubicBezTo>
                    <a:pt x="102857" y="53333"/>
                    <a:pt x="99428" y="46666"/>
                    <a:pt x="92571" y="46666"/>
                  </a:cubicBezTo>
                  <a:cubicBezTo>
                    <a:pt x="82285" y="46666"/>
                    <a:pt x="75428" y="53333"/>
                    <a:pt x="65142" y="40000"/>
                  </a:cubicBezTo>
                  <a:cubicBezTo>
                    <a:pt x="54857" y="33333"/>
                    <a:pt x="44571" y="33333"/>
                    <a:pt x="30857" y="26666"/>
                  </a:cubicBezTo>
                  <a:cubicBezTo>
                    <a:pt x="20571" y="20000"/>
                    <a:pt x="13714" y="0"/>
                    <a:pt x="0" y="13333"/>
                  </a:cubicBezTo>
                  <a:cubicBezTo>
                    <a:pt x="10285" y="40000"/>
                    <a:pt x="37714" y="46666"/>
                    <a:pt x="27428" y="93333"/>
                  </a:cubicBezTo>
                  <a:cubicBezTo>
                    <a:pt x="37714" y="93333"/>
                    <a:pt x="61714" y="93333"/>
                    <a:pt x="61714" y="120000"/>
                  </a:cubicBezTo>
                  <a:cubicBezTo>
                    <a:pt x="61714" y="100000"/>
                    <a:pt x="82285" y="100000"/>
                    <a:pt x="89142" y="100000"/>
                  </a:cubicBezTo>
                  <a:cubicBezTo>
                    <a:pt x="92571" y="93333"/>
                    <a:pt x="65142" y="100000"/>
                    <a:pt x="89142" y="10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82" name="Shape 2556">
              <a:extLst>
                <a:ext uri="{FF2B5EF4-FFF2-40B4-BE49-F238E27FC236}">
                  <a16:creationId xmlns:a16="http://schemas.microsoft.com/office/drawing/2014/main" id="{647DF388-9086-3A43-BD36-C447B6A1C737}"/>
                </a:ext>
              </a:extLst>
            </p:cNvPr>
            <p:cNvSpPr/>
            <p:nvPr/>
          </p:nvSpPr>
          <p:spPr>
            <a:xfrm>
              <a:off x="13751132" y="6956093"/>
              <a:ext cx="251592" cy="197506"/>
            </a:xfrm>
            <a:custGeom>
              <a:avLst/>
              <a:gdLst/>
              <a:ahLst/>
              <a:cxnLst/>
              <a:rect l="0" t="0" r="0" b="0"/>
              <a:pathLst>
                <a:path w="120000" h="120000" extrusionOk="0">
                  <a:moveTo>
                    <a:pt x="35555" y="11428"/>
                  </a:moveTo>
                  <a:cubicBezTo>
                    <a:pt x="35555" y="11428"/>
                    <a:pt x="48888" y="22857"/>
                    <a:pt x="44444" y="28571"/>
                  </a:cubicBezTo>
                  <a:cubicBezTo>
                    <a:pt x="44444" y="28571"/>
                    <a:pt x="31111" y="28571"/>
                    <a:pt x="31111" y="28571"/>
                  </a:cubicBezTo>
                  <a:cubicBezTo>
                    <a:pt x="22222" y="28571"/>
                    <a:pt x="22222" y="17142"/>
                    <a:pt x="17777" y="17142"/>
                  </a:cubicBezTo>
                  <a:cubicBezTo>
                    <a:pt x="0" y="11428"/>
                    <a:pt x="17777" y="34285"/>
                    <a:pt x="17777" y="40000"/>
                  </a:cubicBezTo>
                  <a:cubicBezTo>
                    <a:pt x="17777" y="57142"/>
                    <a:pt x="31111" y="45714"/>
                    <a:pt x="26666" y="62857"/>
                  </a:cubicBezTo>
                  <a:cubicBezTo>
                    <a:pt x="22222" y="74285"/>
                    <a:pt x="31111" y="74285"/>
                    <a:pt x="35555" y="80000"/>
                  </a:cubicBezTo>
                  <a:cubicBezTo>
                    <a:pt x="40000" y="80000"/>
                    <a:pt x="40000" y="91428"/>
                    <a:pt x="40000" y="97142"/>
                  </a:cubicBezTo>
                  <a:cubicBezTo>
                    <a:pt x="44444" y="91428"/>
                    <a:pt x="62222" y="80000"/>
                    <a:pt x="71111" y="74285"/>
                  </a:cubicBezTo>
                  <a:cubicBezTo>
                    <a:pt x="75555" y="74285"/>
                    <a:pt x="75555" y="85714"/>
                    <a:pt x="75555" y="91428"/>
                  </a:cubicBezTo>
                  <a:cubicBezTo>
                    <a:pt x="75555" y="108571"/>
                    <a:pt x="80000" y="114285"/>
                    <a:pt x="93333" y="120000"/>
                  </a:cubicBezTo>
                  <a:cubicBezTo>
                    <a:pt x="93333" y="114285"/>
                    <a:pt x="93333" y="102857"/>
                    <a:pt x="93333" y="102857"/>
                  </a:cubicBezTo>
                  <a:cubicBezTo>
                    <a:pt x="97777" y="97142"/>
                    <a:pt x="102222" y="97142"/>
                    <a:pt x="102222" y="91428"/>
                  </a:cubicBezTo>
                  <a:cubicBezTo>
                    <a:pt x="106666" y="80000"/>
                    <a:pt x="106666" y="68571"/>
                    <a:pt x="111111" y="62857"/>
                  </a:cubicBezTo>
                  <a:cubicBezTo>
                    <a:pt x="120000" y="45714"/>
                    <a:pt x="93333" y="11428"/>
                    <a:pt x="84444" y="5714"/>
                  </a:cubicBezTo>
                  <a:cubicBezTo>
                    <a:pt x="75555" y="22857"/>
                    <a:pt x="66666" y="22857"/>
                    <a:pt x="53333" y="11428"/>
                  </a:cubicBezTo>
                  <a:cubicBezTo>
                    <a:pt x="53333" y="5714"/>
                    <a:pt x="44444" y="0"/>
                    <a:pt x="40000" y="0"/>
                  </a:cubicBezTo>
                  <a:cubicBezTo>
                    <a:pt x="35555" y="0"/>
                    <a:pt x="35555" y="5714"/>
                    <a:pt x="35555" y="11428"/>
                  </a:cubicBezTo>
                  <a:cubicBezTo>
                    <a:pt x="40000" y="17142"/>
                    <a:pt x="31111" y="0"/>
                    <a:pt x="35555" y="11428"/>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83" name="Shape 2557">
              <a:extLst>
                <a:ext uri="{FF2B5EF4-FFF2-40B4-BE49-F238E27FC236}">
                  <a16:creationId xmlns:a16="http://schemas.microsoft.com/office/drawing/2014/main" id="{8EF8D7F3-E9CA-7C42-93F2-3AA07DA0B2C8}"/>
                </a:ext>
              </a:extLst>
            </p:cNvPr>
            <p:cNvSpPr/>
            <p:nvPr/>
          </p:nvSpPr>
          <p:spPr>
            <a:xfrm>
              <a:off x="13833932" y="7574089"/>
              <a:ext cx="82802" cy="95565"/>
            </a:xfrm>
            <a:custGeom>
              <a:avLst/>
              <a:gdLst/>
              <a:ahLst/>
              <a:cxnLst/>
              <a:rect l="0" t="0" r="0" b="0"/>
              <a:pathLst>
                <a:path w="120000" h="120000" extrusionOk="0">
                  <a:moveTo>
                    <a:pt x="40000" y="24000"/>
                  </a:moveTo>
                  <a:cubicBezTo>
                    <a:pt x="13333" y="36000"/>
                    <a:pt x="0" y="60000"/>
                    <a:pt x="0" y="84000"/>
                  </a:cubicBezTo>
                  <a:cubicBezTo>
                    <a:pt x="13333" y="84000"/>
                    <a:pt x="53333" y="84000"/>
                    <a:pt x="53333" y="96000"/>
                  </a:cubicBezTo>
                  <a:cubicBezTo>
                    <a:pt x="80000" y="120000"/>
                    <a:pt x="93333" y="120000"/>
                    <a:pt x="120000" y="120000"/>
                  </a:cubicBezTo>
                  <a:cubicBezTo>
                    <a:pt x="120000" y="120000"/>
                    <a:pt x="93333" y="60000"/>
                    <a:pt x="93333" y="60000"/>
                  </a:cubicBezTo>
                  <a:cubicBezTo>
                    <a:pt x="106666" y="60000"/>
                    <a:pt x="120000" y="60000"/>
                    <a:pt x="106666" y="36000"/>
                  </a:cubicBezTo>
                  <a:cubicBezTo>
                    <a:pt x="80000" y="24000"/>
                    <a:pt x="66666" y="0"/>
                    <a:pt x="40000" y="24000"/>
                  </a:cubicBezTo>
                  <a:cubicBezTo>
                    <a:pt x="13333" y="48000"/>
                    <a:pt x="53333" y="12000"/>
                    <a:pt x="40000" y="24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84" name="Shape 2558">
              <a:extLst>
                <a:ext uri="{FF2B5EF4-FFF2-40B4-BE49-F238E27FC236}">
                  <a16:creationId xmlns:a16="http://schemas.microsoft.com/office/drawing/2014/main" id="{DCF4F4C0-168C-6544-BA20-D270F730E426}"/>
                </a:ext>
              </a:extLst>
            </p:cNvPr>
            <p:cNvSpPr/>
            <p:nvPr/>
          </p:nvSpPr>
          <p:spPr>
            <a:xfrm>
              <a:off x="13311641" y="7220491"/>
              <a:ext cx="324841" cy="251657"/>
            </a:xfrm>
            <a:custGeom>
              <a:avLst/>
              <a:gdLst/>
              <a:ahLst/>
              <a:cxnLst/>
              <a:rect l="0" t="0" r="0" b="0"/>
              <a:pathLst>
                <a:path w="120000" h="120000" extrusionOk="0">
                  <a:moveTo>
                    <a:pt x="99428" y="44444"/>
                  </a:moveTo>
                  <a:cubicBezTo>
                    <a:pt x="102857" y="40000"/>
                    <a:pt x="106285" y="35555"/>
                    <a:pt x="102857" y="31111"/>
                  </a:cubicBezTo>
                  <a:cubicBezTo>
                    <a:pt x="99428" y="26666"/>
                    <a:pt x="96000" y="26666"/>
                    <a:pt x="99428" y="22222"/>
                  </a:cubicBezTo>
                  <a:cubicBezTo>
                    <a:pt x="106285" y="13333"/>
                    <a:pt x="120000" y="13333"/>
                    <a:pt x="120000" y="0"/>
                  </a:cubicBezTo>
                  <a:cubicBezTo>
                    <a:pt x="109714" y="0"/>
                    <a:pt x="96000" y="0"/>
                    <a:pt x="85714" y="4444"/>
                  </a:cubicBezTo>
                  <a:cubicBezTo>
                    <a:pt x="78857" y="4444"/>
                    <a:pt x="72000" y="8888"/>
                    <a:pt x="65142" y="8888"/>
                  </a:cubicBezTo>
                  <a:cubicBezTo>
                    <a:pt x="54857" y="8888"/>
                    <a:pt x="51428" y="4444"/>
                    <a:pt x="44571" y="8888"/>
                  </a:cubicBezTo>
                  <a:cubicBezTo>
                    <a:pt x="37714" y="13333"/>
                    <a:pt x="34285" y="13333"/>
                    <a:pt x="27428" y="8888"/>
                  </a:cubicBezTo>
                  <a:cubicBezTo>
                    <a:pt x="20571" y="0"/>
                    <a:pt x="24000" y="17777"/>
                    <a:pt x="24000" y="17777"/>
                  </a:cubicBezTo>
                  <a:cubicBezTo>
                    <a:pt x="20571" y="22222"/>
                    <a:pt x="20571" y="26666"/>
                    <a:pt x="20571" y="26666"/>
                  </a:cubicBezTo>
                  <a:cubicBezTo>
                    <a:pt x="17142" y="35555"/>
                    <a:pt x="13714" y="26666"/>
                    <a:pt x="10285" y="26666"/>
                  </a:cubicBezTo>
                  <a:cubicBezTo>
                    <a:pt x="6857" y="31111"/>
                    <a:pt x="10285" y="40000"/>
                    <a:pt x="10285" y="44444"/>
                  </a:cubicBezTo>
                  <a:cubicBezTo>
                    <a:pt x="10285" y="48888"/>
                    <a:pt x="6857" y="57777"/>
                    <a:pt x="13714" y="62222"/>
                  </a:cubicBezTo>
                  <a:cubicBezTo>
                    <a:pt x="30857" y="75555"/>
                    <a:pt x="17142" y="84444"/>
                    <a:pt x="6857" y="97777"/>
                  </a:cubicBezTo>
                  <a:cubicBezTo>
                    <a:pt x="0" y="106666"/>
                    <a:pt x="17142" y="120000"/>
                    <a:pt x="24000" y="120000"/>
                  </a:cubicBezTo>
                  <a:cubicBezTo>
                    <a:pt x="30857" y="120000"/>
                    <a:pt x="37714" y="111111"/>
                    <a:pt x="44571" y="106666"/>
                  </a:cubicBezTo>
                  <a:cubicBezTo>
                    <a:pt x="54857" y="97777"/>
                    <a:pt x="65142" y="93333"/>
                    <a:pt x="75428" y="84444"/>
                  </a:cubicBezTo>
                  <a:cubicBezTo>
                    <a:pt x="82285" y="80000"/>
                    <a:pt x="89142" y="75555"/>
                    <a:pt x="96000" y="66666"/>
                  </a:cubicBezTo>
                  <a:cubicBezTo>
                    <a:pt x="99428" y="57777"/>
                    <a:pt x="96000" y="48888"/>
                    <a:pt x="99428" y="44444"/>
                  </a:cubicBezTo>
                  <a:cubicBezTo>
                    <a:pt x="102857" y="35555"/>
                    <a:pt x="99428" y="48888"/>
                    <a:pt x="99428" y="44444"/>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85" name="Shape 2559">
              <a:extLst>
                <a:ext uri="{FF2B5EF4-FFF2-40B4-BE49-F238E27FC236}">
                  <a16:creationId xmlns:a16="http://schemas.microsoft.com/office/drawing/2014/main" id="{032E1895-E849-8049-A57E-E280A55B5EEF}"/>
                </a:ext>
              </a:extLst>
            </p:cNvPr>
            <p:cNvSpPr/>
            <p:nvPr/>
          </p:nvSpPr>
          <p:spPr>
            <a:xfrm>
              <a:off x="13461319" y="7201379"/>
              <a:ext cx="464967" cy="439604"/>
            </a:xfrm>
            <a:custGeom>
              <a:avLst/>
              <a:gdLst/>
              <a:ahLst/>
              <a:cxnLst/>
              <a:rect l="0" t="0" r="0" b="0"/>
              <a:pathLst>
                <a:path w="120000" h="120000" extrusionOk="0">
                  <a:moveTo>
                    <a:pt x="112800" y="91914"/>
                  </a:moveTo>
                  <a:cubicBezTo>
                    <a:pt x="112800" y="91914"/>
                    <a:pt x="108000" y="89361"/>
                    <a:pt x="108000" y="86808"/>
                  </a:cubicBezTo>
                  <a:cubicBezTo>
                    <a:pt x="108000" y="84255"/>
                    <a:pt x="110400" y="84255"/>
                    <a:pt x="110400" y="81702"/>
                  </a:cubicBezTo>
                  <a:cubicBezTo>
                    <a:pt x="108000" y="76595"/>
                    <a:pt x="103200" y="74042"/>
                    <a:pt x="98400" y="68936"/>
                  </a:cubicBezTo>
                  <a:cubicBezTo>
                    <a:pt x="96000" y="68936"/>
                    <a:pt x="91200" y="66382"/>
                    <a:pt x="91200" y="63829"/>
                  </a:cubicBezTo>
                  <a:cubicBezTo>
                    <a:pt x="88800" y="58723"/>
                    <a:pt x="84000" y="53617"/>
                    <a:pt x="84000" y="45957"/>
                  </a:cubicBezTo>
                  <a:cubicBezTo>
                    <a:pt x="81600" y="40851"/>
                    <a:pt x="96000" y="30638"/>
                    <a:pt x="91200" y="25531"/>
                  </a:cubicBezTo>
                  <a:cubicBezTo>
                    <a:pt x="86400" y="22978"/>
                    <a:pt x="84000" y="20425"/>
                    <a:pt x="81600" y="15319"/>
                  </a:cubicBezTo>
                  <a:cubicBezTo>
                    <a:pt x="79200" y="12765"/>
                    <a:pt x="79200" y="7659"/>
                    <a:pt x="76800" y="5106"/>
                  </a:cubicBezTo>
                  <a:cubicBezTo>
                    <a:pt x="74400" y="5106"/>
                    <a:pt x="74400" y="7659"/>
                    <a:pt x="72000" y="7659"/>
                  </a:cubicBezTo>
                  <a:cubicBezTo>
                    <a:pt x="67200" y="7659"/>
                    <a:pt x="69600" y="2553"/>
                    <a:pt x="67200" y="2553"/>
                  </a:cubicBezTo>
                  <a:cubicBezTo>
                    <a:pt x="64800" y="2553"/>
                    <a:pt x="60000" y="5106"/>
                    <a:pt x="60000" y="5106"/>
                  </a:cubicBezTo>
                  <a:cubicBezTo>
                    <a:pt x="55200" y="0"/>
                    <a:pt x="52800" y="2553"/>
                    <a:pt x="48000" y="2553"/>
                  </a:cubicBezTo>
                  <a:cubicBezTo>
                    <a:pt x="43200" y="5106"/>
                    <a:pt x="45600" y="7659"/>
                    <a:pt x="43200" y="10212"/>
                  </a:cubicBezTo>
                  <a:cubicBezTo>
                    <a:pt x="38400" y="12765"/>
                    <a:pt x="33600" y="12765"/>
                    <a:pt x="31200" y="17872"/>
                  </a:cubicBezTo>
                  <a:cubicBezTo>
                    <a:pt x="28800" y="22978"/>
                    <a:pt x="33600" y="20425"/>
                    <a:pt x="33600" y="25531"/>
                  </a:cubicBezTo>
                  <a:cubicBezTo>
                    <a:pt x="33600" y="28085"/>
                    <a:pt x="31200" y="28085"/>
                    <a:pt x="31200" y="33191"/>
                  </a:cubicBezTo>
                  <a:cubicBezTo>
                    <a:pt x="31200" y="40851"/>
                    <a:pt x="28800" y="43404"/>
                    <a:pt x="21600" y="48510"/>
                  </a:cubicBezTo>
                  <a:cubicBezTo>
                    <a:pt x="16800" y="51063"/>
                    <a:pt x="0" y="58723"/>
                    <a:pt x="2400" y="63829"/>
                  </a:cubicBezTo>
                  <a:cubicBezTo>
                    <a:pt x="4800" y="66382"/>
                    <a:pt x="4800" y="74042"/>
                    <a:pt x="7200" y="76595"/>
                  </a:cubicBezTo>
                  <a:cubicBezTo>
                    <a:pt x="9600" y="79148"/>
                    <a:pt x="19200" y="79148"/>
                    <a:pt x="21600" y="79148"/>
                  </a:cubicBezTo>
                  <a:cubicBezTo>
                    <a:pt x="28800" y="81702"/>
                    <a:pt x="36000" y="86808"/>
                    <a:pt x="43200" y="91914"/>
                  </a:cubicBezTo>
                  <a:cubicBezTo>
                    <a:pt x="52800" y="99574"/>
                    <a:pt x="60000" y="107234"/>
                    <a:pt x="69600" y="114893"/>
                  </a:cubicBezTo>
                  <a:cubicBezTo>
                    <a:pt x="76800" y="120000"/>
                    <a:pt x="84000" y="120000"/>
                    <a:pt x="91200" y="120000"/>
                  </a:cubicBezTo>
                  <a:cubicBezTo>
                    <a:pt x="98400" y="120000"/>
                    <a:pt x="98400" y="112340"/>
                    <a:pt x="103200" y="107234"/>
                  </a:cubicBezTo>
                  <a:cubicBezTo>
                    <a:pt x="108000" y="102127"/>
                    <a:pt x="117600" y="112340"/>
                    <a:pt x="120000" y="109787"/>
                  </a:cubicBezTo>
                  <a:cubicBezTo>
                    <a:pt x="117600" y="107234"/>
                    <a:pt x="115200" y="104680"/>
                    <a:pt x="112800" y="99574"/>
                  </a:cubicBezTo>
                  <a:cubicBezTo>
                    <a:pt x="112800" y="97021"/>
                    <a:pt x="115200" y="94468"/>
                    <a:pt x="112800" y="91914"/>
                  </a:cubicBezTo>
                  <a:cubicBezTo>
                    <a:pt x="110400" y="89361"/>
                    <a:pt x="115200" y="94468"/>
                    <a:pt x="112800" y="91914"/>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86" name="Shape 2560">
              <a:extLst>
                <a:ext uri="{FF2B5EF4-FFF2-40B4-BE49-F238E27FC236}">
                  <a16:creationId xmlns:a16="http://schemas.microsoft.com/office/drawing/2014/main" id="{A81FF714-9A80-9A4E-84E3-327F005A4079}"/>
                </a:ext>
              </a:extLst>
            </p:cNvPr>
            <p:cNvSpPr/>
            <p:nvPr/>
          </p:nvSpPr>
          <p:spPr>
            <a:xfrm>
              <a:off x="12872147" y="6946536"/>
              <a:ext cx="885349" cy="337666"/>
            </a:xfrm>
            <a:custGeom>
              <a:avLst/>
              <a:gdLst/>
              <a:ahLst/>
              <a:cxnLst/>
              <a:rect l="0" t="0" r="0" b="0"/>
              <a:pathLst>
                <a:path w="120000" h="120000" extrusionOk="0">
                  <a:moveTo>
                    <a:pt x="65684" y="120000"/>
                  </a:moveTo>
                  <a:cubicBezTo>
                    <a:pt x="66947" y="116666"/>
                    <a:pt x="68210" y="110000"/>
                    <a:pt x="68210" y="110000"/>
                  </a:cubicBezTo>
                  <a:cubicBezTo>
                    <a:pt x="66947" y="103333"/>
                    <a:pt x="68210" y="100000"/>
                    <a:pt x="69473" y="103333"/>
                  </a:cubicBezTo>
                  <a:cubicBezTo>
                    <a:pt x="72000" y="106666"/>
                    <a:pt x="73263" y="103333"/>
                    <a:pt x="75789" y="103333"/>
                  </a:cubicBezTo>
                  <a:cubicBezTo>
                    <a:pt x="78315" y="100000"/>
                    <a:pt x="78315" y="100000"/>
                    <a:pt x="80842" y="103333"/>
                  </a:cubicBezTo>
                  <a:cubicBezTo>
                    <a:pt x="85894" y="103333"/>
                    <a:pt x="89684" y="96666"/>
                    <a:pt x="94736" y="96666"/>
                  </a:cubicBezTo>
                  <a:cubicBezTo>
                    <a:pt x="98526" y="96666"/>
                    <a:pt x="103578" y="96666"/>
                    <a:pt x="107368" y="93333"/>
                  </a:cubicBezTo>
                  <a:cubicBezTo>
                    <a:pt x="109894" y="90000"/>
                    <a:pt x="109894" y="96666"/>
                    <a:pt x="113684" y="93333"/>
                  </a:cubicBezTo>
                  <a:cubicBezTo>
                    <a:pt x="116210" y="90000"/>
                    <a:pt x="114947" y="96666"/>
                    <a:pt x="116210" y="100000"/>
                  </a:cubicBezTo>
                  <a:cubicBezTo>
                    <a:pt x="117473" y="103333"/>
                    <a:pt x="120000" y="96666"/>
                    <a:pt x="118736" y="93333"/>
                  </a:cubicBezTo>
                  <a:cubicBezTo>
                    <a:pt x="117473" y="90000"/>
                    <a:pt x="120000" y="83333"/>
                    <a:pt x="116210" y="80000"/>
                  </a:cubicBezTo>
                  <a:cubicBezTo>
                    <a:pt x="114947" y="76666"/>
                    <a:pt x="117473" y="76666"/>
                    <a:pt x="116210" y="73333"/>
                  </a:cubicBezTo>
                  <a:cubicBezTo>
                    <a:pt x="116210" y="66666"/>
                    <a:pt x="114947" y="63333"/>
                    <a:pt x="114947" y="56666"/>
                  </a:cubicBezTo>
                  <a:cubicBezTo>
                    <a:pt x="114947" y="53333"/>
                    <a:pt x="117473" y="46666"/>
                    <a:pt x="117473" y="46666"/>
                  </a:cubicBezTo>
                  <a:cubicBezTo>
                    <a:pt x="116210" y="40000"/>
                    <a:pt x="113684" y="36666"/>
                    <a:pt x="112421" y="26666"/>
                  </a:cubicBezTo>
                  <a:cubicBezTo>
                    <a:pt x="109894" y="16666"/>
                    <a:pt x="109894" y="13333"/>
                    <a:pt x="104842" y="10000"/>
                  </a:cubicBezTo>
                  <a:cubicBezTo>
                    <a:pt x="103578" y="10000"/>
                    <a:pt x="102315" y="10000"/>
                    <a:pt x="101052" y="10000"/>
                  </a:cubicBezTo>
                  <a:cubicBezTo>
                    <a:pt x="98526" y="6666"/>
                    <a:pt x="99789" y="10000"/>
                    <a:pt x="98526" y="10000"/>
                  </a:cubicBezTo>
                  <a:cubicBezTo>
                    <a:pt x="96000" y="16666"/>
                    <a:pt x="93473" y="16666"/>
                    <a:pt x="92210" y="20000"/>
                  </a:cubicBezTo>
                  <a:cubicBezTo>
                    <a:pt x="88421" y="23333"/>
                    <a:pt x="83368" y="20000"/>
                    <a:pt x="79578" y="20000"/>
                  </a:cubicBezTo>
                  <a:cubicBezTo>
                    <a:pt x="77052" y="20000"/>
                    <a:pt x="74526" y="20000"/>
                    <a:pt x="73263" y="20000"/>
                  </a:cubicBezTo>
                  <a:cubicBezTo>
                    <a:pt x="70736" y="16666"/>
                    <a:pt x="70736" y="13333"/>
                    <a:pt x="68210" y="13333"/>
                  </a:cubicBezTo>
                  <a:cubicBezTo>
                    <a:pt x="65684" y="13333"/>
                    <a:pt x="64421" y="10000"/>
                    <a:pt x="63157" y="6666"/>
                  </a:cubicBezTo>
                  <a:cubicBezTo>
                    <a:pt x="61894" y="6666"/>
                    <a:pt x="56842" y="0"/>
                    <a:pt x="58105" y="0"/>
                  </a:cubicBezTo>
                  <a:cubicBezTo>
                    <a:pt x="55578" y="3333"/>
                    <a:pt x="49263" y="0"/>
                    <a:pt x="46736" y="0"/>
                  </a:cubicBezTo>
                  <a:cubicBezTo>
                    <a:pt x="42947" y="0"/>
                    <a:pt x="39157" y="10000"/>
                    <a:pt x="36631" y="13333"/>
                  </a:cubicBezTo>
                  <a:cubicBezTo>
                    <a:pt x="32842" y="20000"/>
                    <a:pt x="26526" y="13333"/>
                    <a:pt x="22736" y="16666"/>
                  </a:cubicBezTo>
                  <a:cubicBezTo>
                    <a:pt x="21473" y="16666"/>
                    <a:pt x="20210" y="16666"/>
                    <a:pt x="20210" y="20000"/>
                  </a:cubicBezTo>
                  <a:cubicBezTo>
                    <a:pt x="20210" y="20000"/>
                    <a:pt x="22736" y="20000"/>
                    <a:pt x="22736" y="23333"/>
                  </a:cubicBezTo>
                  <a:cubicBezTo>
                    <a:pt x="22736" y="23333"/>
                    <a:pt x="18947" y="23333"/>
                    <a:pt x="18947" y="26666"/>
                  </a:cubicBezTo>
                  <a:cubicBezTo>
                    <a:pt x="18947" y="30000"/>
                    <a:pt x="18947" y="30000"/>
                    <a:pt x="16421" y="30000"/>
                  </a:cubicBezTo>
                  <a:cubicBezTo>
                    <a:pt x="12631" y="30000"/>
                    <a:pt x="8842" y="30000"/>
                    <a:pt x="5052" y="30000"/>
                  </a:cubicBezTo>
                  <a:cubicBezTo>
                    <a:pt x="2526" y="30000"/>
                    <a:pt x="3789" y="33333"/>
                    <a:pt x="3789" y="36666"/>
                  </a:cubicBezTo>
                  <a:cubicBezTo>
                    <a:pt x="2526" y="43333"/>
                    <a:pt x="0" y="46666"/>
                    <a:pt x="3789" y="50000"/>
                  </a:cubicBezTo>
                  <a:cubicBezTo>
                    <a:pt x="3789" y="50000"/>
                    <a:pt x="6315" y="46666"/>
                    <a:pt x="6315" y="46666"/>
                  </a:cubicBezTo>
                  <a:cubicBezTo>
                    <a:pt x="6315" y="50000"/>
                    <a:pt x="3789" y="56666"/>
                    <a:pt x="3789" y="56666"/>
                  </a:cubicBezTo>
                  <a:cubicBezTo>
                    <a:pt x="5052" y="60000"/>
                    <a:pt x="5052" y="56666"/>
                    <a:pt x="6315" y="56666"/>
                  </a:cubicBezTo>
                  <a:cubicBezTo>
                    <a:pt x="6315" y="56666"/>
                    <a:pt x="6315" y="63333"/>
                    <a:pt x="6315" y="63333"/>
                  </a:cubicBezTo>
                  <a:cubicBezTo>
                    <a:pt x="8842" y="73333"/>
                    <a:pt x="5052" y="66666"/>
                    <a:pt x="3789" y="66666"/>
                  </a:cubicBezTo>
                  <a:cubicBezTo>
                    <a:pt x="3789" y="66666"/>
                    <a:pt x="2526" y="76666"/>
                    <a:pt x="5052" y="73333"/>
                  </a:cubicBezTo>
                  <a:cubicBezTo>
                    <a:pt x="7578" y="73333"/>
                    <a:pt x="5052" y="80000"/>
                    <a:pt x="5052" y="83333"/>
                  </a:cubicBezTo>
                  <a:cubicBezTo>
                    <a:pt x="5052" y="86666"/>
                    <a:pt x="8842" y="86666"/>
                    <a:pt x="10105" y="90000"/>
                  </a:cubicBezTo>
                  <a:cubicBezTo>
                    <a:pt x="11368" y="93333"/>
                    <a:pt x="8842" y="100000"/>
                    <a:pt x="8842" y="100000"/>
                  </a:cubicBezTo>
                  <a:cubicBezTo>
                    <a:pt x="10105" y="100000"/>
                    <a:pt x="11368" y="93333"/>
                    <a:pt x="12631" y="100000"/>
                  </a:cubicBezTo>
                  <a:cubicBezTo>
                    <a:pt x="12631" y="103333"/>
                    <a:pt x="10105" y="103333"/>
                    <a:pt x="10105" y="103333"/>
                  </a:cubicBezTo>
                  <a:cubicBezTo>
                    <a:pt x="10105" y="103333"/>
                    <a:pt x="12631" y="103333"/>
                    <a:pt x="12631" y="103333"/>
                  </a:cubicBezTo>
                  <a:cubicBezTo>
                    <a:pt x="13894" y="106666"/>
                    <a:pt x="12631" y="110000"/>
                    <a:pt x="11368" y="113333"/>
                  </a:cubicBezTo>
                  <a:cubicBezTo>
                    <a:pt x="11368" y="116666"/>
                    <a:pt x="13894" y="120000"/>
                    <a:pt x="13894" y="116666"/>
                  </a:cubicBezTo>
                  <a:cubicBezTo>
                    <a:pt x="15157" y="113333"/>
                    <a:pt x="13894" y="106666"/>
                    <a:pt x="15157" y="103333"/>
                  </a:cubicBezTo>
                  <a:cubicBezTo>
                    <a:pt x="16421" y="100000"/>
                    <a:pt x="18947" y="106666"/>
                    <a:pt x="20210" y="106666"/>
                  </a:cubicBezTo>
                  <a:cubicBezTo>
                    <a:pt x="22736" y="110000"/>
                    <a:pt x="25263" y="116666"/>
                    <a:pt x="27789" y="110000"/>
                  </a:cubicBezTo>
                  <a:cubicBezTo>
                    <a:pt x="31578" y="106666"/>
                    <a:pt x="29052" y="96666"/>
                    <a:pt x="34105" y="103333"/>
                  </a:cubicBezTo>
                  <a:cubicBezTo>
                    <a:pt x="36631" y="110000"/>
                    <a:pt x="40421" y="116666"/>
                    <a:pt x="44210" y="116666"/>
                  </a:cubicBezTo>
                  <a:cubicBezTo>
                    <a:pt x="46736" y="113333"/>
                    <a:pt x="50526" y="110000"/>
                    <a:pt x="53052" y="106666"/>
                  </a:cubicBezTo>
                  <a:cubicBezTo>
                    <a:pt x="54315" y="103333"/>
                    <a:pt x="54315" y="100000"/>
                    <a:pt x="55578" y="100000"/>
                  </a:cubicBezTo>
                  <a:cubicBezTo>
                    <a:pt x="58105" y="103333"/>
                    <a:pt x="59368" y="106666"/>
                    <a:pt x="60631" y="103333"/>
                  </a:cubicBezTo>
                  <a:cubicBezTo>
                    <a:pt x="64421" y="100000"/>
                    <a:pt x="64421" y="103333"/>
                    <a:pt x="63157" y="110000"/>
                  </a:cubicBezTo>
                  <a:cubicBezTo>
                    <a:pt x="63157" y="113333"/>
                    <a:pt x="65684" y="113333"/>
                    <a:pt x="63157" y="116666"/>
                  </a:cubicBezTo>
                  <a:cubicBezTo>
                    <a:pt x="64421" y="120000"/>
                    <a:pt x="64421" y="120000"/>
                    <a:pt x="65684" y="120000"/>
                  </a:cubicBezTo>
                  <a:cubicBezTo>
                    <a:pt x="66947" y="116666"/>
                    <a:pt x="64421" y="120000"/>
                    <a:pt x="65684" y="12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87" name="Shape 2561">
              <a:extLst>
                <a:ext uri="{FF2B5EF4-FFF2-40B4-BE49-F238E27FC236}">
                  <a16:creationId xmlns:a16="http://schemas.microsoft.com/office/drawing/2014/main" id="{CCCC3E8F-9E23-2D4E-9FD1-4A0FBD6EC22E}"/>
                </a:ext>
              </a:extLst>
            </p:cNvPr>
            <p:cNvSpPr/>
            <p:nvPr/>
          </p:nvSpPr>
          <p:spPr>
            <a:xfrm>
              <a:off x="13273421" y="7481707"/>
              <a:ext cx="980890" cy="786830"/>
            </a:xfrm>
            <a:custGeom>
              <a:avLst/>
              <a:gdLst/>
              <a:ahLst/>
              <a:cxnLst/>
              <a:rect l="0" t="0" r="0" b="0"/>
              <a:pathLst>
                <a:path w="120000" h="120000" extrusionOk="0">
                  <a:moveTo>
                    <a:pt x="74285" y="28571"/>
                  </a:moveTo>
                  <a:cubicBezTo>
                    <a:pt x="73142" y="24285"/>
                    <a:pt x="73142" y="24285"/>
                    <a:pt x="69714" y="24285"/>
                  </a:cubicBezTo>
                  <a:cubicBezTo>
                    <a:pt x="66285" y="24285"/>
                    <a:pt x="62857" y="24285"/>
                    <a:pt x="59428" y="24285"/>
                  </a:cubicBezTo>
                  <a:cubicBezTo>
                    <a:pt x="57142" y="24285"/>
                    <a:pt x="56000" y="21428"/>
                    <a:pt x="54857" y="21428"/>
                  </a:cubicBezTo>
                  <a:cubicBezTo>
                    <a:pt x="51428" y="17142"/>
                    <a:pt x="48000" y="14285"/>
                    <a:pt x="45714" y="11428"/>
                  </a:cubicBezTo>
                  <a:cubicBezTo>
                    <a:pt x="41142" y="7142"/>
                    <a:pt x="36571" y="2857"/>
                    <a:pt x="30857" y="1428"/>
                  </a:cubicBezTo>
                  <a:cubicBezTo>
                    <a:pt x="28571" y="0"/>
                    <a:pt x="27428" y="0"/>
                    <a:pt x="24000" y="1428"/>
                  </a:cubicBezTo>
                  <a:cubicBezTo>
                    <a:pt x="21714" y="1428"/>
                    <a:pt x="18285" y="2857"/>
                    <a:pt x="14857" y="4285"/>
                  </a:cubicBezTo>
                  <a:cubicBezTo>
                    <a:pt x="16000" y="7142"/>
                    <a:pt x="19428" y="10000"/>
                    <a:pt x="19428" y="12857"/>
                  </a:cubicBezTo>
                  <a:cubicBezTo>
                    <a:pt x="19428" y="15714"/>
                    <a:pt x="16000" y="17142"/>
                    <a:pt x="14857" y="17142"/>
                  </a:cubicBezTo>
                  <a:cubicBezTo>
                    <a:pt x="13714" y="18571"/>
                    <a:pt x="12571" y="17142"/>
                    <a:pt x="11428" y="17142"/>
                  </a:cubicBezTo>
                  <a:cubicBezTo>
                    <a:pt x="10285" y="18571"/>
                    <a:pt x="10285" y="20000"/>
                    <a:pt x="10285" y="20000"/>
                  </a:cubicBezTo>
                  <a:cubicBezTo>
                    <a:pt x="8000" y="24285"/>
                    <a:pt x="3428" y="21428"/>
                    <a:pt x="2285" y="20000"/>
                  </a:cubicBezTo>
                  <a:cubicBezTo>
                    <a:pt x="1142" y="22857"/>
                    <a:pt x="1142" y="24285"/>
                    <a:pt x="1142" y="27142"/>
                  </a:cubicBezTo>
                  <a:cubicBezTo>
                    <a:pt x="0" y="31428"/>
                    <a:pt x="1142" y="30000"/>
                    <a:pt x="3428" y="31428"/>
                  </a:cubicBezTo>
                  <a:cubicBezTo>
                    <a:pt x="5714" y="34285"/>
                    <a:pt x="8000" y="40000"/>
                    <a:pt x="9142" y="44285"/>
                  </a:cubicBezTo>
                  <a:cubicBezTo>
                    <a:pt x="11428" y="47142"/>
                    <a:pt x="12571" y="50000"/>
                    <a:pt x="13714" y="54285"/>
                  </a:cubicBezTo>
                  <a:cubicBezTo>
                    <a:pt x="14857" y="57142"/>
                    <a:pt x="16000" y="58571"/>
                    <a:pt x="17142" y="60000"/>
                  </a:cubicBezTo>
                  <a:cubicBezTo>
                    <a:pt x="19428" y="62857"/>
                    <a:pt x="21714" y="62857"/>
                    <a:pt x="22857" y="65714"/>
                  </a:cubicBezTo>
                  <a:cubicBezTo>
                    <a:pt x="24000" y="68571"/>
                    <a:pt x="25142" y="71428"/>
                    <a:pt x="25142" y="75714"/>
                  </a:cubicBezTo>
                  <a:cubicBezTo>
                    <a:pt x="26285" y="78571"/>
                    <a:pt x="25142" y="81428"/>
                    <a:pt x="26285" y="84285"/>
                  </a:cubicBezTo>
                  <a:cubicBezTo>
                    <a:pt x="28571" y="90000"/>
                    <a:pt x="33142" y="91428"/>
                    <a:pt x="35428" y="95714"/>
                  </a:cubicBezTo>
                  <a:cubicBezTo>
                    <a:pt x="37714" y="100000"/>
                    <a:pt x="38857" y="105714"/>
                    <a:pt x="41142" y="108571"/>
                  </a:cubicBezTo>
                  <a:cubicBezTo>
                    <a:pt x="42285" y="111428"/>
                    <a:pt x="44571" y="114285"/>
                    <a:pt x="45714" y="115714"/>
                  </a:cubicBezTo>
                  <a:cubicBezTo>
                    <a:pt x="45714" y="117142"/>
                    <a:pt x="45714" y="120000"/>
                    <a:pt x="46857" y="120000"/>
                  </a:cubicBezTo>
                  <a:cubicBezTo>
                    <a:pt x="49142" y="120000"/>
                    <a:pt x="48000" y="117142"/>
                    <a:pt x="49142" y="115714"/>
                  </a:cubicBezTo>
                  <a:cubicBezTo>
                    <a:pt x="49142" y="111428"/>
                    <a:pt x="54857" y="112857"/>
                    <a:pt x="57142" y="112857"/>
                  </a:cubicBezTo>
                  <a:cubicBezTo>
                    <a:pt x="60571" y="112857"/>
                    <a:pt x="66285" y="111428"/>
                    <a:pt x="68571" y="114285"/>
                  </a:cubicBezTo>
                  <a:cubicBezTo>
                    <a:pt x="72000" y="115714"/>
                    <a:pt x="73142" y="112857"/>
                    <a:pt x="75428" y="110000"/>
                  </a:cubicBezTo>
                  <a:cubicBezTo>
                    <a:pt x="78857" y="104285"/>
                    <a:pt x="82285" y="104285"/>
                    <a:pt x="86857" y="102857"/>
                  </a:cubicBezTo>
                  <a:cubicBezTo>
                    <a:pt x="93714" y="102857"/>
                    <a:pt x="100571" y="100000"/>
                    <a:pt x="107428" y="97142"/>
                  </a:cubicBezTo>
                  <a:cubicBezTo>
                    <a:pt x="109714" y="95714"/>
                    <a:pt x="113142" y="94285"/>
                    <a:pt x="116571" y="94285"/>
                  </a:cubicBezTo>
                  <a:cubicBezTo>
                    <a:pt x="117714" y="92857"/>
                    <a:pt x="117714" y="90000"/>
                    <a:pt x="118857" y="87142"/>
                  </a:cubicBezTo>
                  <a:cubicBezTo>
                    <a:pt x="118857" y="85714"/>
                    <a:pt x="120000" y="82857"/>
                    <a:pt x="120000" y="80000"/>
                  </a:cubicBezTo>
                  <a:cubicBezTo>
                    <a:pt x="120000" y="78571"/>
                    <a:pt x="118857" y="74285"/>
                    <a:pt x="117714" y="72857"/>
                  </a:cubicBezTo>
                  <a:cubicBezTo>
                    <a:pt x="114285" y="72857"/>
                    <a:pt x="109714" y="72857"/>
                    <a:pt x="106285" y="71428"/>
                  </a:cubicBezTo>
                  <a:cubicBezTo>
                    <a:pt x="102857" y="71428"/>
                    <a:pt x="102857" y="70000"/>
                    <a:pt x="100571" y="67142"/>
                  </a:cubicBezTo>
                  <a:cubicBezTo>
                    <a:pt x="98285" y="61428"/>
                    <a:pt x="94857" y="60000"/>
                    <a:pt x="92571" y="55714"/>
                  </a:cubicBezTo>
                  <a:cubicBezTo>
                    <a:pt x="91428" y="55714"/>
                    <a:pt x="89142" y="50000"/>
                    <a:pt x="88000" y="48571"/>
                  </a:cubicBezTo>
                  <a:cubicBezTo>
                    <a:pt x="86857" y="45714"/>
                    <a:pt x="92571" y="44285"/>
                    <a:pt x="88000" y="41428"/>
                  </a:cubicBezTo>
                  <a:cubicBezTo>
                    <a:pt x="86857" y="41428"/>
                    <a:pt x="85714" y="38571"/>
                    <a:pt x="84571" y="38571"/>
                  </a:cubicBezTo>
                  <a:cubicBezTo>
                    <a:pt x="82285" y="38571"/>
                    <a:pt x="81142" y="34285"/>
                    <a:pt x="80000" y="31428"/>
                  </a:cubicBezTo>
                  <a:cubicBezTo>
                    <a:pt x="78857" y="27142"/>
                    <a:pt x="78857" y="28571"/>
                    <a:pt x="74285" y="28571"/>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88" name="Shape 2562">
              <a:extLst>
                <a:ext uri="{FF2B5EF4-FFF2-40B4-BE49-F238E27FC236}">
                  <a16:creationId xmlns:a16="http://schemas.microsoft.com/office/drawing/2014/main" id="{86161C73-B7C8-F14F-9E0B-29AB8FC3A9B6}"/>
                </a:ext>
              </a:extLst>
            </p:cNvPr>
            <p:cNvSpPr/>
            <p:nvPr/>
          </p:nvSpPr>
          <p:spPr>
            <a:xfrm>
              <a:off x="13292530" y="7424365"/>
              <a:ext cx="194267" cy="207060"/>
            </a:xfrm>
            <a:custGeom>
              <a:avLst/>
              <a:gdLst/>
              <a:ahLst/>
              <a:cxnLst/>
              <a:rect l="0" t="0" r="0" b="0"/>
              <a:pathLst>
                <a:path w="120000" h="120000" extrusionOk="0">
                  <a:moveTo>
                    <a:pt x="28571" y="120000"/>
                  </a:moveTo>
                  <a:cubicBezTo>
                    <a:pt x="40000" y="120000"/>
                    <a:pt x="40000" y="103636"/>
                    <a:pt x="45714" y="103636"/>
                  </a:cubicBezTo>
                  <a:cubicBezTo>
                    <a:pt x="51428" y="92727"/>
                    <a:pt x="62857" y="98181"/>
                    <a:pt x="68571" y="98181"/>
                  </a:cubicBezTo>
                  <a:cubicBezTo>
                    <a:pt x="74285" y="92727"/>
                    <a:pt x="91428" y="87272"/>
                    <a:pt x="85714" y="81818"/>
                  </a:cubicBezTo>
                  <a:cubicBezTo>
                    <a:pt x="80000" y="70909"/>
                    <a:pt x="74285" y="60000"/>
                    <a:pt x="62857" y="49090"/>
                  </a:cubicBezTo>
                  <a:cubicBezTo>
                    <a:pt x="85714" y="43636"/>
                    <a:pt x="102857" y="38181"/>
                    <a:pt x="120000" y="32727"/>
                  </a:cubicBezTo>
                  <a:cubicBezTo>
                    <a:pt x="120000" y="21818"/>
                    <a:pt x="114285" y="10909"/>
                    <a:pt x="108571" y="0"/>
                  </a:cubicBezTo>
                  <a:cubicBezTo>
                    <a:pt x="91428" y="5454"/>
                    <a:pt x="68571" y="27272"/>
                    <a:pt x="51428" y="27272"/>
                  </a:cubicBezTo>
                  <a:cubicBezTo>
                    <a:pt x="40000" y="27272"/>
                    <a:pt x="22857" y="16363"/>
                    <a:pt x="22857" y="5454"/>
                  </a:cubicBezTo>
                  <a:cubicBezTo>
                    <a:pt x="17142" y="27272"/>
                    <a:pt x="17142" y="43636"/>
                    <a:pt x="17142" y="60000"/>
                  </a:cubicBezTo>
                  <a:cubicBezTo>
                    <a:pt x="11428" y="70909"/>
                    <a:pt x="0" y="87272"/>
                    <a:pt x="0" y="98181"/>
                  </a:cubicBezTo>
                  <a:cubicBezTo>
                    <a:pt x="0" y="109090"/>
                    <a:pt x="0" y="109090"/>
                    <a:pt x="5714" y="114545"/>
                  </a:cubicBezTo>
                  <a:cubicBezTo>
                    <a:pt x="17142" y="114545"/>
                    <a:pt x="22857" y="120000"/>
                    <a:pt x="28571" y="12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89" name="Shape 2563">
              <a:extLst>
                <a:ext uri="{FF2B5EF4-FFF2-40B4-BE49-F238E27FC236}">
                  <a16:creationId xmlns:a16="http://schemas.microsoft.com/office/drawing/2014/main" id="{725BAC09-C88F-1440-8ED9-253CEE415F06}"/>
                </a:ext>
              </a:extLst>
            </p:cNvPr>
            <p:cNvSpPr/>
            <p:nvPr/>
          </p:nvSpPr>
          <p:spPr>
            <a:xfrm>
              <a:off x="13302084" y="7351100"/>
              <a:ext cx="73249" cy="82826"/>
            </a:xfrm>
            <a:custGeom>
              <a:avLst/>
              <a:gdLst/>
              <a:ahLst/>
              <a:cxnLst/>
              <a:rect l="0" t="0" r="0" b="0"/>
              <a:pathLst>
                <a:path w="120000" h="120000" extrusionOk="0">
                  <a:moveTo>
                    <a:pt x="105000" y="26666"/>
                  </a:moveTo>
                  <a:cubicBezTo>
                    <a:pt x="105000" y="13333"/>
                    <a:pt x="75000" y="0"/>
                    <a:pt x="60000" y="0"/>
                  </a:cubicBezTo>
                  <a:cubicBezTo>
                    <a:pt x="45000" y="13333"/>
                    <a:pt x="45000" y="13333"/>
                    <a:pt x="30000" y="26666"/>
                  </a:cubicBezTo>
                  <a:cubicBezTo>
                    <a:pt x="30000" y="53333"/>
                    <a:pt x="15000" y="80000"/>
                    <a:pt x="0" y="106666"/>
                  </a:cubicBezTo>
                  <a:cubicBezTo>
                    <a:pt x="30000" y="106666"/>
                    <a:pt x="30000" y="120000"/>
                    <a:pt x="60000" y="106666"/>
                  </a:cubicBezTo>
                  <a:cubicBezTo>
                    <a:pt x="75000" y="93333"/>
                    <a:pt x="120000" y="53333"/>
                    <a:pt x="105000" y="26666"/>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90" name="Shape 2564">
              <a:extLst>
                <a:ext uri="{FF2B5EF4-FFF2-40B4-BE49-F238E27FC236}">
                  <a16:creationId xmlns:a16="http://schemas.microsoft.com/office/drawing/2014/main" id="{35065C43-8040-334F-B7BF-FBF6A38D2D4A}"/>
                </a:ext>
              </a:extLst>
            </p:cNvPr>
            <p:cNvSpPr/>
            <p:nvPr/>
          </p:nvSpPr>
          <p:spPr>
            <a:xfrm>
              <a:off x="13292530" y="7462596"/>
              <a:ext cx="28663" cy="66896"/>
            </a:xfrm>
            <a:custGeom>
              <a:avLst/>
              <a:gdLst/>
              <a:ahLst/>
              <a:cxnLst/>
              <a:rect l="0" t="0" r="0" b="0"/>
              <a:pathLst>
                <a:path w="120000" h="120000" extrusionOk="0">
                  <a:moveTo>
                    <a:pt x="0" y="51428"/>
                  </a:moveTo>
                  <a:cubicBezTo>
                    <a:pt x="0" y="85714"/>
                    <a:pt x="40000" y="102857"/>
                    <a:pt x="120000" y="119999"/>
                  </a:cubicBezTo>
                  <a:cubicBezTo>
                    <a:pt x="120000" y="85714"/>
                    <a:pt x="120000" y="51428"/>
                    <a:pt x="120000" y="17142"/>
                  </a:cubicBezTo>
                  <a:cubicBezTo>
                    <a:pt x="120000" y="0"/>
                    <a:pt x="120000" y="0"/>
                    <a:pt x="80000" y="0"/>
                  </a:cubicBezTo>
                  <a:cubicBezTo>
                    <a:pt x="0" y="0"/>
                    <a:pt x="0" y="34285"/>
                    <a:pt x="0" y="51428"/>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91" name="Shape 2565">
              <a:extLst>
                <a:ext uri="{FF2B5EF4-FFF2-40B4-BE49-F238E27FC236}">
                  <a16:creationId xmlns:a16="http://schemas.microsoft.com/office/drawing/2014/main" id="{7F4DBF18-93BB-AB49-9D7A-FFB1353E955B}"/>
                </a:ext>
              </a:extLst>
            </p:cNvPr>
            <p:cNvSpPr/>
            <p:nvPr/>
          </p:nvSpPr>
          <p:spPr>
            <a:xfrm>
              <a:off x="13254314" y="7424365"/>
              <a:ext cx="76431" cy="245288"/>
            </a:xfrm>
            <a:custGeom>
              <a:avLst/>
              <a:gdLst/>
              <a:ahLst/>
              <a:cxnLst/>
              <a:rect l="0" t="0" r="0" b="0"/>
              <a:pathLst>
                <a:path w="120000" h="120000" extrusionOk="0">
                  <a:moveTo>
                    <a:pt x="60000" y="78461"/>
                  </a:moveTo>
                  <a:cubicBezTo>
                    <a:pt x="60000" y="73846"/>
                    <a:pt x="75000" y="69230"/>
                    <a:pt x="90000" y="60000"/>
                  </a:cubicBezTo>
                  <a:cubicBezTo>
                    <a:pt x="105000" y="50769"/>
                    <a:pt x="90000" y="55384"/>
                    <a:pt x="75000" y="46153"/>
                  </a:cubicBezTo>
                  <a:cubicBezTo>
                    <a:pt x="45000" y="36923"/>
                    <a:pt x="60000" y="13846"/>
                    <a:pt x="105000" y="18461"/>
                  </a:cubicBezTo>
                  <a:cubicBezTo>
                    <a:pt x="120000" y="4615"/>
                    <a:pt x="120000" y="4615"/>
                    <a:pt x="90000" y="0"/>
                  </a:cubicBezTo>
                  <a:cubicBezTo>
                    <a:pt x="60000" y="0"/>
                    <a:pt x="45000" y="23076"/>
                    <a:pt x="30000" y="32307"/>
                  </a:cubicBezTo>
                  <a:cubicBezTo>
                    <a:pt x="15000" y="36923"/>
                    <a:pt x="0" y="41538"/>
                    <a:pt x="0" y="50769"/>
                  </a:cubicBezTo>
                  <a:cubicBezTo>
                    <a:pt x="0" y="55384"/>
                    <a:pt x="15000" y="64615"/>
                    <a:pt x="15000" y="73846"/>
                  </a:cubicBezTo>
                  <a:cubicBezTo>
                    <a:pt x="15000" y="87692"/>
                    <a:pt x="30000" y="101538"/>
                    <a:pt x="30000" y="120000"/>
                  </a:cubicBezTo>
                  <a:cubicBezTo>
                    <a:pt x="30000" y="115384"/>
                    <a:pt x="30000" y="115384"/>
                    <a:pt x="30000" y="115384"/>
                  </a:cubicBezTo>
                  <a:cubicBezTo>
                    <a:pt x="45000" y="106153"/>
                    <a:pt x="45000" y="92307"/>
                    <a:pt x="60000" y="78461"/>
                  </a:cubicBezTo>
                  <a:cubicBezTo>
                    <a:pt x="60000" y="73846"/>
                    <a:pt x="60000" y="83076"/>
                    <a:pt x="60000" y="78461"/>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92" name="Shape 2566">
              <a:extLst>
                <a:ext uri="{FF2B5EF4-FFF2-40B4-BE49-F238E27FC236}">
                  <a16:creationId xmlns:a16="http://schemas.microsoft.com/office/drawing/2014/main" id="{62B9EAED-C228-3649-98E9-9616A66DE6CD}"/>
                </a:ext>
              </a:extLst>
            </p:cNvPr>
            <p:cNvSpPr/>
            <p:nvPr/>
          </p:nvSpPr>
          <p:spPr>
            <a:xfrm>
              <a:off x="14028198" y="7790703"/>
              <a:ext cx="47769" cy="73268"/>
            </a:xfrm>
            <a:custGeom>
              <a:avLst/>
              <a:gdLst/>
              <a:ahLst/>
              <a:cxnLst/>
              <a:rect l="0" t="0" r="0" b="0"/>
              <a:pathLst>
                <a:path w="120000" h="120000" extrusionOk="0">
                  <a:moveTo>
                    <a:pt x="72000" y="120000"/>
                  </a:moveTo>
                  <a:cubicBezTo>
                    <a:pt x="72000" y="105000"/>
                    <a:pt x="120000" y="0"/>
                    <a:pt x="48000" y="0"/>
                  </a:cubicBezTo>
                  <a:cubicBezTo>
                    <a:pt x="24000" y="15000"/>
                    <a:pt x="0" y="45000"/>
                    <a:pt x="0" y="60000"/>
                  </a:cubicBezTo>
                  <a:cubicBezTo>
                    <a:pt x="0" y="90000"/>
                    <a:pt x="24000" y="105000"/>
                    <a:pt x="72000" y="120000"/>
                  </a:cubicBezTo>
                  <a:cubicBezTo>
                    <a:pt x="72000" y="120000"/>
                    <a:pt x="48000" y="120000"/>
                    <a:pt x="72000" y="12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93" name="Shape 2567">
              <a:extLst>
                <a:ext uri="{FF2B5EF4-FFF2-40B4-BE49-F238E27FC236}">
                  <a16:creationId xmlns:a16="http://schemas.microsoft.com/office/drawing/2014/main" id="{9E2743C2-D58F-9645-87AE-055B092E91A4}"/>
                </a:ext>
              </a:extLst>
            </p:cNvPr>
            <p:cNvSpPr/>
            <p:nvPr/>
          </p:nvSpPr>
          <p:spPr>
            <a:xfrm>
              <a:off x="13646034" y="8137931"/>
              <a:ext cx="496813" cy="315371"/>
            </a:xfrm>
            <a:custGeom>
              <a:avLst/>
              <a:gdLst/>
              <a:ahLst/>
              <a:cxnLst/>
              <a:rect l="0" t="0" r="0" b="0"/>
              <a:pathLst>
                <a:path w="120000" h="120000" extrusionOk="0">
                  <a:moveTo>
                    <a:pt x="106415" y="0"/>
                  </a:moveTo>
                  <a:cubicBezTo>
                    <a:pt x="99622" y="3529"/>
                    <a:pt x="92830" y="7058"/>
                    <a:pt x="86037" y="7058"/>
                  </a:cubicBezTo>
                  <a:cubicBezTo>
                    <a:pt x="79245" y="10588"/>
                    <a:pt x="70188" y="7058"/>
                    <a:pt x="63396" y="14117"/>
                  </a:cubicBezTo>
                  <a:cubicBezTo>
                    <a:pt x="58867" y="21176"/>
                    <a:pt x="56603" y="28235"/>
                    <a:pt x="52075" y="35294"/>
                  </a:cubicBezTo>
                  <a:cubicBezTo>
                    <a:pt x="49811" y="38823"/>
                    <a:pt x="43018" y="31764"/>
                    <a:pt x="38490" y="31764"/>
                  </a:cubicBezTo>
                  <a:cubicBezTo>
                    <a:pt x="31698" y="31764"/>
                    <a:pt x="27169" y="31764"/>
                    <a:pt x="20377" y="31764"/>
                  </a:cubicBezTo>
                  <a:cubicBezTo>
                    <a:pt x="13584" y="31764"/>
                    <a:pt x="6792" y="28235"/>
                    <a:pt x="6792" y="42352"/>
                  </a:cubicBezTo>
                  <a:cubicBezTo>
                    <a:pt x="4528" y="49411"/>
                    <a:pt x="2264" y="45882"/>
                    <a:pt x="2264" y="52941"/>
                  </a:cubicBezTo>
                  <a:cubicBezTo>
                    <a:pt x="0" y="60000"/>
                    <a:pt x="0" y="67058"/>
                    <a:pt x="2264" y="74117"/>
                  </a:cubicBezTo>
                  <a:cubicBezTo>
                    <a:pt x="2264" y="81176"/>
                    <a:pt x="4528" y="91764"/>
                    <a:pt x="6792" y="98823"/>
                  </a:cubicBezTo>
                  <a:cubicBezTo>
                    <a:pt x="6792" y="102352"/>
                    <a:pt x="6792" y="109411"/>
                    <a:pt x="9056" y="112941"/>
                  </a:cubicBezTo>
                  <a:cubicBezTo>
                    <a:pt x="11320" y="120000"/>
                    <a:pt x="22641" y="116470"/>
                    <a:pt x="27169" y="112941"/>
                  </a:cubicBezTo>
                  <a:cubicBezTo>
                    <a:pt x="29433" y="109411"/>
                    <a:pt x="31698" y="105882"/>
                    <a:pt x="36226" y="102352"/>
                  </a:cubicBezTo>
                  <a:cubicBezTo>
                    <a:pt x="38490" y="102352"/>
                    <a:pt x="43018" y="102352"/>
                    <a:pt x="47547" y="102352"/>
                  </a:cubicBezTo>
                  <a:cubicBezTo>
                    <a:pt x="49811" y="98823"/>
                    <a:pt x="52075" y="95294"/>
                    <a:pt x="54339" y="91764"/>
                  </a:cubicBezTo>
                  <a:cubicBezTo>
                    <a:pt x="61132" y="88235"/>
                    <a:pt x="65660" y="88235"/>
                    <a:pt x="72452" y="84705"/>
                  </a:cubicBezTo>
                  <a:cubicBezTo>
                    <a:pt x="79245" y="81176"/>
                    <a:pt x="86037" y="77647"/>
                    <a:pt x="92830" y="74117"/>
                  </a:cubicBezTo>
                  <a:cubicBezTo>
                    <a:pt x="97358" y="70588"/>
                    <a:pt x="106415" y="67058"/>
                    <a:pt x="106415" y="60000"/>
                  </a:cubicBezTo>
                  <a:cubicBezTo>
                    <a:pt x="108679" y="49411"/>
                    <a:pt x="120000" y="49411"/>
                    <a:pt x="117735" y="42352"/>
                  </a:cubicBezTo>
                  <a:cubicBezTo>
                    <a:pt x="113207" y="28235"/>
                    <a:pt x="110943" y="14117"/>
                    <a:pt x="106415" y="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94" name="Shape 2568">
              <a:extLst>
                <a:ext uri="{FF2B5EF4-FFF2-40B4-BE49-F238E27FC236}">
                  <a16:creationId xmlns:a16="http://schemas.microsoft.com/office/drawing/2014/main" id="{B7897ADD-10A6-F745-9B85-2ABD08AA639C}"/>
                </a:ext>
              </a:extLst>
            </p:cNvPr>
            <p:cNvSpPr/>
            <p:nvPr/>
          </p:nvSpPr>
          <p:spPr>
            <a:xfrm>
              <a:off x="14085523" y="7790703"/>
              <a:ext cx="382163" cy="458718"/>
            </a:xfrm>
            <a:custGeom>
              <a:avLst/>
              <a:gdLst/>
              <a:ahLst/>
              <a:cxnLst/>
              <a:rect l="0" t="0" r="0" b="0"/>
              <a:pathLst>
                <a:path w="120000" h="120000" extrusionOk="0">
                  <a:moveTo>
                    <a:pt x="114146" y="46530"/>
                  </a:moveTo>
                  <a:cubicBezTo>
                    <a:pt x="105365" y="46530"/>
                    <a:pt x="102439" y="39183"/>
                    <a:pt x="99512" y="34285"/>
                  </a:cubicBezTo>
                  <a:cubicBezTo>
                    <a:pt x="96585" y="31836"/>
                    <a:pt x="84878" y="31836"/>
                    <a:pt x="81951" y="29387"/>
                  </a:cubicBezTo>
                  <a:cubicBezTo>
                    <a:pt x="73170" y="26938"/>
                    <a:pt x="70243" y="22040"/>
                    <a:pt x="64390" y="14693"/>
                  </a:cubicBezTo>
                  <a:cubicBezTo>
                    <a:pt x="64390" y="12244"/>
                    <a:pt x="61463" y="9795"/>
                    <a:pt x="61463" y="7346"/>
                  </a:cubicBezTo>
                  <a:cubicBezTo>
                    <a:pt x="61463" y="7346"/>
                    <a:pt x="64390" y="0"/>
                    <a:pt x="64390" y="0"/>
                  </a:cubicBezTo>
                  <a:cubicBezTo>
                    <a:pt x="61463" y="0"/>
                    <a:pt x="52682" y="9795"/>
                    <a:pt x="49756" y="12244"/>
                  </a:cubicBezTo>
                  <a:cubicBezTo>
                    <a:pt x="43902" y="17142"/>
                    <a:pt x="38048" y="24489"/>
                    <a:pt x="29268" y="24489"/>
                  </a:cubicBezTo>
                  <a:cubicBezTo>
                    <a:pt x="23414" y="26938"/>
                    <a:pt x="20487" y="24489"/>
                    <a:pt x="14634" y="24489"/>
                  </a:cubicBezTo>
                  <a:cubicBezTo>
                    <a:pt x="8780" y="26938"/>
                    <a:pt x="2926" y="31836"/>
                    <a:pt x="0" y="26938"/>
                  </a:cubicBezTo>
                  <a:cubicBezTo>
                    <a:pt x="2926" y="34285"/>
                    <a:pt x="5853" y="41632"/>
                    <a:pt x="14634" y="41632"/>
                  </a:cubicBezTo>
                  <a:cubicBezTo>
                    <a:pt x="20487" y="41632"/>
                    <a:pt x="43902" y="41632"/>
                    <a:pt x="46829" y="46530"/>
                  </a:cubicBezTo>
                  <a:cubicBezTo>
                    <a:pt x="55609" y="56326"/>
                    <a:pt x="49756" y="66122"/>
                    <a:pt x="46829" y="78367"/>
                  </a:cubicBezTo>
                  <a:cubicBezTo>
                    <a:pt x="43902" y="80816"/>
                    <a:pt x="32195" y="83265"/>
                    <a:pt x="32195" y="83265"/>
                  </a:cubicBezTo>
                  <a:cubicBezTo>
                    <a:pt x="20487" y="85714"/>
                    <a:pt x="8780" y="88163"/>
                    <a:pt x="0" y="90612"/>
                  </a:cubicBezTo>
                  <a:cubicBezTo>
                    <a:pt x="5853" y="100408"/>
                    <a:pt x="11707" y="110204"/>
                    <a:pt x="14634" y="119999"/>
                  </a:cubicBezTo>
                  <a:cubicBezTo>
                    <a:pt x="23414" y="117551"/>
                    <a:pt x="32195" y="117551"/>
                    <a:pt x="40975" y="117551"/>
                  </a:cubicBezTo>
                  <a:cubicBezTo>
                    <a:pt x="52682" y="115102"/>
                    <a:pt x="43902" y="112653"/>
                    <a:pt x="49756" y="107755"/>
                  </a:cubicBezTo>
                  <a:cubicBezTo>
                    <a:pt x="55609" y="105306"/>
                    <a:pt x="64390" y="107755"/>
                    <a:pt x="67317" y="102857"/>
                  </a:cubicBezTo>
                  <a:cubicBezTo>
                    <a:pt x="73170" y="97959"/>
                    <a:pt x="73170" y="95510"/>
                    <a:pt x="81951" y="93061"/>
                  </a:cubicBezTo>
                  <a:cubicBezTo>
                    <a:pt x="87804" y="90612"/>
                    <a:pt x="84878" y="83265"/>
                    <a:pt x="84878" y="78367"/>
                  </a:cubicBezTo>
                  <a:cubicBezTo>
                    <a:pt x="81951" y="73469"/>
                    <a:pt x="87804" y="73469"/>
                    <a:pt x="93658" y="73469"/>
                  </a:cubicBezTo>
                  <a:cubicBezTo>
                    <a:pt x="102439" y="71020"/>
                    <a:pt x="102439" y="63673"/>
                    <a:pt x="108292" y="58775"/>
                  </a:cubicBezTo>
                  <a:cubicBezTo>
                    <a:pt x="111219" y="56326"/>
                    <a:pt x="120000" y="48979"/>
                    <a:pt x="114146" y="46530"/>
                  </a:cubicBezTo>
                  <a:cubicBezTo>
                    <a:pt x="111219" y="46530"/>
                    <a:pt x="117073" y="48979"/>
                    <a:pt x="114146" y="4653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95" name="Shape 2569">
              <a:extLst>
                <a:ext uri="{FF2B5EF4-FFF2-40B4-BE49-F238E27FC236}">
                  <a16:creationId xmlns:a16="http://schemas.microsoft.com/office/drawing/2014/main" id="{123FD63D-80F8-8E4E-AE05-B6ED7A2C29D7}"/>
                </a:ext>
              </a:extLst>
            </p:cNvPr>
            <p:cNvSpPr/>
            <p:nvPr/>
          </p:nvSpPr>
          <p:spPr>
            <a:xfrm>
              <a:off x="14897622" y="6892381"/>
              <a:ext cx="512740" cy="222989"/>
            </a:xfrm>
            <a:custGeom>
              <a:avLst/>
              <a:gdLst/>
              <a:ahLst/>
              <a:cxnLst/>
              <a:rect l="0" t="0" r="0" b="0"/>
              <a:pathLst>
                <a:path w="120000" h="120000" extrusionOk="0">
                  <a:moveTo>
                    <a:pt x="120000" y="25000"/>
                  </a:moveTo>
                  <a:cubicBezTo>
                    <a:pt x="113454" y="25000"/>
                    <a:pt x="109090" y="15000"/>
                    <a:pt x="102545" y="15000"/>
                  </a:cubicBezTo>
                  <a:cubicBezTo>
                    <a:pt x="96000" y="10000"/>
                    <a:pt x="87272" y="10000"/>
                    <a:pt x="78545" y="10000"/>
                  </a:cubicBezTo>
                  <a:cubicBezTo>
                    <a:pt x="72000" y="10000"/>
                    <a:pt x="65454" y="10000"/>
                    <a:pt x="58909" y="0"/>
                  </a:cubicBezTo>
                  <a:cubicBezTo>
                    <a:pt x="54545" y="0"/>
                    <a:pt x="50181" y="0"/>
                    <a:pt x="48000" y="10000"/>
                  </a:cubicBezTo>
                  <a:cubicBezTo>
                    <a:pt x="48000" y="20000"/>
                    <a:pt x="45818" y="25000"/>
                    <a:pt x="41454" y="20000"/>
                  </a:cubicBezTo>
                  <a:cubicBezTo>
                    <a:pt x="37090" y="15000"/>
                    <a:pt x="26181" y="5000"/>
                    <a:pt x="24000" y="25000"/>
                  </a:cubicBezTo>
                  <a:cubicBezTo>
                    <a:pt x="21818" y="30000"/>
                    <a:pt x="24000" y="30000"/>
                    <a:pt x="19636" y="35000"/>
                  </a:cubicBezTo>
                  <a:cubicBezTo>
                    <a:pt x="17454" y="40000"/>
                    <a:pt x="13090" y="50000"/>
                    <a:pt x="17454" y="55000"/>
                  </a:cubicBezTo>
                  <a:cubicBezTo>
                    <a:pt x="19636" y="60000"/>
                    <a:pt x="26181" y="65000"/>
                    <a:pt x="26181" y="60000"/>
                  </a:cubicBezTo>
                  <a:cubicBezTo>
                    <a:pt x="28363" y="50000"/>
                    <a:pt x="30545" y="55000"/>
                    <a:pt x="32727" y="60000"/>
                  </a:cubicBezTo>
                  <a:cubicBezTo>
                    <a:pt x="34909" y="65000"/>
                    <a:pt x="43636" y="70000"/>
                    <a:pt x="41454" y="75000"/>
                  </a:cubicBezTo>
                  <a:cubicBezTo>
                    <a:pt x="41454" y="80000"/>
                    <a:pt x="34909" y="80000"/>
                    <a:pt x="32727" y="85000"/>
                  </a:cubicBezTo>
                  <a:cubicBezTo>
                    <a:pt x="30545" y="90000"/>
                    <a:pt x="28363" y="95000"/>
                    <a:pt x="24000" y="85000"/>
                  </a:cubicBezTo>
                  <a:cubicBezTo>
                    <a:pt x="21818" y="80000"/>
                    <a:pt x="21818" y="95000"/>
                    <a:pt x="21818" y="100000"/>
                  </a:cubicBezTo>
                  <a:cubicBezTo>
                    <a:pt x="13090" y="110000"/>
                    <a:pt x="8727" y="75000"/>
                    <a:pt x="2181" y="100000"/>
                  </a:cubicBezTo>
                  <a:cubicBezTo>
                    <a:pt x="0" y="105000"/>
                    <a:pt x="21818" y="115000"/>
                    <a:pt x="24000" y="110000"/>
                  </a:cubicBezTo>
                  <a:cubicBezTo>
                    <a:pt x="26181" y="105000"/>
                    <a:pt x="30545" y="110000"/>
                    <a:pt x="32727" y="115000"/>
                  </a:cubicBezTo>
                  <a:cubicBezTo>
                    <a:pt x="34909" y="115000"/>
                    <a:pt x="41454" y="120000"/>
                    <a:pt x="45818" y="115000"/>
                  </a:cubicBezTo>
                  <a:cubicBezTo>
                    <a:pt x="48000" y="110000"/>
                    <a:pt x="52363" y="115000"/>
                    <a:pt x="54545" y="100000"/>
                  </a:cubicBezTo>
                  <a:cubicBezTo>
                    <a:pt x="54545" y="95000"/>
                    <a:pt x="58909" y="90000"/>
                    <a:pt x="61090" y="85000"/>
                  </a:cubicBezTo>
                  <a:cubicBezTo>
                    <a:pt x="63272" y="80000"/>
                    <a:pt x="72000" y="80000"/>
                    <a:pt x="72000" y="80000"/>
                  </a:cubicBezTo>
                  <a:cubicBezTo>
                    <a:pt x="74181" y="90000"/>
                    <a:pt x="76363" y="80000"/>
                    <a:pt x="80727" y="80000"/>
                  </a:cubicBezTo>
                  <a:cubicBezTo>
                    <a:pt x="82909" y="80000"/>
                    <a:pt x="85090" y="65000"/>
                    <a:pt x="87272" y="65000"/>
                  </a:cubicBezTo>
                  <a:cubicBezTo>
                    <a:pt x="89454" y="60000"/>
                    <a:pt x="93818" y="65000"/>
                    <a:pt x="96000" y="60000"/>
                  </a:cubicBezTo>
                  <a:cubicBezTo>
                    <a:pt x="104727" y="55000"/>
                    <a:pt x="109090" y="45000"/>
                    <a:pt x="117818" y="35000"/>
                  </a:cubicBezTo>
                  <a:cubicBezTo>
                    <a:pt x="120000" y="35000"/>
                    <a:pt x="120000" y="35000"/>
                    <a:pt x="120000" y="25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96" name="Shape 2570">
              <a:extLst>
                <a:ext uri="{FF2B5EF4-FFF2-40B4-BE49-F238E27FC236}">
                  <a16:creationId xmlns:a16="http://schemas.microsoft.com/office/drawing/2014/main" id="{0F4294C0-B1FA-8C46-9398-0E056D1877D2}"/>
                </a:ext>
              </a:extLst>
            </p:cNvPr>
            <p:cNvSpPr/>
            <p:nvPr/>
          </p:nvSpPr>
          <p:spPr>
            <a:xfrm>
              <a:off x="14273422" y="6752218"/>
              <a:ext cx="831211" cy="487387"/>
            </a:xfrm>
            <a:custGeom>
              <a:avLst/>
              <a:gdLst/>
              <a:ahLst/>
              <a:cxnLst/>
              <a:rect l="0" t="0" r="0" b="0"/>
              <a:pathLst>
                <a:path w="120000" h="120000" extrusionOk="0">
                  <a:moveTo>
                    <a:pt x="105168" y="73846"/>
                  </a:moveTo>
                  <a:cubicBezTo>
                    <a:pt x="106516" y="76153"/>
                    <a:pt x="106516" y="78461"/>
                    <a:pt x="109213" y="76153"/>
                  </a:cubicBezTo>
                  <a:cubicBezTo>
                    <a:pt x="110561" y="76153"/>
                    <a:pt x="111910" y="71538"/>
                    <a:pt x="113258" y="71538"/>
                  </a:cubicBezTo>
                  <a:cubicBezTo>
                    <a:pt x="120000" y="69230"/>
                    <a:pt x="111910" y="64615"/>
                    <a:pt x="109213" y="60000"/>
                  </a:cubicBezTo>
                  <a:cubicBezTo>
                    <a:pt x="107865" y="57692"/>
                    <a:pt x="107865" y="60000"/>
                    <a:pt x="106516" y="62307"/>
                  </a:cubicBezTo>
                  <a:cubicBezTo>
                    <a:pt x="106516" y="64615"/>
                    <a:pt x="102471" y="62307"/>
                    <a:pt x="101123" y="62307"/>
                  </a:cubicBezTo>
                  <a:cubicBezTo>
                    <a:pt x="95730" y="57692"/>
                    <a:pt x="103820" y="50769"/>
                    <a:pt x="105168" y="48461"/>
                  </a:cubicBezTo>
                  <a:cubicBezTo>
                    <a:pt x="105168" y="48461"/>
                    <a:pt x="99775" y="50769"/>
                    <a:pt x="99775" y="50769"/>
                  </a:cubicBezTo>
                  <a:cubicBezTo>
                    <a:pt x="97078" y="53076"/>
                    <a:pt x="94382" y="53076"/>
                    <a:pt x="91685" y="57692"/>
                  </a:cubicBezTo>
                  <a:cubicBezTo>
                    <a:pt x="90337" y="60000"/>
                    <a:pt x="88988" y="64615"/>
                    <a:pt x="87640" y="66923"/>
                  </a:cubicBezTo>
                  <a:cubicBezTo>
                    <a:pt x="86292" y="73846"/>
                    <a:pt x="84943" y="69230"/>
                    <a:pt x="83595" y="64615"/>
                  </a:cubicBezTo>
                  <a:cubicBezTo>
                    <a:pt x="82247" y="60000"/>
                    <a:pt x="79550" y="62307"/>
                    <a:pt x="76853" y="62307"/>
                  </a:cubicBezTo>
                  <a:cubicBezTo>
                    <a:pt x="74157" y="62307"/>
                    <a:pt x="72808" y="55384"/>
                    <a:pt x="71460" y="53076"/>
                  </a:cubicBezTo>
                  <a:cubicBezTo>
                    <a:pt x="68764" y="48461"/>
                    <a:pt x="72808" y="43846"/>
                    <a:pt x="70112" y="39230"/>
                  </a:cubicBezTo>
                  <a:cubicBezTo>
                    <a:pt x="68764" y="36923"/>
                    <a:pt x="67415" y="32307"/>
                    <a:pt x="66067" y="30000"/>
                  </a:cubicBezTo>
                  <a:cubicBezTo>
                    <a:pt x="64719" y="27692"/>
                    <a:pt x="62022" y="25384"/>
                    <a:pt x="60674" y="27692"/>
                  </a:cubicBezTo>
                  <a:cubicBezTo>
                    <a:pt x="57977" y="30000"/>
                    <a:pt x="55280" y="27692"/>
                    <a:pt x="51235" y="27692"/>
                  </a:cubicBezTo>
                  <a:cubicBezTo>
                    <a:pt x="48539" y="27692"/>
                    <a:pt x="44494" y="30000"/>
                    <a:pt x="41797" y="27692"/>
                  </a:cubicBezTo>
                  <a:cubicBezTo>
                    <a:pt x="40449" y="25384"/>
                    <a:pt x="37752" y="20769"/>
                    <a:pt x="36404" y="18461"/>
                  </a:cubicBezTo>
                  <a:cubicBezTo>
                    <a:pt x="33707" y="13846"/>
                    <a:pt x="32359" y="13846"/>
                    <a:pt x="31011" y="18461"/>
                  </a:cubicBezTo>
                  <a:cubicBezTo>
                    <a:pt x="29662" y="20769"/>
                    <a:pt x="28314" y="23076"/>
                    <a:pt x="25617" y="23076"/>
                  </a:cubicBezTo>
                  <a:cubicBezTo>
                    <a:pt x="21573" y="23076"/>
                    <a:pt x="21573" y="18461"/>
                    <a:pt x="22921" y="13846"/>
                  </a:cubicBezTo>
                  <a:cubicBezTo>
                    <a:pt x="24269" y="6923"/>
                    <a:pt x="24269" y="6923"/>
                    <a:pt x="20224" y="2307"/>
                  </a:cubicBezTo>
                  <a:cubicBezTo>
                    <a:pt x="20224" y="4615"/>
                    <a:pt x="20224" y="9230"/>
                    <a:pt x="20224" y="11538"/>
                  </a:cubicBezTo>
                  <a:cubicBezTo>
                    <a:pt x="20224" y="16153"/>
                    <a:pt x="21573" y="18461"/>
                    <a:pt x="18876" y="18461"/>
                  </a:cubicBezTo>
                  <a:cubicBezTo>
                    <a:pt x="16179" y="16153"/>
                    <a:pt x="16179" y="9230"/>
                    <a:pt x="17528" y="6923"/>
                  </a:cubicBezTo>
                  <a:cubicBezTo>
                    <a:pt x="17528" y="6923"/>
                    <a:pt x="20224" y="0"/>
                    <a:pt x="18876" y="0"/>
                  </a:cubicBezTo>
                  <a:cubicBezTo>
                    <a:pt x="12134" y="2307"/>
                    <a:pt x="6741" y="4615"/>
                    <a:pt x="1348" y="9230"/>
                  </a:cubicBezTo>
                  <a:cubicBezTo>
                    <a:pt x="0" y="9230"/>
                    <a:pt x="1348" y="32307"/>
                    <a:pt x="1348" y="34615"/>
                  </a:cubicBezTo>
                  <a:cubicBezTo>
                    <a:pt x="1348" y="41538"/>
                    <a:pt x="1348" y="48461"/>
                    <a:pt x="1348" y="53076"/>
                  </a:cubicBezTo>
                  <a:cubicBezTo>
                    <a:pt x="1348" y="57692"/>
                    <a:pt x="0" y="60000"/>
                    <a:pt x="2696" y="60000"/>
                  </a:cubicBezTo>
                  <a:cubicBezTo>
                    <a:pt x="4044" y="60000"/>
                    <a:pt x="5393" y="60000"/>
                    <a:pt x="8089" y="60000"/>
                  </a:cubicBezTo>
                  <a:cubicBezTo>
                    <a:pt x="10786" y="60000"/>
                    <a:pt x="6741" y="55384"/>
                    <a:pt x="8089" y="53076"/>
                  </a:cubicBezTo>
                  <a:cubicBezTo>
                    <a:pt x="9438" y="48461"/>
                    <a:pt x="12134" y="50769"/>
                    <a:pt x="13483" y="46153"/>
                  </a:cubicBezTo>
                  <a:cubicBezTo>
                    <a:pt x="16179" y="43846"/>
                    <a:pt x="16179" y="43846"/>
                    <a:pt x="17528" y="41538"/>
                  </a:cubicBezTo>
                  <a:cubicBezTo>
                    <a:pt x="20224" y="39230"/>
                    <a:pt x="21573" y="41538"/>
                    <a:pt x="22921" y="43846"/>
                  </a:cubicBezTo>
                  <a:cubicBezTo>
                    <a:pt x="24269" y="46153"/>
                    <a:pt x="28314" y="46153"/>
                    <a:pt x="28314" y="46153"/>
                  </a:cubicBezTo>
                  <a:cubicBezTo>
                    <a:pt x="29662" y="50769"/>
                    <a:pt x="28314" y="53076"/>
                    <a:pt x="28314" y="55384"/>
                  </a:cubicBezTo>
                  <a:cubicBezTo>
                    <a:pt x="29662" y="62307"/>
                    <a:pt x="33707" y="62307"/>
                    <a:pt x="35056" y="62307"/>
                  </a:cubicBezTo>
                  <a:cubicBezTo>
                    <a:pt x="41797" y="62307"/>
                    <a:pt x="41797" y="69230"/>
                    <a:pt x="44494" y="78461"/>
                  </a:cubicBezTo>
                  <a:cubicBezTo>
                    <a:pt x="45842" y="80769"/>
                    <a:pt x="48539" y="83076"/>
                    <a:pt x="51235" y="85384"/>
                  </a:cubicBezTo>
                  <a:cubicBezTo>
                    <a:pt x="52584" y="85384"/>
                    <a:pt x="53932" y="87692"/>
                    <a:pt x="55280" y="90000"/>
                  </a:cubicBezTo>
                  <a:cubicBezTo>
                    <a:pt x="59325" y="94615"/>
                    <a:pt x="63370" y="101538"/>
                    <a:pt x="67415" y="103846"/>
                  </a:cubicBezTo>
                  <a:cubicBezTo>
                    <a:pt x="72808" y="106153"/>
                    <a:pt x="72808" y="106153"/>
                    <a:pt x="72808" y="113076"/>
                  </a:cubicBezTo>
                  <a:cubicBezTo>
                    <a:pt x="75505" y="113076"/>
                    <a:pt x="79550" y="117692"/>
                    <a:pt x="82247" y="120000"/>
                  </a:cubicBezTo>
                  <a:cubicBezTo>
                    <a:pt x="82247" y="113076"/>
                    <a:pt x="80898" y="113076"/>
                    <a:pt x="84943" y="108461"/>
                  </a:cubicBezTo>
                  <a:cubicBezTo>
                    <a:pt x="86292" y="103846"/>
                    <a:pt x="83595" y="101538"/>
                    <a:pt x="83595" y="96923"/>
                  </a:cubicBezTo>
                  <a:cubicBezTo>
                    <a:pt x="84943" y="90000"/>
                    <a:pt x="80898" y="92307"/>
                    <a:pt x="79550" y="87692"/>
                  </a:cubicBezTo>
                  <a:cubicBezTo>
                    <a:pt x="78202" y="83076"/>
                    <a:pt x="84943" y="85384"/>
                    <a:pt x="86292" y="83076"/>
                  </a:cubicBezTo>
                  <a:cubicBezTo>
                    <a:pt x="90337" y="80769"/>
                    <a:pt x="86292" y="73846"/>
                    <a:pt x="88988" y="76153"/>
                  </a:cubicBezTo>
                  <a:cubicBezTo>
                    <a:pt x="94382" y="76153"/>
                    <a:pt x="88988" y="69230"/>
                    <a:pt x="91685" y="69230"/>
                  </a:cubicBezTo>
                  <a:cubicBezTo>
                    <a:pt x="93033" y="66923"/>
                    <a:pt x="94382" y="71538"/>
                    <a:pt x="95730" y="69230"/>
                  </a:cubicBezTo>
                  <a:cubicBezTo>
                    <a:pt x="97078" y="69230"/>
                    <a:pt x="98426" y="66923"/>
                    <a:pt x="99775" y="66923"/>
                  </a:cubicBezTo>
                  <a:cubicBezTo>
                    <a:pt x="102471" y="66923"/>
                    <a:pt x="99775" y="76153"/>
                    <a:pt x="99775" y="78461"/>
                  </a:cubicBezTo>
                  <a:cubicBezTo>
                    <a:pt x="101123" y="78461"/>
                    <a:pt x="103820" y="71538"/>
                    <a:pt x="103820" y="78461"/>
                  </a:cubicBezTo>
                  <a:cubicBezTo>
                    <a:pt x="103820" y="78461"/>
                    <a:pt x="103820" y="73846"/>
                    <a:pt x="105168" y="73846"/>
                  </a:cubicBezTo>
                  <a:cubicBezTo>
                    <a:pt x="106516" y="73846"/>
                    <a:pt x="103820" y="73846"/>
                    <a:pt x="105168" y="73846"/>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97" name="Shape 2571">
              <a:extLst>
                <a:ext uri="{FF2B5EF4-FFF2-40B4-BE49-F238E27FC236}">
                  <a16:creationId xmlns:a16="http://schemas.microsoft.com/office/drawing/2014/main" id="{693BD851-21FA-804B-902F-6BF6C1D8F385}"/>
                </a:ext>
              </a:extLst>
            </p:cNvPr>
            <p:cNvSpPr/>
            <p:nvPr/>
          </p:nvSpPr>
          <p:spPr>
            <a:xfrm>
              <a:off x="14525014" y="7293760"/>
              <a:ext cx="0" cy="9559"/>
            </a:xfrm>
            <a:custGeom>
              <a:avLst/>
              <a:gdLst/>
              <a:ahLst/>
              <a:cxnLst/>
              <a:rect l="0" t="0" r="0" b="0"/>
              <a:pathLst>
                <a:path w="120000" h="120000" extrusionOk="0">
                  <a:moveTo>
                    <a:pt x="0" y="120000"/>
                  </a:moveTo>
                  <a:cubicBezTo>
                    <a:pt x="0" y="0"/>
                    <a:pt x="0" y="0"/>
                    <a:pt x="0" y="0"/>
                  </a:cubicBezTo>
                  <a:cubicBezTo>
                    <a:pt x="0" y="0"/>
                    <a:pt x="0" y="0"/>
                    <a:pt x="0" y="12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98" name="Shape 2572">
              <a:extLst>
                <a:ext uri="{FF2B5EF4-FFF2-40B4-BE49-F238E27FC236}">
                  <a16:creationId xmlns:a16="http://schemas.microsoft.com/office/drawing/2014/main" id="{B6164985-AF89-3A4C-831E-FB8D1BFEE1F4}"/>
                </a:ext>
              </a:extLst>
            </p:cNvPr>
            <p:cNvSpPr/>
            <p:nvPr/>
          </p:nvSpPr>
          <p:spPr>
            <a:xfrm>
              <a:off x="14095076" y="6921050"/>
              <a:ext cx="681526" cy="401378"/>
            </a:xfrm>
            <a:custGeom>
              <a:avLst/>
              <a:gdLst/>
              <a:ahLst/>
              <a:cxnLst/>
              <a:rect l="0" t="0" r="0" b="0"/>
              <a:pathLst>
                <a:path w="120000" h="120000" extrusionOk="0">
                  <a:moveTo>
                    <a:pt x="119999" y="78139"/>
                  </a:moveTo>
                  <a:cubicBezTo>
                    <a:pt x="118356" y="75348"/>
                    <a:pt x="116712" y="75348"/>
                    <a:pt x="113424" y="75348"/>
                  </a:cubicBezTo>
                  <a:cubicBezTo>
                    <a:pt x="111780" y="72558"/>
                    <a:pt x="108493" y="69767"/>
                    <a:pt x="106849" y="66976"/>
                  </a:cubicBezTo>
                  <a:cubicBezTo>
                    <a:pt x="103561" y="64186"/>
                    <a:pt x="98630" y="61395"/>
                    <a:pt x="95342" y="55813"/>
                  </a:cubicBezTo>
                  <a:cubicBezTo>
                    <a:pt x="93698" y="50232"/>
                    <a:pt x="88767" y="50232"/>
                    <a:pt x="85479" y="44651"/>
                  </a:cubicBezTo>
                  <a:cubicBezTo>
                    <a:pt x="83835" y="36279"/>
                    <a:pt x="82191" y="25116"/>
                    <a:pt x="77260" y="25116"/>
                  </a:cubicBezTo>
                  <a:cubicBezTo>
                    <a:pt x="72328" y="25116"/>
                    <a:pt x="65753" y="25116"/>
                    <a:pt x="65753" y="13953"/>
                  </a:cubicBezTo>
                  <a:cubicBezTo>
                    <a:pt x="65753" y="11162"/>
                    <a:pt x="67397" y="5581"/>
                    <a:pt x="65753" y="5581"/>
                  </a:cubicBezTo>
                  <a:cubicBezTo>
                    <a:pt x="64109" y="2790"/>
                    <a:pt x="62465" y="5581"/>
                    <a:pt x="59178" y="2790"/>
                  </a:cubicBezTo>
                  <a:cubicBezTo>
                    <a:pt x="59178" y="2790"/>
                    <a:pt x="57534" y="0"/>
                    <a:pt x="55890" y="0"/>
                  </a:cubicBezTo>
                  <a:cubicBezTo>
                    <a:pt x="54246" y="0"/>
                    <a:pt x="52602" y="2790"/>
                    <a:pt x="50958" y="2790"/>
                  </a:cubicBezTo>
                  <a:cubicBezTo>
                    <a:pt x="49315" y="0"/>
                    <a:pt x="47671" y="8372"/>
                    <a:pt x="46027" y="8372"/>
                  </a:cubicBezTo>
                  <a:cubicBezTo>
                    <a:pt x="44383" y="8372"/>
                    <a:pt x="39452" y="11162"/>
                    <a:pt x="41095" y="16744"/>
                  </a:cubicBezTo>
                  <a:cubicBezTo>
                    <a:pt x="42739" y="25116"/>
                    <a:pt x="41095" y="22325"/>
                    <a:pt x="36164" y="22325"/>
                  </a:cubicBezTo>
                  <a:cubicBezTo>
                    <a:pt x="34520" y="22325"/>
                    <a:pt x="29589" y="22325"/>
                    <a:pt x="27945" y="22325"/>
                  </a:cubicBezTo>
                  <a:cubicBezTo>
                    <a:pt x="24657" y="16744"/>
                    <a:pt x="23013" y="11162"/>
                    <a:pt x="19726" y="5581"/>
                  </a:cubicBezTo>
                  <a:cubicBezTo>
                    <a:pt x="14794" y="0"/>
                    <a:pt x="8219" y="8372"/>
                    <a:pt x="3287" y="13953"/>
                  </a:cubicBezTo>
                  <a:cubicBezTo>
                    <a:pt x="4931" y="16744"/>
                    <a:pt x="9863" y="27906"/>
                    <a:pt x="8219" y="33488"/>
                  </a:cubicBezTo>
                  <a:cubicBezTo>
                    <a:pt x="0" y="41860"/>
                    <a:pt x="9863" y="41860"/>
                    <a:pt x="13150" y="47441"/>
                  </a:cubicBezTo>
                  <a:cubicBezTo>
                    <a:pt x="13150" y="47441"/>
                    <a:pt x="13150" y="53023"/>
                    <a:pt x="13150" y="53023"/>
                  </a:cubicBezTo>
                  <a:cubicBezTo>
                    <a:pt x="11506" y="55813"/>
                    <a:pt x="14794" y="61395"/>
                    <a:pt x="16438" y="61395"/>
                  </a:cubicBezTo>
                  <a:cubicBezTo>
                    <a:pt x="16438" y="64186"/>
                    <a:pt x="14794" y="66976"/>
                    <a:pt x="14794" y="72558"/>
                  </a:cubicBezTo>
                  <a:cubicBezTo>
                    <a:pt x="14794" y="75348"/>
                    <a:pt x="14794" y="80930"/>
                    <a:pt x="14794" y="86511"/>
                  </a:cubicBezTo>
                  <a:cubicBezTo>
                    <a:pt x="18082" y="86511"/>
                    <a:pt x="19726" y="86511"/>
                    <a:pt x="23013" y="80930"/>
                  </a:cubicBezTo>
                  <a:cubicBezTo>
                    <a:pt x="24657" y="78139"/>
                    <a:pt x="26301" y="75348"/>
                    <a:pt x="27945" y="72558"/>
                  </a:cubicBezTo>
                  <a:cubicBezTo>
                    <a:pt x="34520" y="72558"/>
                    <a:pt x="39452" y="69767"/>
                    <a:pt x="44383" y="75348"/>
                  </a:cubicBezTo>
                  <a:cubicBezTo>
                    <a:pt x="47671" y="83720"/>
                    <a:pt x="57534" y="78139"/>
                    <a:pt x="60821" y="86511"/>
                  </a:cubicBezTo>
                  <a:cubicBezTo>
                    <a:pt x="64109" y="94883"/>
                    <a:pt x="67397" y="97674"/>
                    <a:pt x="73972" y="97674"/>
                  </a:cubicBezTo>
                  <a:cubicBezTo>
                    <a:pt x="75616" y="97674"/>
                    <a:pt x="75616" y="97674"/>
                    <a:pt x="75616" y="103255"/>
                  </a:cubicBezTo>
                  <a:cubicBezTo>
                    <a:pt x="75616" y="111627"/>
                    <a:pt x="75616" y="111627"/>
                    <a:pt x="78904" y="117209"/>
                  </a:cubicBezTo>
                  <a:cubicBezTo>
                    <a:pt x="82191" y="117209"/>
                    <a:pt x="83835" y="120000"/>
                    <a:pt x="87123" y="120000"/>
                  </a:cubicBezTo>
                  <a:cubicBezTo>
                    <a:pt x="92054" y="120000"/>
                    <a:pt x="92054" y="117209"/>
                    <a:pt x="93698" y="111627"/>
                  </a:cubicBezTo>
                  <a:cubicBezTo>
                    <a:pt x="95342" y="106046"/>
                    <a:pt x="98630" y="108837"/>
                    <a:pt x="101917" y="106046"/>
                  </a:cubicBezTo>
                  <a:cubicBezTo>
                    <a:pt x="105205" y="103255"/>
                    <a:pt x="105205" y="97674"/>
                    <a:pt x="106849" y="92093"/>
                  </a:cubicBezTo>
                  <a:cubicBezTo>
                    <a:pt x="106849" y="86511"/>
                    <a:pt x="111780" y="92093"/>
                    <a:pt x="113424" y="86511"/>
                  </a:cubicBezTo>
                  <a:cubicBezTo>
                    <a:pt x="113424" y="80930"/>
                    <a:pt x="118356" y="86511"/>
                    <a:pt x="119999" y="86511"/>
                  </a:cubicBezTo>
                  <a:cubicBezTo>
                    <a:pt x="119999" y="83720"/>
                    <a:pt x="119999" y="80930"/>
                    <a:pt x="119999" y="78139"/>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299" name="Shape 2573">
              <a:extLst>
                <a:ext uri="{FF2B5EF4-FFF2-40B4-BE49-F238E27FC236}">
                  <a16:creationId xmlns:a16="http://schemas.microsoft.com/office/drawing/2014/main" id="{3210F806-96E6-4F4B-B901-3DDC2B7D5B79}"/>
                </a:ext>
              </a:extLst>
            </p:cNvPr>
            <p:cNvSpPr/>
            <p:nvPr/>
          </p:nvSpPr>
          <p:spPr>
            <a:xfrm>
              <a:off x="14814822" y="7013432"/>
              <a:ext cx="372609" cy="251657"/>
            </a:xfrm>
            <a:custGeom>
              <a:avLst/>
              <a:gdLst/>
              <a:ahLst/>
              <a:cxnLst/>
              <a:rect l="0" t="0" r="0" b="0"/>
              <a:pathLst>
                <a:path w="120000" h="120000" extrusionOk="0">
                  <a:moveTo>
                    <a:pt x="90000" y="44444"/>
                  </a:moveTo>
                  <a:cubicBezTo>
                    <a:pt x="84000" y="48888"/>
                    <a:pt x="81000" y="44444"/>
                    <a:pt x="75000" y="44444"/>
                  </a:cubicBezTo>
                  <a:cubicBezTo>
                    <a:pt x="69000" y="44444"/>
                    <a:pt x="66000" y="35555"/>
                    <a:pt x="63000" y="35555"/>
                  </a:cubicBezTo>
                  <a:cubicBezTo>
                    <a:pt x="60000" y="35555"/>
                    <a:pt x="60000" y="40000"/>
                    <a:pt x="57000" y="40000"/>
                  </a:cubicBezTo>
                  <a:cubicBezTo>
                    <a:pt x="57000" y="44444"/>
                    <a:pt x="54000" y="40000"/>
                    <a:pt x="51000" y="40000"/>
                  </a:cubicBezTo>
                  <a:cubicBezTo>
                    <a:pt x="45000" y="40000"/>
                    <a:pt x="36000" y="40000"/>
                    <a:pt x="30000" y="35555"/>
                  </a:cubicBezTo>
                  <a:cubicBezTo>
                    <a:pt x="27000" y="31111"/>
                    <a:pt x="36000" y="22222"/>
                    <a:pt x="36000" y="22222"/>
                  </a:cubicBezTo>
                  <a:cubicBezTo>
                    <a:pt x="42000" y="17777"/>
                    <a:pt x="45000" y="31111"/>
                    <a:pt x="48000" y="31111"/>
                  </a:cubicBezTo>
                  <a:cubicBezTo>
                    <a:pt x="54000" y="31111"/>
                    <a:pt x="57000" y="26666"/>
                    <a:pt x="57000" y="22222"/>
                  </a:cubicBezTo>
                  <a:cubicBezTo>
                    <a:pt x="54000" y="17777"/>
                    <a:pt x="51000" y="26666"/>
                    <a:pt x="48000" y="26666"/>
                  </a:cubicBezTo>
                  <a:cubicBezTo>
                    <a:pt x="45000" y="22222"/>
                    <a:pt x="51000" y="8888"/>
                    <a:pt x="48000" y="4444"/>
                  </a:cubicBezTo>
                  <a:cubicBezTo>
                    <a:pt x="48000" y="0"/>
                    <a:pt x="42000" y="8888"/>
                    <a:pt x="42000" y="8888"/>
                  </a:cubicBezTo>
                  <a:cubicBezTo>
                    <a:pt x="36000" y="13333"/>
                    <a:pt x="33000" y="4444"/>
                    <a:pt x="30000" y="8888"/>
                  </a:cubicBezTo>
                  <a:cubicBezTo>
                    <a:pt x="24000" y="8888"/>
                    <a:pt x="36000" y="22222"/>
                    <a:pt x="24000" y="22222"/>
                  </a:cubicBezTo>
                  <a:cubicBezTo>
                    <a:pt x="18000" y="17777"/>
                    <a:pt x="27000" y="35555"/>
                    <a:pt x="18000" y="35555"/>
                  </a:cubicBezTo>
                  <a:cubicBezTo>
                    <a:pt x="15000" y="40000"/>
                    <a:pt x="0" y="35555"/>
                    <a:pt x="3000" y="44444"/>
                  </a:cubicBezTo>
                  <a:cubicBezTo>
                    <a:pt x="6000" y="57777"/>
                    <a:pt x="15000" y="48888"/>
                    <a:pt x="12000" y="62222"/>
                  </a:cubicBezTo>
                  <a:cubicBezTo>
                    <a:pt x="12000" y="75555"/>
                    <a:pt x="21000" y="75555"/>
                    <a:pt x="12000" y="84444"/>
                  </a:cubicBezTo>
                  <a:cubicBezTo>
                    <a:pt x="9000" y="88888"/>
                    <a:pt x="3000" y="106666"/>
                    <a:pt x="12000" y="106666"/>
                  </a:cubicBezTo>
                  <a:cubicBezTo>
                    <a:pt x="18000" y="106666"/>
                    <a:pt x="24000" y="93333"/>
                    <a:pt x="27000" y="97777"/>
                  </a:cubicBezTo>
                  <a:cubicBezTo>
                    <a:pt x="36000" y="111111"/>
                    <a:pt x="27000" y="88888"/>
                    <a:pt x="36000" y="88888"/>
                  </a:cubicBezTo>
                  <a:cubicBezTo>
                    <a:pt x="42000" y="88888"/>
                    <a:pt x="45000" y="84444"/>
                    <a:pt x="51000" y="75555"/>
                  </a:cubicBezTo>
                  <a:cubicBezTo>
                    <a:pt x="54000" y="62222"/>
                    <a:pt x="57000" y="66666"/>
                    <a:pt x="60000" y="75555"/>
                  </a:cubicBezTo>
                  <a:cubicBezTo>
                    <a:pt x="63000" y="80000"/>
                    <a:pt x="66000" y="84444"/>
                    <a:pt x="66000" y="93333"/>
                  </a:cubicBezTo>
                  <a:cubicBezTo>
                    <a:pt x="66000" y="97777"/>
                    <a:pt x="63000" y="102222"/>
                    <a:pt x="63000" y="106666"/>
                  </a:cubicBezTo>
                  <a:cubicBezTo>
                    <a:pt x="66000" y="120000"/>
                    <a:pt x="78000" y="106666"/>
                    <a:pt x="81000" y="102222"/>
                  </a:cubicBezTo>
                  <a:cubicBezTo>
                    <a:pt x="84000" y="97777"/>
                    <a:pt x="93000" y="88888"/>
                    <a:pt x="96000" y="93333"/>
                  </a:cubicBezTo>
                  <a:cubicBezTo>
                    <a:pt x="102000" y="102222"/>
                    <a:pt x="108000" y="88888"/>
                    <a:pt x="117000" y="93333"/>
                  </a:cubicBezTo>
                  <a:cubicBezTo>
                    <a:pt x="120000" y="88888"/>
                    <a:pt x="114000" y="80000"/>
                    <a:pt x="114000" y="80000"/>
                  </a:cubicBezTo>
                  <a:cubicBezTo>
                    <a:pt x="111000" y="71111"/>
                    <a:pt x="114000" y="62222"/>
                    <a:pt x="108000" y="62222"/>
                  </a:cubicBezTo>
                  <a:cubicBezTo>
                    <a:pt x="99000" y="66666"/>
                    <a:pt x="93000" y="53333"/>
                    <a:pt x="96000" y="40000"/>
                  </a:cubicBezTo>
                  <a:cubicBezTo>
                    <a:pt x="96000" y="40000"/>
                    <a:pt x="93000" y="40000"/>
                    <a:pt x="90000" y="44444"/>
                  </a:cubicBezTo>
                  <a:cubicBezTo>
                    <a:pt x="87000" y="44444"/>
                    <a:pt x="93000" y="40000"/>
                    <a:pt x="90000" y="44444"/>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00" name="Shape 2574">
              <a:extLst>
                <a:ext uri="{FF2B5EF4-FFF2-40B4-BE49-F238E27FC236}">
                  <a16:creationId xmlns:a16="http://schemas.microsoft.com/office/drawing/2014/main" id="{0E553A7D-6BA1-2D4B-B748-282034741021}"/>
                </a:ext>
              </a:extLst>
            </p:cNvPr>
            <p:cNvSpPr/>
            <p:nvPr/>
          </p:nvSpPr>
          <p:spPr>
            <a:xfrm>
              <a:off x="14515461" y="7230050"/>
              <a:ext cx="773888" cy="691264"/>
            </a:xfrm>
            <a:custGeom>
              <a:avLst/>
              <a:gdLst/>
              <a:ahLst/>
              <a:cxnLst/>
              <a:rect l="0" t="0" r="0" b="0"/>
              <a:pathLst>
                <a:path w="120000" h="120000" extrusionOk="0">
                  <a:moveTo>
                    <a:pt x="11566" y="82702"/>
                  </a:moveTo>
                  <a:cubicBezTo>
                    <a:pt x="11566" y="84324"/>
                    <a:pt x="11566" y="85945"/>
                    <a:pt x="13012" y="87567"/>
                  </a:cubicBezTo>
                  <a:cubicBezTo>
                    <a:pt x="14457" y="89189"/>
                    <a:pt x="15903" y="90810"/>
                    <a:pt x="15903" y="92432"/>
                  </a:cubicBezTo>
                  <a:cubicBezTo>
                    <a:pt x="15903" y="94054"/>
                    <a:pt x="8674" y="97297"/>
                    <a:pt x="7228" y="98918"/>
                  </a:cubicBezTo>
                  <a:cubicBezTo>
                    <a:pt x="5783" y="98918"/>
                    <a:pt x="4337" y="100540"/>
                    <a:pt x="4337" y="103783"/>
                  </a:cubicBezTo>
                  <a:cubicBezTo>
                    <a:pt x="4337" y="107027"/>
                    <a:pt x="4337" y="107027"/>
                    <a:pt x="8674" y="107027"/>
                  </a:cubicBezTo>
                  <a:cubicBezTo>
                    <a:pt x="11566" y="105405"/>
                    <a:pt x="15903" y="105405"/>
                    <a:pt x="18795" y="103783"/>
                  </a:cubicBezTo>
                  <a:cubicBezTo>
                    <a:pt x="21686" y="103783"/>
                    <a:pt x="24578" y="103783"/>
                    <a:pt x="27469" y="105405"/>
                  </a:cubicBezTo>
                  <a:cubicBezTo>
                    <a:pt x="28915" y="105405"/>
                    <a:pt x="31807" y="105405"/>
                    <a:pt x="33253" y="105405"/>
                  </a:cubicBezTo>
                  <a:cubicBezTo>
                    <a:pt x="36144" y="105405"/>
                    <a:pt x="37590" y="103783"/>
                    <a:pt x="40481" y="103783"/>
                  </a:cubicBezTo>
                  <a:cubicBezTo>
                    <a:pt x="41927" y="103783"/>
                    <a:pt x="41927" y="107027"/>
                    <a:pt x="41927" y="108648"/>
                  </a:cubicBezTo>
                  <a:cubicBezTo>
                    <a:pt x="43373" y="110270"/>
                    <a:pt x="44819" y="110270"/>
                    <a:pt x="46265" y="111891"/>
                  </a:cubicBezTo>
                  <a:cubicBezTo>
                    <a:pt x="46265" y="113513"/>
                    <a:pt x="47710" y="116756"/>
                    <a:pt x="47710" y="118378"/>
                  </a:cubicBezTo>
                  <a:cubicBezTo>
                    <a:pt x="50602" y="120000"/>
                    <a:pt x="49156" y="116756"/>
                    <a:pt x="49156" y="115135"/>
                  </a:cubicBezTo>
                  <a:cubicBezTo>
                    <a:pt x="50602" y="115135"/>
                    <a:pt x="52048" y="118378"/>
                    <a:pt x="52048" y="118378"/>
                  </a:cubicBezTo>
                  <a:cubicBezTo>
                    <a:pt x="54939" y="116756"/>
                    <a:pt x="57831" y="113513"/>
                    <a:pt x="62168" y="115135"/>
                  </a:cubicBezTo>
                  <a:cubicBezTo>
                    <a:pt x="63614" y="115135"/>
                    <a:pt x="65060" y="115135"/>
                    <a:pt x="66506" y="113513"/>
                  </a:cubicBezTo>
                  <a:cubicBezTo>
                    <a:pt x="67951" y="113513"/>
                    <a:pt x="70843" y="113513"/>
                    <a:pt x="72289" y="113513"/>
                  </a:cubicBezTo>
                  <a:cubicBezTo>
                    <a:pt x="73734" y="111891"/>
                    <a:pt x="70843" y="103783"/>
                    <a:pt x="69397" y="103783"/>
                  </a:cubicBezTo>
                  <a:cubicBezTo>
                    <a:pt x="67951" y="102162"/>
                    <a:pt x="66506" y="102162"/>
                    <a:pt x="66506" y="98918"/>
                  </a:cubicBezTo>
                  <a:cubicBezTo>
                    <a:pt x="66506" y="95675"/>
                    <a:pt x="65060" y="94054"/>
                    <a:pt x="63614" y="92432"/>
                  </a:cubicBezTo>
                  <a:cubicBezTo>
                    <a:pt x="59277" y="90810"/>
                    <a:pt x="65060" y="87567"/>
                    <a:pt x="66506" y="84324"/>
                  </a:cubicBezTo>
                  <a:cubicBezTo>
                    <a:pt x="67951" y="84324"/>
                    <a:pt x="67951" y="82702"/>
                    <a:pt x="70843" y="84324"/>
                  </a:cubicBezTo>
                  <a:cubicBezTo>
                    <a:pt x="73734" y="87567"/>
                    <a:pt x="72289" y="84324"/>
                    <a:pt x="75180" y="84324"/>
                  </a:cubicBezTo>
                  <a:cubicBezTo>
                    <a:pt x="80963" y="82702"/>
                    <a:pt x="79518" y="77837"/>
                    <a:pt x="82409" y="74594"/>
                  </a:cubicBezTo>
                  <a:cubicBezTo>
                    <a:pt x="83855" y="72972"/>
                    <a:pt x="86746" y="72972"/>
                    <a:pt x="86746" y="71351"/>
                  </a:cubicBezTo>
                  <a:cubicBezTo>
                    <a:pt x="88192" y="69729"/>
                    <a:pt x="89638" y="68108"/>
                    <a:pt x="89638" y="66486"/>
                  </a:cubicBezTo>
                  <a:cubicBezTo>
                    <a:pt x="89638" y="64864"/>
                    <a:pt x="92530" y="63243"/>
                    <a:pt x="93975" y="63243"/>
                  </a:cubicBezTo>
                  <a:cubicBezTo>
                    <a:pt x="95421" y="63243"/>
                    <a:pt x="95421" y="60000"/>
                    <a:pt x="95421" y="60000"/>
                  </a:cubicBezTo>
                  <a:cubicBezTo>
                    <a:pt x="95421" y="55135"/>
                    <a:pt x="101204" y="58378"/>
                    <a:pt x="99759" y="53513"/>
                  </a:cubicBezTo>
                  <a:cubicBezTo>
                    <a:pt x="99759" y="48648"/>
                    <a:pt x="98313" y="47027"/>
                    <a:pt x="102650" y="43783"/>
                  </a:cubicBezTo>
                  <a:cubicBezTo>
                    <a:pt x="104096" y="43783"/>
                    <a:pt x="96867" y="38918"/>
                    <a:pt x="95421" y="37297"/>
                  </a:cubicBezTo>
                  <a:cubicBezTo>
                    <a:pt x="93975" y="34054"/>
                    <a:pt x="95421" y="29189"/>
                    <a:pt x="93975" y="25945"/>
                  </a:cubicBezTo>
                  <a:cubicBezTo>
                    <a:pt x="93975" y="21081"/>
                    <a:pt x="98313" y="21081"/>
                    <a:pt x="101204" y="22702"/>
                  </a:cubicBezTo>
                  <a:cubicBezTo>
                    <a:pt x="102650" y="22702"/>
                    <a:pt x="105542" y="24324"/>
                    <a:pt x="106987" y="24324"/>
                  </a:cubicBezTo>
                  <a:cubicBezTo>
                    <a:pt x="109879" y="24324"/>
                    <a:pt x="109879" y="22702"/>
                    <a:pt x="111325" y="21081"/>
                  </a:cubicBezTo>
                  <a:cubicBezTo>
                    <a:pt x="115662" y="21081"/>
                    <a:pt x="117108" y="21081"/>
                    <a:pt x="119999" y="16216"/>
                  </a:cubicBezTo>
                  <a:cubicBezTo>
                    <a:pt x="115662" y="14594"/>
                    <a:pt x="111325" y="12972"/>
                    <a:pt x="109879" y="9729"/>
                  </a:cubicBezTo>
                  <a:cubicBezTo>
                    <a:pt x="108433" y="8108"/>
                    <a:pt x="108433" y="4864"/>
                    <a:pt x="106987" y="3243"/>
                  </a:cubicBezTo>
                  <a:cubicBezTo>
                    <a:pt x="105542" y="1621"/>
                    <a:pt x="104096" y="1621"/>
                    <a:pt x="102650" y="0"/>
                  </a:cubicBezTo>
                  <a:cubicBezTo>
                    <a:pt x="99759" y="0"/>
                    <a:pt x="95421" y="1621"/>
                    <a:pt x="93975" y="1621"/>
                  </a:cubicBezTo>
                  <a:cubicBezTo>
                    <a:pt x="88192" y="0"/>
                    <a:pt x="85301" y="3243"/>
                    <a:pt x="80963" y="6486"/>
                  </a:cubicBezTo>
                  <a:cubicBezTo>
                    <a:pt x="76626" y="8108"/>
                    <a:pt x="73734" y="8108"/>
                    <a:pt x="76626" y="12972"/>
                  </a:cubicBezTo>
                  <a:cubicBezTo>
                    <a:pt x="79518" y="16216"/>
                    <a:pt x="76626" y="19459"/>
                    <a:pt x="73734" y="21081"/>
                  </a:cubicBezTo>
                  <a:cubicBezTo>
                    <a:pt x="70843" y="24324"/>
                    <a:pt x="75180" y="30810"/>
                    <a:pt x="69397" y="29189"/>
                  </a:cubicBezTo>
                  <a:cubicBezTo>
                    <a:pt x="62168" y="29189"/>
                    <a:pt x="67951" y="30810"/>
                    <a:pt x="67951" y="34054"/>
                  </a:cubicBezTo>
                  <a:cubicBezTo>
                    <a:pt x="69397" y="35675"/>
                    <a:pt x="63614" y="37297"/>
                    <a:pt x="62168" y="38918"/>
                  </a:cubicBezTo>
                  <a:cubicBezTo>
                    <a:pt x="60722" y="42162"/>
                    <a:pt x="60722" y="48648"/>
                    <a:pt x="59277" y="48648"/>
                  </a:cubicBezTo>
                  <a:cubicBezTo>
                    <a:pt x="57831" y="50270"/>
                    <a:pt x="56385" y="48648"/>
                    <a:pt x="54939" y="48648"/>
                  </a:cubicBezTo>
                  <a:cubicBezTo>
                    <a:pt x="52048" y="48648"/>
                    <a:pt x="50602" y="50270"/>
                    <a:pt x="49156" y="51891"/>
                  </a:cubicBezTo>
                  <a:cubicBezTo>
                    <a:pt x="46265" y="53513"/>
                    <a:pt x="44819" y="51891"/>
                    <a:pt x="43373" y="53513"/>
                  </a:cubicBezTo>
                  <a:cubicBezTo>
                    <a:pt x="40481" y="55135"/>
                    <a:pt x="40481" y="56756"/>
                    <a:pt x="39036" y="60000"/>
                  </a:cubicBezTo>
                  <a:cubicBezTo>
                    <a:pt x="39036" y="64864"/>
                    <a:pt x="36144" y="66486"/>
                    <a:pt x="31807" y="68108"/>
                  </a:cubicBezTo>
                  <a:cubicBezTo>
                    <a:pt x="27469" y="69729"/>
                    <a:pt x="23132" y="69729"/>
                    <a:pt x="18795" y="69729"/>
                  </a:cubicBezTo>
                  <a:cubicBezTo>
                    <a:pt x="11566" y="69729"/>
                    <a:pt x="5783" y="68108"/>
                    <a:pt x="0" y="64864"/>
                  </a:cubicBezTo>
                  <a:cubicBezTo>
                    <a:pt x="1445" y="68108"/>
                    <a:pt x="2891" y="71351"/>
                    <a:pt x="4337" y="74594"/>
                  </a:cubicBezTo>
                  <a:cubicBezTo>
                    <a:pt x="5783" y="76216"/>
                    <a:pt x="11566" y="77837"/>
                    <a:pt x="11566" y="82702"/>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01" name="Shape 2575">
              <a:extLst>
                <a:ext uri="{FF2B5EF4-FFF2-40B4-BE49-F238E27FC236}">
                  <a16:creationId xmlns:a16="http://schemas.microsoft.com/office/drawing/2014/main" id="{C31EB9B0-299E-1C46-9D00-5296D67EC294}"/>
                </a:ext>
              </a:extLst>
            </p:cNvPr>
            <p:cNvSpPr/>
            <p:nvPr/>
          </p:nvSpPr>
          <p:spPr>
            <a:xfrm>
              <a:off x="14477242" y="7144038"/>
              <a:ext cx="700637" cy="496942"/>
            </a:xfrm>
            <a:custGeom>
              <a:avLst/>
              <a:gdLst/>
              <a:ahLst/>
              <a:cxnLst/>
              <a:rect l="0" t="0" r="0" b="0"/>
              <a:pathLst>
                <a:path w="120000" h="120000" extrusionOk="0">
                  <a:moveTo>
                    <a:pt x="115200" y="15849"/>
                  </a:moveTo>
                  <a:cubicBezTo>
                    <a:pt x="113600" y="15849"/>
                    <a:pt x="112000" y="20377"/>
                    <a:pt x="110400" y="18113"/>
                  </a:cubicBezTo>
                  <a:cubicBezTo>
                    <a:pt x="108800" y="18113"/>
                    <a:pt x="108800" y="13584"/>
                    <a:pt x="107200" y="15849"/>
                  </a:cubicBezTo>
                  <a:cubicBezTo>
                    <a:pt x="104000" y="15849"/>
                    <a:pt x="100800" y="20377"/>
                    <a:pt x="99200" y="22641"/>
                  </a:cubicBezTo>
                  <a:cubicBezTo>
                    <a:pt x="97600" y="22641"/>
                    <a:pt x="94400" y="27169"/>
                    <a:pt x="91200" y="24905"/>
                  </a:cubicBezTo>
                  <a:cubicBezTo>
                    <a:pt x="89600" y="22641"/>
                    <a:pt x="94400" y="13584"/>
                    <a:pt x="91200" y="9056"/>
                  </a:cubicBezTo>
                  <a:cubicBezTo>
                    <a:pt x="91200" y="9056"/>
                    <a:pt x="88000" y="0"/>
                    <a:pt x="86400" y="2264"/>
                  </a:cubicBezTo>
                  <a:cubicBezTo>
                    <a:pt x="84800" y="6792"/>
                    <a:pt x="83200" y="11320"/>
                    <a:pt x="80000" y="13584"/>
                  </a:cubicBezTo>
                  <a:cubicBezTo>
                    <a:pt x="76800" y="15849"/>
                    <a:pt x="75200" y="13584"/>
                    <a:pt x="75200" y="18113"/>
                  </a:cubicBezTo>
                  <a:cubicBezTo>
                    <a:pt x="73600" y="24905"/>
                    <a:pt x="72000" y="15849"/>
                    <a:pt x="70400" y="18113"/>
                  </a:cubicBezTo>
                  <a:cubicBezTo>
                    <a:pt x="67200" y="20377"/>
                    <a:pt x="65600" y="22641"/>
                    <a:pt x="62400" y="22641"/>
                  </a:cubicBezTo>
                  <a:cubicBezTo>
                    <a:pt x="59200" y="20377"/>
                    <a:pt x="56000" y="18113"/>
                    <a:pt x="54400" y="15849"/>
                  </a:cubicBezTo>
                  <a:cubicBezTo>
                    <a:pt x="52800" y="15849"/>
                    <a:pt x="44800" y="13584"/>
                    <a:pt x="44800" y="13584"/>
                  </a:cubicBezTo>
                  <a:cubicBezTo>
                    <a:pt x="43200" y="15849"/>
                    <a:pt x="44800" y="18113"/>
                    <a:pt x="43200" y="18113"/>
                  </a:cubicBezTo>
                  <a:cubicBezTo>
                    <a:pt x="41600" y="18113"/>
                    <a:pt x="38400" y="18113"/>
                    <a:pt x="38400" y="20377"/>
                  </a:cubicBezTo>
                  <a:cubicBezTo>
                    <a:pt x="36800" y="24905"/>
                    <a:pt x="36800" y="29433"/>
                    <a:pt x="33600" y="31698"/>
                  </a:cubicBezTo>
                  <a:cubicBezTo>
                    <a:pt x="28800" y="36226"/>
                    <a:pt x="27200" y="33962"/>
                    <a:pt x="24000" y="38490"/>
                  </a:cubicBezTo>
                  <a:cubicBezTo>
                    <a:pt x="22400" y="43018"/>
                    <a:pt x="19200" y="43018"/>
                    <a:pt x="17600" y="43018"/>
                  </a:cubicBezTo>
                  <a:cubicBezTo>
                    <a:pt x="16000" y="40754"/>
                    <a:pt x="8000" y="38490"/>
                    <a:pt x="8000" y="36226"/>
                  </a:cubicBezTo>
                  <a:cubicBezTo>
                    <a:pt x="8000" y="43018"/>
                    <a:pt x="8000" y="47547"/>
                    <a:pt x="6400" y="52075"/>
                  </a:cubicBezTo>
                  <a:cubicBezTo>
                    <a:pt x="3200" y="56603"/>
                    <a:pt x="0" y="61132"/>
                    <a:pt x="4800" y="65660"/>
                  </a:cubicBezTo>
                  <a:cubicBezTo>
                    <a:pt x="6400" y="67924"/>
                    <a:pt x="3200" y="70188"/>
                    <a:pt x="3200" y="74716"/>
                  </a:cubicBezTo>
                  <a:cubicBezTo>
                    <a:pt x="3200" y="76981"/>
                    <a:pt x="3200" y="81509"/>
                    <a:pt x="4800" y="83773"/>
                  </a:cubicBezTo>
                  <a:cubicBezTo>
                    <a:pt x="4800" y="88301"/>
                    <a:pt x="3200" y="90566"/>
                    <a:pt x="6400" y="90566"/>
                  </a:cubicBezTo>
                  <a:cubicBezTo>
                    <a:pt x="11200" y="92830"/>
                    <a:pt x="12800" y="90566"/>
                    <a:pt x="12800" y="97358"/>
                  </a:cubicBezTo>
                  <a:cubicBezTo>
                    <a:pt x="12800" y="101886"/>
                    <a:pt x="8000" y="108679"/>
                    <a:pt x="6400" y="110943"/>
                  </a:cubicBezTo>
                  <a:cubicBezTo>
                    <a:pt x="19200" y="120000"/>
                    <a:pt x="33600" y="117735"/>
                    <a:pt x="46400" y="113207"/>
                  </a:cubicBezTo>
                  <a:cubicBezTo>
                    <a:pt x="51200" y="110943"/>
                    <a:pt x="49600" y="101886"/>
                    <a:pt x="51200" y="97358"/>
                  </a:cubicBezTo>
                  <a:cubicBezTo>
                    <a:pt x="52800" y="92830"/>
                    <a:pt x="59200" y="95094"/>
                    <a:pt x="62400" y="90566"/>
                  </a:cubicBezTo>
                  <a:cubicBezTo>
                    <a:pt x="64000" y="90566"/>
                    <a:pt x="65600" y="88301"/>
                    <a:pt x="68800" y="88301"/>
                  </a:cubicBezTo>
                  <a:cubicBezTo>
                    <a:pt x="68800" y="88301"/>
                    <a:pt x="72000" y="90566"/>
                    <a:pt x="72000" y="88301"/>
                  </a:cubicBezTo>
                  <a:cubicBezTo>
                    <a:pt x="73600" y="83773"/>
                    <a:pt x="73600" y="79245"/>
                    <a:pt x="75200" y="74716"/>
                  </a:cubicBezTo>
                  <a:cubicBezTo>
                    <a:pt x="76800" y="72452"/>
                    <a:pt x="83200" y="70188"/>
                    <a:pt x="81600" y="67924"/>
                  </a:cubicBezTo>
                  <a:cubicBezTo>
                    <a:pt x="81600" y="65660"/>
                    <a:pt x="75200" y="61132"/>
                    <a:pt x="81600" y="61132"/>
                  </a:cubicBezTo>
                  <a:cubicBezTo>
                    <a:pt x="83200" y="61132"/>
                    <a:pt x="86400" y="63396"/>
                    <a:pt x="88000" y="58867"/>
                  </a:cubicBezTo>
                  <a:cubicBezTo>
                    <a:pt x="88000" y="56603"/>
                    <a:pt x="86400" y="54339"/>
                    <a:pt x="88000" y="52075"/>
                  </a:cubicBezTo>
                  <a:cubicBezTo>
                    <a:pt x="88000" y="47547"/>
                    <a:pt x="92800" y="47547"/>
                    <a:pt x="92800" y="43018"/>
                  </a:cubicBezTo>
                  <a:cubicBezTo>
                    <a:pt x="92800" y="38490"/>
                    <a:pt x="88000" y="36226"/>
                    <a:pt x="89600" y="31698"/>
                  </a:cubicBezTo>
                  <a:cubicBezTo>
                    <a:pt x="92800" y="29433"/>
                    <a:pt x="97600" y="27169"/>
                    <a:pt x="100800" y="24905"/>
                  </a:cubicBezTo>
                  <a:cubicBezTo>
                    <a:pt x="104000" y="20377"/>
                    <a:pt x="108800" y="22641"/>
                    <a:pt x="112000" y="22641"/>
                  </a:cubicBezTo>
                  <a:cubicBezTo>
                    <a:pt x="113600" y="22641"/>
                    <a:pt x="116800" y="22641"/>
                    <a:pt x="118400" y="20377"/>
                  </a:cubicBezTo>
                  <a:cubicBezTo>
                    <a:pt x="118400" y="20377"/>
                    <a:pt x="120000" y="18113"/>
                    <a:pt x="120000" y="15849"/>
                  </a:cubicBezTo>
                  <a:cubicBezTo>
                    <a:pt x="118400" y="15849"/>
                    <a:pt x="116800" y="15849"/>
                    <a:pt x="115200" y="15849"/>
                  </a:cubicBezTo>
                  <a:cubicBezTo>
                    <a:pt x="113600" y="18113"/>
                    <a:pt x="116800" y="15849"/>
                    <a:pt x="115200" y="15849"/>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02" name="Shape 2576">
              <a:extLst>
                <a:ext uri="{FF2B5EF4-FFF2-40B4-BE49-F238E27FC236}">
                  <a16:creationId xmlns:a16="http://schemas.microsoft.com/office/drawing/2014/main" id="{5E21F6E5-1E8D-DC4C-9623-DC5EE234F316}"/>
                </a:ext>
              </a:extLst>
            </p:cNvPr>
            <p:cNvSpPr/>
            <p:nvPr/>
          </p:nvSpPr>
          <p:spPr>
            <a:xfrm>
              <a:off x="14413549" y="6742661"/>
              <a:ext cx="25476" cy="38226"/>
            </a:xfrm>
            <a:custGeom>
              <a:avLst/>
              <a:gdLst/>
              <a:ahLst/>
              <a:cxnLst/>
              <a:rect l="0" t="0" r="0" b="0"/>
              <a:pathLst>
                <a:path w="120000" h="120000" extrusionOk="0">
                  <a:moveTo>
                    <a:pt x="120000" y="60000"/>
                  </a:moveTo>
                  <a:cubicBezTo>
                    <a:pt x="80000" y="60000"/>
                    <a:pt x="40000" y="0"/>
                    <a:pt x="40000" y="30000"/>
                  </a:cubicBezTo>
                  <a:cubicBezTo>
                    <a:pt x="0" y="60000"/>
                    <a:pt x="80000" y="90000"/>
                    <a:pt x="120000" y="120000"/>
                  </a:cubicBezTo>
                  <a:cubicBezTo>
                    <a:pt x="120000" y="90000"/>
                    <a:pt x="120000" y="60000"/>
                    <a:pt x="120000" y="60000"/>
                  </a:cubicBezTo>
                  <a:cubicBezTo>
                    <a:pt x="80000" y="30000"/>
                    <a:pt x="120000" y="60000"/>
                    <a:pt x="120000" y="6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03" name="Shape 2577">
              <a:extLst>
                <a:ext uri="{FF2B5EF4-FFF2-40B4-BE49-F238E27FC236}">
                  <a16:creationId xmlns:a16="http://schemas.microsoft.com/office/drawing/2014/main" id="{7D71287C-39E0-094D-93B2-8BBC812E75DF}"/>
                </a:ext>
              </a:extLst>
            </p:cNvPr>
            <p:cNvSpPr/>
            <p:nvPr/>
          </p:nvSpPr>
          <p:spPr>
            <a:xfrm>
              <a:off x="13824376" y="6153336"/>
              <a:ext cx="1894904" cy="907881"/>
            </a:xfrm>
            <a:custGeom>
              <a:avLst/>
              <a:gdLst/>
              <a:ahLst/>
              <a:cxnLst/>
              <a:rect l="0" t="0" r="0" b="0"/>
              <a:pathLst>
                <a:path w="120000" h="120000" extrusionOk="0">
                  <a:moveTo>
                    <a:pt x="118817" y="48247"/>
                  </a:moveTo>
                  <a:cubicBezTo>
                    <a:pt x="118817" y="47010"/>
                    <a:pt x="116453" y="48247"/>
                    <a:pt x="116453" y="48247"/>
                  </a:cubicBezTo>
                  <a:cubicBezTo>
                    <a:pt x="115270" y="48247"/>
                    <a:pt x="114679" y="47010"/>
                    <a:pt x="114679" y="45773"/>
                  </a:cubicBezTo>
                  <a:cubicBezTo>
                    <a:pt x="114088" y="43298"/>
                    <a:pt x="112906" y="43298"/>
                    <a:pt x="112906" y="42061"/>
                  </a:cubicBezTo>
                  <a:cubicBezTo>
                    <a:pt x="112315" y="40824"/>
                    <a:pt x="111724" y="37113"/>
                    <a:pt x="109950" y="37113"/>
                  </a:cubicBezTo>
                  <a:cubicBezTo>
                    <a:pt x="108177" y="37113"/>
                    <a:pt x="106403" y="40824"/>
                    <a:pt x="104630" y="38350"/>
                  </a:cubicBezTo>
                  <a:cubicBezTo>
                    <a:pt x="104039" y="37113"/>
                    <a:pt x="103448" y="35876"/>
                    <a:pt x="102857" y="34639"/>
                  </a:cubicBezTo>
                  <a:cubicBezTo>
                    <a:pt x="102266" y="34639"/>
                    <a:pt x="101083" y="38350"/>
                    <a:pt x="100492" y="38350"/>
                  </a:cubicBezTo>
                  <a:cubicBezTo>
                    <a:pt x="99901" y="39587"/>
                    <a:pt x="96354" y="25979"/>
                    <a:pt x="96354" y="23505"/>
                  </a:cubicBezTo>
                  <a:cubicBezTo>
                    <a:pt x="95172" y="21030"/>
                    <a:pt x="94581" y="17319"/>
                    <a:pt x="92807" y="16082"/>
                  </a:cubicBezTo>
                  <a:cubicBezTo>
                    <a:pt x="92216" y="14845"/>
                    <a:pt x="91625" y="13608"/>
                    <a:pt x="91034" y="13608"/>
                  </a:cubicBezTo>
                  <a:cubicBezTo>
                    <a:pt x="89852" y="12371"/>
                    <a:pt x="91034" y="9896"/>
                    <a:pt x="91034" y="8659"/>
                  </a:cubicBezTo>
                  <a:cubicBezTo>
                    <a:pt x="91034" y="7422"/>
                    <a:pt x="86896" y="12371"/>
                    <a:pt x="86305" y="13608"/>
                  </a:cubicBezTo>
                  <a:cubicBezTo>
                    <a:pt x="85714" y="13608"/>
                    <a:pt x="80985" y="17319"/>
                    <a:pt x="80985" y="16082"/>
                  </a:cubicBezTo>
                  <a:cubicBezTo>
                    <a:pt x="80985" y="13608"/>
                    <a:pt x="82167" y="12371"/>
                    <a:pt x="80985" y="12371"/>
                  </a:cubicBezTo>
                  <a:cubicBezTo>
                    <a:pt x="80394" y="11134"/>
                    <a:pt x="79802" y="9896"/>
                    <a:pt x="79211" y="11134"/>
                  </a:cubicBezTo>
                  <a:cubicBezTo>
                    <a:pt x="79211" y="11134"/>
                    <a:pt x="79211" y="12371"/>
                    <a:pt x="78620" y="11134"/>
                  </a:cubicBezTo>
                  <a:cubicBezTo>
                    <a:pt x="77438" y="9896"/>
                    <a:pt x="78029" y="8659"/>
                    <a:pt x="76256" y="9896"/>
                  </a:cubicBezTo>
                  <a:cubicBezTo>
                    <a:pt x="74482" y="12371"/>
                    <a:pt x="74482" y="8659"/>
                    <a:pt x="74482" y="6185"/>
                  </a:cubicBezTo>
                  <a:cubicBezTo>
                    <a:pt x="75073" y="1237"/>
                    <a:pt x="71527" y="0"/>
                    <a:pt x="69753" y="0"/>
                  </a:cubicBezTo>
                  <a:cubicBezTo>
                    <a:pt x="68571" y="0"/>
                    <a:pt x="67389" y="1237"/>
                    <a:pt x="66206" y="2474"/>
                  </a:cubicBezTo>
                  <a:cubicBezTo>
                    <a:pt x="65024" y="3711"/>
                    <a:pt x="63842" y="4948"/>
                    <a:pt x="62068" y="4948"/>
                  </a:cubicBezTo>
                  <a:cubicBezTo>
                    <a:pt x="57339" y="7422"/>
                    <a:pt x="52610" y="11134"/>
                    <a:pt x="47881" y="11134"/>
                  </a:cubicBezTo>
                  <a:cubicBezTo>
                    <a:pt x="46699" y="11134"/>
                    <a:pt x="45517" y="11134"/>
                    <a:pt x="44926" y="12371"/>
                  </a:cubicBezTo>
                  <a:cubicBezTo>
                    <a:pt x="44334" y="13608"/>
                    <a:pt x="45517" y="17319"/>
                    <a:pt x="46699" y="17319"/>
                  </a:cubicBezTo>
                  <a:cubicBezTo>
                    <a:pt x="49064" y="21030"/>
                    <a:pt x="44926" y="19793"/>
                    <a:pt x="43743" y="21030"/>
                  </a:cubicBezTo>
                  <a:cubicBezTo>
                    <a:pt x="42561" y="22268"/>
                    <a:pt x="44334" y="23505"/>
                    <a:pt x="44334" y="24742"/>
                  </a:cubicBezTo>
                  <a:cubicBezTo>
                    <a:pt x="44334" y="27216"/>
                    <a:pt x="41970" y="27216"/>
                    <a:pt x="41970" y="28453"/>
                  </a:cubicBezTo>
                  <a:cubicBezTo>
                    <a:pt x="41970" y="32164"/>
                    <a:pt x="46699" y="30927"/>
                    <a:pt x="46108" y="35876"/>
                  </a:cubicBezTo>
                  <a:cubicBezTo>
                    <a:pt x="45517" y="37113"/>
                    <a:pt x="44926" y="38350"/>
                    <a:pt x="43743" y="38350"/>
                  </a:cubicBezTo>
                  <a:cubicBezTo>
                    <a:pt x="43152" y="38350"/>
                    <a:pt x="41379" y="38350"/>
                    <a:pt x="40788" y="38350"/>
                  </a:cubicBezTo>
                  <a:cubicBezTo>
                    <a:pt x="39605" y="39587"/>
                    <a:pt x="40197" y="40824"/>
                    <a:pt x="39014" y="39587"/>
                  </a:cubicBezTo>
                  <a:cubicBezTo>
                    <a:pt x="37832" y="38350"/>
                    <a:pt x="36650" y="35876"/>
                    <a:pt x="35467" y="35876"/>
                  </a:cubicBezTo>
                  <a:cubicBezTo>
                    <a:pt x="34876" y="34639"/>
                    <a:pt x="33694" y="37113"/>
                    <a:pt x="33103" y="37113"/>
                  </a:cubicBezTo>
                  <a:cubicBezTo>
                    <a:pt x="31921" y="35876"/>
                    <a:pt x="31330" y="35876"/>
                    <a:pt x="30147" y="37113"/>
                  </a:cubicBezTo>
                  <a:cubicBezTo>
                    <a:pt x="29556" y="38350"/>
                    <a:pt x="28965" y="40824"/>
                    <a:pt x="28374" y="39587"/>
                  </a:cubicBezTo>
                  <a:cubicBezTo>
                    <a:pt x="27783" y="39587"/>
                    <a:pt x="26009" y="35876"/>
                    <a:pt x="25418" y="37113"/>
                  </a:cubicBezTo>
                  <a:cubicBezTo>
                    <a:pt x="24827" y="37113"/>
                    <a:pt x="24827" y="40824"/>
                    <a:pt x="24236" y="38350"/>
                  </a:cubicBezTo>
                  <a:cubicBezTo>
                    <a:pt x="23645" y="35876"/>
                    <a:pt x="23054" y="34639"/>
                    <a:pt x="21871" y="33402"/>
                  </a:cubicBezTo>
                  <a:cubicBezTo>
                    <a:pt x="20689" y="32164"/>
                    <a:pt x="19507" y="32164"/>
                    <a:pt x="18916" y="30927"/>
                  </a:cubicBezTo>
                  <a:cubicBezTo>
                    <a:pt x="17142" y="29690"/>
                    <a:pt x="17142" y="32164"/>
                    <a:pt x="15960" y="32164"/>
                  </a:cubicBezTo>
                  <a:cubicBezTo>
                    <a:pt x="14778" y="33402"/>
                    <a:pt x="14187" y="29690"/>
                    <a:pt x="13004" y="30927"/>
                  </a:cubicBezTo>
                  <a:cubicBezTo>
                    <a:pt x="12413" y="32164"/>
                    <a:pt x="12413" y="33402"/>
                    <a:pt x="11822" y="33402"/>
                  </a:cubicBezTo>
                  <a:cubicBezTo>
                    <a:pt x="11231" y="34639"/>
                    <a:pt x="10049" y="34639"/>
                    <a:pt x="9458" y="34639"/>
                  </a:cubicBezTo>
                  <a:cubicBezTo>
                    <a:pt x="8866" y="35876"/>
                    <a:pt x="7684" y="38350"/>
                    <a:pt x="7684" y="39587"/>
                  </a:cubicBezTo>
                  <a:cubicBezTo>
                    <a:pt x="7093" y="40824"/>
                    <a:pt x="8275" y="44536"/>
                    <a:pt x="7093" y="44536"/>
                  </a:cubicBezTo>
                  <a:cubicBezTo>
                    <a:pt x="5911" y="45773"/>
                    <a:pt x="4137" y="38350"/>
                    <a:pt x="3546" y="42061"/>
                  </a:cubicBezTo>
                  <a:cubicBezTo>
                    <a:pt x="2955" y="44536"/>
                    <a:pt x="2364" y="44536"/>
                    <a:pt x="1773" y="47010"/>
                  </a:cubicBezTo>
                  <a:cubicBezTo>
                    <a:pt x="1182" y="49484"/>
                    <a:pt x="3546" y="49484"/>
                    <a:pt x="2364" y="51958"/>
                  </a:cubicBezTo>
                  <a:cubicBezTo>
                    <a:pt x="1773" y="53195"/>
                    <a:pt x="0" y="55670"/>
                    <a:pt x="1182" y="56907"/>
                  </a:cubicBezTo>
                  <a:cubicBezTo>
                    <a:pt x="1773" y="56907"/>
                    <a:pt x="2364" y="58144"/>
                    <a:pt x="2364" y="58144"/>
                  </a:cubicBezTo>
                  <a:cubicBezTo>
                    <a:pt x="2955" y="59381"/>
                    <a:pt x="2364" y="60618"/>
                    <a:pt x="2955" y="61855"/>
                  </a:cubicBezTo>
                  <a:cubicBezTo>
                    <a:pt x="4137" y="63092"/>
                    <a:pt x="5320" y="60618"/>
                    <a:pt x="6502" y="63092"/>
                  </a:cubicBezTo>
                  <a:cubicBezTo>
                    <a:pt x="7093" y="64329"/>
                    <a:pt x="8275" y="68041"/>
                    <a:pt x="8275" y="70515"/>
                  </a:cubicBezTo>
                  <a:cubicBezTo>
                    <a:pt x="7684" y="70515"/>
                    <a:pt x="5911" y="69278"/>
                    <a:pt x="7684" y="71752"/>
                  </a:cubicBezTo>
                  <a:cubicBezTo>
                    <a:pt x="8275" y="72989"/>
                    <a:pt x="8275" y="74226"/>
                    <a:pt x="9458" y="71752"/>
                  </a:cubicBezTo>
                  <a:cubicBezTo>
                    <a:pt x="9458" y="70515"/>
                    <a:pt x="9458" y="70515"/>
                    <a:pt x="10049" y="70515"/>
                  </a:cubicBezTo>
                  <a:cubicBezTo>
                    <a:pt x="13004" y="70515"/>
                    <a:pt x="14187" y="66804"/>
                    <a:pt x="17142" y="69278"/>
                  </a:cubicBezTo>
                  <a:cubicBezTo>
                    <a:pt x="18325" y="70515"/>
                    <a:pt x="19507" y="66804"/>
                    <a:pt x="20098" y="69278"/>
                  </a:cubicBezTo>
                  <a:cubicBezTo>
                    <a:pt x="20689" y="70515"/>
                    <a:pt x="21871" y="75463"/>
                    <a:pt x="21280" y="77938"/>
                  </a:cubicBezTo>
                  <a:cubicBezTo>
                    <a:pt x="20689" y="77938"/>
                    <a:pt x="19507" y="79175"/>
                    <a:pt x="20689" y="79175"/>
                  </a:cubicBezTo>
                  <a:cubicBezTo>
                    <a:pt x="20689" y="80412"/>
                    <a:pt x="20689" y="80412"/>
                    <a:pt x="20689" y="80412"/>
                  </a:cubicBezTo>
                  <a:cubicBezTo>
                    <a:pt x="20098" y="81649"/>
                    <a:pt x="19507" y="81649"/>
                    <a:pt x="19507" y="81649"/>
                  </a:cubicBezTo>
                  <a:cubicBezTo>
                    <a:pt x="17733" y="81649"/>
                    <a:pt x="13004" y="79175"/>
                    <a:pt x="14187" y="85360"/>
                  </a:cubicBezTo>
                  <a:cubicBezTo>
                    <a:pt x="14778" y="87835"/>
                    <a:pt x="14187" y="87835"/>
                    <a:pt x="13004" y="86597"/>
                  </a:cubicBezTo>
                  <a:cubicBezTo>
                    <a:pt x="11822" y="85360"/>
                    <a:pt x="12413" y="87835"/>
                    <a:pt x="13004" y="89072"/>
                  </a:cubicBezTo>
                  <a:cubicBezTo>
                    <a:pt x="14187" y="89072"/>
                    <a:pt x="14187" y="92783"/>
                    <a:pt x="14778" y="94020"/>
                  </a:cubicBezTo>
                  <a:cubicBezTo>
                    <a:pt x="15960" y="95257"/>
                    <a:pt x="14187" y="97731"/>
                    <a:pt x="15960" y="97731"/>
                  </a:cubicBezTo>
                  <a:cubicBezTo>
                    <a:pt x="16551" y="97731"/>
                    <a:pt x="17733" y="100206"/>
                    <a:pt x="18325" y="101443"/>
                  </a:cubicBezTo>
                  <a:cubicBezTo>
                    <a:pt x="20098" y="101443"/>
                    <a:pt x="18325" y="105154"/>
                    <a:pt x="18325" y="107628"/>
                  </a:cubicBezTo>
                  <a:cubicBezTo>
                    <a:pt x="20098" y="105154"/>
                    <a:pt x="22463" y="101443"/>
                    <a:pt x="24827" y="105154"/>
                  </a:cubicBezTo>
                  <a:cubicBezTo>
                    <a:pt x="26009" y="107628"/>
                    <a:pt x="26600" y="111340"/>
                    <a:pt x="28374" y="111340"/>
                  </a:cubicBezTo>
                  <a:cubicBezTo>
                    <a:pt x="29556" y="111340"/>
                    <a:pt x="28965" y="108865"/>
                    <a:pt x="28965" y="107628"/>
                  </a:cubicBezTo>
                  <a:cubicBezTo>
                    <a:pt x="28965" y="103917"/>
                    <a:pt x="28965" y="100206"/>
                    <a:pt x="28965" y="96494"/>
                  </a:cubicBezTo>
                  <a:cubicBezTo>
                    <a:pt x="28965" y="94020"/>
                    <a:pt x="28374" y="84123"/>
                    <a:pt x="29556" y="84123"/>
                  </a:cubicBezTo>
                  <a:cubicBezTo>
                    <a:pt x="30738" y="82886"/>
                    <a:pt x="32512" y="81649"/>
                    <a:pt x="33694" y="80412"/>
                  </a:cubicBezTo>
                  <a:cubicBezTo>
                    <a:pt x="34876" y="80412"/>
                    <a:pt x="36059" y="79175"/>
                    <a:pt x="36650" y="79175"/>
                  </a:cubicBezTo>
                  <a:cubicBezTo>
                    <a:pt x="37241" y="77938"/>
                    <a:pt x="36650" y="75463"/>
                    <a:pt x="37832" y="76701"/>
                  </a:cubicBezTo>
                  <a:cubicBezTo>
                    <a:pt x="38423" y="76701"/>
                    <a:pt x="40197" y="79175"/>
                    <a:pt x="40197" y="76701"/>
                  </a:cubicBezTo>
                  <a:cubicBezTo>
                    <a:pt x="40197" y="75463"/>
                    <a:pt x="41379" y="74226"/>
                    <a:pt x="41970" y="76701"/>
                  </a:cubicBezTo>
                  <a:cubicBezTo>
                    <a:pt x="42561" y="77938"/>
                    <a:pt x="41970" y="79175"/>
                    <a:pt x="42561" y="81649"/>
                  </a:cubicBezTo>
                  <a:cubicBezTo>
                    <a:pt x="42561" y="82886"/>
                    <a:pt x="43152" y="85360"/>
                    <a:pt x="42561" y="86597"/>
                  </a:cubicBezTo>
                  <a:cubicBezTo>
                    <a:pt x="43152" y="87835"/>
                    <a:pt x="43743" y="87835"/>
                    <a:pt x="44334" y="89072"/>
                  </a:cubicBezTo>
                  <a:cubicBezTo>
                    <a:pt x="46108" y="92783"/>
                    <a:pt x="47290" y="95257"/>
                    <a:pt x="49655" y="94020"/>
                  </a:cubicBezTo>
                  <a:cubicBezTo>
                    <a:pt x="50837" y="94020"/>
                    <a:pt x="52019" y="95257"/>
                    <a:pt x="53201" y="95257"/>
                  </a:cubicBezTo>
                  <a:cubicBezTo>
                    <a:pt x="54384" y="95257"/>
                    <a:pt x="54975" y="92783"/>
                    <a:pt x="56157" y="92783"/>
                  </a:cubicBezTo>
                  <a:cubicBezTo>
                    <a:pt x="57339" y="94020"/>
                    <a:pt x="58522" y="97731"/>
                    <a:pt x="59113" y="100206"/>
                  </a:cubicBezTo>
                  <a:cubicBezTo>
                    <a:pt x="59704" y="101443"/>
                    <a:pt x="59113" y="102680"/>
                    <a:pt x="59113" y="105154"/>
                  </a:cubicBezTo>
                  <a:cubicBezTo>
                    <a:pt x="59113" y="107628"/>
                    <a:pt x="60886" y="108865"/>
                    <a:pt x="60886" y="111340"/>
                  </a:cubicBezTo>
                  <a:cubicBezTo>
                    <a:pt x="60886" y="112577"/>
                    <a:pt x="62660" y="112577"/>
                    <a:pt x="63251" y="112577"/>
                  </a:cubicBezTo>
                  <a:cubicBezTo>
                    <a:pt x="64433" y="112577"/>
                    <a:pt x="64433" y="112577"/>
                    <a:pt x="65024" y="115051"/>
                  </a:cubicBezTo>
                  <a:cubicBezTo>
                    <a:pt x="66206" y="120000"/>
                    <a:pt x="67389" y="113814"/>
                    <a:pt x="68571" y="111340"/>
                  </a:cubicBezTo>
                  <a:cubicBezTo>
                    <a:pt x="69162" y="107628"/>
                    <a:pt x="71527" y="107628"/>
                    <a:pt x="72709" y="105154"/>
                  </a:cubicBezTo>
                  <a:cubicBezTo>
                    <a:pt x="73891" y="105154"/>
                    <a:pt x="73891" y="105154"/>
                    <a:pt x="74482" y="103917"/>
                  </a:cubicBezTo>
                  <a:cubicBezTo>
                    <a:pt x="75073" y="100206"/>
                    <a:pt x="75665" y="101443"/>
                    <a:pt x="76847" y="101443"/>
                  </a:cubicBezTo>
                  <a:cubicBezTo>
                    <a:pt x="78029" y="101443"/>
                    <a:pt x="80394" y="105154"/>
                    <a:pt x="80985" y="102680"/>
                  </a:cubicBezTo>
                  <a:cubicBezTo>
                    <a:pt x="80985" y="100206"/>
                    <a:pt x="80985" y="98969"/>
                    <a:pt x="82167" y="97731"/>
                  </a:cubicBezTo>
                  <a:cubicBezTo>
                    <a:pt x="83349" y="96494"/>
                    <a:pt x="84532" y="98969"/>
                    <a:pt x="85714" y="98969"/>
                  </a:cubicBezTo>
                  <a:cubicBezTo>
                    <a:pt x="86896" y="100206"/>
                    <a:pt x="89261" y="100206"/>
                    <a:pt x="90443" y="100206"/>
                  </a:cubicBezTo>
                  <a:cubicBezTo>
                    <a:pt x="93990" y="100206"/>
                    <a:pt x="96945" y="102680"/>
                    <a:pt x="100492" y="103917"/>
                  </a:cubicBezTo>
                  <a:cubicBezTo>
                    <a:pt x="99901" y="101443"/>
                    <a:pt x="101083" y="100206"/>
                    <a:pt x="102266" y="97731"/>
                  </a:cubicBezTo>
                  <a:cubicBezTo>
                    <a:pt x="102857" y="96494"/>
                    <a:pt x="102266" y="96494"/>
                    <a:pt x="101674" y="94020"/>
                  </a:cubicBezTo>
                  <a:cubicBezTo>
                    <a:pt x="101083" y="92783"/>
                    <a:pt x="101083" y="90309"/>
                    <a:pt x="101083" y="87835"/>
                  </a:cubicBezTo>
                  <a:cubicBezTo>
                    <a:pt x="100492" y="87835"/>
                    <a:pt x="100492" y="82886"/>
                    <a:pt x="99901" y="84123"/>
                  </a:cubicBezTo>
                  <a:cubicBezTo>
                    <a:pt x="100492" y="82886"/>
                    <a:pt x="102266" y="82886"/>
                    <a:pt x="103448" y="81649"/>
                  </a:cubicBezTo>
                  <a:cubicBezTo>
                    <a:pt x="105221" y="81649"/>
                    <a:pt x="106403" y="84123"/>
                    <a:pt x="107586" y="81649"/>
                  </a:cubicBezTo>
                  <a:cubicBezTo>
                    <a:pt x="108177" y="81649"/>
                    <a:pt x="106995" y="80412"/>
                    <a:pt x="106995" y="79175"/>
                  </a:cubicBezTo>
                  <a:cubicBezTo>
                    <a:pt x="106403" y="77938"/>
                    <a:pt x="106995" y="75463"/>
                    <a:pt x="107586" y="74226"/>
                  </a:cubicBezTo>
                  <a:cubicBezTo>
                    <a:pt x="108177" y="72989"/>
                    <a:pt x="108768" y="65567"/>
                    <a:pt x="109359" y="66804"/>
                  </a:cubicBezTo>
                  <a:cubicBezTo>
                    <a:pt x="110541" y="68041"/>
                    <a:pt x="111133" y="69278"/>
                    <a:pt x="112315" y="69278"/>
                  </a:cubicBezTo>
                  <a:cubicBezTo>
                    <a:pt x="112906" y="68041"/>
                    <a:pt x="113497" y="70515"/>
                    <a:pt x="114088" y="69278"/>
                  </a:cubicBezTo>
                  <a:cubicBezTo>
                    <a:pt x="114679" y="69278"/>
                    <a:pt x="115862" y="68041"/>
                    <a:pt x="116453" y="66804"/>
                  </a:cubicBezTo>
                  <a:cubicBezTo>
                    <a:pt x="117044" y="65567"/>
                    <a:pt x="115862" y="63092"/>
                    <a:pt x="115862" y="60618"/>
                  </a:cubicBezTo>
                  <a:cubicBezTo>
                    <a:pt x="116453" y="56907"/>
                    <a:pt x="118226" y="58144"/>
                    <a:pt x="119408" y="54432"/>
                  </a:cubicBezTo>
                  <a:cubicBezTo>
                    <a:pt x="119408" y="53195"/>
                    <a:pt x="119408" y="53195"/>
                    <a:pt x="120000" y="51958"/>
                  </a:cubicBezTo>
                  <a:cubicBezTo>
                    <a:pt x="120000" y="50721"/>
                    <a:pt x="119408" y="49484"/>
                    <a:pt x="118817" y="48247"/>
                  </a:cubicBezTo>
                  <a:cubicBezTo>
                    <a:pt x="118817" y="47010"/>
                    <a:pt x="119408" y="48247"/>
                    <a:pt x="118817" y="48247"/>
                  </a:cubicBezTo>
                  <a:close/>
                  <a:moveTo>
                    <a:pt x="87487" y="71752"/>
                  </a:moveTo>
                  <a:cubicBezTo>
                    <a:pt x="86305" y="71752"/>
                    <a:pt x="84532" y="75463"/>
                    <a:pt x="83940" y="76701"/>
                  </a:cubicBezTo>
                  <a:cubicBezTo>
                    <a:pt x="83349" y="76701"/>
                    <a:pt x="82758" y="79175"/>
                    <a:pt x="82758" y="80412"/>
                  </a:cubicBezTo>
                  <a:cubicBezTo>
                    <a:pt x="82758" y="81649"/>
                    <a:pt x="83349" y="82886"/>
                    <a:pt x="83349" y="82886"/>
                  </a:cubicBezTo>
                  <a:cubicBezTo>
                    <a:pt x="82758" y="84123"/>
                    <a:pt x="81576" y="79175"/>
                    <a:pt x="81576" y="77938"/>
                  </a:cubicBezTo>
                  <a:cubicBezTo>
                    <a:pt x="81576" y="75463"/>
                    <a:pt x="82167" y="74226"/>
                    <a:pt x="83349" y="72989"/>
                  </a:cubicBezTo>
                  <a:cubicBezTo>
                    <a:pt x="84532" y="71752"/>
                    <a:pt x="85714" y="70515"/>
                    <a:pt x="86896" y="70515"/>
                  </a:cubicBezTo>
                  <a:cubicBezTo>
                    <a:pt x="86896" y="70515"/>
                    <a:pt x="89852" y="71752"/>
                    <a:pt x="89852" y="71752"/>
                  </a:cubicBezTo>
                  <a:cubicBezTo>
                    <a:pt x="89261" y="72989"/>
                    <a:pt x="87487" y="71752"/>
                    <a:pt x="87487" y="71752"/>
                  </a:cubicBezTo>
                  <a:cubicBezTo>
                    <a:pt x="86305" y="71752"/>
                    <a:pt x="88078" y="71752"/>
                    <a:pt x="87487" y="71752"/>
                  </a:cubicBezTo>
                  <a:close/>
                  <a:moveTo>
                    <a:pt x="97536" y="72989"/>
                  </a:moveTo>
                  <a:cubicBezTo>
                    <a:pt x="96945" y="75463"/>
                    <a:pt x="92807" y="74226"/>
                    <a:pt x="92216" y="71752"/>
                  </a:cubicBezTo>
                  <a:cubicBezTo>
                    <a:pt x="92216" y="71752"/>
                    <a:pt x="94581" y="71752"/>
                    <a:pt x="94581" y="71752"/>
                  </a:cubicBezTo>
                  <a:cubicBezTo>
                    <a:pt x="95763" y="71752"/>
                    <a:pt x="96354" y="71752"/>
                    <a:pt x="97536" y="70515"/>
                  </a:cubicBezTo>
                  <a:cubicBezTo>
                    <a:pt x="97536" y="70515"/>
                    <a:pt x="97536" y="72989"/>
                    <a:pt x="97536" y="72989"/>
                  </a:cubicBezTo>
                  <a:cubicBezTo>
                    <a:pt x="96945" y="74226"/>
                    <a:pt x="97536" y="71752"/>
                    <a:pt x="97536" y="72989"/>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04" name="Shape 2578">
              <a:extLst>
                <a:ext uri="{FF2B5EF4-FFF2-40B4-BE49-F238E27FC236}">
                  <a16:creationId xmlns:a16="http://schemas.microsoft.com/office/drawing/2014/main" id="{4BF4D652-2480-3A41-9D70-D18D4912F412}"/>
                </a:ext>
              </a:extLst>
            </p:cNvPr>
            <p:cNvSpPr/>
            <p:nvPr/>
          </p:nvSpPr>
          <p:spPr>
            <a:xfrm>
              <a:off x="14849854" y="7284203"/>
              <a:ext cx="1308915" cy="1395267"/>
            </a:xfrm>
            <a:custGeom>
              <a:avLst/>
              <a:gdLst/>
              <a:ahLst/>
              <a:cxnLst/>
              <a:rect l="0" t="0" r="0" b="0"/>
              <a:pathLst>
                <a:path w="120000" h="120000" extrusionOk="0">
                  <a:moveTo>
                    <a:pt x="100285" y="61208"/>
                  </a:moveTo>
                  <a:cubicBezTo>
                    <a:pt x="103714" y="62013"/>
                    <a:pt x="102000" y="58791"/>
                    <a:pt x="102857" y="57181"/>
                  </a:cubicBezTo>
                  <a:cubicBezTo>
                    <a:pt x="102857" y="55570"/>
                    <a:pt x="103714" y="53959"/>
                    <a:pt x="103714" y="53154"/>
                  </a:cubicBezTo>
                  <a:cubicBezTo>
                    <a:pt x="104571" y="52348"/>
                    <a:pt x="106285" y="53959"/>
                    <a:pt x="107142" y="52348"/>
                  </a:cubicBezTo>
                  <a:cubicBezTo>
                    <a:pt x="108000" y="50738"/>
                    <a:pt x="108000" y="49127"/>
                    <a:pt x="108000" y="47516"/>
                  </a:cubicBezTo>
                  <a:cubicBezTo>
                    <a:pt x="108857" y="45906"/>
                    <a:pt x="110571" y="45100"/>
                    <a:pt x="110571" y="43489"/>
                  </a:cubicBezTo>
                  <a:cubicBezTo>
                    <a:pt x="110571" y="41879"/>
                    <a:pt x="113142" y="40268"/>
                    <a:pt x="114000" y="39463"/>
                  </a:cubicBezTo>
                  <a:cubicBezTo>
                    <a:pt x="116571" y="37046"/>
                    <a:pt x="115714" y="39463"/>
                    <a:pt x="117428" y="40268"/>
                  </a:cubicBezTo>
                  <a:cubicBezTo>
                    <a:pt x="117428" y="40268"/>
                    <a:pt x="117428" y="37046"/>
                    <a:pt x="117428" y="37046"/>
                  </a:cubicBezTo>
                  <a:cubicBezTo>
                    <a:pt x="117428" y="36241"/>
                    <a:pt x="120000" y="36241"/>
                    <a:pt x="118285" y="34630"/>
                  </a:cubicBezTo>
                  <a:cubicBezTo>
                    <a:pt x="117428" y="34630"/>
                    <a:pt x="115714" y="34630"/>
                    <a:pt x="114857" y="34630"/>
                  </a:cubicBezTo>
                  <a:cubicBezTo>
                    <a:pt x="114857" y="33825"/>
                    <a:pt x="115714" y="33020"/>
                    <a:pt x="115714" y="33020"/>
                  </a:cubicBezTo>
                  <a:cubicBezTo>
                    <a:pt x="116571" y="32214"/>
                    <a:pt x="115714" y="31409"/>
                    <a:pt x="114857" y="30604"/>
                  </a:cubicBezTo>
                  <a:cubicBezTo>
                    <a:pt x="114000" y="29798"/>
                    <a:pt x="114000" y="29798"/>
                    <a:pt x="113142" y="30604"/>
                  </a:cubicBezTo>
                  <a:cubicBezTo>
                    <a:pt x="111428" y="31409"/>
                    <a:pt x="110571" y="30604"/>
                    <a:pt x="108857" y="29798"/>
                  </a:cubicBezTo>
                  <a:cubicBezTo>
                    <a:pt x="108000" y="29798"/>
                    <a:pt x="106285" y="31409"/>
                    <a:pt x="106285" y="32214"/>
                  </a:cubicBezTo>
                  <a:cubicBezTo>
                    <a:pt x="105428" y="33020"/>
                    <a:pt x="104571" y="32214"/>
                    <a:pt x="103714" y="33020"/>
                  </a:cubicBezTo>
                  <a:cubicBezTo>
                    <a:pt x="102857" y="33020"/>
                    <a:pt x="102000" y="33825"/>
                    <a:pt x="102000" y="34630"/>
                  </a:cubicBezTo>
                  <a:cubicBezTo>
                    <a:pt x="100285" y="36241"/>
                    <a:pt x="99428" y="37046"/>
                    <a:pt x="97714" y="36241"/>
                  </a:cubicBezTo>
                  <a:cubicBezTo>
                    <a:pt x="96857" y="37046"/>
                    <a:pt x="97714" y="38657"/>
                    <a:pt x="98571" y="39463"/>
                  </a:cubicBezTo>
                  <a:cubicBezTo>
                    <a:pt x="100285" y="42684"/>
                    <a:pt x="92571" y="40268"/>
                    <a:pt x="90857" y="41073"/>
                  </a:cubicBezTo>
                  <a:cubicBezTo>
                    <a:pt x="90000" y="41879"/>
                    <a:pt x="87428" y="41073"/>
                    <a:pt x="86571" y="40268"/>
                  </a:cubicBezTo>
                  <a:cubicBezTo>
                    <a:pt x="85714" y="39463"/>
                    <a:pt x="86571" y="37852"/>
                    <a:pt x="86571" y="37852"/>
                  </a:cubicBezTo>
                  <a:cubicBezTo>
                    <a:pt x="86571" y="37852"/>
                    <a:pt x="86571" y="35436"/>
                    <a:pt x="85714" y="36241"/>
                  </a:cubicBezTo>
                  <a:cubicBezTo>
                    <a:pt x="84000" y="36241"/>
                    <a:pt x="82285" y="36241"/>
                    <a:pt x="82285" y="38657"/>
                  </a:cubicBezTo>
                  <a:cubicBezTo>
                    <a:pt x="83142" y="39463"/>
                    <a:pt x="84000" y="41879"/>
                    <a:pt x="83142" y="41879"/>
                  </a:cubicBezTo>
                  <a:cubicBezTo>
                    <a:pt x="81428" y="41879"/>
                    <a:pt x="80571" y="43489"/>
                    <a:pt x="78857" y="41879"/>
                  </a:cubicBezTo>
                  <a:cubicBezTo>
                    <a:pt x="78000" y="40268"/>
                    <a:pt x="77142" y="42684"/>
                    <a:pt x="76285" y="41879"/>
                  </a:cubicBezTo>
                  <a:cubicBezTo>
                    <a:pt x="73714" y="41073"/>
                    <a:pt x="72857" y="41073"/>
                    <a:pt x="70285" y="40268"/>
                  </a:cubicBezTo>
                  <a:cubicBezTo>
                    <a:pt x="68571" y="39463"/>
                    <a:pt x="67714" y="37852"/>
                    <a:pt x="66000" y="37852"/>
                  </a:cubicBezTo>
                  <a:cubicBezTo>
                    <a:pt x="63428" y="38657"/>
                    <a:pt x="63428" y="37852"/>
                    <a:pt x="61714" y="37046"/>
                  </a:cubicBezTo>
                  <a:cubicBezTo>
                    <a:pt x="60000" y="36241"/>
                    <a:pt x="58285" y="37046"/>
                    <a:pt x="57428" y="36241"/>
                  </a:cubicBezTo>
                  <a:cubicBezTo>
                    <a:pt x="55714" y="34630"/>
                    <a:pt x="54000" y="33825"/>
                    <a:pt x="53142" y="33020"/>
                  </a:cubicBezTo>
                  <a:cubicBezTo>
                    <a:pt x="51428" y="32214"/>
                    <a:pt x="50571" y="32214"/>
                    <a:pt x="51428" y="30604"/>
                  </a:cubicBezTo>
                  <a:cubicBezTo>
                    <a:pt x="52285" y="29798"/>
                    <a:pt x="51428" y="28187"/>
                    <a:pt x="53142" y="27382"/>
                  </a:cubicBezTo>
                  <a:cubicBezTo>
                    <a:pt x="54857" y="26577"/>
                    <a:pt x="55714" y="27382"/>
                    <a:pt x="54000" y="25771"/>
                  </a:cubicBezTo>
                  <a:cubicBezTo>
                    <a:pt x="52285" y="24966"/>
                    <a:pt x="50571" y="23355"/>
                    <a:pt x="48857" y="22550"/>
                  </a:cubicBezTo>
                  <a:cubicBezTo>
                    <a:pt x="48000" y="22550"/>
                    <a:pt x="47142" y="20939"/>
                    <a:pt x="45428" y="20939"/>
                  </a:cubicBezTo>
                  <a:cubicBezTo>
                    <a:pt x="45428" y="20939"/>
                    <a:pt x="45428" y="18523"/>
                    <a:pt x="44571" y="17718"/>
                  </a:cubicBezTo>
                  <a:cubicBezTo>
                    <a:pt x="40285" y="13691"/>
                    <a:pt x="48857" y="18523"/>
                    <a:pt x="48857" y="15302"/>
                  </a:cubicBezTo>
                  <a:cubicBezTo>
                    <a:pt x="48857" y="13691"/>
                    <a:pt x="48000" y="13691"/>
                    <a:pt x="46285" y="12080"/>
                  </a:cubicBezTo>
                  <a:cubicBezTo>
                    <a:pt x="45428" y="11275"/>
                    <a:pt x="45428" y="10469"/>
                    <a:pt x="47142" y="9664"/>
                  </a:cubicBezTo>
                  <a:cubicBezTo>
                    <a:pt x="48857" y="9664"/>
                    <a:pt x="48000" y="7248"/>
                    <a:pt x="49714" y="6442"/>
                  </a:cubicBezTo>
                  <a:cubicBezTo>
                    <a:pt x="50571" y="5637"/>
                    <a:pt x="52285" y="4832"/>
                    <a:pt x="51428" y="3221"/>
                  </a:cubicBezTo>
                  <a:cubicBezTo>
                    <a:pt x="49714" y="805"/>
                    <a:pt x="45428" y="0"/>
                    <a:pt x="42857" y="1610"/>
                  </a:cubicBezTo>
                  <a:cubicBezTo>
                    <a:pt x="42000" y="2416"/>
                    <a:pt x="42000" y="2416"/>
                    <a:pt x="40285" y="3221"/>
                  </a:cubicBezTo>
                  <a:cubicBezTo>
                    <a:pt x="39428" y="3221"/>
                    <a:pt x="39428" y="4832"/>
                    <a:pt x="38571" y="5637"/>
                  </a:cubicBezTo>
                  <a:cubicBezTo>
                    <a:pt x="36857" y="6442"/>
                    <a:pt x="35142" y="5637"/>
                    <a:pt x="34285" y="6442"/>
                  </a:cubicBezTo>
                  <a:cubicBezTo>
                    <a:pt x="33428" y="7248"/>
                    <a:pt x="31714" y="7248"/>
                    <a:pt x="30000" y="6442"/>
                  </a:cubicBezTo>
                  <a:cubicBezTo>
                    <a:pt x="28285" y="6442"/>
                    <a:pt x="27428" y="5637"/>
                    <a:pt x="25714" y="6442"/>
                  </a:cubicBezTo>
                  <a:cubicBezTo>
                    <a:pt x="24000" y="6442"/>
                    <a:pt x="24857" y="8859"/>
                    <a:pt x="25714" y="9664"/>
                  </a:cubicBezTo>
                  <a:cubicBezTo>
                    <a:pt x="25714" y="11275"/>
                    <a:pt x="25714" y="12885"/>
                    <a:pt x="25714" y="13691"/>
                  </a:cubicBezTo>
                  <a:cubicBezTo>
                    <a:pt x="26571" y="15302"/>
                    <a:pt x="28285" y="15302"/>
                    <a:pt x="30000" y="16107"/>
                  </a:cubicBezTo>
                  <a:cubicBezTo>
                    <a:pt x="30857" y="17718"/>
                    <a:pt x="29142" y="17718"/>
                    <a:pt x="28285" y="17718"/>
                  </a:cubicBezTo>
                  <a:cubicBezTo>
                    <a:pt x="27428" y="19328"/>
                    <a:pt x="28285" y="20939"/>
                    <a:pt x="28285" y="22550"/>
                  </a:cubicBezTo>
                  <a:cubicBezTo>
                    <a:pt x="28285" y="23355"/>
                    <a:pt x="26571" y="23355"/>
                    <a:pt x="26571" y="23355"/>
                  </a:cubicBezTo>
                  <a:cubicBezTo>
                    <a:pt x="24857" y="24161"/>
                    <a:pt x="26571" y="26577"/>
                    <a:pt x="24857" y="26577"/>
                  </a:cubicBezTo>
                  <a:cubicBezTo>
                    <a:pt x="23142" y="27382"/>
                    <a:pt x="22285" y="28187"/>
                    <a:pt x="22285" y="28993"/>
                  </a:cubicBezTo>
                  <a:cubicBezTo>
                    <a:pt x="21428" y="30604"/>
                    <a:pt x="20571" y="30604"/>
                    <a:pt x="18857" y="31409"/>
                  </a:cubicBezTo>
                  <a:cubicBezTo>
                    <a:pt x="17142" y="32214"/>
                    <a:pt x="17142" y="34630"/>
                    <a:pt x="16285" y="35436"/>
                  </a:cubicBezTo>
                  <a:cubicBezTo>
                    <a:pt x="15428" y="37046"/>
                    <a:pt x="13714" y="36241"/>
                    <a:pt x="12857" y="37852"/>
                  </a:cubicBezTo>
                  <a:cubicBezTo>
                    <a:pt x="11142" y="38657"/>
                    <a:pt x="10285" y="35436"/>
                    <a:pt x="9428" y="37046"/>
                  </a:cubicBezTo>
                  <a:cubicBezTo>
                    <a:pt x="8571" y="37852"/>
                    <a:pt x="5142" y="39463"/>
                    <a:pt x="6000" y="40268"/>
                  </a:cubicBezTo>
                  <a:cubicBezTo>
                    <a:pt x="6000" y="41879"/>
                    <a:pt x="8571" y="41879"/>
                    <a:pt x="8571" y="43489"/>
                  </a:cubicBezTo>
                  <a:cubicBezTo>
                    <a:pt x="7714" y="45906"/>
                    <a:pt x="9428" y="45906"/>
                    <a:pt x="11142" y="46711"/>
                  </a:cubicBezTo>
                  <a:cubicBezTo>
                    <a:pt x="11142" y="48322"/>
                    <a:pt x="12000" y="49932"/>
                    <a:pt x="12000" y="51543"/>
                  </a:cubicBezTo>
                  <a:cubicBezTo>
                    <a:pt x="12000" y="51543"/>
                    <a:pt x="9428" y="51543"/>
                    <a:pt x="8571" y="51543"/>
                  </a:cubicBezTo>
                  <a:cubicBezTo>
                    <a:pt x="7714" y="51543"/>
                    <a:pt x="6857" y="52348"/>
                    <a:pt x="6000" y="52348"/>
                  </a:cubicBezTo>
                  <a:cubicBezTo>
                    <a:pt x="6000" y="52348"/>
                    <a:pt x="5142" y="51543"/>
                    <a:pt x="4285" y="51543"/>
                  </a:cubicBezTo>
                  <a:cubicBezTo>
                    <a:pt x="3428" y="51543"/>
                    <a:pt x="0" y="53154"/>
                    <a:pt x="0" y="53959"/>
                  </a:cubicBezTo>
                  <a:cubicBezTo>
                    <a:pt x="1714" y="55570"/>
                    <a:pt x="2571" y="56375"/>
                    <a:pt x="4285" y="57986"/>
                  </a:cubicBezTo>
                  <a:cubicBezTo>
                    <a:pt x="4285" y="57986"/>
                    <a:pt x="9428" y="57986"/>
                    <a:pt x="9428" y="57986"/>
                  </a:cubicBezTo>
                  <a:cubicBezTo>
                    <a:pt x="9428" y="58791"/>
                    <a:pt x="7714" y="59597"/>
                    <a:pt x="6857" y="59597"/>
                  </a:cubicBezTo>
                  <a:cubicBezTo>
                    <a:pt x="6000" y="60402"/>
                    <a:pt x="3428" y="58791"/>
                    <a:pt x="3428" y="60402"/>
                  </a:cubicBezTo>
                  <a:cubicBezTo>
                    <a:pt x="3428" y="62013"/>
                    <a:pt x="7714" y="64429"/>
                    <a:pt x="9428" y="66040"/>
                  </a:cubicBezTo>
                  <a:cubicBezTo>
                    <a:pt x="10285" y="66845"/>
                    <a:pt x="11142" y="66845"/>
                    <a:pt x="12857" y="66845"/>
                  </a:cubicBezTo>
                  <a:cubicBezTo>
                    <a:pt x="14571" y="66040"/>
                    <a:pt x="17142" y="65234"/>
                    <a:pt x="18000" y="63624"/>
                  </a:cubicBezTo>
                  <a:cubicBezTo>
                    <a:pt x="18000" y="63624"/>
                    <a:pt x="17142" y="62818"/>
                    <a:pt x="16285" y="62818"/>
                  </a:cubicBezTo>
                  <a:cubicBezTo>
                    <a:pt x="16285" y="62013"/>
                    <a:pt x="17142" y="62013"/>
                    <a:pt x="17142" y="62013"/>
                  </a:cubicBezTo>
                  <a:cubicBezTo>
                    <a:pt x="18000" y="61208"/>
                    <a:pt x="17142" y="60402"/>
                    <a:pt x="18000" y="60402"/>
                  </a:cubicBezTo>
                  <a:cubicBezTo>
                    <a:pt x="18000" y="60402"/>
                    <a:pt x="19714" y="60402"/>
                    <a:pt x="19714" y="60402"/>
                  </a:cubicBezTo>
                  <a:cubicBezTo>
                    <a:pt x="19714" y="61208"/>
                    <a:pt x="18000" y="61208"/>
                    <a:pt x="18857" y="62013"/>
                  </a:cubicBezTo>
                  <a:cubicBezTo>
                    <a:pt x="18857" y="62013"/>
                    <a:pt x="19714" y="62013"/>
                    <a:pt x="19714" y="62013"/>
                  </a:cubicBezTo>
                  <a:cubicBezTo>
                    <a:pt x="19714" y="62818"/>
                    <a:pt x="18857" y="62818"/>
                    <a:pt x="18857" y="62818"/>
                  </a:cubicBezTo>
                  <a:cubicBezTo>
                    <a:pt x="18000" y="62818"/>
                    <a:pt x="19714" y="62818"/>
                    <a:pt x="19714" y="62818"/>
                  </a:cubicBezTo>
                  <a:cubicBezTo>
                    <a:pt x="19714" y="63624"/>
                    <a:pt x="18857" y="63624"/>
                    <a:pt x="18857" y="64429"/>
                  </a:cubicBezTo>
                  <a:cubicBezTo>
                    <a:pt x="18000" y="64429"/>
                    <a:pt x="19714" y="65234"/>
                    <a:pt x="20571" y="66040"/>
                  </a:cubicBezTo>
                  <a:cubicBezTo>
                    <a:pt x="21428" y="66845"/>
                    <a:pt x="19714" y="68456"/>
                    <a:pt x="18857" y="70067"/>
                  </a:cubicBezTo>
                  <a:cubicBezTo>
                    <a:pt x="18857" y="70872"/>
                    <a:pt x="19714" y="71677"/>
                    <a:pt x="20571" y="72483"/>
                  </a:cubicBezTo>
                  <a:cubicBezTo>
                    <a:pt x="20571" y="74093"/>
                    <a:pt x="20571" y="74899"/>
                    <a:pt x="20571" y="76510"/>
                  </a:cubicBezTo>
                  <a:cubicBezTo>
                    <a:pt x="20571" y="78120"/>
                    <a:pt x="19714" y="80536"/>
                    <a:pt x="19714" y="81342"/>
                  </a:cubicBezTo>
                  <a:cubicBezTo>
                    <a:pt x="19714" y="81342"/>
                    <a:pt x="20571" y="79731"/>
                    <a:pt x="20571" y="79731"/>
                  </a:cubicBezTo>
                  <a:cubicBezTo>
                    <a:pt x="21428" y="80536"/>
                    <a:pt x="22285" y="85369"/>
                    <a:pt x="22285" y="86174"/>
                  </a:cubicBezTo>
                  <a:cubicBezTo>
                    <a:pt x="23142" y="87785"/>
                    <a:pt x="24857" y="90201"/>
                    <a:pt x="25714" y="92617"/>
                  </a:cubicBezTo>
                  <a:cubicBezTo>
                    <a:pt x="26571" y="95033"/>
                    <a:pt x="26571" y="97449"/>
                    <a:pt x="27428" y="99865"/>
                  </a:cubicBezTo>
                  <a:cubicBezTo>
                    <a:pt x="29142" y="103087"/>
                    <a:pt x="31714" y="105503"/>
                    <a:pt x="33428" y="107919"/>
                  </a:cubicBezTo>
                  <a:cubicBezTo>
                    <a:pt x="34285" y="110335"/>
                    <a:pt x="34285" y="112751"/>
                    <a:pt x="35142" y="115167"/>
                  </a:cubicBezTo>
                  <a:cubicBezTo>
                    <a:pt x="36857" y="117583"/>
                    <a:pt x="38571" y="120000"/>
                    <a:pt x="41142" y="117583"/>
                  </a:cubicBezTo>
                  <a:cubicBezTo>
                    <a:pt x="42857" y="116778"/>
                    <a:pt x="42857" y="115973"/>
                    <a:pt x="42857" y="115167"/>
                  </a:cubicBezTo>
                  <a:cubicBezTo>
                    <a:pt x="42857" y="113557"/>
                    <a:pt x="44571" y="112751"/>
                    <a:pt x="45428" y="111946"/>
                  </a:cubicBezTo>
                  <a:cubicBezTo>
                    <a:pt x="46285" y="111140"/>
                    <a:pt x="48000" y="111140"/>
                    <a:pt x="48857" y="110335"/>
                  </a:cubicBezTo>
                  <a:cubicBezTo>
                    <a:pt x="49714" y="109530"/>
                    <a:pt x="48857" y="107114"/>
                    <a:pt x="48857" y="106308"/>
                  </a:cubicBezTo>
                  <a:cubicBezTo>
                    <a:pt x="48000" y="103087"/>
                    <a:pt x="52285" y="100671"/>
                    <a:pt x="51428" y="98255"/>
                  </a:cubicBezTo>
                  <a:cubicBezTo>
                    <a:pt x="50571" y="95838"/>
                    <a:pt x="49714" y="93422"/>
                    <a:pt x="49714" y="91006"/>
                  </a:cubicBezTo>
                  <a:cubicBezTo>
                    <a:pt x="49714" y="87785"/>
                    <a:pt x="53142" y="86979"/>
                    <a:pt x="55714" y="86174"/>
                  </a:cubicBezTo>
                  <a:cubicBezTo>
                    <a:pt x="56571" y="85369"/>
                    <a:pt x="59142" y="85369"/>
                    <a:pt x="59142" y="84563"/>
                  </a:cubicBezTo>
                  <a:cubicBezTo>
                    <a:pt x="60000" y="82953"/>
                    <a:pt x="60857" y="82147"/>
                    <a:pt x="61714" y="81342"/>
                  </a:cubicBezTo>
                  <a:cubicBezTo>
                    <a:pt x="64285" y="78926"/>
                    <a:pt x="66857" y="76510"/>
                    <a:pt x="69428" y="74899"/>
                  </a:cubicBezTo>
                  <a:cubicBezTo>
                    <a:pt x="70285" y="74093"/>
                    <a:pt x="71142" y="72483"/>
                    <a:pt x="72000" y="71677"/>
                  </a:cubicBezTo>
                  <a:cubicBezTo>
                    <a:pt x="72857" y="70872"/>
                    <a:pt x="74571" y="70872"/>
                    <a:pt x="75428" y="70067"/>
                  </a:cubicBezTo>
                  <a:cubicBezTo>
                    <a:pt x="76285" y="69261"/>
                    <a:pt x="77142" y="68456"/>
                    <a:pt x="78000" y="67651"/>
                  </a:cubicBezTo>
                  <a:cubicBezTo>
                    <a:pt x="78857" y="66845"/>
                    <a:pt x="77142" y="66040"/>
                    <a:pt x="77142" y="65234"/>
                  </a:cubicBezTo>
                  <a:cubicBezTo>
                    <a:pt x="78000" y="63624"/>
                    <a:pt x="80571" y="63624"/>
                    <a:pt x="81428" y="62818"/>
                  </a:cubicBezTo>
                  <a:cubicBezTo>
                    <a:pt x="82285" y="62818"/>
                    <a:pt x="84000" y="60402"/>
                    <a:pt x="84000" y="59597"/>
                  </a:cubicBezTo>
                  <a:cubicBezTo>
                    <a:pt x="84000" y="61208"/>
                    <a:pt x="82285" y="61208"/>
                    <a:pt x="83142" y="62818"/>
                  </a:cubicBezTo>
                  <a:cubicBezTo>
                    <a:pt x="84857" y="63624"/>
                    <a:pt x="85714" y="61208"/>
                    <a:pt x="85714" y="61208"/>
                  </a:cubicBezTo>
                  <a:cubicBezTo>
                    <a:pt x="86571" y="62013"/>
                    <a:pt x="85714" y="62818"/>
                    <a:pt x="86571" y="62818"/>
                  </a:cubicBezTo>
                  <a:cubicBezTo>
                    <a:pt x="87428" y="60402"/>
                    <a:pt x="86571" y="57986"/>
                    <a:pt x="84857" y="55570"/>
                  </a:cubicBezTo>
                  <a:cubicBezTo>
                    <a:pt x="84000" y="53959"/>
                    <a:pt x="82285" y="52348"/>
                    <a:pt x="83142" y="49932"/>
                  </a:cubicBezTo>
                  <a:cubicBezTo>
                    <a:pt x="84000" y="47516"/>
                    <a:pt x="88285" y="49127"/>
                    <a:pt x="85714" y="46711"/>
                  </a:cubicBezTo>
                  <a:cubicBezTo>
                    <a:pt x="84857" y="45906"/>
                    <a:pt x="83142" y="45100"/>
                    <a:pt x="84000" y="43489"/>
                  </a:cubicBezTo>
                  <a:cubicBezTo>
                    <a:pt x="84857" y="42684"/>
                    <a:pt x="85714" y="43489"/>
                    <a:pt x="87428" y="44295"/>
                  </a:cubicBezTo>
                  <a:cubicBezTo>
                    <a:pt x="88285" y="45100"/>
                    <a:pt x="89142" y="44295"/>
                    <a:pt x="89142" y="45906"/>
                  </a:cubicBezTo>
                  <a:cubicBezTo>
                    <a:pt x="89142" y="46711"/>
                    <a:pt x="89142" y="47516"/>
                    <a:pt x="90857" y="48322"/>
                  </a:cubicBezTo>
                  <a:cubicBezTo>
                    <a:pt x="91714" y="48322"/>
                    <a:pt x="93428" y="48322"/>
                    <a:pt x="94285" y="48322"/>
                  </a:cubicBezTo>
                  <a:cubicBezTo>
                    <a:pt x="95142" y="48322"/>
                    <a:pt x="96857" y="49127"/>
                    <a:pt x="97714" y="48322"/>
                  </a:cubicBezTo>
                  <a:cubicBezTo>
                    <a:pt x="102000" y="47516"/>
                    <a:pt x="98571" y="52348"/>
                    <a:pt x="96857" y="53154"/>
                  </a:cubicBezTo>
                  <a:cubicBezTo>
                    <a:pt x="94285" y="53154"/>
                    <a:pt x="96000" y="56375"/>
                    <a:pt x="96000" y="57181"/>
                  </a:cubicBezTo>
                  <a:cubicBezTo>
                    <a:pt x="96857" y="57181"/>
                    <a:pt x="98571" y="53959"/>
                    <a:pt x="98571" y="54765"/>
                  </a:cubicBezTo>
                  <a:cubicBezTo>
                    <a:pt x="98571" y="57181"/>
                    <a:pt x="100285" y="59597"/>
                    <a:pt x="100285" y="61208"/>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05" name="Shape 2579">
              <a:extLst>
                <a:ext uri="{FF2B5EF4-FFF2-40B4-BE49-F238E27FC236}">
                  <a16:creationId xmlns:a16="http://schemas.microsoft.com/office/drawing/2014/main" id="{72CD3310-3758-6242-AEB3-318714C22179}"/>
                </a:ext>
              </a:extLst>
            </p:cNvPr>
            <p:cNvSpPr/>
            <p:nvPr/>
          </p:nvSpPr>
          <p:spPr>
            <a:xfrm>
              <a:off x="15926285" y="7669653"/>
              <a:ext cx="382163" cy="917436"/>
            </a:xfrm>
            <a:custGeom>
              <a:avLst/>
              <a:gdLst/>
              <a:ahLst/>
              <a:cxnLst/>
              <a:rect l="0" t="0" r="0" b="0"/>
              <a:pathLst>
                <a:path w="120000" h="120000" extrusionOk="0">
                  <a:moveTo>
                    <a:pt x="114146" y="46530"/>
                  </a:moveTo>
                  <a:cubicBezTo>
                    <a:pt x="111219" y="46530"/>
                    <a:pt x="108292" y="47755"/>
                    <a:pt x="108292" y="45306"/>
                  </a:cubicBezTo>
                  <a:cubicBezTo>
                    <a:pt x="108292" y="45306"/>
                    <a:pt x="108292" y="44081"/>
                    <a:pt x="108292" y="44081"/>
                  </a:cubicBezTo>
                  <a:cubicBezTo>
                    <a:pt x="108292" y="42857"/>
                    <a:pt x="99512" y="42857"/>
                    <a:pt x="99512" y="42857"/>
                  </a:cubicBezTo>
                  <a:cubicBezTo>
                    <a:pt x="96585" y="41632"/>
                    <a:pt x="99512" y="39183"/>
                    <a:pt x="99512" y="37959"/>
                  </a:cubicBezTo>
                  <a:cubicBezTo>
                    <a:pt x="102439" y="35510"/>
                    <a:pt x="93658" y="36734"/>
                    <a:pt x="90731" y="35510"/>
                  </a:cubicBezTo>
                  <a:cubicBezTo>
                    <a:pt x="90731" y="34285"/>
                    <a:pt x="87804" y="34285"/>
                    <a:pt x="87804" y="33061"/>
                  </a:cubicBezTo>
                  <a:cubicBezTo>
                    <a:pt x="87804" y="31836"/>
                    <a:pt x="93658" y="30612"/>
                    <a:pt x="93658" y="30612"/>
                  </a:cubicBezTo>
                  <a:cubicBezTo>
                    <a:pt x="90731" y="28163"/>
                    <a:pt x="73170" y="31836"/>
                    <a:pt x="70243" y="30612"/>
                  </a:cubicBezTo>
                  <a:cubicBezTo>
                    <a:pt x="70243" y="30612"/>
                    <a:pt x="73170" y="28163"/>
                    <a:pt x="73170" y="26938"/>
                  </a:cubicBezTo>
                  <a:cubicBezTo>
                    <a:pt x="70243" y="25714"/>
                    <a:pt x="79024" y="23265"/>
                    <a:pt x="79024" y="22040"/>
                  </a:cubicBezTo>
                  <a:cubicBezTo>
                    <a:pt x="84878" y="18367"/>
                    <a:pt x="90731" y="15918"/>
                    <a:pt x="87804" y="12244"/>
                  </a:cubicBezTo>
                  <a:cubicBezTo>
                    <a:pt x="87804" y="11020"/>
                    <a:pt x="90731" y="9795"/>
                    <a:pt x="90731" y="8571"/>
                  </a:cubicBezTo>
                  <a:cubicBezTo>
                    <a:pt x="90731" y="6122"/>
                    <a:pt x="84878" y="8571"/>
                    <a:pt x="81951" y="7346"/>
                  </a:cubicBezTo>
                  <a:cubicBezTo>
                    <a:pt x="81951" y="4897"/>
                    <a:pt x="79024" y="3673"/>
                    <a:pt x="79024" y="2448"/>
                  </a:cubicBezTo>
                  <a:cubicBezTo>
                    <a:pt x="73170" y="0"/>
                    <a:pt x="73170" y="3673"/>
                    <a:pt x="67317" y="2448"/>
                  </a:cubicBezTo>
                  <a:cubicBezTo>
                    <a:pt x="70243" y="4897"/>
                    <a:pt x="64390" y="4897"/>
                    <a:pt x="64390" y="6122"/>
                  </a:cubicBezTo>
                  <a:cubicBezTo>
                    <a:pt x="64390" y="6122"/>
                    <a:pt x="64390" y="11020"/>
                    <a:pt x="64390" y="11020"/>
                  </a:cubicBezTo>
                  <a:cubicBezTo>
                    <a:pt x="61463" y="11020"/>
                    <a:pt x="61463" y="8571"/>
                    <a:pt x="61463" y="8571"/>
                  </a:cubicBezTo>
                  <a:cubicBezTo>
                    <a:pt x="55609" y="8571"/>
                    <a:pt x="52682" y="9795"/>
                    <a:pt x="52682" y="11020"/>
                  </a:cubicBezTo>
                  <a:cubicBezTo>
                    <a:pt x="49756" y="12244"/>
                    <a:pt x="43902" y="12244"/>
                    <a:pt x="40975" y="13469"/>
                  </a:cubicBezTo>
                  <a:cubicBezTo>
                    <a:pt x="38048" y="14693"/>
                    <a:pt x="40975" y="17142"/>
                    <a:pt x="38048" y="18367"/>
                  </a:cubicBezTo>
                  <a:cubicBezTo>
                    <a:pt x="38048" y="19591"/>
                    <a:pt x="35121" y="20816"/>
                    <a:pt x="32195" y="22040"/>
                  </a:cubicBezTo>
                  <a:cubicBezTo>
                    <a:pt x="32195" y="23265"/>
                    <a:pt x="32195" y="24489"/>
                    <a:pt x="32195" y="25714"/>
                  </a:cubicBezTo>
                  <a:cubicBezTo>
                    <a:pt x="32195" y="28163"/>
                    <a:pt x="29268" y="30612"/>
                    <a:pt x="26341" y="30612"/>
                  </a:cubicBezTo>
                  <a:cubicBezTo>
                    <a:pt x="23414" y="30612"/>
                    <a:pt x="20487" y="30612"/>
                    <a:pt x="17560" y="30612"/>
                  </a:cubicBezTo>
                  <a:cubicBezTo>
                    <a:pt x="14634" y="33061"/>
                    <a:pt x="17560" y="42857"/>
                    <a:pt x="11707" y="42857"/>
                  </a:cubicBezTo>
                  <a:cubicBezTo>
                    <a:pt x="11707" y="42857"/>
                    <a:pt x="5853" y="42857"/>
                    <a:pt x="5853" y="42857"/>
                  </a:cubicBezTo>
                  <a:cubicBezTo>
                    <a:pt x="5853" y="44081"/>
                    <a:pt x="5853" y="45306"/>
                    <a:pt x="5853" y="45306"/>
                  </a:cubicBezTo>
                  <a:cubicBezTo>
                    <a:pt x="5853" y="46530"/>
                    <a:pt x="2926" y="47755"/>
                    <a:pt x="0" y="48979"/>
                  </a:cubicBezTo>
                  <a:cubicBezTo>
                    <a:pt x="0" y="50204"/>
                    <a:pt x="11707" y="56326"/>
                    <a:pt x="14634" y="57551"/>
                  </a:cubicBezTo>
                  <a:cubicBezTo>
                    <a:pt x="14634" y="57551"/>
                    <a:pt x="11707" y="53877"/>
                    <a:pt x="11707" y="53877"/>
                  </a:cubicBezTo>
                  <a:cubicBezTo>
                    <a:pt x="11707" y="53877"/>
                    <a:pt x="20487" y="58775"/>
                    <a:pt x="20487" y="58775"/>
                  </a:cubicBezTo>
                  <a:cubicBezTo>
                    <a:pt x="23414" y="61224"/>
                    <a:pt x="17560" y="61224"/>
                    <a:pt x="20487" y="63673"/>
                  </a:cubicBezTo>
                  <a:cubicBezTo>
                    <a:pt x="17560" y="62448"/>
                    <a:pt x="23414" y="62448"/>
                    <a:pt x="26341" y="63673"/>
                  </a:cubicBezTo>
                  <a:cubicBezTo>
                    <a:pt x="29268" y="66122"/>
                    <a:pt x="32195" y="68571"/>
                    <a:pt x="32195" y="71020"/>
                  </a:cubicBezTo>
                  <a:cubicBezTo>
                    <a:pt x="32195" y="71020"/>
                    <a:pt x="29268" y="82040"/>
                    <a:pt x="29268" y="82040"/>
                  </a:cubicBezTo>
                  <a:cubicBezTo>
                    <a:pt x="32195" y="82040"/>
                    <a:pt x="32195" y="78367"/>
                    <a:pt x="32195" y="78367"/>
                  </a:cubicBezTo>
                  <a:cubicBezTo>
                    <a:pt x="32195" y="78367"/>
                    <a:pt x="32195" y="82040"/>
                    <a:pt x="32195" y="82040"/>
                  </a:cubicBezTo>
                  <a:cubicBezTo>
                    <a:pt x="32195" y="82040"/>
                    <a:pt x="35121" y="80816"/>
                    <a:pt x="35121" y="80816"/>
                  </a:cubicBezTo>
                  <a:cubicBezTo>
                    <a:pt x="35121" y="80816"/>
                    <a:pt x="35121" y="83265"/>
                    <a:pt x="35121" y="83265"/>
                  </a:cubicBezTo>
                  <a:cubicBezTo>
                    <a:pt x="38048" y="83265"/>
                    <a:pt x="38048" y="80816"/>
                    <a:pt x="40975" y="80816"/>
                  </a:cubicBezTo>
                  <a:cubicBezTo>
                    <a:pt x="40975" y="80816"/>
                    <a:pt x="40975" y="82040"/>
                    <a:pt x="40975" y="82040"/>
                  </a:cubicBezTo>
                  <a:cubicBezTo>
                    <a:pt x="40975" y="82040"/>
                    <a:pt x="49756" y="80816"/>
                    <a:pt x="49756" y="79591"/>
                  </a:cubicBezTo>
                  <a:cubicBezTo>
                    <a:pt x="52682" y="79591"/>
                    <a:pt x="67317" y="75918"/>
                    <a:pt x="61463" y="74693"/>
                  </a:cubicBezTo>
                  <a:cubicBezTo>
                    <a:pt x="64390" y="74693"/>
                    <a:pt x="61463" y="77142"/>
                    <a:pt x="64390" y="78367"/>
                  </a:cubicBezTo>
                  <a:cubicBezTo>
                    <a:pt x="67317" y="78367"/>
                    <a:pt x="70243" y="78367"/>
                    <a:pt x="70243" y="79591"/>
                  </a:cubicBezTo>
                  <a:cubicBezTo>
                    <a:pt x="73170" y="82040"/>
                    <a:pt x="73170" y="85714"/>
                    <a:pt x="73170" y="88163"/>
                  </a:cubicBezTo>
                  <a:cubicBezTo>
                    <a:pt x="76097" y="91836"/>
                    <a:pt x="76097" y="94285"/>
                    <a:pt x="81951" y="96734"/>
                  </a:cubicBezTo>
                  <a:cubicBezTo>
                    <a:pt x="81951" y="96734"/>
                    <a:pt x="84878" y="97959"/>
                    <a:pt x="84878" y="97959"/>
                  </a:cubicBezTo>
                  <a:cubicBezTo>
                    <a:pt x="84878" y="100408"/>
                    <a:pt x="87804" y="100408"/>
                    <a:pt x="87804" y="100408"/>
                  </a:cubicBezTo>
                  <a:cubicBezTo>
                    <a:pt x="90731" y="101632"/>
                    <a:pt x="84878" y="104081"/>
                    <a:pt x="87804" y="104081"/>
                  </a:cubicBezTo>
                  <a:cubicBezTo>
                    <a:pt x="87804" y="104081"/>
                    <a:pt x="87804" y="104081"/>
                    <a:pt x="90731" y="104081"/>
                  </a:cubicBezTo>
                  <a:cubicBezTo>
                    <a:pt x="90731" y="105306"/>
                    <a:pt x="84878" y="106530"/>
                    <a:pt x="84878" y="107755"/>
                  </a:cubicBezTo>
                  <a:cubicBezTo>
                    <a:pt x="84878" y="110204"/>
                    <a:pt x="87804" y="107755"/>
                    <a:pt x="90731" y="108979"/>
                  </a:cubicBezTo>
                  <a:cubicBezTo>
                    <a:pt x="90731" y="108979"/>
                    <a:pt x="84878" y="118775"/>
                    <a:pt x="84878" y="119999"/>
                  </a:cubicBezTo>
                  <a:cubicBezTo>
                    <a:pt x="90731" y="117551"/>
                    <a:pt x="93658" y="112653"/>
                    <a:pt x="96585" y="110204"/>
                  </a:cubicBezTo>
                  <a:cubicBezTo>
                    <a:pt x="99512" y="107755"/>
                    <a:pt x="102439" y="106530"/>
                    <a:pt x="99512" y="104081"/>
                  </a:cubicBezTo>
                  <a:cubicBezTo>
                    <a:pt x="96585" y="101632"/>
                    <a:pt x="96585" y="100408"/>
                    <a:pt x="96585" y="97959"/>
                  </a:cubicBezTo>
                  <a:cubicBezTo>
                    <a:pt x="93658" y="95510"/>
                    <a:pt x="79024" y="90612"/>
                    <a:pt x="81951" y="86938"/>
                  </a:cubicBezTo>
                  <a:cubicBezTo>
                    <a:pt x="81951" y="86938"/>
                    <a:pt x="87804" y="85714"/>
                    <a:pt x="87804" y="84489"/>
                  </a:cubicBezTo>
                  <a:cubicBezTo>
                    <a:pt x="84878" y="82040"/>
                    <a:pt x="87804" y="82040"/>
                    <a:pt x="87804" y="79591"/>
                  </a:cubicBezTo>
                  <a:cubicBezTo>
                    <a:pt x="90731" y="75918"/>
                    <a:pt x="79024" y="73469"/>
                    <a:pt x="76097" y="71020"/>
                  </a:cubicBezTo>
                  <a:cubicBezTo>
                    <a:pt x="67317" y="68571"/>
                    <a:pt x="73170" y="63673"/>
                    <a:pt x="76097" y="59999"/>
                  </a:cubicBezTo>
                  <a:cubicBezTo>
                    <a:pt x="76097" y="57551"/>
                    <a:pt x="79024" y="57551"/>
                    <a:pt x="84878" y="57551"/>
                  </a:cubicBezTo>
                  <a:cubicBezTo>
                    <a:pt x="90731" y="57551"/>
                    <a:pt x="96585" y="55102"/>
                    <a:pt x="99512" y="53877"/>
                  </a:cubicBezTo>
                  <a:cubicBezTo>
                    <a:pt x="105365" y="52653"/>
                    <a:pt x="108292" y="53877"/>
                    <a:pt x="114146" y="51428"/>
                  </a:cubicBezTo>
                  <a:cubicBezTo>
                    <a:pt x="117073" y="48979"/>
                    <a:pt x="120000" y="47755"/>
                    <a:pt x="120000" y="46530"/>
                  </a:cubicBezTo>
                  <a:cubicBezTo>
                    <a:pt x="120000" y="46530"/>
                    <a:pt x="117073" y="46530"/>
                    <a:pt x="114146" y="4653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06" name="Shape 2580">
              <a:extLst>
                <a:ext uri="{FF2B5EF4-FFF2-40B4-BE49-F238E27FC236}">
                  <a16:creationId xmlns:a16="http://schemas.microsoft.com/office/drawing/2014/main" id="{4D6A8662-7F1C-4144-B98B-3C3D77182095}"/>
                </a:ext>
              </a:extLst>
            </p:cNvPr>
            <p:cNvSpPr/>
            <p:nvPr/>
          </p:nvSpPr>
          <p:spPr>
            <a:xfrm>
              <a:off x="15747942" y="7781146"/>
              <a:ext cx="213379" cy="261214"/>
            </a:xfrm>
            <a:custGeom>
              <a:avLst/>
              <a:gdLst/>
              <a:ahLst/>
              <a:cxnLst/>
              <a:rect l="0" t="0" r="0" b="0"/>
              <a:pathLst>
                <a:path w="120000" h="120000" extrusionOk="0">
                  <a:moveTo>
                    <a:pt x="109565" y="111428"/>
                  </a:moveTo>
                  <a:cubicBezTo>
                    <a:pt x="114782" y="102857"/>
                    <a:pt x="104347" y="81428"/>
                    <a:pt x="104347" y="72857"/>
                  </a:cubicBezTo>
                  <a:cubicBezTo>
                    <a:pt x="104347" y="72857"/>
                    <a:pt x="99130" y="55714"/>
                    <a:pt x="93913" y="68571"/>
                  </a:cubicBezTo>
                  <a:cubicBezTo>
                    <a:pt x="93913" y="68571"/>
                    <a:pt x="88695" y="72857"/>
                    <a:pt x="83478" y="77142"/>
                  </a:cubicBezTo>
                  <a:cubicBezTo>
                    <a:pt x="83478" y="72857"/>
                    <a:pt x="73043" y="55714"/>
                    <a:pt x="88695" y="55714"/>
                  </a:cubicBezTo>
                  <a:cubicBezTo>
                    <a:pt x="99130" y="51428"/>
                    <a:pt x="120000" y="25714"/>
                    <a:pt x="93913" y="29999"/>
                  </a:cubicBezTo>
                  <a:cubicBezTo>
                    <a:pt x="88695" y="34285"/>
                    <a:pt x="78260" y="29999"/>
                    <a:pt x="73043" y="29999"/>
                  </a:cubicBezTo>
                  <a:cubicBezTo>
                    <a:pt x="67826" y="29999"/>
                    <a:pt x="57391" y="29999"/>
                    <a:pt x="52173" y="29999"/>
                  </a:cubicBezTo>
                  <a:cubicBezTo>
                    <a:pt x="41739" y="25714"/>
                    <a:pt x="41739" y="21428"/>
                    <a:pt x="41739" y="17142"/>
                  </a:cubicBezTo>
                  <a:cubicBezTo>
                    <a:pt x="41739" y="8571"/>
                    <a:pt x="36521" y="12857"/>
                    <a:pt x="31304" y="8571"/>
                  </a:cubicBezTo>
                  <a:cubicBezTo>
                    <a:pt x="20869" y="4285"/>
                    <a:pt x="15652" y="0"/>
                    <a:pt x="10434" y="4285"/>
                  </a:cubicBezTo>
                  <a:cubicBezTo>
                    <a:pt x="5217" y="12857"/>
                    <a:pt x="15652" y="17142"/>
                    <a:pt x="20869" y="21428"/>
                  </a:cubicBezTo>
                  <a:cubicBezTo>
                    <a:pt x="36521" y="34285"/>
                    <a:pt x="10434" y="25714"/>
                    <a:pt x="5217" y="38571"/>
                  </a:cubicBezTo>
                  <a:cubicBezTo>
                    <a:pt x="0" y="51428"/>
                    <a:pt x="10434" y="59999"/>
                    <a:pt x="15652" y="68571"/>
                  </a:cubicBezTo>
                  <a:cubicBezTo>
                    <a:pt x="26086" y="81428"/>
                    <a:pt x="31304" y="94285"/>
                    <a:pt x="26086" y="107142"/>
                  </a:cubicBezTo>
                  <a:cubicBezTo>
                    <a:pt x="31304" y="111428"/>
                    <a:pt x="31304" y="98571"/>
                    <a:pt x="31304" y="94285"/>
                  </a:cubicBezTo>
                  <a:cubicBezTo>
                    <a:pt x="31304" y="98571"/>
                    <a:pt x="31304" y="102857"/>
                    <a:pt x="36521" y="102857"/>
                  </a:cubicBezTo>
                  <a:cubicBezTo>
                    <a:pt x="36521" y="102857"/>
                    <a:pt x="36521" y="98571"/>
                    <a:pt x="36521" y="98571"/>
                  </a:cubicBezTo>
                  <a:cubicBezTo>
                    <a:pt x="41739" y="111428"/>
                    <a:pt x="41739" y="98571"/>
                    <a:pt x="41739" y="89999"/>
                  </a:cubicBezTo>
                  <a:cubicBezTo>
                    <a:pt x="41739" y="94285"/>
                    <a:pt x="62608" y="107142"/>
                    <a:pt x="67826" y="94285"/>
                  </a:cubicBezTo>
                  <a:cubicBezTo>
                    <a:pt x="67826" y="89999"/>
                    <a:pt x="62608" y="68571"/>
                    <a:pt x="57391" y="68571"/>
                  </a:cubicBezTo>
                  <a:cubicBezTo>
                    <a:pt x="62608" y="68571"/>
                    <a:pt x="67826" y="77142"/>
                    <a:pt x="67826" y="81428"/>
                  </a:cubicBezTo>
                  <a:cubicBezTo>
                    <a:pt x="73043" y="85714"/>
                    <a:pt x="88695" y="77142"/>
                    <a:pt x="88695" y="85714"/>
                  </a:cubicBezTo>
                  <a:cubicBezTo>
                    <a:pt x="88695" y="89999"/>
                    <a:pt x="93913" y="85714"/>
                    <a:pt x="93913" y="94285"/>
                  </a:cubicBezTo>
                  <a:cubicBezTo>
                    <a:pt x="93913" y="102857"/>
                    <a:pt x="93913" y="111428"/>
                    <a:pt x="99130" y="119999"/>
                  </a:cubicBezTo>
                  <a:cubicBezTo>
                    <a:pt x="104347" y="115714"/>
                    <a:pt x="104347" y="115714"/>
                    <a:pt x="109565" y="111428"/>
                  </a:cubicBezTo>
                  <a:cubicBezTo>
                    <a:pt x="114782" y="107142"/>
                    <a:pt x="104347" y="115714"/>
                    <a:pt x="109565" y="111428"/>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07" name="Shape 2581">
              <a:extLst>
                <a:ext uri="{FF2B5EF4-FFF2-40B4-BE49-F238E27FC236}">
                  <a16:creationId xmlns:a16="http://schemas.microsoft.com/office/drawing/2014/main" id="{A5552BE2-4F4A-0246-A935-962C457FEEA2}"/>
                </a:ext>
              </a:extLst>
            </p:cNvPr>
            <p:cNvSpPr/>
            <p:nvPr/>
          </p:nvSpPr>
          <p:spPr>
            <a:xfrm>
              <a:off x="16149215" y="8071031"/>
              <a:ext cx="391719" cy="719934"/>
            </a:xfrm>
            <a:custGeom>
              <a:avLst/>
              <a:gdLst/>
              <a:ahLst/>
              <a:cxnLst/>
              <a:rect l="0" t="0" r="0" b="0"/>
              <a:pathLst>
                <a:path w="120000" h="120000" extrusionOk="0">
                  <a:moveTo>
                    <a:pt x="114285" y="46753"/>
                  </a:moveTo>
                  <a:cubicBezTo>
                    <a:pt x="117142" y="46753"/>
                    <a:pt x="114285" y="43636"/>
                    <a:pt x="117142" y="42077"/>
                  </a:cubicBezTo>
                  <a:cubicBezTo>
                    <a:pt x="120000" y="40519"/>
                    <a:pt x="114285" y="37402"/>
                    <a:pt x="111428" y="37402"/>
                  </a:cubicBezTo>
                  <a:cubicBezTo>
                    <a:pt x="108571" y="35844"/>
                    <a:pt x="102857" y="34285"/>
                    <a:pt x="102857" y="31168"/>
                  </a:cubicBezTo>
                  <a:cubicBezTo>
                    <a:pt x="102857" y="28051"/>
                    <a:pt x="105714" y="26493"/>
                    <a:pt x="100000" y="23376"/>
                  </a:cubicBezTo>
                  <a:cubicBezTo>
                    <a:pt x="97142" y="21818"/>
                    <a:pt x="91428" y="18701"/>
                    <a:pt x="85714" y="18701"/>
                  </a:cubicBezTo>
                  <a:cubicBezTo>
                    <a:pt x="80000" y="18701"/>
                    <a:pt x="77142" y="21818"/>
                    <a:pt x="71428" y="21818"/>
                  </a:cubicBezTo>
                  <a:cubicBezTo>
                    <a:pt x="65714" y="20259"/>
                    <a:pt x="65714" y="20259"/>
                    <a:pt x="60000" y="21818"/>
                  </a:cubicBezTo>
                  <a:cubicBezTo>
                    <a:pt x="60000" y="21818"/>
                    <a:pt x="51428" y="26493"/>
                    <a:pt x="48571" y="24935"/>
                  </a:cubicBezTo>
                  <a:cubicBezTo>
                    <a:pt x="48571" y="23376"/>
                    <a:pt x="57142" y="20259"/>
                    <a:pt x="54285" y="18701"/>
                  </a:cubicBezTo>
                  <a:cubicBezTo>
                    <a:pt x="48571" y="17142"/>
                    <a:pt x="54285" y="15584"/>
                    <a:pt x="54285" y="14025"/>
                  </a:cubicBezTo>
                  <a:cubicBezTo>
                    <a:pt x="54285" y="12467"/>
                    <a:pt x="54285" y="7792"/>
                    <a:pt x="51428" y="7792"/>
                  </a:cubicBezTo>
                  <a:cubicBezTo>
                    <a:pt x="45714" y="9350"/>
                    <a:pt x="40000" y="9350"/>
                    <a:pt x="42857" y="6233"/>
                  </a:cubicBezTo>
                  <a:cubicBezTo>
                    <a:pt x="45714" y="0"/>
                    <a:pt x="31428" y="0"/>
                    <a:pt x="25714" y="1558"/>
                  </a:cubicBezTo>
                  <a:cubicBezTo>
                    <a:pt x="22857" y="4675"/>
                    <a:pt x="17142" y="6233"/>
                    <a:pt x="11428" y="6233"/>
                  </a:cubicBezTo>
                  <a:cubicBezTo>
                    <a:pt x="5714" y="6233"/>
                    <a:pt x="2857" y="10909"/>
                    <a:pt x="2857" y="12467"/>
                  </a:cubicBezTo>
                  <a:cubicBezTo>
                    <a:pt x="2857" y="15584"/>
                    <a:pt x="0" y="17142"/>
                    <a:pt x="0" y="20259"/>
                  </a:cubicBezTo>
                  <a:cubicBezTo>
                    <a:pt x="0" y="23376"/>
                    <a:pt x="2857" y="23376"/>
                    <a:pt x="8571" y="24935"/>
                  </a:cubicBezTo>
                  <a:cubicBezTo>
                    <a:pt x="11428" y="28051"/>
                    <a:pt x="14285" y="29610"/>
                    <a:pt x="17142" y="31168"/>
                  </a:cubicBezTo>
                  <a:cubicBezTo>
                    <a:pt x="20000" y="34285"/>
                    <a:pt x="14285" y="35844"/>
                    <a:pt x="14285" y="37402"/>
                  </a:cubicBezTo>
                  <a:cubicBezTo>
                    <a:pt x="14285" y="38961"/>
                    <a:pt x="17142" y="40519"/>
                    <a:pt x="14285" y="42077"/>
                  </a:cubicBezTo>
                  <a:cubicBezTo>
                    <a:pt x="14285" y="42077"/>
                    <a:pt x="11428" y="42077"/>
                    <a:pt x="11428" y="43636"/>
                  </a:cubicBezTo>
                  <a:cubicBezTo>
                    <a:pt x="8571" y="45194"/>
                    <a:pt x="14285" y="49870"/>
                    <a:pt x="17142" y="51428"/>
                  </a:cubicBezTo>
                  <a:cubicBezTo>
                    <a:pt x="20000" y="52987"/>
                    <a:pt x="22857" y="54545"/>
                    <a:pt x="25714" y="57662"/>
                  </a:cubicBezTo>
                  <a:cubicBezTo>
                    <a:pt x="25714" y="60779"/>
                    <a:pt x="25714" y="62337"/>
                    <a:pt x="28571" y="65454"/>
                  </a:cubicBezTo>
                  <a:cubicBezTo>
                    <a:pt x="31428" y="71688"/>
                    <a:pt x="22857" y="76363"/>
                    <a:pt x="17142" y="81038"/>
                  </a:cubicBezTo>
                  <a:cubicBezTo>
                    <a:pt x="17142" y="82597"/>
                    <a:pt x="14285" y="84155"/>
                    <a:pt x="14285" y="85714"/>
                  </a:cubicBezTo>
                  <a:cubicBezTo>
                    <a:pt x="11428" y="87272"/>
                    <a:pt x="11428" y="88831"/>
                    <a:pt x="11428" y="90389"/>
                  </a:cubicBezTo>
                  <a:cubicBezTo>
                    <a:pt x="11428" y="91948"/>
                    <a:pt x="8571" y="96623"/>
                    <a:pt x="14285" y="96623"/>
                  </a:cubicBezTo>
                  <a:cubicBezTo>
                    <a:pt x="22857" y="99740"/>
                    <a:pt x="25714" y="104415"/>
                    <a:pt x="31428" y="107532"/>
                  </a:cubicBezTo>
                  <a:cubicBezTo>
                    <a:pt x="34285" y="109090"/>
                    <a:pt x="34285" y="110649"/>
                    <a:pt x="37142" y="112207"/>
                  </a:cubicBezTo>
                  <a:cubicBezTo>
                    <a:pt x="40000" y="112207"/>
                    <a:pt x="42857" y="112207"/>
                    <a:pt x="45714" y="112207"/>
                  </a:cubicBezTo>
                  <a:cubicBezTo>
                    <a:pt x="48571" y="113766"/>
                    <a:pt x="51428" y="113766"/>
                    <a:pt x="51428" y="115324"/>
                  </a:cubicBezTo>
                  <a:cubicBezTo>
                    <a:pt x="51428" y="116883"/>
                    <a:pt x="51428" y="118441"/>
                    <a:pt x="54285" y="118441"/>
                  </a:cubicBezTo>
                  <a:cubicBezTo>
                    <a:pt x="54285" y="120000"/>
                    <a:pt x="57142" y="118441"/>
                    <a:pt x="60000" y="118441"/>
                  </a:cubicBezTo>
                  <a:cubicBezTo>
                    <a:pt x="62857" y="118441"/>
                    <a:pt x="65714" y="115324"/>
                    <a:pt x="65714" y="115324"/>
                  </a:cubicBezTo>
                  <a:cubicBezTo>
                    <a:pt x="60000" y="110649"/>
                    <a:pt x="57142" y="109090"/>
                    <a:pt x="45714" y="107532"/>
                  </a:cubicBezTo>
                  <a:cubicBezTo>
                    <a:pt x="42857" y="107532"/>
                    <a:pt x="40000" y="105974"/>
                    <a:pt x="37142" y="104415"/>
                  </a:cubicBezTo>
                  <a:cubicBezTo>
                    <a:pt x="37142" y="101298"/>
                    <a:pt x="40000" y="104415"/>
                    <a:pt x="42857" y="104415"/>
                  </a:cubicBezTo>
                  <a:cubicBezTo>
                    <a:pt x="40000" y="104415"/>
                    <a:pt x="34285" y="95064"/>
                    <a:pt x="34285" y="93506"/>
                  </a:cubicBezTo>
                  <a:cubicBezTo>
                    <a:pt x="34285" y="91948"/>
                    <a:pt x="34285" y="91948"/>
                    <a:pt x="31428" y="90389"/>
                  </a:cubicBezTo>
                  <a:cubicBezTo>
                    <a:pt x="28571" y="90389"/>
                    <a:pt x="25714" y="88831"/>
                    <a:pt x="25714" y="87272"/>
                  </a:cubicBezTo>
                  <a:cubicBezTo>
                    <a:pt x="22857" y="82597"/>
                    <a:pt x="28571" y="77922"/>
                    <a:pt x="31428" y="74805"/>
                  </a:cubicBezTo>
                  <a:cubicBezTo>
                    <a:pt x="31428" y="71688"/>
                    <a:pt x="37142" y="68571"/>
                    <a:pt x="37142" y="67012"/>
                  </a:cubicBezTo>
                  <a:cubicBezTo>
                    <a:pt x="37142" y="63896"/>
                    <a:pt x="34285" y="57662"/>
                    <a:pt x="40000" y="56103"/>
                  </a:cubicBezTo>
                  <a:cubicBezTo>
                    <a:pt x="48571" y="56103"/>
                    <a:pt x="48571" y="57662"/>
                    <a:pt x="48571" y="62337"/>
                  </a:cubicBezTo>
                  <a:cubicBezTo>
                    <a:pt x="45714" y="65454"/>
                    <a:pt x="57142" y="63896"/>
                    <a:pt x="62857" y="63896"/>
                  </a:cubicBezTo>
                  <a:cubicBezTo>
                    <a:pt x="65714" y="63896"/>
                    <a:pt x="74285" y="67012"/>
                    <a:pt x="77142" y="68571"/>
                  </a:cubicBezTo>
                  <a:cubicBezTo>
                    <a:pt x="77142" y="65454"/>
                    <a:pt x="71428" y="63896"/>
                    <a:pt x="68571" y="59220"/>
                  </a:cubicBezTo>
                  <a:cubicBezTo>
                    <a:pt x="68571" y="56103"/>
                    <a:pt x="74285" y="54545"/>
                    <a:pt x="80000" y="51428"/>
                  </a:cubicBezTo>
                  <a:cubicBezTo>
                    <a:pt x="82857" y="49870"/>
                    <a:pt x="91428" y="49870"/>
                    <a:pt x="97142" y="49870"/>
                  </a:cubicBezTo>
                  <a:cubicBezTo>
                    <a:pt x="102857" y="49870"/>
                    <a:pt x="105714" y="49870"/>
                    <a:pt x="108571" y="51428"/>
                  </a:cubicBezTo>
                  <a:cubicBezTo>
                    <a:pt x="114285" y="51428"/>
                    <a:pt x="111428" y="49870"/>
                    <a:pt x="114285" y="46753"/>
                  </a:cubicBezTo>
                  <a:cubicBezTo>
                    <a:pt x="117142" y="46753"/>
                    <a:pt x="114285" y="48311"/>
                    <a:pt x="114285" y="46753"/>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08" name="Shape 2582">
              <a:extLst>
                <a:ext uri="{FF2B5EF4-FFF2-40B4-BE49-F238E27FC236}">
                  <a16:creationId xmlns:a16="http://schemas.microsoft.com/office/drawing/2014/main" id="{5A2AA0F2-59E5-FF43-82DF-8A2B355A209A}"/>
                </a:ext>
              </a:extLst>
            </p:cNvPr>
            <p:cNvSpPr/>
            <p:nvPr/>
          </p:nvSpPr>
          <p:spPr>
            <a:xfrm>
              <a:off x="16362593" y="7921310"/>
              <a:ext cx="356688" cy="729491"/>
            </a:xfrm>
            <a:custGeom>
              <a:avLst/>
              <a:gdLst/>
              <a:ahLst/>
              <a:cxnLst/>
              <a:rect l="0" t="0" r="0" b="0"/>
              <a:pathLst>
                <a:path w="120000" h="120000" extrusionOk="0">
                  <a:moveTo>
                    <a:pt x="116842" y="84615"/>
                  </a:moveTo>
                  <a:cubicBezTo>
                    <a:pt x="113684" y="83076"/>
                    <a:pt x="113684" y="80000"/>
                    <a:pt x="113684" y="75384"/>
                  </a:cubicBezTo>
                  <a:cubicBezTo>
                    <a:pt x="110526" y="70769"/>
                    <a:pt x="107368" y="67692"/>
                    <a:pt x="101052" y="63076"/>
                  </a:cubicBezTo>
                  <a:cubicBezTo>
                    <a:pt x="97894" y="60000"/>
                    <a:pt x="94736" y="58461"/>
                    <a:pt x="88421" y="56923"/>
                  </a:cubicBezTo>
                  <a:cubicBezTo>
                    <a:pt x="82105" y="53846"/>
                    <a:pt x="72631" y="52307"/>
                    <a:pt x="69473" y="47692"/>
                  </a:cubicBezTo>
                  <a:cubicBezTo>
                    <a:pt x="69473" y="44615"/>
                    <a:pt x="63157" y="43076"/>
                    <a:pt x="56842" y="40000"/>
                  </a:cubicBezTo>
                  <a:cubicBezTo>
                    <a:pt x="53684" y="38461"/>
                    <a:pt x="56842" y="32307"/>
                    <a:pt x="60000" y="30769"/>
                  </a:cubicBezTo>
                  <a:cubicBezTo>
                    <a:pt x="66315" y="29230"/>
                    <a:pt x="72631" y="26153"/>
                    <a:pt x="72631" y="23076"/>
                  </a:cubicBezTo>
                  <a:cubicBezTo>
                    <a:pt x="75789" y="21538"/>
                    <a:pt x="88421" y="18461"/>
                    <a:pt x="91578" y="16923"/>
                  </a:cubicBezTo>
                  <a:cubicBezTo>
                    <a:pt x="85263" y="15384"/>
                    <a:pt x="78947" y="13846"/>
                    <a:pt x="72631" y="10769"/>
                  </a:cubicBezTo>
                  <a:cubicBezTo>
                    <a:pt x="66315" y="9230"/>
                    <a:pt x="75789" y="9230"/>
                    <a:pt x="75789" y="6153"/>
                  </a:cubicBezTo>
                  <a:cubicBezTo>
                    <a:pt x="75789" y="6153"/>
                    <a:pt x="60000" y="4615"/>
                    <a:pt x="60000" y="4615"/>
                  </a:cubicBezTo>
                  <a:cubicBezTo>
                    <a:pt x="53684" y="3076"/>
                    <a:pt x="47368" y="0"/>
                    <a:pt x="44210" y="4615"/>
                  </a:cubicBezTo>
                  <a:cubicBezTo>
                    <a:pt x="41052" y="6153"/>
                    <a:pt x="37894" y="6153"/>
                    <a:pt x="34736" y="7692"/>
                  </a:cubicBezTo>
                  <a:cubicBezTo>
                    <a:pt x="28421" y="12307"/>
                    <a:pt x="28421" y="6153"/>
                    <a:pt x="25263" y="7692"/>
                  </a:cubicBezTo>
                  <a:cubicBezTo>
                    <a:pt x="18947" y="9230"/>
                    <a:pt x="18947" y="7692"/>
                    <a:pt x="15789" y="7692"/>
                  </a:cubicBezTo>
                  <a:cubicBezTo>
                    <a:pt x="12631" y="9230"/>
                    <a:pt x="9473" y="9230"/>
                    <a:pt x="9473" y="7692"/>
                  </a:cubicBezTo>
                  <a:cubicBezTo>
                    <a:pt x="9473" y="6153"/>
                    <a:pt x="3157" y="9230"/>
                    <a:pt x="0" y="9230"/>
                  </a:cubicBezTo>
                  <a:cubicBezTo>
                    <a:pt x="0" y="10769"/>
                    <a:pt x="9473" y="13846"/>
                    <a:pt x="12631" y="13846"/>
                  </a:cubicBezTo>
                  <a:cubicBezTo>
                    <a:pt x="15789" y="16923"/>
                    <a:pt x="12631" y="18461"/>
                    <a:pt x="15789" y="20000"/>
                  </a:cubicBezTo>
                  <a:cubicBezTo>
                    <a:pt x="15789" y="23076"/>
                    <a:pt x="25263" y="23076"/>
                    <a:pt x="28421" y="21538"/>
                  </a:cubicBezTo>
                  <a:cubicBezTo>
                    <a:pt x="34736" y="20000"/>
                    <a:pt x="37894" y="24615"/>
                    <a:pt x="37894" y="26153"/>
                  </a:cubicBezTo>
                  <a:cubicBezTo>
                    <a:pt x="41052" y="29230"/>
                    <a:pt x="47368" y="29230"/>
                    <a:pt x="41052" y="32307"/>
                  </a:cubicBezTo>
                  <a:cubicBezTo>
                    <a:pt x="34736" y="33846"/>
                    <a:pt x="31578" y="29230"/>
                    <a:pt x="31578" y="33846"/>
                  </a:cubicBezTo>
                  <a:cubicBezTo>
                    <a:pt x="31578" y="36923"/>
                    <a:pt x="41052" y="36923"/>
                    <a:pt x="44210" y="38461"/>
                  </a:cubicBezTo>
                  <a:cubicBezTo>
                    <a:pt x="50526" y="41538"/>
                    <a:pt x="53684" y="44615"/>
                    <a:pt x="60000" y="47692"/>
                  </a:cubicBezTo>
                  <a:cubicBezTo>
                    <a:pt x="63157" y="50769"/>
                    <a:pt x="69473" y="50769"/>
                    <a:pt x="72631" y="53846"/>
                  </a:cubicBezTo>
                  <a:cubicBezTo>
                    <a:pt x="75789" y="56923"/>
                    <a:pt x="75789" y="58461"/>
                    <a:pt x="82105" y="60000"/>
                  </a:cubicBezTo>
                  <a:cubicBezTo>
                    <a:pt x="85263" y="61538"/>
                    <a:pt x="82105" y="64615"/>
                    <a:pt x="88421" y="66153"/>
                  </a:cubicBezTo>
                  <a:cubicBezTo>
                    <a:pt x="91578" y="67692"/>
                    <a:pt x="88421" y="72307"/>
                    <a:pt x="85263" y="73846"/>
                  </a:cubicBezTo>
                  <a:cubicBezTo>
                    <a:pt x="82105" y="75384"/>
                    <a:pt x="85263" y="78461"/>
                    <a:pt x="88421" y="80000"/>
                  </a:cubicBezTo>
                  <a:cubicBezTo>
                    <a:pt x="88421" y="83076"/>
                    <a:pt x="88421" y="84615"/>
                    <a:pt x="88421" y="87692"/>
                  </a:cubicBezTo>
                  <a:cubicBezTo>
                    <a:pt x="82105" y="90769"/>
                    <a:pt x="82105" y="90769"/>
                    <a:pt x="72631" y="92307"/>
                  </a:cubicBezTo>
                  <a:cubicBezTo>
                    <a:pt x="66315" y="92307"/>
                    <a:pt x="75789" y="96923"/>
                    <a:pt x="63157" y="95384"/>
                  </a:cubicBezTo>
                  <a:cubicBezTo>
                    <a:pt x="56842" y="95384"/>
                    <a:pt x="63157" y="98461"/>
                    <a:pt x="63157" y="100000"/>
                  </a:cubicBezTo>
                  <a:cubicBezTo>
                    <a:pt x="66315" y="103076"/>
                    <a:pt x="60000" y="101538"/>
                    <a:pt x="56842" y="101538"/>
                  </a:cubicBezTo>
                  <a:cubicBezTo>
                    <a:pt x="50526" y="101538"/>
                    <a:pt x="47368" y="101538"/>
                    <a:pt x="44210" y="103076"/>
                  </a:cubicBezTo>
                  <a:cubicBezTo>
                    <a:pt x="34736" y="106153"/>
                    <a:pt x="41052" y="106153"/>
                    <a:pt x="47368" y="107692"/>
                  </a:cubicBezTo>
                  <a:cubicBezTo>
                    <a:pt x="50526" y="107692"/>
                    <a:pt x="44210" y="112307"/>
                    <a:pt x="44210" y="113846"/>
                  </a:cubicBezTo>
                  <a:cubicBezTo>
                    <a:pt x="41052" y="113846"/>
                    <a:pt x="41052" y="120000"/>
                    <a:pt x="44210" y="118461"/>
                  </a:cubicBezTo>
                  <a:cubicBezTo>
                    <a:pt x="50526" y="116923"/>
                    <a:pt x="53684" y="115384"/>
                    <a:pt x="56842" y="115384"/>
                  </a:cubicBezTo>
                  <a:cubicBezTo>
                    <a:pt x="69473" y="113846"/>
                    <a:pt x="63157" y="112307"/>
                    <a:pt x="60000" y="109230"/>
                  </a:cubicBezTo>
                  <a:cubicBezTo>
                    <a:pt x="63157" y="109230"/>
                    <a:pt x="66315" y="112307"/>
                    <a:pt x="69473" y="110769"/>
                  </a:cubicBezTo>
                  <a:cubicBezTo>
                    <a:pt x="72631" y="109230"/>
                    <a:pt x="66315" y="107692"/>
                    <a:pt x="66315" y="107692"/>
                  </a:cubicBezTo>
                  <a:cubicBezTo>
                    <a:pt x="66315" y="106153"/>
                    <a:pt x="72631" y="109230"/>
                    <a:pt x="72631" y="109230"/>
                  </a:cubicBezTo>
                  <a:cubicBezTo>
                    <a:pt x="69473" y="109230"/>
                    <a:pt x="72631" y="103076"/>
                    <a:pt x="75789" y="103076"/>
                  </a:cubicBezTo>
                  <a:cubicBezTo>
                    <a:pt x="75789" y="101538"/>
                    <a:pt x="82105" y="104615"/>
                    <a:pt x="82105" y="104615"/>
                  </a:cubicBezTo>
                  <a:cubicBezTo>
                    <a:pt x="88421" y="104615"/>
                    <a:pt x="91578" y="103076"/>
                    <a:pt x="94736" y="101538"/>
                  </a:cubicBezTo>
                  <a:cubicBezTo>
                    <a:pt x="97894" y="100000"/>
                    <a:pt x="113684" y="96923"/>
                    <a:pt x="113684" y="93846"/>
                  </a:cubicBezTo>
                  <a:cubicBezTo>
                    <a:pt x="113684" y="92307"/>
                    <a:pt x="110526" y="90769"/>
                    <a:pt x="113684" y="87692"/>
                  </a:cubicBezTo>
                  <a:cubicBezTo>
                    <a:pt x="113684" y="86153"/>
                    <a:pt x="120000" y="87692"/>
                    <a:pt x="116842" y="84615"/>
                  </a:cubicBezTo>
                  <a:cubicBezTo>
                    <a:pt x="113684" y="83076"/>
                    <a:pt x="120000" y="86153"/>
                    <a:pt x="116842" y="84615"/>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09" name="Shape 2583">
              <a:extLst>
                <a:ext uri="{FF2B5EF4-FFF2-40B4-BE49-F238E27FC236}">
                  <a16:creationId xmlns:a16="http://schemas.microsoft.com/office/drawing/2014/main" id="{ED873E01-9958-9147-B6C0-E39AF183D14C}"/>
                </a:ext>
              </a:extLst>
            </p:cNvPr>
            <p:cNvSpPr/>
            <p:nvPr/>
          </p:nvSpPr>
          <p:spPr>
            <a:xfrm>
              <a:off x="16279790" y="7978652"/>
              <a:ext cx="343950" cy="420492"/>
            </a:xfrm>
            <a:custGeom>
              <a:avLst/>
              <a:gdLst/>
              <a:ahLst/>
              <a:cxnLst/>
              <a:rect l="0" t="0" r="0" b="0"/>
              <a:pathLst>
                <a:path w="120000" h="120000" extrusionOk="0">
                  <a:moveTo>
                    <a:pt x="120000" y="101333"/>
                  </a:moveTo>
                  <a:cubicBezTo>
                    <a:pt x="120000" y="98666"/>
                    <a:pt x="116756" y="98666"/>
                    <a:pt x="113513" y="93333"/>
                  </a:cubicBezTo>
                  <a:cubicBezTo>
                    <a:pt x="113513" y="88000"/>
                    <a:pt x="110270" y="90666"/>
                    <a:pt x="107027" y="85333"/>
                  </a:cubicBezTo>
                  <a:cubicBezTo>
                    <a:pt x="103783" y="80000"/>
                    <a:pt x="103783" y="77333"/>
                    <a:pt x="97297" y="74666"/>
                  </a:cubicBezTo>
                  <a:cubicBezTo>
                    <a:pt x="90810" y="69333"/>
                    <a:pt x="87567" y="64000"/>
                    <a:pt x="84324" y="58666"/>
                  </a:cubicBezTo>
                  <a:cubicBezTo>
                    <a:pt x="81081" y="56000"/>
                    <a:pt x="74594" y="50666"/>
                    <a:pt x="71351" y="48000"/>
                  </a:cubicBezTo>
                  <a:cubicBezTo>
                    <a:pt x="64864" y="45333"/>
                    <a:pt x="61621" y="48000"/>
                    <a:pt x="61621" y="40000"/>
                  </a:cubicBezTo>
                  <a:cubicBezTo>
                    <a:pt x="61621" y="37333"/>
                    <a:pt x="68108" y="42666"/>
                    <a:pt x="71351" y="37333"/>
                  </a:cubicBezTo>
                  <a:cubicBezTo>
                    <a:pt x="77837" y="34666"/>
                    <a:pt x="71351" y="32000"/>
                    <a:pt x="68108" y="26666"/>
                  </a:cubicBezTo>
                  <a:cubicBezTo>
                    <a:pt x="61621" y="13333"/>
                    <a:pt x="51891" y="29333"/>
                    <a:pt x="45405" y="21333"/>
                  </a:cubicBezTo>
                  <a:cubicBezTo>
                    <a:pt x="42162" y="18666"/>
                    <a:pt x="45405" y="13333"/>
                    <a:pt x="42162" y="10666"/>
                  </a:cubicBezTo>
                  <a:cubicBezTo>
                    <a:pt x="38918" y="8000"/>
                    <a:pt x="32432" y="5333"/>
                    <a:pt x="29189" y="0"/>
                  </a:cubicBezTo>
                  <a:cubicBezTo>
                    <a:pt x="29189" y="0"/>
                    <a:pt x="22702" y="0"/>
                    <a:pt x="22702" y="0"/>
                  </a:cubicBezTo>
                  <a:cubicBezTo>
                    <a:pt x="19459" y="2666"/>
                    <a:pt x="25945" y="8000"/>
                    <a:pt x="25945" y="10666"/>
                  </a:cubicBezTo>
                  <a:cubicBezTo>
                    <a:pt x="25945" y="13333"/>
                    <a:pt x="29189" y="18666"/>
                    <a:pt x="25945" y="18666"/>
                  </a:cubicBezTo>
                  <a:cubicBezTo>
                    <a:pt x="19459" y="18666"/>
                    <a:pt x="19459" y="13333"/>
                    <a:pt x="12972" y="13333"/>
                  </a:cubicBezTo>
                  <a:cubicBezTo>
                    <a:pt x="9729" y="10666"/>
                    <a:pt x="0" y="26666"/>
                    <a:pt x="0" y="26666"/>
                  </a:cubicBezTo>
                  <a:cubicBezTo>
                    <a:pt x="3243" y="34666"/>
                    <a:pt x="0" y="45333"/>
                    <a:pt x="12972" y="40000"/>
                  </a:cubicBezTo>
                  <a:cubicBezTo>
                    <a:pt x="19459" y="37333"/>
                    <a:pt x="12972" y="58666"/>
                    <a:pt x="12972" y="58666"/>
                  </a:cubicBezTo>
                  <a:cubicBezTo>
                    <a:pt x="19459" y="61333"/>
                    <a:pt x="12972" y="64000"/>
                    <a:pt x="9729" y="69333"/>
                  </a:cubicBezTo>
                  <a:cubicBezTo>
                    <a:pt x="9729" y="72000"/>
                    <a:pt x="19459" y="66666"/>
                    <a:pt x="22702" y="66666"/>
                  </a:cubicBezTo>
                  <a:cubicBezTo>
                    <a:pt x="22702" y="64000"/>
                    <a:pt x="29189" y="61333"/>
                    <a:pt x="32432" y="61333"/>
                  </a:cubicBezTo>
                  <a:cubicBezTo>
                    <a:pt x="38918" y="64000"/>
                    <a:pt x="42162" y="64000"/>
                    <a:pt x="48648" y="58666"/>
                  </a:cubicBezTo>
                  <a:cubicBezTo>
                    <a:pt x="55135" y="56000"/>
                    <a:pt x="77837" y="66666"/>
                    <a:pt x="74594" y="74666"/>
                  </a:cubicBezTo>
                  <a:cubicBezTo>
                    <a:pt x="68108" y="85333"/>
                    <a:pt x="81081" y="88000"/>
                    <a:pt x="87567" y="96000"/>
                  </a:cubicBezTo>
                  <a:cubicBezTo>
                    <a:pt x="87567" y="98666"/>
                    <a:pt x="87567" y="101333"/>
                    <a:pt x="87567" y="104000"/>
                  </a:cubicBezTo>
                  <a:cubicBezTo>
                    <a:pt x="87567" y="106666"/>
                    <a:pt x="84324" y="112000"/>
                    <a:pt x="81081" y="114666"/>
                  </a:cubicBezTo>
                  <a:cubicBezTo>
                    <a:pt x="84324" y="114666"/>
                    <a:pt x="94054" y="120000"/>
                    <a:pt x="94054" y="114666"/>
                  </a:cubicBezTo>
                  <a:cubicBezTo>
                    <a:pt x="94054" y="112000"/>
                    <a:pt x="100540" y="109333"/>
                    <a:pt x="103783" y="112000"/>
                  </a:cubicBezTo>
                  <a:cubicBezTo>
                    <a:pt x="107027" y="114666"/>
                    <a:pt x="110270" y="114666"/>
                    <a:pt x="113513" y="112000"/>
                  </a:cubicBezTo>
                  <a:cubicBezTo>
                    <a:pt x="120000" y="112000"/>
                    <a:pt x="120000" y="106666"/>
                    <a:pt x="120000" y="101333"/>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10" name="Shape 2584">
              <a:extLst>
                <a:ext uri="{FF2B5EF4-FFF2-40B4-BE49-F238E27FC236}">
                  <a16:creationId xmlns:a16="http://schemas.microsoft.com/office/drawing/2014/main" id="{82F5B921-0E48-484D-8D8C-D4CFD5F58DD6}"/>
                </a:ext>
              </a:extLst>
            </p:cNvPr>
            <p:cNvSpPr/>
            <p:nvPr/>
          </p:nvSpPr>
          <p:spPr>
            <a:xfrm>
              <a:off x="17754310" y="9119074"/>
              <a:ext cx="420383" cy="356781"/>
            </a:xfrm>
            <a:custGeom>
              <a:avLst/>
              <a:gdLst/>
              <a:ahLst/>
              <a:cxnLst/>
              <a:rect l="0" t="0" r="0" b="0"/>
              <a:pathLst>
                <a:path w="120000" h="120000" extrusionOk="0">
                  <a:moveTo>
                    <a:pt x="120000" y="91578"/>
                  </a:moveTo>
                  <a:cubicBezTo>
                    <a:pt x="120000" y="88421"/>
                    <a:pt x="117333" y="85263"/>
                    <a:pt x="120000" y="82105"/>
                  </a:cubicBezTo>
                  <a:cubicBezTo>
                    <a:pt x="120000" y="78947"/>
                    <a:pt x="120000" y="78947"/>
                    <a:pt x="120000" y="75789"/>
                  </a:cubicBezTo>
                  <a:cubicBezTo>
                    <a:pt x="120000" y="66315"/>
                    <a:pt x="120000" y="56842"/>
                    <a:pt x="120000" y="47368"/>
                  </a:cubicBezTo>
                  <a:cubicBezTo>
                    <a:pt x="120000" y="37894"/>
                    <a:pt x="120000" y="28421"/>
                    <a:pt x="120000" y="18947"/>
                  </a:cubicBezTo>
                  <a:cubicBezTo>
                    <a:pt x="120000" y="18947"/>
                    <a:pt x="96000" y="9473"/>
                    <a:pt x="93333" y="9473"/>
                  </a:cubicBezTo>
                  <a:cubicBezTo>
                    <a:pt x="88000" y="6315"/>
                    <a:pt x="85333" y="3157"/>
                    <a:pt x="80000" y="0"/>
                  </a:cubicBezTo>
                  <a:cubicBezTo>
                    <a:pt x="72000" y="0"/>
                    <a:pt x="72000" y="6315"/>
                    <a:pt x="69333" y="9473"/>
                  </a:cubicBezTo>
                  <a:cubicBezTo>
                    <a:pt x="69333" y="12631"/>
                    <a:pt x="61333" y="12631"/>
                    <a:pt x="58666" y="15789"/>
                  </a:cubicBezTo>
                  <a:cubicBezTo>
                    <a:pt x="56000" y="22105"/>
                    <a:pt x="53333" y="28421"/>
                    <a:pt x="48000" y="31578"/>
                  </a:cubicBezTo>
                  <a:cubicBezTo>
                    <a:pt x="42666" y="34736"/>
                    <a:pt x="37333" y="31578"/>
                    <a:pt x="37333" y="25263"/>
                  </a:cubicBezTo>
                  <a:cubicBezTo>
                    <a:pt x="34666" y="18947"/>
                    <a:pt x="32000" y="18947"/>
                    <a:pt x="29333" y="15789"/>
                  </a:cubicBezTo>
                  <a:cubicBezTo>
                    <a:pt x="29333" y="9473"/>
                    <a:pt x="26666" y="15789"/>
                    <a:pt x="24000" y="18947"/>
                  </a:cubicBezTo>
                  <a:cubicBezTo>
                    <a:pt x="21333" y="18947"/>
                    <a:pt x="18666" y="15789"/>
                    <a:pt x="18666" y="15789"/>
                  </a:cubicBezTo>
                  <a:cubicBezTo>
                    <a:pt x="16000" y="15789"/>
                    <a:pt x="13333" y="18947"/>
                    <a:pt x="10666" y="18947"/>
                  </a:cubicBezTo>
                  <a:cubicBezTo>
                    <a:pt x="10666" y="22105"/>
                    <a:pt x="0" y="18947"/>
                    <a:pt x="0" y="22105"/>
                  </a:cubicBezTo>
                  <a:cubicBezTo>
                    <a:pt x="0" y="25263"/>
                    <a:pt x="5333" y="25263"/>
                    <a:pt x="8000" y="25263"/>
                  </a:cubicBezTo>
                  <a:cubicBezTo>
                    <a:pt x="10666" y="28421"/>
                    <a:pt x="10666" y="31578"/>
                    <a:pt x="10666" y="34736"/>
                  </a:cubicBezTo>
                  <a:cubicBezTo>
                    <a:pt x="10666" y="41052"/>
                    <a:pt x="18666" y="41052"/>
                    <a:pt x="18666" y="44210"/>
                  </a:cubicBezTo>
                  <a:cubicBezTo>
                    <a:pt x="18666" y="37894"/>
                    <a:pt x="18666" y="28421"/>
                    <a:pt x="24000" y="25263"/>
                  </a:cubicBezTo>
                  <a:cubicBezTo>
                    <a:pt x="18666" y="28421"/>
                    <a:pt x="21333" y="34736"/>
                    <a:pt x="26666" y="37894"/>
                  </a:cubicBezTo>
                  <a:cubicBezTo>
                    <a:pt x="32000" y="41052"/>
                    <a:pt x="34666" y="41052"/>
                    <a:pt x="40000" y="37894"/>
                  </a:cubicBezTo>
                  <a:cubicBezTo>
                    <a:pt x="32000" y="41052"/>
                    <a:pt x="45333" y="47368"/>
                    <a:pt x="48000" y="47368"/>
                  </a:cubicBezTo>
                  <a:cubicBezTo>
                    <a:pt x="56000" y="50526"/>
                    <a:pt x="64000" y="56842"/>
                    <a:pt x="72000" y="60000"/>
                  </a:cubicBezTo>
                  <a:cubicBezTo>
                    <a:pt x="77333" y="63157"/>
                    <a:pt x="82666" y="66315"/>
                    <a:pt x="85333" y="69473"/>
                  </a:cubicBezTo>
                  <a:cubicBezTo>
                    <a:pt x="85333" y="75789"/>
                    <a:pt x="88000" y="78947"/>
                    <a:pt x="90666" y="82105"/>
                  </a:cubicBezTo>
                  <a:cubicBezTo>
                    <a:pt x="90666" y="82105"/>
                    <a:pt x="96000" y="85263"/>
                    <a:pt x="96000" y="85263"/>
                  </a:cubicBezTo>
                  <a:cubicBezTo>
                    <a:pt x="96000" y="85263"/>
                    <a:pt x="90666" y="88421"/>
                    <a:pt x="90666" y="88421"/>
                  </a:cubicBezTo>
                  <a:cubicBezTo>
                    <a:pt x="90666" y="88421"/>
                    <a:pt x="96000" y="88421"/>
                    <a:pt x="96000" y="91578"/>
                  </a:cubicBezTo>
                  <a:cubicBezTo>
                    <a:pt x="96000" y="88421"/>
                    <a:pt x="93333" y="91578"/>
                    <a:pt x="93333" y="94736"/>
                  </a:cubicBezTo>
                  <a:cubicBezTo>
                    <a:pt x="90666" y="97894"/>
                    <a:pt x="88000" y="94736"/>
                    <a:pt x="85333" y="97894"/>
                  </a:cubicBezTo>
                  <a:cubicBezTo>
                    <a:pt x="82666" y="97894"/>
                    <a:pt x="74666" y="107368"/>
                    <a:pt x="77333" y="107368"/>
                  </a:cubicBezTo>
                  <a:cubicBezTo>
                    <a:pt x="80000" y="110526"/>
                    <a:pt x="85333" y="110526"/>
                    <a:pt x="90666" y="110526"/>
                  </a:cubicBezTo>
                  <a:cubicBezTo>
                    <a:pt x="90666" y="107368"/>
                    <a:pt x="93333" y="94736"/>
                    <a:pt x="96000" y="97894"/>
                  </a:cubicBezTo>
                  <a:cubicBezTo>
                    <a:pt x="96000" y="101052"/>
                    <a:pt x="88000" y="104210"/>
                    <a:pt x="96000" y="104210"/>
                  </a:cubicBezTo>
                  <a:cubicBezTo>
                    <a:pt x="101333" y="107368"/>
                    <a:pt x="104000" y="107368"/>
                    <a:pt x="106666" y="101052"/>
                  </a:cubicBezTo>
                  <a:cubicBezTo>
                    <a:pt x="104000" y="107368"/>
                    <a:pt x="117333" y="116842"/>
                    <a:pt x="120000" y="120000"/>
                  </a:cubicBezTo>
                  <a:cubicBezTo>
                    <a:pt x="120000" y="110526"/>
                    <a:pt x="120000" y="101052"/>
                    <a:pt x="120000" y="91578"/>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11" name="Shape 2585">
              <a:extLst>
                <a:ext uri="{FF2B5EF4-FFF2-40B4-BE49-F238E27FC236}">
                  <a16:creationId xmlns:a16="http://schemas.microsoft.com/office/drawing/2014/main" id="{09CB0E61-6914-7C44-B9B8-2A3D3A8462BA}"/>
                </a:ext>
              </a:extLst>
            </p:cNvPr>
            <p:cNvSpPr/>
            <p:nvPr/>
          </p:nvSpPr>
          <p:spPr>
            <a:xfrm>
              <a:off x="18165137" y="9176417"/>
              <a:ext cx="477706" cy="382264"/>
            </a:xfrm>
            <a:custGeom>
              <a:avLst/>
              <a:gdLst/>
              <a:ahLst/>
              <a:cxnLst/>
              <a:rect l="0" t="0" r="0" b="0"/>
              <a:pathLst>
                <a:path w="120000" h="120000" extrusionOk="0">
                  <a:moveTo>
                    <a:pt x="117647" y="114146"/>
                  </a:moveTo>
                  <a:cubicBezTo>
                    <a:pt x="112941" y="111219"/>
                    <a:pt x="108235" y="111219"/>
                    <a:pt x="105882" y="108292"/>
                  </a:cubicBezTo>
                  <a:cubicBezTo>
                    <a:pt x="103529" y="105365"/>
                    <a:pt x="108235" y="102439"/>
                    <a:pt x="110588" y="105365"/>
                  </a:cubicBezTo>
                  <a:cubicBezTo>
                    <a:pt x="105882" y="102439"/>
                    <a:pt x="98823" y="105365"/>
                    <a:pt x="98823" y="99512"/>
                  </a:cubicBezTo>
                  <a:cubicBezTo>
                    <a:pt x="98823" y="93658"/>
                    <a:pt x="91764" y="93658"/>
                    <a:pt x="89411" y="87804"/>
                  </a:cubicBezTo>
                  <a:cubicBezTo>
                    <a:pt x="87058" y="84878"/>
                    <a:pt x="89411" y="84878"/>
                    <a:pt x="87058" y="81951"/>
                  </a:cubicBezTo>
                  <a:cubicBezTo>
                    <a:pt x="84705" y="79024"/>
                    <a:pt x="82352" y="79024"/>
                    <a:pt x="80000" y="76097"/>
                  </a:cubicBezTo>
                  <a:cubicBezTo>
                    <a:pt x="80000" y="76097"/>
                    <a:pt x="70588" y="61463"/>
                    <a:pt x="68235" y="61463"/>
                  </a:cubicBezTo>
                  <a:cubicBezTo>
                    <a:pt x="70588" y="58536"/>
                    <a:pt x="77647" y="61463"/>
                    <a:pt x="80000" y="61463"/>
                  </a:cubicBezTo>
                  <a:cubicBezTo>
                    <a:pt x="84705" y="61463"/>
                    <a:pt x="82352" y="58536"/>
                    <a:pt x="80000" y="52682"/>
                  </a:cubicBezTo>
                  <a:cubicBezTo>
                    <a:pt x="80000" y="49756"/>
                    <a:pt x="75294" y="49756"/>
                    <a:pt x="72941" y="49756"/>
                  </a:cubicBezTo>
                  <a:cubicBezTo>
                    <a:pt x="65882" y="43902"/>
                    <a:pt x="61176" y="40975"/>
                    <a:pt x="58823" y="35121"/>
                  </a:cubicBezTo>
                  <a:cubicBezTo>
                    <a:pt x="56470" y="29268"/>
                    <a:pt x="49411" y="23414"/>
                    <a:pt x="44705" y="20487"/>
                  </a:cubicBezTo>
                  <a:cubicBezTo>
                    <a:pt x="42352" y="17560"/>
                    <a:pt x="40000" y="17560"/>
                    <a:pt x="37647" y="17560"/>
                  </a:cubicBezTo>
                  <a:cubicBezTo>
                    <a:pt x="35294" y="17560"/>
                    <a:pt x="32941" y="11707"/>
                    <a:pt x="30588" y="11707"/>
                  </a:cubicBezTo>
                  <a:cubicBezTo>
                    <a:pt x="28235" y="8780"/>
                    <a:pt x="23529" y="8780"/>
                    <a:pt x="18823" y="5853"/>
                  </a:cubicBezTo>
                  <a:cubicBezTo>
                    <a:pt x="14117" y="5853"/>
                    <a:pt x="9411" y="0"/>
                    <a:pt x="2352" y="0"/>
                  </a:cubicBezTo>
                  <a:cubicBezTo>
                    <a:pt x="2352" y="8780"/>
                    <a:pt x="2352" y="20487"/>
                    <a:pt x="2352" y="29268"/>
                  </a:cubicBezTo>
                  <a:cubicBezTo>
                    <a:pt x="2352" y="38048"/>
                    <a:pt x="4705" y="49756"/>
                    <a:pt x="2352" y="58536"/>
                  </a:cubicBezTo>
                  <a:cubicBezTo>
                    <a:pt x="0" y="61463"/>
                    <a:pt x="2352" y="67317"/>
                    <a:pt x="2352" y="73170"/>
                  </a:cubicBezTo>
                  <a:cubicBezTo>
                    <a:pt x="2352" y="79024"/>
                    <a:pt x="2352" y="81951"/>
                    <a:pt x="2352" y="87804"/>
                  </a:cubicBezTo>
                  <a:cubicBezTo>
                    <a:pt x="2352" y="96585"/>
                    <a:pt x="4705" y="96585"/>
                    <a:pt x="9411" y="96585"/>
                  </a:cubicBezTo>
                  <a:cubicBezTo>
                    <a:pt x="16470" y="96585"/>
                    <a:pt x="23529" y="96585"/>
                    <a:pt x="30588" y="90731"/>
                  </a:cubicBezTo>
                  <a:cubicBezTo>
                    <a:pt x="32941" y="90731"/>
                    <a:pt x="21176" y="81951"/>
                    <a:pt x="21176" y="81951"/>
                  </a:cubicBezTo>
                  <a:cubicBezTo>
                    <a:pt x="23529" y="81951"/>
                    <a:pt x="32941" y="90731"/>
                    <a:pt x="32941" y="87804"/>
                  </a:cubicBezTo>
                  <a:cubicBezTo>
                    <a:pt x="32941" y="84878"/>
                    <a:pt x="30588" y="81951"/>
                    <a:pt x="30588" y="76097"/>
                  </a:cubicBezTo>
                  <a:cubicBezTo>
                    <a:pt x="30588" y="76097"/>
                    <a:pt x="37647" y="81951"/>
                    <a:pt x="35294" y="79024"/>
                  </a:cubicBezTo>
                  <a:cubicBezTo>
                    <a:pt x="35294" y="73170"/>
                    <a:pt x="40000" y="73170"/>
                    <a:pt x="42352" y="73170"/>
                  </a:cubicBezTo>
                  <a:cubicBezTo>
                    <a:pt x="44705" y="73170"/>
                    <a:pt x="61176" y="81951"/>
                    <a:pt x="61176" y="79024"/>
                  </a:cubicBezTo>
                  <a:cubicBezTo>
                    <a:pt x="61176" y="84878"/>
                    <a:pt x="70588" y="90731"/>
                    <a:pt x="72941" y="96585"/>
                  </a:cubicBezTo>
                  <a:cubicBezTo>
                    <a:pt x="75294" y="102439"/>
                    <a:pt x="80000" y="111219"/>
                    <a:pt x="84705" y="111219"/>
                  </a:cubicBezTo>
                  <a:cubicBezTo>
                    <a:pt x="91764" y="111219"/>
                    <a:pt x="98823" y="114146"/>
                    <a:pt x="105882" y="117073"/>
                  </a:cubicBezTo>
                  <a:cubicBezTo>
                    <a:pt x="108235" y="117073"/>
                    <a:pt x="112941" y="120000"/>
                    <a:pt x="112941" y="117073"/>
                  </a:cubicBezTo>
                  <a:cubicBezTo>
                    <a:pt x="112941" y="114146"/>
                    <a:pt x="120000" y="114146"/>
                    <a:pt x="117647" y="114146"/>
                  </a:cubicBezTo>
                  <a:cubicBezTo>
                    <a:pt x="115294" y="111219"/>
                    <a:pt x="120000" y="114146"/>
                    <a:pt x="117647" y="114146"/>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12" name="Shape 2586">
              <a:extLst>
                <a:ext uri="{FF2B5EF4-FFF2-40B4-BE49-F238E27FC236}">
                  <a16:creationId xmlns:a16="http://schemas.microsoft.com/office/drawing/2014/main" id="{0AD82CF4-9B9A-CC4A-AEEB-D07D9E96F7D5}"/>
                </a:ext>
              </a:extLst>
            </p:cNvPr>
            <p:cNvSpPr/>
            <p:nvPr/>
          </p:nvSpPr>
          <p:spPr>
            <a:xfrm>
              <a:off x="16681063" y="8829192"/>
              <a:ext cx="477706" cy="420492"/>
            </a:xfrm>
            <a:custGeom>
              <a:avLst/>
              <a:gdLst/>
              <a:ahLst/>
              <a:cxnLst/>
              <a:rect l="0" t="0" r="0" b="0"/>
              <a:pathLst>
                <a:path w="120000" h="120000" extrusionOk="0">
                  <a:moveTo>
                    <a:pt x="77647" y="13333"/>
                  </a:moveTo>
                  <a:cubicBezTo>
                    <a:pt x="75294" y="21333"/>
                    <a:pt x="72941" y="26666"/>
                    <a:pt x="68235" y="34666"/>
                  </a:cubicBezTo>
                  <a:cubicBezTo>
                    <a:pt x="65882" y="45333"/>
                    <a:pt x="54117" y="45333"/>
                    <a:pt x="47058" y="42666"/>
                  </a:cubicBezTo>
                  <a:cubicBezTo>
                    <a:pt x="42352" y="40000"/>
                    <a:pt x="37647" y="45333"/>
                    <a:pt x="35294" y="48000"/>
                  </a:cubicBezTo>
                  <a:cubicBezTo>
                    <a:pt x="32941" y="50666"/>
                    <a:pt x="25882" y="48000"/>
                    <a:pt x="23529" y="50666"/>
                  </a:cubicBezTo>
                  <a:cubicBezTo>
                    <a:pt x="18823" y="53333"/>
                    <a:pt x="18823" y="53333"/>
                    <a:pt x="16470" y="48000"/>
                  </a:cubicBezTo>
                  <a:cubicBezTo>
                    <a:pt x="11764" y="45333"/>
                    <a:pt x="9411" y="42666"/>
                    <a:pt x="7058" y="37333"/>
                  </a:cubicBezTo>
                  <a:cubicBezTo>
                    <a:pt x="4705" y="34666"/>
                    <a:pt x="0" y="50666"/>
                    <a:pt x="0" y="53333"/>
                  </a:cubicBezTo>
                  <a:cubicBezTo>
                    <a:pt x="0" y="61333"/>
                    <a:pt x="7058" y="69333"/>
                    <a:pt x="9411" y="77333"/>
                  </a:cubicBezTo>
                  <a:cubicBezTo>
                    <a:pt x="14117" y="85333"/>
                    <a:pt x="11764" y="93333"/>
                    <a:pt x="18823" y="98666"/>
                  </a:cubicBezTo>
                  <a:cubicBezTo>
                    <a:pt x="23529" y="101333"/>
                    <a:pt x="28235" y="104000"/>
                    <a:pt x="30588" y="104000"/>
                  </a:cubicBezTo>
                  <a:cubicBezTo>
                    <a:pt x="37647" y="101333"/>
                    <a:pt x="30588" y="106666"/>
                    <a:pt x="32941" y="109333"/>
                  </a:cubicBezTo>
                  <a:cubicBezTo>
                    <a:pt x="35294" y="109333"/>
                    <a:pt x="42352" y="109333"/>
                    <a:pt x="44705" y="109333"/>
                  </a:cubicBezTo>
                  <a:cubicBezTo>
                    <a:pt x="47058" y="106666"/>
                    <a:pt x="47058" y="101333"/>
                    <a:pt x="49411" y="104000"/>
                  </a:cubicBezTo>
                  <a:cubicBezTo>
                    <a:pt x="51764" y="106666"/>
                    <a:pt x="56470" y="109333"/>
                    <a:pt x="58823" y="106666"/>
                  </a:cubicBezTo>
                  <a:cubicBezTo>
                    <a:pt x="61176" y="106666"/>
                    <a:pt x="65882" y="104000"/>
                    <a:pt x="65882" y="106666"/>
                  </a:cubicBezTo>
                  <a:cubicBezTo>
                    <a:pt x="68235" y="114666"/>
                    <a:pt x="63529" y="120000"/>
                    <a:pt x="72941" y="114666"/>
                  </a:cubicBezTo>
                  <a:cubicBezTo>
                    <a:pt x="75294" y="114666"/>
                    <a:pt x="77647" y="112000"/>
                    <a:pt x="80000" y="112000"/>
                  </a:cubicBezTo>
                  <a:cubicBezTo>
                    <a:pt x="82352" y="112000"/>
                    <a:pt x="84705" y="114666"/>
                    <a:pt x="84705" y="114666"/>
                  </a:cubicBezTo>
                  <a:cubicBezTo>
                    <a:pt x="87058" y="109333"/>
                    <a:pt x="82352" y="104000"/>
                    <a:pt x="87058" y="98666"/>
                  </a:cubicBezTo>
                  <a:cubicBezTo>
                    <a:pt x="89411" y="96000"/>
                    <a:pt x="87058" y="93333"/>
                    <a:pt x="87058" y="88000"/>
                  </a:cubicBezTo>
                  <a:cubicBezTo>
                    <a:pt x="87058" y="85333"/>
                    <a:pt x="89411" y="82666"/>
                    <a:pt x="91764" y="80000"/>
                  </a:cubicBezTo>
                  <a:cubicBezTo>
                    <a:pt x="96470" y="74666"/>
                    <a:pt x="101176" y="72000"/>
                    <a:pt x="98823" y="64000"/>
                  </a:cubicBezTo>
                  <a:cubicBezTo>
                    <a:pt x="98823" y="58666"/>
                    <a:pt x="105882" y="48000"/>
                    <a:pt x="110588" y="50666"/>
                  </a:cubicBezTo>
                  <a:cubicBezTo>
                    <a:pt x="112941" y="53333"/>
                    <a:pt x="120000" y="50666"/>
                    <a:pt x="115294" y="48000"/>
                  </a:cubicBezTo>
                  <a:cubicBezTo>
                    <a:pt x="112941" y="42666"/>
                    <a:pt x="105882" y="40000"/>
                    <a:pt x="105882" y="34666"/>
                  </a:cubicBezTo>
                  <a:cubicBezTo>
                    <a:pt x="105882" y="29333"/>
                    <a:pt x="101176" y="24000"/>
                    <a:pt x="98823" y="18666"/>
                  </a:cubicBezTo>
                  <a:cubicBezTo>
                    <a:pt x="96470" y="10666"/>
                    <a:pt x="103529" y="18666"/>
                    <a:pt x="103529" y="16000"/>
                  </a:cubicBezTo>
                  <a:cubicBezTo>
                    <a:pt x="105882" y="13333"/>
                    <a:pt x="96470" y="10666"/>
                    <a:pt x="103529" y="8000"/>
                  </a:cubicBezTo>
                  <a:cubicBezTo>
                    <a:pt x="94117" y="5333"/>
                    <a:pt x="80000" y="0"/>
                    <a:pt x="77647" y="13333"/>
                  </a:cubicBezTo>
                  <a:cubicBezTo>
                    <a:pt x="75294" y="18666"/>
                    <a:pt x="80000" y="8000"/>
                    <a:pt x="77647" y="13333"/>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13" name="Shape 2587">
              <a:extLst>
                <a:ext uri="{FF2B5EF4-FFF2-40B4-BE49-F238E27FC236}">
                  <a16:creationId xmlns:a16="http://schemas.microsoft.com/office/drawing/2014/main" id="{60B4A8A4-0D76-9B4B-B2ED-CE67F1BE3926}"/>
                </a:ext>
              </a:extLst>
            </p:cNvPr>
            <p:cNvSpPr/>
            <p:nvPr/>
          </p:nvSpPr>
          <p:spPr>
            <a:xfrm>
              <a:off x="16709724" y="8717696"/>
              <a:ext cx="458598" cy="299441"/>
            </a:xfrm>
            <a:custGeom>
              <a:avLst/>
              <a:gdLst/>
              <a:ahLst/>
              <a:cxnLst/>
              <a:rect l="0" t="0" r="0" b="0"/>
              <a:pathLst>
                <a:path w="120000" h="120000" extrusionOk="0">
                  <a:moveTo>
                    <a:pt x="110204" y="37500"/>
                  </a:moveTo>
                  <a:cubicBezTo>
                    <a:pt x="117551" y="37500"/>
                    <a:pt x="119999" y="33750"/>
                    <a:pt x="115102" y="30000"/>
                  </a:cubicBezTo>
                  <a:cubicBezTo>
                    <a:pt x="110204" y="26250"/>
                    <a:pt x="110204" y="22500"/>
                    <a:pt x="105306" y="26250"/>
                  </a:cubicBezTo>
                  <a:cubicBezTo>
                    <a:pt x="102857" y="30000"/>
                    <a:pt x="105306" y="26250"/>
                    <a:pt x="102857" y="22500"/>
                  </a:cubicBezTo>
                  <a:cubicBezTo>
                    <a:pt x="102857" y="22500"/>
                    <a:pt x="100408" y="22500"/>
                    <a:pt x="100408" y="22500"/>
                  </a:cubicBezTo>
                  <a:cubicBezTo>
                    <a:pt x="100408" y="22500"/>
                    <a:pt x="100408" y="15000"/>
                    <a:pt x="100408" y="15000"/>
                  </a:cubicBezTo>
                  <a:cubicBezTo>
                    <a:pt x="97959" y="11250"/>
                    <a:pt x="95510" y="7500"/>
                    <a:pt x="95510" y="7500"/>
                  </a:cubicBezTo>
                  <a:cubicBezTo>
                    <a:pt x="90612" y="0"/>
                    <a:pt x="93061" y="3750"/>
                    <a:pt x="90612" y="7500"/>
                  </a:cubicBezTo>
                  <a:cubicBezTo>
                    <a:pt x="88163" y="11250"/>
                    <a:pt x="88163" y="3750"/>
                    <a:pt x="88163" y="3750"/>
                  </a:cubicBezTo>
                  <a:cubicBezTo>
                    <a:pt x="85714" y="3750"/>
                    <a:pt x="78367" y="18750"/>
                    <a:pt x="78367" y="22500"/>
                  </a:cubicBezTo>
                  <a:cubicBezTo>
                    <a:pt x="75918" y="22500"/>
                    <a:pt x="73469" y="26250"/>
                    <a:pt x="73469" y="30000"/>
                  </a:cubicBezTo>
                  <a:cubicBezTo>
                    <a:pt x="71020" y="30000"/>
                    <a:pt x="71020" y="33750"/>
                    <a:pt x="71020" y="33750"/>
                  </a:cubicBezTo>
                  <a:cubicBezTo>
                    <a:pt x="71020" y="37500"/>
                    <a:pt x="71020" y="37500"/>
                    <a:pt x="71020" y="37500"/>
                  </a:cubicBezTo>
                  <a:cubicBezTo>
                    <a:pt x="71020" y="41250"/>
                    <a:pt x="63673" y="41250"/>
                    <a:pt x="61224" y="45000"/>
                  </a:cubicBezTo>
                  <a:cubicBezTo>
                    <a:pt x="53877" y="45000"/>
                    <a:pt x="56326" y="52500"/>
                    <a:pt x="61224" y="56250"/>
                  </a:cubicBezTo>
                  <a:cubicBezTo>
                    <a:pt x="66122" y="63750"/>
                    <a:pt x="63673" y="56250"/>
                    <a:pt x="66122" y="52500"/>
                  </a:cubicBezTo>
                  <a:cubicBezTo>
                    <a:pt x="66122" y="48750"/>
                    <a:pt x="71020" y="48750"/>
                    <a:pt x="71020" y="48750"/>
                  </a:cubicBezTo>
                  <a:cubicBezTo>
                    <a:pt x="71020" y="48750"/>
                    <a:pt x="68571" y="45000"/>
                    <a:pt x="68571" y="41250"/>
                  </a:cubicBezTo>
                  <a:cubicBezTo>
                    <a:pt x="68571" y="45000"/>
                    <a:pt x="71020" y="48750"/>
                    <a:pt x="71020" y="48750"/>
                  </a:cubicBezTo>
                  <a:cubicBezTo>
                    <a:pt x="71020" y="48750"/>
                    <a:pt x="66122" y="48750"/>
                    <a:pt x="63673" y="52500"/>
                  </a:cubicBezTo>
                  <a:cubicBezTo>
                    <a:pt x="63673" y="63750"/>
                    <a:pt x="58775" y="52500"/>
                    <a:pt x="56326" y="48750"/>
                  </a:cubicBezTo>
                  <a:cubicBezTo>
                    <a:pt x="48979" y="60000"/>
                    <a:pt x="44081" y="71250"/>
                    <a:pt x="34285" y="75000"/>
                  </a:cubicBezTo>
                  <a:cubicBezTo>
                    <a:pt x="29387" y="78750"/>
                    <a:pt x="24489" y="78750"/>
                    <a:pt x="22040" y="86250"/>
                  </a:cubicBezTo>
                  <a:cubicBezTo>
                    <a:pt x="19591" y="90000"/>
                    <a:pt x="19591" y="93750"/>
                    <a:pt x="17142" y="97500"/>
                  </a:cubicBezTo>
                  <a:cubicBezTo>
                    <a:pt x="17142" y="101250"/>
                    <a:pt x="22040" y="105000"/>
                    <a:pt x="22040" y="105000"/>
                  </a:cubicBezTo>
                  <a:cubicBezTo>
                    <a:pt x="19591" y="108750"/>
                    <a:pt x="2448" y="97500"/>
                    <a:pt x="0" y="97500"/>
                  </a:cubicBezTo>
                  <a:cubicBezTo>
                    <a:pt x="2448" y="105000"/>
                    <a:pt x="7346" y="116250"/>
                    <a:pt x="12244" y="120000"/>
                  </a:cubicBezTo>
                  <a:cubicBezTo>
                    <a:pt x="14693" y="120000"/>
                    <a:pt x="17142" y="116250"/>
                    <a:pt x="17142" y="116250"/>
                  </a:cubicBezTo>
                  <a:cubicBezTo>
                    <a:pt x="22040" y="112500"/>
                    <a:pt x="29387" y="116250"/>
                    <a:pt x="29387" y="112500"/>
                  </a:cubicBezTo>
                  <a:cubicBezTo>
                    <a:pt x="36734" y="101250"/>
                    <a:pt x="41632" y="105000"/>
                    <a:pt x="48979" y="108750"/>
                  </a:cubicBezTo>
                  <a:cubicBezTo>
                    <a:pt x="56326" y="108750"/>
                    <a:pt x="63673" y="101250"/>
                    <a:pt x="66122" y="90000"/>
                  </a:cubicBezTo>
                  <a:cubicBezTo>
                    <a:pt x="68571" y="82500"/>
                    <a:pt x="71020" y="75000"/>
                    <a:pt x="73469" y="67500"/>
                  </a:cubicBezTo>
                  <a:cubicBezTo>
                    <a:pt x="73469" y="56250"/>
                    <a:pt x="75918" y="52500"/>
                    <a:pt x="83265" y="52500"/>
                  </a:cubicBezTo>
                  <a:cubicBezTo>
                    <a:pt x="90612" y="52500"/>
                    <a:pt x="97959" y="56250"/>
                    <a:pt x="105306" y="52500"/>
                  </a:cubicBezTo>
                  <a:cubicBezTo>
                    <a:pt x="115102" y="48750"/>
                    <a:pt x="97959" y="37500"/>
                    <a:pt x="110204" y="375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14" name="Shape 2588">
              <a:extLst>
                <a:ext uri="{FF2B5EF4-FFF2-40B4-BE49-F238E27FC236}">
                  <a16:creationId xmlns:a16="http://schemas.microsoft.com/office/drawing/2014/main" id="{97ECF75D-7A1F-E248-B293-400FD23A211D}"/>
                </a:ext>
              </a:extLst>
            </p:cNvPr>
            <p:cNvSpPr/>
            <p:nvPr/>
          </p:nvSpPr>
          <p:spPr>
            <a:xfrm>
              <a:off x="15776607" y="7679210"/>
              <a:ext cx="159235" cy="92380"/>
            </a:xfrm>
            <a:custGeom>
              <a:avLst/>
              <a:gdLst/>
              <a:ahLst/>
              <a:cxnLst/>
              <a:rect l="0" t="0" r="0" b="0"/>
              <a:pathLst>
                <a:path w="120000" h="120000" extrusionOk="0">
                  <a:moveTo>
                    <a:pt x="14117" y="96000"/>
                  </a:moveTo>
                  <a:cubicBezTo>
                    <a:pt x="21176" y="108000"/>
                    <a:pt x="42352" y="120000"/>
                    <a:pt x="49411" y="108000"/>
                  </a:cubicBezTo>
                  <a:cubicBezTo>
                    <a:pt x="63529" y="96000"/>
                    <a:pt x="70588" y="120000"/>
                    <a:pt x="84705" y="108000"/>
                  </a:cubicBezTo>
                  <a:cubicBezTo>
                    <a:pt x="91764" y="108000"/>
                    <a:pt x="120000" y="108000"/>
                    <a:pt x="112941" y="96000"/>
                  </a:cubicBezTo>
                  <a:cubicBezTo>
                    <a:pt x="105882" y="72000"/>
                    <a:pt x="98823" y="60000"/>
                    <a:pt x="105882" y="36000"/>
                  </a:cubicBezTo>
                  <a:cubicBezTo>
                    <a:pt x="91764" y="24000"/>
                    <a:pt x="77647" y="48000"/>
                    <a:pt x="70588" y="36000"/>
                  </a:cubicBezTo>
                  <a:cubicBezTo>
                    <a:pt x="63529" y="24000"/>
                    <a:pt x="49411" y="0"/>
                    <a:pt x="42352" y="12000"/>
                  </a:cubicBezTo>
                  <a:cubicBezTo>
                    <a:pt x="28235" y="36000"/>
                    <a:pt x="0" y="72000"/>
                    <a:pt x="14117" y="96000"/>
                  </a:cubicBezTo>
                  <a:cubicBezTo>
                    <a:pt x="21176" y="108000"/>
                    <a:pt x="7058" y="84000"/>
                    <a:pt x="14117" y="96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15" name="Shape 2589">
              <a:extLst>
                <a:ext uri="{FF2B5EF4-FFF2-40B4-BE49-F238E27FC236}">
                  <a16:creationId xmlns:a16="http://schemas.microsoft.com/office/drawing/2014/main" id="{2CC5AF0C-8467-DF46-8E08-CFFD4F1F14F8}"/>
                </a:ext>
              </a:extLst>
            </p:cNvPr>
            <p:cNvSpPr/>
            <p:nvPr/>
          </p:nvSpPr>
          <p:spPr>
            <a:xfrm>
              <a:off x="15410363" y="7574089"/>
              <a:ext cx="347132" cy="216614"/>
            </a:xfrm>
            <a:custGeom>
              <a:avLst/>
              <a:gdLst/>
              <a:ahLst/>
              <a:cxnLst/>
              <a:rect l="0" t="0" r="0" b="0"/>
              <a:pathLst>
                <a:path w="120000" h="120000" extrusionOk="0">
                  <a:moveTo>
                    <a:pt x="3243" y="15652"/>
                  </a:moveTo>
                  <a:cubicBezTo>
                    <a:pt x="0" y="20869"/>
                    <a:pt x="0" y="41739"/>
                    <a:pt x="0" y="46956"/>
                  </a:cubicBezTo>
                  <a:cubicBezTo>
                    <a:pt x="3243" y="52173"/>
                    <a:pt x="12972" y="57391"/>
                    <a:pt x="16216" y="67826"/>
                  </a:cubicBezTo>
                  <a:cubicBezTo>
                    <a:pt x="19459" y="67826"/>
                    <a:pt x="22702" y="73043"/>
                    <a:pt x="22702" y="73043"/>
                  </a:cubicBezTo>
                  <a:cubicBezTo>
                    <a:pt x="29189" y="78260"/>
                    <a:pt x="32432" y="73043"/>
                    <a:pt x="38918" y="78260"/>
                  </a:cubicBezTo>
                  <a:cubicBezTo>
                    <a:pt x="42162" y="78260"/>
                    <a:pt x="45405" y="83478"/>
                    <a:pt x="48648" y="83478"/>
                  </a:cubicBezTo>
                  <a:cubicBezTo>
                    <a:pt x="51891" y="83478"/>
                    <a:pt x="58378" y="83478"/>
                    <a:pt x="61621" y="83478"/>
                  </a:cubicBezTo>
                  <a:cubicBezTo>
                    <a:pt x="64864" y="88695"/>
                    <a:pt x="68108" y="93913"/>
                    <a:pt x="71351" y="99130"/>
                  </a:cubicBezTo>
                  <a:cubicBezTo>
                    <a:pt x="74594" y="99130"/>
                    <a:pt x="81081" y="99130"/>
                    <a:pt x="84324" y="104347"/>
                  </a:cubicBezTo>
                  <a:cubicBezTo>
                    <a:pt x="87567" y="104347"/>
                    <a:pt x="90810" y="114782"/>
                    <a:pt x="94054" y="114782"/>
                  </a:cubicBezTo>
                  <a:cubicBezTo>
                    <a:pt x="97297" y="114782"/>
                    <a:pt x="100540" y="104347"/>
                    <a:pt x="103783" y="104347"/>
                  </a:cubicBezTo>
                  <a:cubicBezTo>
                    <a:pt x="107027" y="109565"/>
                    <a:pt x="107027" y="120000"/>
                    <a:pt x="113513" y="114782"/>
                  </a:cubicBezTo>
                  <a:cubicBezTo>
                    <a:pt x="113513" y="114782"/>
                    <a:pt x="120000" y="109565"/>
                    <a:pt x="120000" y="109565"/>
                  </a:cubicBezTo>
                  <a:cubicBezTo>
                    <a:pt x="120000" y="104347"/>
                    <a:pt x="120000" y="99130"/>
                    <a:pt x="120000" y="93913"/>
                  </a:cubicBezTo>
                  <a:cubicBezTo>
                    <a:pt x="116756" y="88695"/>
                    <a:pt x="120000" y="83478"/>
                    <a:pt x="120000" y="73043"/>
                  </a:cubicBezTo>
                  <a:cubicBezTo>
                    <a:pt x="113513" y="73043"/>
                    <a:pt x="110270" y="78260"/>
                    <a:pt x="103783" y="73043"/>
                  </a:cubicBezTo>
                  <a:cubicBezTo>
                    <a:pt x="103783" y="73043"/>
                    <a:pt x="100540" y="67826"/>
                    <a:pt x="100540" y="67826"/>
                  </a:cubicBezTo>
                  <a:cubicBezTo>
                    <a:pt x="97297" y="67826"/>
                    <a:pt x="94054" y="73043"/>
                    <a:pt x="90810" y="67826"/>
                  </a:cubicBezTo>
                  <a:cubicBezTo>
                    <a:pt x="90810" y="67826"/>
                    <a:pt x="87567" y="62608"/>
                    <a:pt x="84324" y="62608"/>
                  </a:cubicBezTo>
                  <a:cubicBezTo>
                    <a:pt x="81081" y="62608"/>
                    <a:pt x="77837" y="73043"/>
                    <a:pt x="77837" y="62608"/>
                  </a:cubicBezTo>
                  <a:cubicBezTo>
                    <a:pt x="71351" y="52173"/>
                    <a:pt x="68108" y="57391"/>
                    <a:pt x="64864" y="52173"/>
                  </a:cubicBezTo>
                  <a:cubicBezTo>
                    <a:pt x="61621" y="46956"/>
                    <a:pt x="61621" y="41739"/>
                    <a:pt x="58378" y="41739"/>
                  </a:cubicBezTo>
                  <a:cubicBezTo>
                    <a:pt x="55135" y="36521"/>
                    <a:pt x="51891" y="36521"/>
                    <a:pt x="51891" y="36521"/>
                  </a:cubicBezTo>
                  <a:cubicBezTo>
                    <a:pt x="45405" y="31304"/>
                    <a:pt x="35675" y="20869"/>
                    <a:pt x="32432" y="10434"/>
                  </a:cubicBezTo>
                  <a:cubicBezTo>
                    <a:pt x="32432" y="5217"/>
                    <a:pt x="29189" y="0"/>
                    <a:pt x="25945" y="0"/>
                  </a:cubicBezTo>
                  <a:cubicBezTo>
                    <a:pt x="19459" y="0"/>
                    <a:pt x="19459" y="5217"/>
                    <a:pt x="16216" y="10434"/>
                  </a:cubicBezTo>
                  <a:cubicBezTo>
                    <a:pt x="16216" y="15652"/>
                    <a:pt x="12972" y="10434"/>
                    <a:pt x="12972" y="10434"/>
                  </a:cubicBezTo>
                  <a:cubicBezTo>
                    <a:pt x="9729" y="15652"/>
                    <a:pt x="6486" y="15652"/>
                    <a:pt x="3243" y="15652"/>
                  </a:cubicBezTo>
                  <a:cubicBezTo>
                    <a:pt x="0" y="20869"/>
                    <a:pt x="6486" y="15652"/>
                    <a:pt x="3243" y="15652"/>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16" name="Shape 2590">
              <a:extLst>
                <a:ext uri="{FF2B5EF4-FFF2-40B4-BE49-F238E27FC236}">
                  <a16:creationId xmlns:a16="http://schemas.microsoft.com/office/drawing/2014/main" id="{6D0DEB07-1A80-9741-BB74-8373B771217E}"/>
                </a:ext>
              </a:extLst>
            </p:cNvPr>
            <p:cNvSpPr/>
            <p:nvPr/>
          </p:nvSpPr>
          <p:spPr>
            <a:xfrm>
              <a:off x="16372145" y="8360917"/>
              <a:ext cx="261145" cy="216614"/>
            </a:xfrm>
            <a:custGeom>
              <a:avLst/>
              <a:gdLst/>
              <a:ahLst/>
              <a:cxnLst/>
              <a:rect l="0" t="0" r="0" b="0"/>
              <a:pathLst>
                <a:path w="120000" h="120000" extrusionOk="0">
                  <a:moveTo>
                    <a:pt x="59999" y="99130"/>
                  </a:moveTo>
                  <a:cubicBezTo>
                    <a:pt x="59999" y="93913"/>
                    <a:pt x="85714" y="104347"/>
                    <a:pt x="81428" y="93913"/>
                  </a:cubicBezTo>
                  <a:cubicBezTo>
                    <a:pt x="81428" y="93913"/>
                    <a:pt x="77142" y="78260"/>
                    <a:pt x="81428" y="78260"/>
                  </a:cubicBezTo>
                  <a:cubicBezTo>
                    <a:pt x="85714" y="78260"/>
                    <a:pt x="89999" y="83478"/>
                    <a:pt x="89999" y="73043"/>
                  </a:cubicBezTo>
                  <a:cubicBezTo>
                    <a:pt x="89999" y="62608"/>
                    <a:pt x="98571" y="67826"/>
                    <a:pt x="102857" y="62608"/>
                  </a:cubicBezTo>
                  <a:cubicBezTo>
                    <a:pt x="111428" y="62608"/>
                    <a:pt x="111428" y="52173"/>
                    <a:pt x="115714" y="46956"/>
                  </a:cubicBezTo>
                  <a:cubicBezTo>
                    <a:pt x="119999" y="36521"/>
                    <a:pt x="107142" y="10434"/>
                    <a:pt x="111428" y="5217"/>
                  </a:cubicBezTo>
                  <a:cubicBezTo>
                    <a:pt x="102857" y="10434"/>
                    <a:pt x="102857" y="10434"/>
                    <a:pt x="94285" y="5217"/>
                  </a:cubicBezTo>
                  <a:cubicBezTo>
                    <a:pt x="89999" y="0"/>
                    <a:pt x="81428" y="10434"/>
                    <a:pt x="81428" y="10434"/>
                  </a:cubicBezTo>
                  <a:cubicBezTo>
                    <a:pt x="81428" y="20869"/>
                    <a:pt x="72857" y="10434"/>
                    <a:pt x="72857" y="10434"/>
                  </a:cubicBezTo>
                  <a:cubicBezTo>
                    <a:pt x="55714" y="5217"/>
                    <a:pt x="25714" y="0"/>
                    <a:pt x="12857" y="15652"/>
                  </a:cubicBezTo>
                  <a:cubicBezTo>
                    <a:pt x="8571" y="20869"/>
                    <a:pt x="0" y="26086"/>
                    <a:pt x="0" y="36521"/>
                  </a:cubicBezTo>
                  <a:cubicBezTo>
                    <a:pt x="0" y="41739"/>
                    <a:pt x="4285" y="46956"/>
                    <a:pt x="4285" y="52173"/>
                  </a:cubicBezTo>
                  <a:cubicBezTo>
                    <a:pt x="12857" y="57391"/>
                    <a:pt x="12857" y="67826"/>
                    <a:pt x="12857" y="73043"/>
                  </a:cubicBezTo>
                  <a:cubicBezTo>
                    <a:pt x="17142" y="83478"/>
                    <a:pt x="17142" y="88695"/>
                    <a:pt x="21428" y="93913"/>
                  </a:cubicBezTo>
                  <a:cubicBezTo>
                    <a:pt x="21428" y="99130"/>
                    <a:pt x="25714" y="93913"/>
                    <a:pt x="25714" y="99130"/>
                  </a:cubicBezTo>
                  <a:cubicBezTo>
                    <a:pt x="29999" y="99130"/>
                    <a:pt x="25714" y="104347"/>
                    <a:pt x="29999" y="109565"/>
                  </a:cubicBezTo>
                  <a:cubicBezTo>
                    <a:pt x="38571" y="109565"/>
                    <a:pt x="34285" y="114782"/>
                    <a:pt x="34285" y="120000"/>
                  </a:cubicBezTo>
                  <a:cubicBezTo>
                    <a:pt x="34285" y="114782"/>
                    <a:pt x="59999" y="104347"/>
                    <a:pt x="59999" y="99130"/>
                  </a:cubicBezTo>
                  <a:cubicBezTo>
                    <a:pt x="59999" y="99130"/>
                    <a:pt x="59999" y="104347"/>
                    <a:pt x="59999" y="9913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17" name="Shape 2591">
              <a:extLst>
                <a:ext uri="{FF2B5EF4-FFF2-40B4-BE49-F238E27FC236}">
                  <a16:creationId xmlns:a16="http://schemas.microsoft.com/office/drawing/2014/main" id="{E53FE504-6C4A-AA47-987B-6959EEEF59FF}"/>
                </a:ext>
              </a:extLst>
            </p:cNvPr>
            <p:cNvSpPr/>
            <p:nvPr/>
          </p:nvSpPr>
          <p:spPr>
            <a:xfrm>
              <a:off x="16270234" y="8743181"/>
              <a:ext cx="207006" cy="245288"/>
            </a:xfrm>
            <a:custGeom>
              <a:avLst/>
              <a:gdLst/>
              <a:ahLst/>
              <a:cxnLst/>
              <a:rect l="0" t="0" r="0" b="0"/>
              <a:pathLst>
                <a:path w="120000" h="120000" extrusionOk="0">
                  <a:moveTo>
                    <a:pt x="54545" y="13846"/>
                  </a:moveTo>
                  <a:cubicBezTo>
                    <a:pt x="49090" y="13846"/>
                    <a:pt x="43636" y="18461"/>
                    <a:pt x="38181" y="18461"/>
                  </a:cubicBezTo>
                  <a:cubicBezTo>
                    <a:pt x="38181" y="13846"/>
                    <a:pt x="32727" y="18461"/>
                    <a:pt x="32727" y="18461"/>
                  </a:cubicBezTo>
                  <a:cubicBezTo>
                    <a:pt x="27272" y="18461"/>
                    <a:pt x="27272" y="9230"/>
                    <a:pt x="27272" y="4615"/>
                  </a:cubicBezTo>
                  <a:cubicBezTo>
                    <a:pt x="21818" y="0"/>
                    <a:pt x="10909" y="0"/>
                    <a:pt x="0" y="0"/>
                  </a:cubicBezTo>
                  <a:cubicBezTo>
                    <a:pt x="5454" y="4615"/>
                    <a:pt x="5454" y="18461"/>
                    <a:pt x="5454" y="27692"/>
                  </a:cubicBezTo>
                  <a:cubicBezTo>
                    <a:pt x="10909" y="36923"/>
                    <a:pt x="16363" y="50769"/>
                    <a:pt x="21818" y="64615"/>
                  </a:cubicBezTo>
                  <a:cubicBezTo>
                    <a:pt x="32727" y="73846"/>
                    <a:pt x="38181" y="87692"/>
                    <a:pt x="49090" y="96923"/>
                  </a:cubicBezTo>
                  <a:cubicBezTo>
                    <a:pt x="65454" y="101538"/>
                    <a:pt x="81818" y="120000"/>
                    <a:pt x="103636" y="120000"/>
                  </a:cubicBezTo>
                  <a:cubicBezTo>
                    <a:pt x="120000" y="120000"/>
                    <a:pt x="114545" y="115384"/>
                    <a:pt x="109090" y="106153"/>
                  </a:cubicBezTo>
                  <a:cubicBezTo>
                    <a:pt x="98181" y="92307"/>
                    <a:pt x="87272" y="83076"/>
                    <a:pt x="87272" y="64615"/>
                  </a:cubicBezTo>
                  <a:cubicBezTo>
                    <a:pt x="87272" y="50769"/>
                    <a:pt x="98181" y="41538"/>
                    <a:pt x="87272" y="27692"/>
                  </a:cubicBezTo>
                  <a:cubicBezTo>
                    <a:pt x="81818" y="23076"/>
                    <a:pt x="60000" y="0"/>
                    <a:pt x="54545" y="13846"/>
                  </a:cubicBezTo>
                  <a:cubicBezTo>
                    <a:pt x="49090" y="18461"/>
                    <a:pt x="54545" y="9230"/>
                    <a:pt x="54545" y="13846"/>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18" name="Shape 2592">
              <a:extLst>
                <a:ext uri="{FF2B5EF4-FFF2-40B4-BE49-F238E27FC236}">
                  <a16:creationId xmlns:a16="http://schemas.microsoft.com/office/drawing/2014/main" id="{EA7379B0-CB99-5B47-9112-A75A6981908F}"/>
                </a:ext>
              </a:extLst>
            </p:cNvPr>
            <p:cNvSpPr/>
            <p:nvPr/>
          </p:nvSpPr>
          <p:spPr>
            <a:xfrm>
              <a:off x="15104630" y="6264829"/>
              <a:ext cx="2799363" cy="1825316"/>
            </a:xfrm>
            <a:custGeom>
              <a:avLst/>
              <a:gdLst/>
              <a:ahLst/>
              <a:cxnLst/>
              <a:rect l="0" t="0" r="0" b="0"/>
              <a:pathLst>
                <a:path w="120000" h="120000" extrusionOk="0">
                  <a:moveTo>
                    <a:pt x="119200" y="22769"/>
                  </a:moveTo>
                  <a:cubicBezTo>
                    <a:pt x="119200" y="21538"/>
                    <a:pt x="117600" y="22153"/>
                    <a:pt x="117200" y="22769"/>
                  </a:cubicBezTo>
                  <a:cubicBezTo>
                    <a:pt x="116400" y="22769"/>
                    <a:pt x="116000" y="23384"/>
                    <a:pt x="115200" y="24000"/>
                  </a:cubicBezTo>
                  <a:cubicBezTo>
                    <a:pt x="114400" y="24615"/>
                    <a:pt x="111600" y="24615"/>
                    <a:pt x="111600" y="22769"/>
                  </a:cubicBezTo>
                  <a:cubicBezTo>
                    <a:pt x="110800" y="20307"/>
                    <a:pt x="110400" y="19076"/>
                    <a:pt x="108800" y="17846"/>
                  </a:cubicBezTo>
                  <a:cubicBezTo>
                    <a:pt x="107600" y="17230"/>
                    <a:pt x="105200" y="17230"/>
                    <a:pt x="104800" y="14769"/>
                  </a:cubicBezTo>
                  <a:cubicBezTo>
                    <a:pt x="104400" y="11076"/>
                    <a:pt x="103600" y="6769"/>
                    <a:pt x="102000" y="3692"/>
                  </a:cubicBezTo>
                  <a:cubicBezTo>
                    <a:pt x="100800" y="1846"/>
                    <a:pt x="99200" y="1846"/>
                    <a:pt x="97600" y="615"/>
                  </a:cubicBezTo>
                  <a:cubicBezTo>
                    <a:pt x="96000" y="0"/>
                    <a:pt x="93200" y="615"/>
                    <a:pt x="91600" y="1846"/>
                  </a:cubicBezTo>
                  <a:cubicBezTo>
                    <a:pt x="91200" y="2461"/>
                    <a:pt x="90400" y="3076"/>
                    <a:pt x="90000" y="3692"/>
                  </a:cubicBezTo>
                  <a:cubicBezTo>
                    <a:pt x="90000" y="4307"/>
                    <a:pt x="91200" y="4307"/>
                    <a:pt x="91200" y="4923"/>
                  </a:cubicBezTo>
                  <a:cubicBezTo>
                    <a:pt x="91600" y="7384"/>
                    <a:pt x="89600" y="9230"/>
                    <a:pt x="89200" y="11076"/>
                  </a:cubicBezTo>
                  <a:cubicBezTo>
                    <a:pt x="88800" y="11692"/>
                    <a:pt x="88800" y="12307"/>
                    <a:pt x="88800" y="12923"/>
                  </a:cubicBezTo>
                  <a:cubicBezTo>
                    <a:pt x="88800" y="13538"/>
                    <a:pt x="88800" y="13538"/>
                    <a:pt x="88800" y="14153"/>
                  </a:cubicBezTo>
                  <a:cubicBezTo>
                    <a:pt x="88800" y="15384"/>
                    <a:pt x="87600" y="15384"/>
                    <a:pt x="86800" y="16000"/>
                  </a:cubicBezTo>
                  <a:cubicBezTo>
                    <a:pt x="86400" y="16000"/>
                    <a:pt x="86000" y="16615"/>
                    <a:pt x="85600" y="16615"/>
                  </a:cubicBezTo>
                  <a:cubicBezTo>
                    <a:pt x="85200" y="16615"/>
                    <a:pt x="83200" y="15384"/>
                    <a:pt x="83200" y="15384"/>
                  </a:cubicBezTo>
                  <a:cubicBezTo>
                    <a:pt x="82800" y="16615"/>
                    <a:pt x="82400" y="18461"/>
                    <a:pt x="82000" y="19692"/>
                  </a:cubicBezTo>
                  <a:cubicBezTo>
                    <a:pt x="82000" y="20307"/>
                    <a:pt x="81600" y="20923"/>
                    <a:pt x="81600" y="21538"/>
                  </a:cubicBezTo>
                  <a:cubicBezTo>
                    <a:pt x="81600" y="21538"/>
                    <a:pt x="80800" y="25230"/>
                    <a:pt x="82000" y="24000"/>
                  </a:cubicBezTo>
                  <a:cubicBezTo>
                    <a:pt x="82400" y="23384"/>
                    <a:pt x="82400" y="23384"/>
                    <a:pt x="83200" y="23384"/>
                  </a:cubicBezTo>
                  <a:cubicBezTo>
                    <a:pt x="83600" y="23384"/>
                    <a:pt x="84400" y="24615"/>
                    <a:pt x="84800" y="24000"/>
                  </a:cubicBezTo>
                  <a:cubicBezTo>
                    <a:pt x="86400" y="22153"/>
                    <a:pt x="87600" y="23384"/>
                    <a:pt x="88800" y="25846"/>
                  </a:cubicBezTo>
                  <a:cubicBezTo>
                    <a:pt x="89200" y="26461"/>
                    <a:pt x="90000" y="27692"/>
                    <a:pt x="89600" y="28307"/>
                  </a:cubicBezTo>
                  <a:cubicBezTo>
                    <a:pt x="89600" y="28307"/>
                    <a:pt x="88000" y="27692"/>
                    <a:pt x="87600" y="27692"/>
                  </a:cubicBezTo>
                  <a:cubicBezTo>
                    <a:pt x="86400" y="28307"/>
                    <a:pt x="84800" y="28307"/>
                    <a:pt x="83600" y="28923"/>
                  </a:cubicBezTo>
                  <a:cubicBezTo>
                    <a:pt x="82400" y="29538"/>
                    <a:pt x="82400" y="33230"/>
                    <a:pt x="80800" y="33230"/>
                  </a:cubicBezTo>
                  <a:cubicBezTo>
                    <a:pt x="80000" y="33230"/>
                    <a:pt x="79200" y="32615"/>
                    <a:pt x="78800" y="33846"/>
                  </a:cubicBezTo>
                  <a:cubicBezTo>
                    <a:pt x="78400" y="34461"/>
                    <a:pt x="77600" y="35692"/>
                    <a:pt x="76800" y="35692"/>
                  </a:cubicBezTo>
                  <a:cubicBezTo>
                    <a:pt x="75600" y="35076"/>
                    <a:pt x="73200" y="32615"/>
                    <a:pt x="72800" y="36307"/>
                  </a:cubicBezTo>
                  <a:cubicBezTo>
                    <a:pt x="72800" y="37538"/>
                    <a:pt x="73600" y="38153"/>
                    <a:pt x="73600" y="38769"/>
                  </a:cubicBezTo>
                  <a:cubicBezTo>
                    <a:pt x="73600" y="40000"/>
                    <a:pt x="72400" y="40000"/>
                    <a:pt x="72000" y="40615"/>
                  </a:cubicBezTo>
                  <a:cubicBezTo>
                    <a:pt x="70800" y="42461"/>
                    <a:pt x="70400" y="44307"/>
                    <a:pt x="68800" y="44307"/>
                  </a:cubicBezTo>
                  <a:cubicBezTo>
                    <a:pt x="66800" y="44307"/>
                    <a:pt x="64800" y="44307"/>
                    <a:pt x="62800" y="44923"/>
                  </a:cubicBezTo>
                  <a:cubicBezTo>
                    <a:pt x="62000" y="45538"/>
                    <a:pt x="60400" y="48000"/>
                    <a:pt x="60000" y="47384"/>
                  </a:cubicBezTo>
                  <a:cubicBezTo>
                    <a:pt x="59200" y="47384"/>
                    <a:pt x="58800" y="46153"/>
                    <a:pt x="58400" y="46153"/>
                  </a:cubicBezTo>
                  <a:cubicBezTo>
                    <a:pt x="57600" y="46153"/>
                    <a:pt x="57200" y="46153"/>
                    <a:pt x="56400" y="46153"/>
                  </a:cubicBezTo>
                  <a:cubicBezTo>
                    <a:pt x="55600" y="45538"/>
                    <a:pt x="54800" y="45538"/>
                    <a:pt x="54000" y="44307"/>
                  </a:cubicBezTo>
                  <a:cubicBezTo>
                    <a:pt x="53200" y="43692"/>
                    <a:pt x="52800" y="43692"/>
                    <a:pt x="52400" y="43076"/>
                  </a:cubicBezTo>
                  <a:cubicBezTo>
                    <a:pt x="50800" y="43076"/>
                    <a:pt x="50000" y="43076"/>
                    <a:pt x="48400" y="43076"/>
                  </a:cubicBezTo>
                  <a:cubicBezTo>
                    <a:pt x="47200" y="43076"/>
                    <a:pt x="45200" y="43692"/>
                    <a:pt x="43600" y="43076"/>
                  </a:cubicBezTo>
                  <a:cubicBezTo>
                    <a:pt x="43200" y="43076"/>
                    <a:pt x="42800" y="41846"/>
                    <a:pt x="42800" y="41230"/>
                  </a:cubicBezTo>
                  <a:cubicBezTo>
                    <a:pt x="42000" y="40000"/>
                    <a:pt x="41600" y="38769"/>
                    <a:pt x="40800" y="37538"/>
                  </a:cubicBezTo>
                  <a:cubicBezTo>
                    <a:pt x="39600" y="36307"/>
                    <a:pt x="38800" y="34461"/>
                    <a:pt x="37600" y="34461"/>
                  </a:cubicBezTo>
                  <a:cubicBezTo>
                    <a:pt x="36800" y="34461"/>
                    <a:pt x="32400" y="34461"/>
                    <a:pt x="33200" y="32000"/>
                  </a:cubicBezTo>
                  <a:cubicBezTo>
                    <a:pt x="34000" y="29538"/>
                    <a:pt x="33600" y="25230"/>
                    <a:pt x="31600" y="23384"/>
                  </a:cubicBezTo>
                  <a:cubicBezTo>
                    <a:pt x="30000" y="21538"/>
                    <a:pt x="28000" y="21538"/>
                    <a:pt x="27600" y="17846"/>
                  </a:cubicBezTo>
                  <a:cubicBezTo>
                    <a:pt x="27200" y="18461"/>
                    <a:pt x="26800" y="17846"/>
                    <a:pt x="26400" y="18461"/>
                  </a:cubicBezTo>
                  <a:cubicBezTo>
                    <a:pt x="26000" y="19076"/>
                    <a:pt x="26000" y="19076"/>
                    <a:pt x="26000" y="19692"/>
                  </a:cubicBezTo>
                  <a:cubicBezTo>
                    <a:pt x="25200" y="21538"/>
                    <a:pt x="24000" y="20923"/>
                    <a:pt x="23600" y="22769"/>
                  </a:cubicBezTo>
                  <a:cubicBezTo>
                    <a:pt x="23600" y="24000"/>
                    <a:pt x="24400" y="25230"/>
                    <a:pt x="24000" y="25846"/>
                  </a:cubicBezTo>
                  <a:cubicBezTo>
                    <a:pt x="23600" y="26461"/>
                    <a:pt x="22800" y="27076"/>
                    <a:pt x="22400" y="27076"/>
                  </a:cubicBezTo>
                  <a:cubicBezTo>
                    <a:pt x="22000" y="27692"/>
                    <a:pt x="21600" y="26461"/>
                    <a:pt x="21200" y="27076"/>
                  </a:cubicBezTo>
                  <a:cubicBezTo>
                    <a:pt x="20400" y="27076"/>
                    <a:pt x="20000" y="26461"/>
                    <a:pt x="19200" y="25846"/>
                  </a:cubicBezTo>
                  <a:cubicBezTo>
                    <a:pt x="18800" y="25230"/>
                    <a:pt x="18400" y="28307"/>
                    <a:pt x="18000" y="28923"/>
                  </a:cubicBezTo>
                  <a:cubicBezTo>
                    <a:pt x="18000" y="29538"/>
                    <a:pt x="17600" y="30769"/>
                    <a:pt x="17600" y="31384"/>
                  </a:cubicBezTo>
                  <a:cubicBezTo>
                    <a:pt x="17600" y="32615"/>
                    <a:pt x="18000" y="32615"/>
                    <a:pt x="18000" y="33230"/>
                  </a:cubicBezTo>
                  <a:cubicBezTo>
                    <a:pt x="18000" y="34461"/>
                    <a:pt x="15600" y="33230"/>
                    <a:pt x="15600" y="33230"/>
                  </a:cubicBezTo>
                  <a:cubicBezTo>
                    <a:pt x="14800" y="33846"/>
                    <a:pt x="13200" y="33846"/>
                    <a:pt x="12800" y="34461"/>
                  </a:cubicBezTo>
                  <a:cubicBezTo>
                    <a:pt x="13200" y="33846"/>
                    <a:pt x="13600" y="38153"/>
                    <a:pt x="13600" y="38769"/>
                  </a:cubicBezTo>
                  <a:cubicBezTo>
                    <a:pt x="14000" y="39384"/>
                    <a:pt x="14400" y="40000"/>
                    <a:pt x="14800" y="40615"/>
                  </a:cubicBezTo>
                  <a:cubicBezTo>
                    <a:pt x="14800" y="41230"/>
                    <a:pt x="13600" y="42461"/>
                    <a:pt x="13200" y="43076"/>
                  </a:cubicBezTo>
                  <a:cubicBezTo>
                    <a:pt x="12800" y="43692"/>
                    <a:pt x="13200" y="45538"/>
                    <a:pt x="12800" y="45538"/>
                  </a:cubicBezTo>
                  <a:cubicBezTo>
                    <a:pt x="12400" y="46153"/>
                    <a:pt x="11600" y="46153"/>
                    <a:pt x="11200" y="46769"/>
                  </a:cubicBezTo>
                  <a:cubicBezTo>
                    <a:pt x="10400" y="47384"/>
                    <a:pt x="10000" y="48000"/>
                    <a:pt x="9600" y="48615"/>
                  </a:cubicBezTo>
                  <a:cubicBezTo>
                    <a:pt x="8800" y="48615"/>
                    <a:pt x="8400" y="48615"/>
                    <a:pt x="7600" y="49230"/>
                  </a:cubicBezTo>
                  <a:cubicBezTo>
                    <a:pt x="6800" y="49230"/>
                    <a:pt x="6400" y="49846"/>
                    <a:pt x="6000" y="51076"/>
                  </a:cubicBezTo>
                  <a:cubicBezTo>
                    <a:pt x="6000" y="51076"/>
                    <a:pt x="4400" y="51692"/>
                    <a:pt x="4400" y="51692"/>
                  </a:cubicBezTo>
                  <a:cubicBezTo>
                    <a:pt x="4400" y="51692"/>
                    <a:pt x="4400" y="51076"/>
                    <a:pt x="4400" y="51076"/>
                  </a:cubicBezTo>
                  <a:cubicBezTo>
                    <a:pt x="4000" y="51076"/>
                    <a:pt x="3600" y="51076"/>
                    <a:pt x="2800" y="51076"/>
                  </a:cubicBezTo>
                  <a:cubicBezTo>
                    <a:pt x="2400" y="51076"/>
                    <a:pt x="1200" y="52307"/>
                    <a:pt x="1200" y="52923"/>
                  </a:cubicBezTo>
                  <a:cubicBezTo>
                    <a:pt x="800" y="54153"/>
                    <a:pt x="400" y="55384"/>
                    <a:pt x="400" y="56000"/>
                  </a:cubicBezTo>
                  <a:cubicBezTo>
                    <a:pt x="0" y="57230"/>
                    <a:pt x="1200" y="58461"/>
                    <a:pt x="1600" y="58461"/>
                  </a:cubicBezTo>
                  <a:cubicBezTo>
                    <a:pt x="2800" y="58461"/>
                    <a:pt x="2400" y="58461"/>
                    <a:pt x="2800" y="60307"/>
                  </a:cubicBezTo>
                  <a:cubicBezTo>
                    <a:pt x="2800" y="60923"/>
                    <a:pt x="3200" y="60923"/>
                    <a:pt x="3200" y="62153"/>
                  </a:cubicBezTo>
                  <a:cubicBezTo>
                    <a:pt x="3200" y="62153"/>
                    <a:pt x="2800" y="63384"/>
                    <a:pt x="2800" y="63384"/>
                  </a:cubicBezTo>
                  <a:cubicBezTo>
                    <a:pt x="3600" y="64000"/>
                    <a:pt x="4000" y="64000"/>
                    <a:pt x="4400" y="64615"/>
                  </a:cubicBezTo>
                  <a:cubicBezTo>
                    <a:pt x="5200" y="65846"/>
                    <a:pt x="4800" y="67076"/>
                    <a:pt x="5600" y="67692"/>
                  </a:cubicBezTo>
                  <a:cubicBezTo>
                    <a:pt x="6400" y="68307"/>
                    <a:pt x="7200" y="68923"/>
                    <a:pt x="8000" y="69538"/>
                  </a:cubicBezTo>
                  <a:cubicBezTo>
                    <a:pt x="8400" y="69538"/>
                    <a:pt x="8800" y="68923"/>
                    <a:pt x="9200" y="68307"/>
                  </a:cubicBezTo>
                  <a:cubicBezTo>
                    <a:pt x="10400" y="67076"/>
                    <a:pt x="12400" y="67692"/>
                    <a:pt x="13200" y="69538"/>
                  </a:cubicBezTo>
                  <a:cubicBezTo>
                    <a:pt x="13600" y="70769"/>
                    <a:pt x="12800" y="71384"/>
                    <a:pt x="12400" y="72000"/>
                  </a:cubicBezTo>
                  <a:cubicBezTo>
                    <a:pt x="12000" y="72615"/>
                    <a:pt x="12000" y="72615"/>
                    <a:pt x="12000" y="73230"/>
                  </a:cubicBezTo>
                  <a:cubicBezTo>
                    <a:pt x="11600" y="74461"/>
                    <a:pt x="11200" y="74461"/>
                    <a:pt x="10800" y="74461"/>
                  </a:cubicBezTo>
                  <a:cubicBezTo>
                    <a:pt x="9600" y="75692"/>
                    <a:pt x="12800" y="77538"/>
                    <a:pt x="11600" y="78769"/>
                  </a:cubicBezTo>
                  <a:cubicBezTo>
                    <a:pt x="11200" y="80000"/>
                    <a:pt x="10800" y="79384"/>
                    <a:pt x="10000" y="79384"/>
                  </a:cubicBezTo>
                  <a:cubicBezTo>
                    <a:pt x="8400" y="78769"/>
                    <a:pt x="10400" y="81230"/>
                    <a:pt x="10400" y="81230"/>
                  </a:cubicBezTo>
                  <a:cubicBezTo>
                    <a:pt x="10400" y="82461"/>
                    <a:pt x="10000" y="83076"/>
                    <a:pt x="10800" y="83076"/>
                  </a:cubicBezTo>
                  <a:cubicBezTo>
                    <a:pt x="11600" y="83692"/>
                    <a:pt x="11600" y="84307"/>
                    <a:pt x="12400" y="84923"/>
                  </a:cubicBezTo>
                  <a:cubicBezTo>
                    <a:pt x="13200" y="84923"/>
                    <a:pt x="13600" y="86153"/>
                    <a:pt x="14400" y="86769"/>
                  </a:cubicBezTo>
                  <a:cubicBezTo>
                    <a:pt x="14400" y="86769"/>
                    <a:pt x="14800" y="87384"/>
                    <a:pt x="15200" y="87384"/>
                  </a:cubicBezTo>
                  <a:cubicBezTo>
                    <a:pt x="15600" y="87384"/>
                    <a:pt x="15200" y="86153"/>
                    <a:pt x="16000" y="86153"/>
                  </a:cubicBezTo>
                  <a:cubicBezTo>
                    <a:pt x="17600" y="86153"/>
                    <a:pt x="18400" y="90461"/>
                    <a:pt x="20000" y="90461"/>
                  </a:cubicBezTo>
                  <a:cubicBezTo>
                    <a:pt x="20800" y="90461"/>
                    <a:pt x="20800" y="92307"/>
                    <a:pt x="21600" y="92307"/>
                  </a:cubicBezTo>
                  <a:cubicBezTo>
                    <a:pt x="22400" y="92923"/>
                    <a:pt x="22800" y="94153"/>
                    <a:pt x="23200" y="94153"/>
                  </a:cubicBezTo>
                  <a:cubicBezTo>
                    <a:pt x="24000" y="92923"/>
                    <a:pt x="24000" y="94769"/>
                    <a:pt x="24800" y="94769"/>
                  </a:cubicBezTo>
                  <a:cubicBezTo>
                    <a:pt x="25200" y="94769"/>
                    <a:pt x="25200" y="94153"/>
                    <a:pt x="25600" y="94153"/>
                  </a:cubicBezTo>
                  <a:cubicBezTo>
                    <a:pt x="26000" y="94153"/>
                    <a:pt x="26000" y="94769"/>
                    <a:pt x="26400" y="95384"/>
                  </a:cubicBezTo>
                  <a:cubicBezTo>
                    <a:pt x="27200" y="95384"/>
                    <a:pt x="28000" y="95384"/>
                    <a:pt x="28800" y="94769"/>
                  </a:cubicBezTo>
                  <a:cubicBezTo>
                    <a:pt x="30000" y="94153"/>
                    <a:pt x="29200" y="95384"/>
                    <a:pt x="29600" y="96000"/>
                  </a:cubicBezTo>
                  <a:cubicBezTo>
                    <a:pt x="29600" y="96000"/>
                    <a:pt x="30400" y="94153"/>
                    <a:pt x="30800" y="94153"/>
                  </a:cubicBezTo>
                  <a:cubicBezTo>
                    <a:pt x="31200" y="93538"/>
                    <a:pt x="32000" y="93538"/>
                    <a:pt x="32400" y="94153"/>
                  </a:cubicBezTo>
                  <a:cubicBezTo>
                    <a:pt x="33200" y="95384"/>
                    <a:pt x="34000" y="94153"/>
                    <a:pt x="34800" y="94769"/>
                  </a:cubicBezTo>
                  <a:cubicBezTo>
                    <a:pt x="35600" y="95384"/>
                    <a:pt x="36400" y="94153"/>
                    <a:pt x="36800" y="92923"/>
                  </a:cubicBezTo>
                  <a:cubicBezTo>
                    <a:pt x="37200" y="92923"/>
                    <a:pt x="37200" y="92307"/>
                    <a:pt x="37600" y="92307"/>
                  </a:cubicBezTo>
                  <a:cubicBezTo>
                    <a:pt x="38000" y="91692"/>
                    <a:pt x="38400" y="92307"/>
                    <a:pt x="38800" y="91692"/>
                  </a:cubicBezTo>
                  <a:cubicBezTo>
                    <a:pt x="39200" y="91076"/>
                    <a:pt x="39600" y="89846"/>
                    <a:pt x="40400" y="90461"/>
                  </a:cubicBezTo>
                  <a:cubicBezTo>
                    <a:pt x="41200" y="91076"/>
                    <a:pt x="41200" y="91076"/>
                    <a:pt x="42400" y="89846"/>
                  </a:cubicBezTo>
                  <a:cubicBezTo>
                    <a:pt x="42800" y="89230"/>
                    <a:pt x="43600" y="91076"/>
                    <a:pt x="43600" y="91692"/>
                  </a:cubicBezTo>
                  <a:cubicBezTo>
                    <a:pt x="43200" y="92923"/>
                    <a:pt x="42400" y="93538"/>
                    <a:pt x="43200" y="93538"/>
                  </a:cubicBezTo>
                  <a:cubicBezTo>
                    <a:pt x="44400" y="93538"/>
                    <a:pt x="44400" y="93538"/>
                    <a:pt x="45600" y="92923"/>
                  </a:cubicBezTo>
                  <a:cubicBezTo>
                    <a:pt x="46000" y="92923"/>
                    <a:pt x="46400" y="94769"/>
                    <a:pt x="46400" y="95384"/>
                  </a:cubicBezTo>
                  <a:cubicBezTo>
                    <a:pt x="46400" y="95384"/>
                    <a:pt x="46400" y="96615"/>
                    <a:pt x="46800" y="96000"/>
                  </a:cubicBezTo>
                  <a:cubicBezTo>
                    <a:pt x="46800" y="96000"/>
                    <a:pt x="47600" y="96000"/>
                    <a:pt x="47600" y="96615"/>
                  </a:cubicBezTo>
                  <a:cubicBezTo>
                    <a:pt x="47600" y="97230"/>
                    <a:pt x="46800" y="97846"/>
                    <a:pt x="47200" y="98461"/>
                  </a:cubicBezTo>
                  <a:cubicBezTo>
                    <a:pt x="47600" y="99692"/>
                    <a:pt x="47200" y="101538"/>
                    <a:pt x="46800" y="102153"/>
                  </a:cubicBezTo>
                  <a:cubicBezTo>
                    <a:pt x="46400" y="103384"/>
                    <a:pt x="45600" y="104000"/>
                    <a:pt x="45200" y="104615"/>
                  </a:cubicBezTo>
                  <a:cubicBezTo>
                    <a:pt x="45200" y="105230"/>
                    <a:pt x="45200" y="108307"/>
                    <a:pt x="44800" y="107692"/>
                  </a:cubicBezTo>
                  <a:cubicBezTo>
                    <a:pt x="45200" y="108307"/>
                    <a:pt x="47600" y="106461"/>
                    <a:pt x="48000" y="107692"/>
                  </a:cubicBezTo>
                  <a:cubicBezTo>
                    <a:pt x="48000" y="107692"/>
                    <a:pt x="47200" y="108307"/>
                    <a:pt x="47600" y="109538"/>
                  </a:cubicBezTo>
                  <a:cubicBezTo>
                    <a:pt x="48000" y="110769"/>
                    <a:pt x="49200" y="110769"/>
                    <a:pt x="48800" y="111384"/>
                  </a:cubicBezTo>
                  <a:cubicBezTo>
                    <a:pt x="48800" y="112000"/>
                    <a:pt x="48400" y="113230"/>
                    <a:pt x="48400" y="113846"/>
                  </a:cubicBezTo>
                  <a:cubicBezTo>
                    <a:pt x="48800" y="114461"/>
                    <a:pt x="50000" y="113846"/>
                    <a:pt x="50000" y="114461"/>
                  </a:cubicBezTo>
                  <a:cubicBezTo>
                    <a:pt x="50000" y="114461"/>
                    <a:pt x="50000" y="115076"/>
                    <a:pt x="50000" y="115076"/>
                  </a:cubicBezTo>
                  <a:cubicBezTo>
                    <a:pt x="50000" y="116307"/>
                    <a:pt x="50400" y="115692"/>
                    <a:pt x="50800" y="115692"/>
                  </a:cubicBezTo>
                  <a:cubicBezTo>
                    <a:pt x="51200" y="115692"/>
                    <a:pt x="51600" y="115076"/>
                    <a:pt x="52000" y="115692"/>
                  </a:cubicBezTo>
                  <a:cubicBezTo>
                    <a:pt x="52400" y="115692"/>
                    <a:pt x="52800" y="116307"/>
                    <a:pt x="53200" y="116923"/>
                  </a:cubicBezTo>
                  <a:cubicBezTo>
                    <a:pt x="54000" y="117538"/>
                    <a:pt x="53600" y="115076"/>
                    <a:pt x="53600" y="114461"/>
                  </a:cubicBezTo>
                  <a:cubicBezTo>
                    <a:pt x="52800" y="112000"/>
                    <a:pt x="53600" y="113230"/>
                    <a:pt x="54400" y="112000"/>
                  </a:cubicBezTo>
                  <a:cubicBezTo>
                    <a:pt x="55200" y="111384"/>
                    <a:pt x="54800" y="112000"/>
                    <a:pt x="55600" y="112615"/>
                  </a:cubicBezTo>
                  <a:cubicBezTo>
                    <a:pt x="55600" y="112615"/>
                    <a:pt x="56400" y="112000"/>
                    <a:pt x="56400" y="112000"/>
                  </a:cubicBezTo>
                  <a:cubicBezTo>
                    <a:pt x="56400" y="112615"/>
                    <a:pt x="57200" y="111384"/>
                    <a:pt x="57200" y="112000"/>
                  </a:cubicBezTo>
                  <a:cubicBezTo>
                    <a:pt x="57600" y="112615"/>
                    <a:pt x="57600" y="113230"/>
                    <a:pt x="58400" y="112000"/>
                  </a:cubicBezTo>
                  <a:cubicBezTo>
                    <a:pt x="58800" y="111384"/>
                    <a:pt x="58800" y="112000"/>
                    <a:pt x="59200" y="111384"/>
                  </a:cubicBezTo>
                  <a:cubicBezTo>
                    <a:pt x="59600" y="110769"/>
                    <a:pt x="59600" y="109538"/>
                    <a:pt x="60400" y="109538"/>
                  </a:cubicBezTo>
                  <a:cubicBezTo>
                    <a:pt x="60800" y="109538"/>
                    <a:pt x="61200" y="110769"/>
                    <a:pt x="62000" y="110769"/>
                  </a:cubicBezTo>
                  <a:cubicBezTo>
                    <a:pt x="62000" y="110769"/>
                    <a:pt x="63600" y="111384"/>
                    <a:pt x="63600" y="111384"/>
                  </a:cubicBezTo>
                  <a:cubicBezTo>
                    <a:pt x="63600" y="112000"/>
                    <a:pt x="62800" y="112615"/>
                    <a:pt x="62800" y="113230"/>
                  </a:cubicBezTo>
                  <a:cubicBezTo>
                    <a:pt x="63200" y="113846"/>
                    <a:pt x="64000" y="114461"/>
                    <a:pt x="64400" y="115076"/>
                  </a:cubicBezTo>
                  <a:cubicBezTo>
                    <a:pt x="65200" y="115692"/>
                    <a:pt x="66800" y="116307"/>
                    <a:pt x="67200" y="114461"/>
                  </a:cubicBezTo>
                  <a:cubicBezTo>
                    <a:pt x="67200" y="114461"/>
                    <a:pt x="68000" y="115692"/>
                    <a:pt x="68000" y="115692"/>
                  </a:cubicBezTo>
                  <a:cubicBezTo>
                    <a:pt x="68400" y="116307"/>
                    <a:pt x="68800" y="115076"/>
                    <a:pt x="69600" y="115692"/>
                  </a:cubicBezTo>
                  <a:cubicBezTo>
                    <a:pt x="70000" y="116307"/>
                    <a:pt x="69200" y="116923"/>
                    <a:pt x="69200" y="117538"/>
                  </a:cubicBezTo>
                  <a:cubicBezTo>
                    <a:pt x="69200" y="118153"/>
                    <a:pt x="70000" y="119384"/>
                    <a:pt x="70000" y="120000"/>
                  </a:cubicBezTo>
                  <a:cubicBezTo>
                    <a:pt x="70400" y="120000"/>
                    <a:pt x="70800" y="119384"/>
                    <a:pt x="71200" y="119384"/>
                  </a:cubicBezTo>
                  <a:cubicBezTo>
                    <a:pt x="71200" y="118769"/>
                    <a:pt x="70000" y="118153"/>
                    <a:pt x="70400" y="117538"/>
                  </a:cubicBezTo>
                  <a:cubicBezTo>
                    <a:pt x="71200" y="115692"/>
                    <a:pt x="72000" y="115692"/>
                    <a:pt x="73200" y="115076"/>
                  </a:cubicBezTo>
                  <a:cubicBezTo>
                    <a:pt x="74000" y="114461"/>
                    <a:pt x="74800" y="114461"/>
                    <a:pt x="75600" y="114461"/>
                  </a:cubicBezTo>
                  <a:cubicBezTo>
                    <a:pt x="76000" y="114461"/>
                    <a:pt x="76000" y="113230"/>
                    <a:pt x="76400" y="113230"/>
                  </a:cubicBezTo>
                  <a:cubicBezTo>
                    <a:pt x="77200" y="113230"/>
                    <a:pt x="76800" y="112615"/>
                    <a:pt x="76800" y="112000"/>
                  </a:cubicBezTo>
                  <a:cubicBezTo>
                    <a:pt x="76800" y="112615"/>
                    <a:pt x="78400" y="112000"/>
                    <a:pt x="78400" y="112000"/>
                  </a:cubicBezTo>
                  <a:cubicBezTo>
                    <a:pt x="79200" y="111384"/>
                    <a:pt x="80000" y="112000"/>
                    <a:pt x="80800" y="112000"/>
                  </a:cubicBezTo>
                  <a:cubicBezTo>
                    <a:pt x="81600" y="112000"/>
                    <a:pt x="82000" y="111384"/>
                    <a:pt x="82800" y="110769"/>
                  </a:cubicBezTo>
                  <a:cubicBezTo>
                    <a:pt x="83200" y="110769"/>
                    <a:pt x="83200" y="108923"/>
                    <a:pt x="83600" y="108923"/>
                  </a:cubicBezTo>
                  <a:cubicBezTo>
                    <a:pt x="84400" y="108923"/>
                    <a:pt x="84800" y="108307"/>
                    <a:pt x="85200" y="107692"/>
                  </a:cubicBezTo>
                  <a:cubicBezTo>
                    <a:pt x="85600" y="107692"/>
                    <a:pt x="86000" y="107076"/>
                    <a:pt x="86000" y="106461"/>
                  </a:cubicBezTo>
                  <a:cubicBezTo>
                    <a:pt x="85600" y="106461"/>
                    <a:pt x="87200" y="105846"/>
                    <a:pt x="87200" y="105846"/>
                  </a:cubicBezTo>
                  <a:cubicBezTo>
                    <a:pt x="87600" y="105230"/>
                    <a:pt x="88000" y="104000"/>
                    <a:pt x="88400" y="103384"/>
                  </a:cubicBezTo>
                  <a:cubicBezTo>
                    <a:pt x="88800" y="102769"/>
                    <a:pt x="88800" y="102769"/>
                    <a:pt x="88800" y="102153"/>
                  </a:cubicBezTo>
                  <a:cubicBezTo>
                    <a:pt x="89200" y="100923"/>
                    <a:pt x="88400" y="101538"/>
                    <a:pt x="88400" y="100923"/>
                  </a:cubicBezTo>
                  <a:cubicBezTo>
                    <a:pt x="88400" y="100923"/>
                    <a:pt x="90400" y="100923"/>
                    <a:pt x="89200" y="99692"/>
                  </a:cubicBezTo>
                  <a:cubicBezTo>
                    <a:pt x="88800" y="99076"/>
                    <a:pt x="89200" y="99076"/>
                    <a:pt x="89600" y="99076"/>
                  </a:cubicBezTo>
                  <a:cubicBezTo>
                    <a:pt x="90000" y="99076"/>
                    <a:pt x="90000" y="98461"/>
                    <a:pt x="90400" y="97846"/>
                  </a:cubicBezTo>
                  <a:cubicBezTo>
                    <a:pt x="90800" y="97230"/>
                    <a:pt x="90800" y="96615"/>
                    <a:pt x="91200" y="96000"/>
                  </a:cubicBezTo>
                  <a:cubicBezTo>
                    <a:pt x="91200" y="96000"/>
                    <a:pt x="91200" y="94769"/>
                    <a:pt x="91200" y="94769"/>
                  </a:cubicBezTo>
                  <a:cubicBezTo>
                    <a:pt x="91600" y="94153"/>
                    <a:pt x="92000" y="94153"/>
                    <a:pt x="92400" y="93538"/>
                  </a:cubicBezTo>
                  <a:cubicBezTo>
                    <a:pt x="92800" y="92923"/>
                    <a:pt x="92400" y="92307"/>
                    <a:pt x="92400" y="92307"/>
                  </a:cubicBezTo>
                  <a:cubicBezTo>
                    <a:pt x="92400" y="91692"/>
                    <a:pt x="92800" y="91692"/>
                    <a:pt x="92800" y="91692"/>
                  </a:cubicBezTo>
                  <a:cubicBezTo>
                    <a:pt x="93200" y="91692"/>
                    <a:pt x="92800" y="90461"/>
                    <a:pt x="92800" y="90461"/>
                  </a:cubicBezTo>
                  <a:cubicBezTo>
                    <a:pt x="92800" y="90461"/>
                    <a:pt x="93600" y="91076"/>
                    <a:pt x="93600" y="90461"/>
                  </a:cubicBezTo>
                  <a:cubicBezTo>
                    <a:pt x="94400" y="89846"/>
                    <a:pt x="93600" y="89846"/>
                    <a:pt x="93200" y="89230"/>
                  </a:cubicBezTo>
                  <a:cubicBezTo>
                    <a:pt x="93200" y="89230"/>
                    <a:pt x="94400" y="88000"/>
                    <a:pt x="94400" y="88000"/>
                  </a:cubicBezTo>
                  <a:cubicBezTo>
                    <a:pt x="94000" y="89230"/>
                    <a:pt x="92800" y="87384"/>
                    <a:pt x="92400" y="86769"/>
                  </a:cubicBezTo>
                  <a:cubicBezTo>
                    <a:pt x="92400" y="86769"/>
                    <a:pt x="92000" y="87384"/>
                    <a:pt x="91600" y="87384"/>
                  </a:cubicBezTo>
                  <a:cubicBezTo>
                    <a:pt x="91200" y="88000"/>
                    <a:pt x="90800" y="86769"/>
                    <a:pt x="90400" y="87384"/>
                  </a:cubicBezTo>
                  <a:cubicBezTo>
                    <a:pt x="91200" y="86769"/>
                    <a:pt x="92000" y="86153"/>
                    <a:pt x="92400" y="85538"/>
                  </a:cubicBezTo>
                  <a:cubicBezTo>
                    <a:pt x="92800" y="84923"/>
                    <a:pt x="94000" y="84923"/>
                    <a:pt x="93200" y="83692"/>
                  </a:cubicBezTo>
                  <a:cubicBezTo>
                    <a:pt x="92400" y="83076"/>
                    <a:pt x="92000" y="82461"/>
                    <a:pt x="91200" y="81230"/>
                  </a:cubicBezTo>
                  <a:cubicBezTo>
                    <a:pt x="91200" y="80615"/>
                    <a:pt x="89200" y="81846"/>
                    <a:pt x="89200" y="80000"/>
                  </a:cubicBezTo>
                  <a:cubicBezTo>
                    <a:pt x="89200" y="81230"/>
                    <a:pt x="91200" y="81230"/>
                    <a:pt x="91600" y="81230"/>
                  </a:cubicBezTo>
                  <a:cubicBezTo>
                    <a:pt x="92000" y="81230"/>
                    <a:pt x="93200" y="83076"/>
                    <a:pt x="93600" y="81846"/>
                  </a:cubicBezTo>
                  <a:cubicBezTo>
                    <a:pt x="94000" y="80615"/>
                    <a:pt x="91600" y="79384"/>
                    <a:pt x="91600" y="78153"/>
                  </a:cubicBezTo>
                  <a:cubicBezTo>
                    <a:pt x="91200" y="76923"/>
                    <a:pt x="91200" y="74461"/>
                    <a:pt x="90400" y="73846"/>
                  </a:cubicBezTo>
                  <a:cubicBezTo>
                    <a:pt x="90000" y="72615"/>
                    <a:pt x="87600" y="72615"/>
                    <a:pt x="88400" y="70769"/>
                  </a:cubicBezTo>
                  <a:cubicBezTo>
                    <a:pt x="88800" y="69538"/>
                    <a:pt x="89200" y="68923"/>
                    <a:pt x="89600" y="68307"/>
                  </a:cubicBezTo>
                  <a:cubicBezTo>
                    <a:pt x="90400" y="67076"/>
                    <a:pt x="89600" y="67692"/>
                    <a:pt x="90000" y="67076"/>
                  </a:cubicBezTo>
                  <a:cubicBezTo>
                    <a:pt x="90000" y="66461"/>
                    <a:pt x="91200" y="67076"/>
                    <a:pt x="91200" y="67076"/>
                  </a:cubicBezTo>
                  <a:cubicBezTo>
                    <a:pt x="91600" y="66461"/>
                    <a:pt x="90800" y="65846"/>
                    <a:pt x="91600" y="65230"/>
                  </a:cubicBezTo>
                  <a:cubicBezTo>
                    <a:pt x="92400" y="65230"/>
                    <a:pt x="92800" y="64615"/>
                    <a:pt x="93200" y="64000"/>
                  </a:cubicBezTo>
                  <a:cubicBezTo>
                    <a:pt x="93600" y="64000"/>
                    <a:pt x="94000" y="64000"/>
                    <a:pt x="94000" y="64000"/>
                  </a:cubicBezTo>
                  <a:cubicBezTo>
                    <a:pt x="94400" y="64000"/>
                    <a:pt x="94000" y="64615"/>
                    <a:pt x="94400" y="64615"/>
                  </a:cubicBezTo>
                  <a:cubicBezTo>
                    <a:pt x="94800" y="65230"/>
                    <a:pt x="95200" y="63384"/>
                    <a:pt x="95200" y="62769"/>
                  </a:cubicBezTo>
                  <a:cubicBezTo>
                    <a:pt x="94400" y="61538"/>
                    <a:pt x="93600" y="62153"/>
                    <a:pt x="93200" y="62153"/>
                  </a:cubicBezTo>
                  <a:cubicBezTo>
                    <a:pt x="92400" y="62153"/>
                    <a:pt x="92000" y="60923"/>
                    <a:pt x="91200" y="61538"/>
                  </a:cubicBezTo>
                  <a:cubicBezTo>
                    <a:pt x="90800" y="61538"/>
                    <a:pt x="90400" y="62769"/>
                    <a:pt x="89600" y="62769"/>
                  </a:cubicBezTo>
                  <a:cubicBezTo>
                    <a:pt x="89200" y="63384"/>
                    <a:pt x="88400" y="63384"/>
                    <a:pt x="88000" y="62769"/>
                  </a:cubicBezTo>
                  <a:cubicBezTo>
                    <a:pt x="87600" y="62153"/>
                    <a:pt x="88400" y="60923"/>
                    <a:pt x="88000" y="60307"/>
                  </a:cubicBezTo>
                  <a:cubicBezTo>
                    <a:pt x="87200" y="59692"/>
                    <a:pt x="84000" y="59692"/>
                    <a:pt x="85200" y="56615"/>
                  </a:cubicBezTo>
                  <a:cubicBezTo>
                    <a:pt x="85600" y="56000"/>
                    <a:pt x="86000" y="56615"/>
                    <a:pt x="86800" y="56615"/>
                  </a:cubicBezTo>
                  <a:cubicBezTo>
                    <a:pt x="87200" y="56615"/>
                    <a:pt x="88000" y="56000"/>
                    <a:pt x="88400" y="55384"/>
                  </a:cubicBezTo>
                  <a:cubicBezTo>
                    <a:pt x="89200" y="53538"/>
                    <a:pt x="90400" y="52307"/>
                    <a:pt x="91600" y="51076"/>
                  </a:cubicBezTo>
                  <a:cubicBezTo>
                    <a:pt x="92000" y="49846"/>
                    <a:pt x="92400" y="49846"/>
                    <a:pt x="93200" y="49846"/>
                  </a:cubicBezTo>
                  <a:cubicBezTo>
                    <a:pt x="93200" y="50461"/>
                    <a:pt x="94400" y="50461"/>
                    <a:pt x="94400" y="51076"/>
                  </a:cubicBezTo>
                  <a:cubicBezTo>
                    <a:pt x="94000" y="51692"/>
                    <a:pt x="94000" y="52923"/>
                    <a:pt x="93600" y="53538"/>
                  </a:cubicBezTo>
                  <a:cubicBezTo>
                    <a:pt x="93200" y="53538"/>
                    <a:pt x="92400" y="54153"/>
                    <a:pt x="92400" y="54769"/>
                  </a:cubicBezTo>
                  <a:cubicBezTo>
                    <a:pt x="92400" y="55384"/>
                    <a:pt x="93600" y="55384"/>
                    <a:pt x="93600" y="55384"/>
                  </a:cubicBezTo>
                  <a:cubicBezTo>
                    <a:pt x="93600" y="55384"/>
                    <a:pt x="92000" y="57230"/>
                    <a:pt x="92400" y="57230"/>
                  </a:cubicBezTo>
                  <a:cubicBezTo>
                    <a:pt x="92800" y="57846"/>
                    <a:pt x="94800" y="54769"/>
                    <a:pt x="95200" y="54769"/>
                  </a:cubicBezTo>
                  <a:cubicBezTo>
                    <a:pt x="96000" y="54153"/>
                    <a:pt x="96800" y="53538"/>
                    <a:pt x="97600" y="53538"/>
                  </a:cubicBezTo>
                  <a:cubicBezTo>
                    <a:pt x="98400" y="53538"/>
                    <a:pt x="98400" y="53538"/>
                    <a:pt x="98800" y="52307"/>
                  </a:cubicBezTo>
                  <a:cubicBezTo>
                    <a:pt x="99600" y="51692"/>
                    <a:pt x="100800" y="51076"/>
                    <a:pt x="101600" y="49846"/>
                  </a:cubicBezTo>
                  <a:cubicBezTo>
                    <a:pt x="102000" y="49230"/>
                    <a:pt x="102800" y="47384"/>
                    <a:pt x="103600" y="47384"/>
                  </a:cubicBezTo>
                  <a:cubicBezTo>
                    <a:pt x="104000" y="46769"/>
                    <a:pt x="106400" y="49230"/>
                    <a:pt x="106400" y="47384"/>
                  </a:cubicBezTo>
                  <a:cubicBezTo>
                    <a:pt x="106400" y="46769"/>
                    <a:pt x="106000" y="46153"/>
                    <a:pt x="106400" y="45538"/>
                  </a:cubicBezTo>
                  <a:cubicBezTo>
                    <a:pt x="106800" y="45538"/>
                    <a:pt x="107200" y="45538"/>
                    <a:pt x="107600" y="45538"/>
                  </a:cubicBezTo>
                  <a:cubicBezTo>
                    <a:pt x="108400" y="45538"/>
                    <a:pt x="108000" y="44923"/>
                    <a:pt x="108400" y="44307"/>
                  </a:cubicBezTo>
                  <a:cubicBezTo>
                    <a:pt x="109200" y="43692"/>
                    <a:pt x="109600" y="44307"/>
                    <a:pt x="109600" y="43076"/>
                  </a:cubicBezTo>
                  <a:cubicBezTo>
                    <a:pt x="109600" y="41230"/>
                    <a:pt x="110800" y="43076"/>
                    <a:pt x="111200" y="43692"/>
                  </a:cubicBezTo>
                  <a:cubicBezTo>
                    <a:pt x="111200" y="42461"/>
                    <a:pt x="112400" y="42461"/>
                    <a:pt x="112400" y="41230"/>
                  </a:cubicBezTo>
                  <a:cubicBezTo>
                    <a:pt x="112400" y="40000"/>
                    <a:pt x="112800" y="38153"/>
                    <a:pt x="112400" y="36923"/>
                  </a:cubicBezTo>
                  <a:cubicBezTo>
                    <a:pt x="111600" y="35076"/>
                    <a:pt x="112000" y="35692"/>
                    <a:pt x="112800" y="34461"/>
                  </a:cubicBezTo>
                  <a:cubicBezTo>
                    <a:pt x="113600" y="33846"/>
                    <a:pt x="114000" y="33230"/>
                    <a:pt x="114800" y="33846"/>
                  </a:cubicBezTo>
                  <a:cubicBezTo>
                    <a:pt x="116000" y="34461"/>
                    <a:pt x="116000" y="34461"/>
                    <a:pt x="116400" y="32615"/>
                  </a:cubicBezTo>
                  <a:cubicBezTo>
                    <a:pt x="116800" y="31384"/>
                    <a:pt x="117600" y="30769"/>
                    <a:pt x="118000" y="28923"/>
                  </a:cubicBezTo>
                  <a:cubicBezTo>
                    <a:pt x="118000" y="27692"/>
                    <a:pt x="118400" y="26461"/>
                    <a:pt x="119200" y="25230"/>
                  </a:cubicBezTo>
                  <a:cubicBezTo>
                    <a:pt x="120000" y="24000"/>
                    <a:pt x="119200" y="24000"/>
                    <a:pt x="119200" y="22769"/>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19" name="Shape 2593">
              <a:extLst>
                <a:ext uri="{FF2B5EF4-FFF2-40B4-BE49-F238E27FC236}">
                  <a16:creationId xmlns:a16="http://schemas.microsoft.com/office/drawing/2014/main" id="{E3F553CC-BDED-0F45-AD0E-05A3C4E435EA}"/>
                </a:ext>
              </a:extLst>
            </p:cNvPr>
            <p:cNvSpPr/>
            <p:nvPr/>
          </p:nvSpPr>
          <p:spPr>
            <a:xfrm>
              <a:off x="15747942" y="6357210"/>
              <a:ext cx="1464967" cy="637105"/>
            </a:xfrm>
            <a:custGeom>
              <a:avLst/>
              <a:gdLst/>
              <a:ahLst/>
              <a:cxnLst/>
              <a:rect l="0" t="0" r="0" b="0"/>
              <a:pathLst>
                <a:path w="120000" h="120000" extrusionOk="0">
                  <a:moveTo>
                    <a:pt x="0" y="33529"/>
                  </a:moveTo>
                  <a:cubicBezTo>
                    <a:pt x="764" y="40588"/>
                    <a:pt x="2292" y="44117"/>
                    <a:pt x="5350" y="45882"/>
                  </a:cubicBezTo>
                  <a:cubicBezTo>
                    <a:pt x="6878" y="47647"/>
                    <a:pt x="7643" y="49411"/>
                    <a:pt x="9171" y="51176"/>
                  </a:cubicBezTo>
                  <a:cubicBezTo>
                    <a:pt x="9936" y="54705"/>
                    <a:pt x="10700" y="60000"/>
                    <a:pt x="11464" y="63529"/>
                  </a:cubicBezTo>
                  <a:cubicBezTo>
                    <a:pt x="12229" y="65294"/>
                    <a:pt x="11464" y="65294"/>
                    <a:pt x="11464" y="67058"/>
                  </a:cubicBezTo>
                  <a:cubicBezTo>
                    <a:pt x="10700" y="67058"/>
                    <a:pt x="11464" y="68823"/>
                    <a:pt x="11464" y="70588"/>
                  </a:cubicBezTo>
                  <a:cubicBezTo>
                    <a:pt x="10700" y="75882"/>
                    <a:pt x="9936" y="75882"/>
                    <a:pt x="12229" y="79411"/>
                  </a:cubicBezTo>
                  <a:cubicBezTo>
                    <a:pt x="15286" y="81176"/>
                    <a:pt x="18343" y="79411"/>
                    <a:pt x="21401" y="82941"/>
                  </a:cubicBezTo>
                  <a:cubicBezTo>
                    <a:pt x="22929" y="86470"/>
                    <a:pt x="25987" y="91764"/>
                    <a:pt x="27515" y="95294"/>
                  </a:cubicBezTo>
                  <a:cubicBezTo>
                    <a:pt x="28280" y="97058"/>
                    <a:pt x="29044" y="100588"/>
                    <a:pt x="29808" y="104117"/>
                  </a:cubicBezTo>
                  <a:cubicBezTo>
                    <a:pt x="30573" y="107647"/>
                    <a:pt x="32866" y="105882"/>
                    <a:pt x="33630" y="105882"/>
                  </a:cubicBezTo>
                  <a:cubicBezTo>
                    <a:pt x="36687" y="105882"/>
                    <a:pt x="39745" y="105882"/>
                    <a:pt x="42802" y="105882"/>
                  </a:cubicBezTo>
                  <a:cubicBezTo>
                    <a:pt x="44331" y="105882"/>
                    <a:pt x="47388" y="105882"/>
                    <a:pt x="48917" y="107647"/>
                  </a:cubicBezTo>
                  <a:cubicBezTo>
                    <a:pt x="50445" y="109411"/>
                    <a:pt x="51210" y="112941"/>
                    <a:pt x="52738" y="112941"/>
                  </a:cubicBezTo>
                  <a:cubicBezTo>
                    <a:pt x="54267" y="114705"/>
                    <a:pt x="56560" y="116470"/>
                    <a:pt x="58089" y="116470"/>
                  </a:cubicBezTo>
                  <a:cubicBezTo>
                    <a:pt x="59617" y="114705"/>
                    <a:pt x="61146" y="120000"/>
                    <a:pt x="61910" y="118235"/>
                  </a:cubicBezTo>
                  <a:cubicBezTo>
                    <a:pt x="64968" y="114705"/>
                    <a:pt x="67261" y="111176"/>
                    <a:pt x="71082" y="109411"/>
                  </a:cubicBezTo>
                  <a:cubicBezTo>
                    <a:pt x="74140" y="109411"/>
                    <a:pt x="78726" y="111176"/>
                    <a:pt x="81019" y="107647"/>
                  </a:cubicBezTo>
                  <a:cubicBezTo>
                    <a:pt x="83312" y="104117"/>
                    <a:pt x="84076" y="98823"/>
                    <a:pt x="86369" y="97058"/>
                  </a:cubicBezTo>
                  <a:cubicBezTo>
                    <a:pt x="88662" y="95294"/>
                    <a:pt x="88662" y="93529"/>
                    <a:pt x="87133" y="90000"/>
                  </a:cubicBezTo>
                  <a:cubicBezTo>
                    <a:pt x="86369" y="88235"/>
                    <a:pt x="86369" y="84705"/>
                    <a:pt x="87898" y="82941"/>
                  </a:cubicBezTo>
                  <a:cubicBezTo>
                    <a:pt x="90191" y="77647"/>
                    <a:pt x="93248" y="88235"/>
                    <a:pt x="96305" y="81176"/>
                  </a:cubicBezTo>
                  <a:cubicBezTo>
                    <a:pt x="97070" y="79411"/>
                    <a:pt x="97834" y="77647"/>
                    <a:pt x="99363" y="77647"/>
                  </a:cubicBezTo>
                  <a:cubicBezTo>
                    <a:pt x="101656" y="75882"/>
                    <a:pt x="102420" y="77647"/>
                    <a:pt x="104713" y="74117"/>
                  </a:cubicBezTo>
                  <a:cubicBezTo>
                    <a:pt x="105477" y="72352"/>
                    <a:pt x="105477" y="67058"/>
                    <a:pt x="106242" y="67058"/>
                  </a:cubicBezTo>
                  <a:cubicBezTo>
                    <a:pt x="107770" y="65294"/>
                    <a:pt x="108535" y="65294"/>
                    <a:pt x="109299" y="65294"/>
                  </a:cubicBezTo>
                  <a:cubicBezTo>
                    <a:pt x="112356" y="63529"/>
                    <a:pt x="114649" y="61764"/>
                    <a:pt x="117707" y="63529"/>
                  </a:cubicBezTo>
                  <a:cubicBezTo>
                    <a:pt x="120000" y="63529"/>
                    <a:pt x="115414" y="51176"/>
                    <a:pt x="114649" y="51176"/>
                  </a:cubicBezTo>
                  <a:cubicBezTo>
                    <a:pt x="113885" y="49411"/>
                    <a:pt x="112356" y="47647"/>
                    <a:pt x="110828" y="49411"/>
                  </a:cubicBezTo>
                  <a:cubicBezTo>
                    <a:pt x="109299" y="49411"/>
                    <a:pt x="109299" y="52941"/>
                    <a:pt x="107770" y="51176"/>
                  </a:cubicBezTo>
                  <a:cubicBezTo>
                    <a:pt x="107006" y="49411"/>
                    <a:pt x="104713" y="47647"/>
                    <a:pt x="103949" y="49411"/>
                  </a:cubicBezTo>
                  <a:cubicBezTo>
                    <a:pt x="103184" y="52941"/>
                    <a:pt x="102420" y="51176"/>
                    <a:pt x="102420" y="47647"/>
                  </a:cubicBezTo>
                  <a:cubicBezTo>
                    <a:pt x="102420" y="44117"/>
                    <a:pt x="104713" y="37058"/>
                    <a:pt x="104713" y="33529"/>
                  </a:cubicBezTo>
                  <a:cubicBezTo>
                    <a:pt x="105477" y="30000"/>
                    <a:pt x="107770" y="24705"/>
                    <a:pt x="104713" y="24705"/>
                  </a:cubicBezTo>
                  <a:cubicBezTo>
                    <a:pt x="102420" y="24705"/>
                    <a:pt x="102420" y="26470"/>
                    <a:pt x="100127" y="24705"/>
                  </a:cubicBezTo>
                  <a:cubicBezTo>
                    <a:pt x="97834" y="22941"/>
                    <a:pt x="97070" y="22941"/>
                    <a:pt x="94777" y="26470"/>
                  </a:cubicBezTo>
                  <a:cubicBezTo>
                    <a:pt x="92484" y="30000"/>
                    <a:pt x="89426" y="31764"/>
                    <a:pt x="87133" y="33529"/>
                  </a:cubicBezTo>
                  <a:cubicBezTo>
                    <a:pt x="83312" y="35294"/>
                    <a:pt x="81783" y="33529"/>
                    <a:pt x="78726" y="33529"/>
                  </a:cubicBezTo>
                  <a:cubicBezTo>
                    <a:pt x="77197" y="31764"/>
                    <a:pt x="76433" y="31764"/>
                    <a:pt x="74904" y="30000"/>
                  </a:cubicBezTo>
                  <a:cubicBezTo>
                    <a:pt x="74140" y="30000"/>
                    <a:pt x="73375" y="26470"/>
                    <a:pt x="71847" y="26470"/>
                  </a:cubicBezTo>
                  <a:cubicBezTo>
                    <a:pt x="68789" y="24705"/>
                    <a:pt x="67261" y="21176"/>
                    <a:pt x="63439" y="19411"/>
                  </a:cubicBezTo>
                  <a:cubicBezTo>
                    <a:pt x="61910" y="19411"/>
                    <a:pt x="60382" y="21176"/>
                    <a:pt x="58853" y="22941"/>
                  </a:cubicBezTo>
                  <a:cubicBezTo>
                    <a:pt x="57324" y="24705"/>
                    <a:pt x="55796" y="22941"/>
                    <a:pt x="54267" y="21176"/>
                  </a:cubicBezTo>
                  <a:cubicBezTo>
                    <a:pt x="52738" y="19411"/>
                    <a:pt x="51974" y="19411"/>
                    <a:pt x="51974" y="14117"/>
                  </a:cubicBezTo>
                  <a:cubicBezTo>
                    <a:pt x="51210" y="10588"/>
                    <a:pt x="51210" y="10588"/>
                    <a:pt x="48917" y="8823"/>
                  </a:cubicBezTo>
                  <a:cubicBezTo>
                    <a:pt x="47388" y="7058"/>
                    <a:pt x="45859" y="5294"/>
                    <a:pt x="44331" y="5294"/>
                  </a:cubicBezTo>
                  <a:cubicBezTo>
                    <a:pt x="42802" y="5294"/>
                    <a:pt x="40509" y="0"/>
                    <a:pt x="39745" y="1764"/>
                  </a:cubicBezTo>
                  <a:cubicBezTo>
                    <a:pt x="38216" y="1764"/>
                    <a:pt x="35159" y="8823"/>
                    <a:pt x="34394" y="12352"/>
                  </a:cubicBezTo>
                  <a:cubicBezTo>
                    <a:pt x="34394" y="15882"/>
                    <a:pt x="36687" y="19411"/>
                    <a:pt x="35923" y="22941"/>
                  </a:cubicBezTo>
                  <a:cubicBezTo>
                    <a:pt x="35159" y="26470"/>
                    <a:pt x="32866" y="30000"/>
                    <a:pt x="31337" y="26470"/>
                  </a:cubicBezTo>
                  <a:cubicBezTo>
                    <a:pt x="29808" y="26470"/>
                    <a:pt x="29044" y="24705"/>
                    <a:pt x="28280" y="24705"/>
                  </a:cubicBezTo>
                  <a:cubicBezTo>
                    <a:pt x="27515" y="24705"/>
                    <a:pt x="26751" y="24705"/>
                    <a:pt x="25987" y="24705"/>
                  </a:cubicBezTo>
                  <a:cubicBezTo>
                    <a:pt x="23694" y="22941"/>
                    <a:pt x="23694" y="19411"/>
                    <a:pt x="21401" y="17647"/>
                  </a:cubicBezTo>
                  <a:cubicBezTo>
                    <a:pt x="19872" y="15882"/>
                    <a:pt x="17579" y="14117"/>
                    <a:pt x="16050" y="15882"/>
                  </a:cubicBezTo>
                  <a:cubicBezTo>
                    <a:pt x="13757" y="17647"/>
                    <a:pt x="12229" y="21176"/>
                    <a:pt x="9936" y="22941"/>
                  </a:cubicBezTo>
                  <a:cubicBezTo>
                    <a:pt x="8407" y="24705"/>
                    <a:pt x="6878" y="28235"/>
                    <a:pt x="5350" y="30000"/>
                  </a:cubicBezTo>
                  <a:cubicBezTo>
                    <a:pt x="3057" y="30000"/>
                    <a:pt x="1528" y="33529"/>
                    <a:pt x="0" y="33529"/>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20" name="Shape 2594">
              <a:extLst>
                <a:ext uri="{FF2B5EF4-FFF2-40B4-BE49-F238E27FC236}">
                  <a16:creationId xmlns:a16="http://schemas.microsoft.com/office/drawing/2014/main" id="{AF13B937-6F18-7642-92C9-F033793FB310}"/>
                </a:ext>
              </a:extLst>
            </p:cNvPr>
            <p:cNvSpPr/>
            <p:nvPr/>
          </p:nvSpPr>
          <p:spPr>
            <a:xfrm>
              <a:off x="12219283" y="5133962"/>
              <a:ext cx="585985" cy="1009821"/>
            </a:xfrm>
            <a:custGeom>
              <a:avLst/>
              <a:gdLst/>
              <a:ahLst/>
              <a:cxnLst/>
              <a:rect l="0" t="0" r="0" b="0"/>
              <a:pathLst>
                <a:path w="120000" h="120000" extrusionOk="0">
                  <a:moveTo>
                    <a:pt x="116190" y="27777"/>
                  </a:moveTo>
                  <a:cubicBezTo>
                    <a:pt x="114285" y="26666"/>
                    <a:pt x="118095" y="24444"/>
                    <a:pt x="116190" y="22222"/>
                  </a:cubicBezTo>
                  <a:cubicBezTo>
                    <a:pt x="114285" y="20000"/>
                    <a:pt x="116190" y="20000"/>
                    <a:pt x="116190" y="17777"/>
                  </a:cubicBezTo>
                  <a:cubicBezTo>
                    <a:pt x="116190" y="16666"/>
                    <a:pt x="114285" y="15555"/>
                    <a:pt x="114285" y="14444"/>
                  </a:cubicBezTo>
                  <a:cubicBezTo>
                    <a:pt x="112380" y="13333"/>
                    <a:pt x="114285" y="13333"/>
                    <a:pt x="114285" y="12222"/>
                  </a:cubicBezTo>
                  <a:cubicBezTo>
                    <a:pt x="112380" y="10000"/>
                    <a:pt x="112380" y="8888"/>
                    <a:pt x="108571" y="7777"/>
                  </a:cubicBezTo>
                  <a:cubicBezTo>
                    <a:pt x="104761" y="6666"/>
                    <a:pt x="100952" y="6666"/>
                    <a:pt x="97142" y="5555"/>
                  </a:cubicBezTo>
                  <a:cubicBezTo>
                    <a:pt x="93333" y="3333"/>
                    <a:pt x="89523" y="0"/>
                    <a:pt x="83809" y="1111"/>
                  </a:cubicBezTo>
                  <a:cubicBezTo>
                    <a:pt x="81904" y="1111"/>
                    <a:pt x="83809" y="4444"/>
                    <a:pt x="83809" y="5555"/>
                  </a:cubicBezTo>
                  <a:cubicBezTo>
                    <a:pt x="81904" y="8888"/>
                    <a:pt x="70476" y="6666"/>
                    <a:pt x="64761" y="5555"/>
                  </a:cubicBezTo>
                  <a:cubicBezTo>
                    <a:pt x="64761" y="7777"/>
                    <a:pt x="64761" y="8888"/>
                    <a:pt x="64761" y="11111"/>
                  </a:cubicBezTo>
                  <a:cubicBezTo>
                    <a:pt x="62857" y="11111"/>
                    <a:pt x="59047" y="10000"/>
                    <a:pt x="55238" y="11111"/>
                  </a:cubicBezTo>
                  <a:cubicBezTo>
                    <a:pt x="53333" y="11111"/>
                    <a:pt x="53333" y="12222"/>
                    <a:pt x="51428" y="13333"/>
                  </a:cubicBezTo>
                  <a:cubicBezTo>
                    <a:pt x="51428" y="14444"/>
                    <a:pt x="47619" y="15555"/>
                    <a:pt x="47619" y="16666"/>
                  </a:cubicBezTo>
                  <a:cubicBezTo>
                    <a:pt x="45714" y="17777"/>
                    <a:pt x="49523" y="20000"/>
                    <a:pt x="47619" y="20000"/>
                  </a:cubicBezTo>
                  <a:cubicBezTo>
                    <a:pt x="47619" y="21111"/>
                    <a:pt x="45714" y="21111"/>
                    <a:pt x="45714" y="22222"/>
                  </a:cubicBezTo>
                  <a:cubicBezTo>
                    <a:pt x="41904" y="23333"/>
                    <a:pt x="38095" y="25555"/>
                    <a:pt x="38095" y="27777"/>
                  </a:cubicBezTo>
                  <a:cubicBezTo>
                    <a:pt x="38095" y="30000"/>
                    <a:pt x="34285" y="27777"/>
                    <a:pt x="32380" y="30000"/>
                  </a:cubicBezTo>
                  <a:cubicBezTo>
                    <a:pt x="32380" y="32222"/>
                    <a:pt x="32380" y="34444"/>
                    <a:pt x="30476" y="36666"/>
                  </a:cubicBezTo>
                  <a:cubicBezTo>
                    <a:pt x="30476" y="38888"/>
                    <a:pt x="24761" y="40000"/>
                    <a:pt x="24761" y="42222"/>
                  </a:cubicBezTo>
                  <a:cubicBezTo>
                    <a:pt x="24761" y="43333"/>
                    <a:pt x="30476" y="45555"/>
                    <a:pt x="28571" y="46666"/>
                  </a:cubicBezTo>
                  <a:cubicBezTo>
                    <a:pt x="24761" y="48888"/>
                    <a:pt x="20952" y="47777"/>
                    <a:pt x="17142" y="48888"/>
                  </a:cubicBezTo>
                  <a:cubicBezTo>
                    <a:pt x="11428" y="50000"/>
                    <a:pt x="9523" y="53333"/>
                    <a:pt x="9523" y="56666"/>
                  </a:cubicBezTo>
                  <a:cubicBezTo>
                    <a:pt x="11428" y="58888"/>
                    <a:pt x="11428" y="61111"/>
                    <a:pt x="11428" y="63333"/>
                  </a:cubicBezTo>
                  <a:cubicBezTo>
                    <a:pt x="11428" y="66666"/>
                    <a:pt x="7619" y="67777"/>
                    <a:pt x="15238" y="70000"/>
                  </a:cubicBezTo>
                  <a:cubicBezTo>
                    <a:pt x="19047" y="72222"/>
                    <a:pt x="17142" y="73333"/>
                    <a:pt x="13333" y="74444"/>
                  </a:cubicBezTo>
                  <a:cubicBezTo>
                    <a:pt x="11428" y="75555"/>
                    <a:pt x="15238" y="80000"/>
                    <a:pt x="13333" y="82222"/>
                  </a:cubicBezTo>
                  <a:cubicBezTo>
                    <a:pt x="13333" y="84444"/>
                    <a:pt x="7619" y="84444"/>
                    <a:pt x="7619" y="86666"/>
                  </a:cubicBezTo>
                  <a:cubicBezTo>
                    <a:pt x="7619" y="87777"/>
                    <a:pt x="7619" y="92222"/>
                    <a:pt x="5714" y="92222"/>
                  </a:cubicBezTo>
                  <a:cubicBezTo>
                    <a:pt x="5714" y="92222"/>
                    <a:pt x="1904" y="91111"/>
                    <a:pt x="0" y="91111"/>
                  </a:cubicBezTo>
                  <a:cubicBezTo>
                    <a:pt x="0" y="95555"/>
                    <a:pt x="7619" y="96666"/>
                    <a:pt x="7619" y="100000"/>
                  </a:cubicBezTo>
                  <a:cubicBezTo>
                    <a:pt x="5714" y="101111"/>
                    <a:pt x="11428" y="106666"/>
                    <a:pt x="13333" y="107777"/>
                  </a:cubicBezTo>
                  <a:cubicBezTo>
                    <a:pt x="17142" y="110000"/>
                    <a:pt x="15238" y="111111"/>
                    <a:pt x="15238" y="113333"/>
                  </a:cubicBezTo>
                  <a:cubicBezTo>
                    <a:pt x="15238" y="114444"/>
                    <a:pt x="19047" y="116666"/>
                    <a:pt x="19047" y="118888"/>
                  </a:cubicBezTo>
                  <a:cubicBezTo>
                    <a:pt x="17142" y="120000"/>
                    <a:pt x="24761" y="118888"/>
                    <a:pt x="26666" y="120000"/>
                  </a:cubicBezTo>
                  <a:cubicBezTo>
                    <a:pt x="30476" y="120000"/>
                    <a:pt x="28571" y="118888"/>
                    <a:pt x="28571" y="116666"/>
                  </a:cubicBezTo>
                  <a:cubicBezTo>
                    <a:pt x="28571" y="111111"/>
                    <a:pt x="43809" y="115555"/>
                    <a:pt x="45714" y="112222"/>
                  </a:cubicBezTo>
                  <a:cubicBezTo>
                    <a:pt x="47619" y="108888"/>
                    <a:pt x="49523" y="105555"/>
                    <a:pt x="51428" y="102222"/>
                  </a:cubicBezTo>
                  <a:cubicBezTo>
                    <a:pt x="51428" y="100000"/>
                    <a:pt x="51428" y="97777"/>
                    <a:pt x="49523" y="96666"/>
                  </a:cubicBezTo>
                  <a:cubicBezTo>
                    <a:pt x="47619" y="94444"/>
                    <a:pt x="49523" y="94444"/>
                    <a:pt x="53333" y="93333"/>
                  </a:cubicBezTo>
                  <a:cubicBezTo>
                    <a:pt x="55238" y="93333"/>
                    <a:pt x="60952" y="92222"/>
                    <a:pt x="60952" y="91111"/>
                  </a:cubicBezTo>
                  <a:cubicBezTo>
                    <a:pt x="60952" y="91111"/>
                    <a:pt x="60952" y="90000"/>
                    <a:pt x="60952" y="90000"/>
                  </a:cubicBezTo>
                  <a:cubicBezTo>
                    <a:pt x="62857" y="90000"/>
                    <a:pt x="66666" y="90000"/>
                    <a:pt x="66666" y="88888"/>
                  </a:cubicBezTo>
                  <a:cubicBezTo>
                    <a:pt x="66666" y="87777"/>
                    <a:pt x="64761" y="87777"/>
                    <a:pt x="64761" y="86666"/>
                  </a:cubicBezTo>
                  <a:cubicBezTo>
                    <a:pt x="66666" y="86666"/>
                    <a:pt x="68571" y="85555"/>
                    <a:pt x="68571" y="85555"/>
                  </a:cubicBezTo>
                  <a:cubicBezTo>
                    <a:pt x="72380" y="83333"/>
                    <a:pt x="70476" y="82222"/>
                    <a:pt x="66666" y="81111"/>
                  </a:cubicBezTo>
                  <a:cubicBezTo>
                    <a:pt x="62857" y="78888"/>
                    <a:pt x="55238" y="77777"/>
                    <a:pt x="55238" y="73333"/>
                  </a:cubicBezTo>
                  <a:cubicBezTo>
                    <a:pt x="55238" y="71111"/>
                    <a:pt x="55238" y="68888"/>
                    <a:pt x="57142" y="66666"/>
                  </a:cubicBezTo>
                  <a:cubicBezTo>
                    <a:pt x="59047" y="64444"/>
                    <a:pt x="59047" y="64444"/>
                    <a:pt x="57142" y="62222"/>
                  </a:cubicBezTo>
                  <a:cubicBezTo>
                    <a:pt x="55238" y="62222"/>
                    <a:pt x="62857" y="58888"/>
                    <a:pt x="62857" y="58888"/>
                  </a:cubicBezTo>
                  <a:cubicBezTo>
                    <a:pt x="66666" y="56666"/>
                    <a:pt x="68571" y="54444"/>
                    <a:pt x="74285" y="53333"/>
                  </a:cubicBezTo>
                  <a:cubicBezTo>
                    <a:pt x="80000" y="52222"/>
                    <a:pt x="89523" y="48888"/>
                    <a:pt x="93333" y="45555"/>
                  </a:cubicBezTo>
                  <a:cubicBezTo>
                    <a:pt x="97142" y="42222"/>
                    <a:pt x="87619" y="40000"/>
                    <a:pt x="95238" y="38888"/>
                  </a:cubicBezTo>
                  <a:cubicBezTo>
                    <a:pt x="99047" y="37777"/>
                    <a:pt x="97142" y="37777"/>
                    <a:pt x="95238" y="35555"/>
                  </a:cubicBezTo>
                  <a:cubicBezTo>
                    <a:pt x="95238" y="34444"/>
                    <a:pt x="100952" y="33333"/>
                    <a:pt x="102857" y="33333"/>
                  </a:cubicBezTo>
                  <a:cubicBezTo>
                    <a:pt x="106666" y="31111"/>
                    <a:pt x="108571" y="30000"/>
                    <a:pt x="110476" y="32222"/>
                  </a:cubicBezTo>
                  <a:cubicBezTo>
                    <a:pt x="112380" y="32222"/>
                    <a:pt x="114285" y="31111"/>
                    <a:pt x="114285" y="31111"/>
                  </a:cubicBezTo>
                  <a:cubicBezTo>
                    <a:pt x="116190" y="31111"/>
                    <a:pt x="118095" y="31111"/>
                    <a:pt x="120000" y="31111"/>
                  </a:cubicBezTo>
                  <a:cubicBezTo>
                    <a:pt x="120000" y="30000"/>
                    <a:pt x="118095" y="30000"/>
                    <a:pt x="116190" y="27777"/>
                  </a:cubicBezTo>
                  <a:cubicBezTo>
                    <a:pt x="114285" y="26666"/>
                    <a:pt x="116190" y="28888"/>
                    <a:pt x="116190" y="27777"/>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21" name="Shape 2595">
              <a:extLst>
                <a:ext uri="{FF2B5EF4-FFF2-40B4-BE49-F238E27FC236}">
                  <a16:creationId xmlns:a16="http://schemas.microsoft.com/office/drawing/2014/main" id="{6DC37759-51FF-274C-BE7A-6CDA6DB36907}"/>
                </a:ext>
              </a:extLst>
            </p:cNvPr>
            <p:cNvSpPr/>
            <p:nvPr/>
          </p:nvSpPr>
          <p:spPr>
            <a:xfrm>
              <a:off x="12649219" y="5057509"/>
              <a:ext cx="503184" cy="786830"/>
            </a:xfrm>
            <a:custGeom>
              <a:avLst/>
              <a:gdLst/>
              <a:ahLst/>
              <a:cxnLst/>
              <a:rect l="0" t="0" r="0" b="0"/>
              <a:pathLst>
                <a:path w="120000" h="120000" extrusionOk="0">
                  <a:moveTo>
                    <a:pt x="117777" y="84285"/>
                  </a:moveTo>
                  <a:cubicBezTo>
                    <a:pt x="115555" y="81428"/>
                    <a:pt x="108888" y="80000"/>
                    <a:pt x="104444" y="78571"/>
                  </a:cubicBezTo>
                  <a:cubicBezTo>
                    <a:pt x="97777" y="75714"/>
                    <a:pt x="106666" y="75714"/>
                    <a:pt x="108888" y="72857"/>
                  </a:cubicBezTo>
                  <a:cubicBezTo>
                    <a:pt x="108888" y="72857"/>
                    <a:pt x="100000" y="64285"/>
                    <a:pt x="97777" y="62857"/>
                  </a:cubicBezTo>
                  <a:cubicBezTo>
                    <a:pt x="97777" y="62857"/>
                    <a:pt x="102222" y="61428"/>
                    <a:pt x="102222" y="61428"/>
                  </a:cubicBezTo>
                  <a:cubicBezTo>
                    <a:pt x="102222" y="60000"/>
                    <a:pt x="97777" y="55714"/>
                    <a:pt x="97777" y="54285"/>
                  </a:cubicBezTo>
                  <a:cubicBezTo>
                    <a:pt x="97777" y="52857"/>
                    <a:pt x="100000" y="52857"/>
                    <a:pt x="100000" y="51428"/>
                  </a:cubicBezTo>
                  <a:cubicBezTo>
                    <a:pt x="102222" y="50000"/>
                    <a:pt x="97777" y="47142"/>
                    <a:pt x="97777" y="45714"/>
                  </a:cubicBezTo>
                  <a:cubicBezTo>
                    <a:pt x="93333" y="42857"/>
                    <a:pt x="88888" y="40000"/>
                    <a:pt x="93333" y="37142"/>
                  </a:cubicBezTo>
                  <a:cubicBezTo>
                    <a:pt x="95555" y="35714"/>
                    <a:pt x="100000" y="34285"/>
                    <a:pt x="100000" y="32857"/>
                  </a:cubicBezTo>
                  <a:cubicBezTo>
                    <a:pt x="102222" y="30000"/>
                    <a:pt x="97777" y="28571"/>
                    <a:pt x="97777" y="27142"/>
                  </a:cubicBezTo>
                  <a:cubicBezTo>
                    <a:pt x="95555" y="25714"/>
                    <a:pt x="80000" y="21428"/>
                    <a:pt x="84444" y="18571"/>
                  </a:cubicBezTo>
                  <a:cubicBezTo>
                    <a:pt x="84444" y="18571"/>
                    <a:pt x="88888" y="17142"/>
                    <a:pt x="88888" y="17142"/>
                  </a:cubicBezTo>
                  <a:cubicBezTo>
                    <a:pt x="88888" y="17142"/>
                    <a:pt x="82222" y="14285"/>
                    <a:pt x="86666" y="14285"/>
                  </a:cubicBezTo>
                  <a:cubicBezTo>
                    <a:pt x="93333" y="14285"/>
                    <a:pt x="97777" y="7142"/>
                    <a:pt x="91111" y="4285"/>
                  </a:cubicBezTo>
                  <a:cubicBezTo>
                    <a:pt x="88888" y="2857"/>
                    <a:pt x="84444" y="2857"/>
                    <a:pt x="82222" y="1428"/>
                  </a:cubicBezTo>
                  <a:cubicBezTo>
                    <a:pt x="80000" y="0"/>
                    <a:pt x="77777" y="0"/>
                    <a:pt x="75555" y="0"/>
                  </a:cubicBezTo>
                  <a:cubicBezTo>
                    <a:pt x="71111" y="1428"/>
                    <a:pt x="68888" y="0"/>
                    <a:pt x="64444" y="1428"/>
                  </a:cubicBezTo>
                  <a:cubicBezTo>
                    <a:pt x="62222" y="2857"/>
                    <a:pt x="57777" y="5714"/>
                    <a:pt x="55555" y="7142"/>
                  </a:cubicBezTo>
                  <a:cubicBezTo>
                    <a:pt x="55555" y="8571"/>
                    <a:pt x="55555" y="14285"/>
                    <a:pt x="53333" y="14285"/>
                  </a:cubicBezTo>
                  <a:cubicBezTo>
                    <a:pt x="51111" y="15714"/>
                    <a:pt x="48888" y="17142"/>
                    <a:pt x="46666" y="18571"/>
                  </a:cubicBezTo>
                  <a:cubicBezTo>
                    <a:pt x="44444" y="18571"/>
                    <a:pt x="40000" y="15714"/>
                    <a:pt x="37777" y="15714"/>
                  </a:cubicBezTo>
                  <a:cubicBezTo>
                    <a:pt x="35555" y="15714"/>
                    <a:pt x="33333" y="17142"/>
                    <a:pt x="31111" y="17142"/>
                  </a:cubicBezTo>
                  <a:cubicBezTo>
                    <a:pt x="24444" y="18571"/>
                    <a:pt x="20000" y="17142"/>
                    <a:pt x="15555" y="14285"/>
                  </a:cubicBezTo>
                  <a:cubicBezTo>
                    <a:pt x="15555" y="12857"/>
                    <a:pt x="11111" y="10000"/>
                    <a:pt x="8888" y="10000"/>
                  </a:cubicBezTo>
                  <a:cubicBezTo>
                    <a:pt x="6666" y="10000"/>
                    <a:pt x="2222" y="12857"/>
                    <a:pt x="0" y="12857"/>
                  </a:cubicBezTo>
                  <a:cubicBezTo>
                    <a:pt x="4444" y="15714"/>
                    <a:pt x="11111" y="18571"/>
                    <a:pt x="17777" y="20000"/>
                  </a:cubicBezTo>
                  <a:cubicBezTo>
                    <a:pt x="20000" y="20000"/>
                    <a:pt x="24444" y="21428"/>
                    <a:pt x="26666" y="22857"/>
                  </a:cubicBezTo>
                  <a:cubicBezTo>
                    <a:pt x="28888" y="24285"/>
                    <a:pt x="28888" y="25714"/>
                    <a:pt x="31111" y="27142"/>
                  </a:cubicBezTo>
                  <a:cubicBezTo>
                    <a:pt x="31111" y="28571"/>
                    <a:pt x="28888" y="28571"/>
                    <a:pt x="31111" y="30000"/>
                  </a:cubicBezTo>
                  <a:cubicBezTo>
                    <a:pt x="31111" y="31428"/>
                    <a:pt x="35555" y="32857"/>
                    <a:pt x="33333" y="34285"/>
                  </a:cubicBezTo>
                  <a:cubicBezTo>
                    <a:pt x="33333" y="35714"/>
                    <a:pt x="31111" y="37142"/>
                    <a:pt x="33333" y="38571"/>
                  </a:cubicBezTo>
                  <a:cubicBezTo>
                    <a:pt x="33333" y="38571"/>
                    <a:pt x="35555" y="41428"/>
                    <a:pt x="35555" y="41428"/>
                  </a:cubicBezTo>
                  <a:cubicBezTo>
                    <a:pt x="33333" y="42857"/>
                    <a:pt x="33333" y="45714"/>
                    <a:pt x="33333" y="47142"/>
                  </a:cubicBezTo>
                  <a:cubicBezTo>
                    <a:pt x="33333" y="47142"/>
                    <a:pt x="37777" y="51428"/>
                    <a:pt x="37777" y="51428"/>
                  </a:cubicBezTo>
                  <a:cubicBezTo>
                    <a:pt x="40000" y="52857"/>
                    <a:pt x="44444" y="54285"/>
                    <a:pt x="46666" y="54285"/>
                  </a:cubicBezTo>
                  <a:cubicBezTo>
                    <a:pt x="48888" y="55714"/>
                    <a:pt x="48888" y="57142"/>
                    <a:pt x="48888" y="58571"/>
                  </a:cubicBezTo>
                  <a:cubicBezTo>
                    <a:pt x="48888" y="60000"/>
                    <a:pt x="51111" y="61428"/>
                    <a:pt x="51111" y="62857"/>
                  </a:cubicBezTo>
                  <a:cubicBezTo>
                    <a:pt x="51111" y="64285"/>
                    <a:pt x="46666" y="62857"/>
                    <a:pt x="44444" y="62857"/>
                  </a:cubicBezTo>
                  <a:cubicBezTo>
                    <a:pt x="42222" y="62857"/>
                    <a:pt x="35555" y="68571"/>
                    <a:pt x="35555" y="70000"/>
                  </a:cubicBezTo>
                  <a:cubicBezTo>
                    <a:pt x="33333" y="71428"/>
                    <a:pt x="31111" y="71428"/>
                    <a:pt x="28888" y="72857"/>
                  </a:cubicBezTo>
                  <a:cubicBezTo>
                    <a:pt x="26666" y="74285"/>
                    <a:pt x="24444" y="75714"/>
                    <a:pt x="22222" y="77142"/>
                  </a:cubicBezTo>
                  <a:cubicBezTo>
                    <a:pt x="20000" y="77142"/>
                    <a:pt x="8888" y="82857"/>
                    <a:pt x="8888" y="81428"/>
                  </a:cubicBezTo>
                  <a:cubicBezTo>
                    <a:pt x="8888" y="84285"/>
                    <a:pt x="4444" y="85714"/>
                    <a:pt x="4444" y="88571"/>
                  </a:cubicBezTo>
                  <a:cubicBezTo>
                    <a:pt x="6666" y="91428"/>
                    <a:pt x="4444" y="95714"/>
                    <a:pt x="8888" y="95714"/>
                  </a:cubicBezTo>
                  <a:cubicBezTo>
                    <a:pt x="11111" y="95714"/>
                    <a:pt x="8888" y="102857"/>
                    <a:pt x="8888" y="104285"/>
                  </a:cubicBezTo>
                  <a:cubicBezTo>
                    <a:pt x="8888" y="107142"/>
                    <a:pt x="4444" y="110000"/>
                    <a:pt x="8888" y="111428"/>
                  </a:cubicBezTo>
                  <a:cubicBezTo>
                    <a:pt x="8888" y="111428"/>
                    <a:pt x="17777" y="112857"/>
                    <a:pt x="15555" y="114285"/>
                  </a:cubicBezTo>
                  <a:cubicBezTo>
                    <a:pt x="15555" y="114285"/>
                    <a:pt x="11111" y="115714"/>
                    <a:pt x="11111" y="115714"/>
                  </a:cubicBezTo>
                  <a:cubicBezTo>
                    <a:pt x="15555" y="115714"/>
                    <a:pt x="15555" y="112857"/>
                    <a:pt x="17777" y="112857"/>
                  </a:cubicBezTo>
                  <a:cubicBezTo>
                    <a:pt x="22222" y="111428"/>
                    <a:pt x="17777" y="118571"/>
                    <a:pt x="17777" y="118571"/>
                  </a:cubicBezTo>
                  <a:cubicBezTo>
                    <a:pt x="17777" y="118571"/>
                    <a:pt x="24444" y="114285"/>
                    <a:pt x="24444" y="114285"/>
                  </a:cubicBezTo>
                  <a:cubicBezTo>
                    <a:pt x="26666" y="112857"/>
                    <a:pt x="24444" y="118571"/>
                    <a:pt x="24444" y="118571"/>
                  </a:cubicBezTo>
                  <a:cubicBezTo>
                    <a:pt x="31111" y="120000"/>
                    <a:pt x="44444" y="115714"/>
                    <a:pt x="51111" y="114285"/>
                  </a:cubicBezTo>
                  <a:cubicBezTo>
                    <a:pt x="60000" y="112857"/>
                    <a:pt x="68888" y="112857"/>
                    <a:pt x="80000" y="111428"/>
                  </a:cubicBezTo>
                  <a:cubicBezTo>
                    <a:pt x="86666" y="105714"/>
                    <a:pt x="95555" y="101428"/>
                    <a:pt x="102222" y="97142"/>
                  </a:cubicBezTo>
                  <a:cubicBezTo>
                    <a:pt x="106666" y="94285"/>
                    <a:pt x="120000" y="88571"/>
                    <a:pt x="117777" y="84285"/>
                  </a:cubicBezTo>
                  <a:cubicBezTo>
                    <a:pt x="115555" y="81428"/>
                    <a:pt x="120000" y="88571"/>
                    <a:pt x="117777" y="84285"/>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22" name="Shape 2596">
              <a:extLst>
                <a:ext uri="{FF2B5EF4-FFF2-40B4-BE49-F238E27FC236}">
                  <a16:creationId xmlns:a16="http://schemas.microsoft.com/office/drawing/2014/main" id="{64D14877-9BAB-964F-8473-616FB61CF1EF}"/>
                </a:ext>
              </a:extLst>
            </p:cNvPr>
            <p:cNvSpPr/>
            <p:nvPr/>
          </p:nvSpPr>
          <p:spPr>
            <a:xfrm>
              <a:off x="11929472" y="4965125"/>
              <a:ext cx="1194267" cy="1000261"/>
            </a:xfrm>
            <a:custGeom>
              <a:avLst/>
              <a:gdLst/>
              <a:ahLst/>
              <a:cxnLst/>
              <a:rect l="0" t="0" r="0" b="0"/>
              <a:pathLst>
                <a:path w="120000" h="120000" extrusionOk="0">
                  <a:moveTo>
                    <a:pt x="31875" y="113271"/>
                  </a:moveTo>
                  <a:cubicBezTo>
                    <a:pt x="31875" y="113271"/>
                    <a:pt x="32812" y="109906"/>
                    <a:pt x="32812" y="108785"/>
                  </a:cubicBezTo>
                  <a:cubicBezTo>
                    <a:pt x="32812" y="106542"/>
                    <a:pt x="33750" y="105420"/>
                    <a:pt x="35625" y="104299"/>
                  </a:cubicBezTo>
                  <a:cubicBezTo>
                    <a:pt x="37500" y="102056"/>
                    <a:pt x="35625" y="98691"/>
                    <a:pt x="35625" y="97570"/>
                  </a:cubicBezTo>
                  <a:cubicBezTo>
                    <a:pt x="35625" y="94205"/>
                    <a:pt x="39375" y="94205"/>
                    <a:pt x="36562" y="91962"/>
                  </a:cubicBezTo>
                  <a:cubicBezTo>
                    <a:pt x="34687" y="89719"/>
                    <a:pt x="33750" y="89719"/>
                    <a:pt x="34687" y="86355"/>
                  </a:cubicBezTo>
                  <a:cubicBezTo>
                    <a:pt x="35625" y="84112"/>
                    <a:pt x="34687" y="81869"/>
                    <a:pt x="34687" y="79626"/>
                  </a:cubicBezTo>
                  <a:cubicBezTo>
                    <a:pt x="33750" y="76261"/>
                    <a:pt x="32812" y="72897"/>
                    <a:pt x="35625" y="70654"/>
                  </a:cubicBezTo>
                  <a:cubicBezTo>
                    <a:pt x="36562" y="69532"/>
                    <a:pt x="38437" y="69532"/>
                    <a:pt x="39375" y="68411"/>
                  </a:cubicBezTo>
                  <a:cubicBezTo>
                    <a:pt x="40312" y="68411"/>
                    <a:pt x="41250" y="69532"/>
                    <a:pt x="42187" y="68411"/>
                  </a:cubicBezTo>
                  <a:cubicBezTo>
                    <a:pt x="43125" y="66168"/>
                    <a:pt x="42187" y="65046"/>
                    <a:pt x="41250" y="63925"/>
                  </a:cubicBezTo>
                  <a:cubicBezTo>
                    <a:pt x="41250" y="61682"/>
                    <a:pt x="43125" y="60560"/>
                    <a:pt x="44062" y="58317"/>
                  </a:cubicBezTo>
                  <a:cubicBezTo>
                    <a:pt x="44062" y="57196"/>
                    <a:pt x="45000" y="53831"/>
                    <a:pt x="45000" y="51588"/>
                  </a:cubicBezTo>
                  <a:cubicBezTo>
                    <a:pt x="45000" y="49345"/>
                    <a:pt x="48750" y="49345"/>
                    <a:pt x="47812" y="48224"/>
                  </a:cubicBezTo>
                  <a:cubicBezTo>
                    <a:pt x="47812" y="45981"/>
                    <a:pt x="49687" y="44859"/>
                    <a:pt x="50625" y="42616"/>
                  </a:cubicBezTo>
                  <a:cubicBezTo>
                    <a:pt x="52500" y="40373"/>
                    <a:pt x="52500" y="41495"/>
                    <a:pt x="52500" y="38130"/>
                  </a:cubicBezTo>
                  <a:cubicBezTo>
                    <a:pt x="51562" y="37009"/>
                    <a:pt x="55312" y="31401"/>
                    <a:pt x="56250" y="31401"/>
                  </a:cubicBezTo>
                  <a:cubicBezTo>
                    <a:pt x="57187" y="30280"/>
                    <a:pt x="60000" y="31401"/>
                    <a:pt x="60937" y="31401"/>
                  </a:cubicBezTo>
                  <a:cubicBezTo>
                    <a:pt x="60937" y="29158"/>
                    <a:pt x="60937" y="28037"/>
                    <a:pt x="60937" y="25794"/>
                  </a:cubicBezTo>
                  <a:cubicBezTo>
                    <a:pt x="63750" y="26915"/>
                    <a:pt x="65625" y="26915"/>
                    <a:pt x="67500" y="28037"/>
                  </a:cubicBezTo>
                  <a:cubicBezTo>
                    <a:pt x="71250" y="28037"/>
                    <a:pt x="69375" y="23551"/>
                    <a:pt x="70312" y="21308"/>
                  </a:cubicBezTo>
                  <a:cubicBezTo>
                    <a:pt x="70312" y="21308"/>
                    <a:pt x="72187" y="21308"/>
                    <a:pt x="73125" y="21308"/>
                  </a:cubicBezTo>
                  <a:cubicBezTo>
                    <a:pt x="74062" y="20186"/>
                    <a:pt x="75937" y="17943"/>
                    <a:pt x="76875" y="20186"/>
                  </a:cubicBezTo>
                  <a:cubicBezTo>
                    <a:pt x="78750" y="21308"/>
                    <a:pt x="78750" y="23551"/>
                    <a:pt x="80625" y="24672"/>
                  </a:cubicBezTo>
                  <a:cubicBezTo>
                    <a:pt x="81562" y="24672"/>
                    <a:pt x="83437" y="24672"/>
                    <a:pt x="84375" y="24672"/>
                  </a:cubicBezTo>
                  <a:cubicBezTo>
                    <a:pt x="85312" y="24672"/>
                    <a:pt x="86250" y="23551"/>
                    <a:pt x="88125" y="23551"/>
                  </a:cubicBezTo>
                  <a:cubicBezTo>
                    <a:pt x="89062" y="23551"/>
                    <a:pt x="90000" y="25794"/>
                    <a:pt x="91875" y="25794"/>
                  </a:cubicBezTo>
                  <a:cubicBezTo>
                    <a:pt x="91875" y="24672"/>
                    <a:pt x="95625" y="22429"/>
                    <a:pt x="95625" y="22429"/>
                  </a:cubicBezTo>
                  <a:cubicBezTo>
                    <a:pt x="95625" y="19065"/>
                    <a:pt x="95625" y="17943"/>
                    <a:pt x="96562" y="15700"/>
                  </a:cubicBezTo>
                  <a:cubicBezTo>
                    <a:pt x="97500" y="14579"/>
                    <a:pt x="99375" y="12336"/>
                    <a:pt x="100312" y="12336"/>
                  </a:cubicBezTo>
                  <a:cubicBezTo>
                    <a:pt x="101250" y="12336"/>
                    <a:pt x="102187" y="12336"/>
                    <a:pt x="103125" y="12336"/>
                  </a:cubicBezTo>
                  <a:cubicBezTo>
                    <a:pt x="104062" y="12336"/>
                    <a:pt x="104062" y="11214"/>
                    <a:pt x="105000" y="11214"/>
                  </a:cubicBezTo>
                  <a:cubicBezTo>
                    <a:pt x="105937" y="11214"/>
                    <a:pt x="107812" y="13457"/>
                    <a:pt x="108750" y="13457"/>
                  </a:cubicBezTo>
                  <a:cubicBezTo>
                    <a:pt x="110625" y="14579"/>
                    <a:pt x="111562" y="15700"/>
                    <a:pt x="111562" y="19065"/>
                  </a:cubicBezTo>
                  <a:cubicBezTo>
                    <a:pt x="113437" y="19065"/>
                    <a:pt x="118125" y="15700"/>
                    <a:pt x="116250" y="13457"/>
                  </a:cubicBezTo>
                  <a:cubicBezTo>
                    <a:pt x="118125" y="14579"/>
                    <a:pt x="113437" y="14579"/>
                    <a:pt x="112500" y="14579"/>
                  </a:cubicBezTo>
                  <a:cubicBezTo>
                    <a:pt x="117187" y="13457"/>
                    <a:pt x="110625" y="10093"/>
                    <a:pt x="109687" y="11214"/>
                  </a:cubicBezTo>
                  <a:cubicBezTo>
                    <a:pt x="110625" y="10093"/>
                    <a:pt x="111562" y="11214"/>
                    <a:pt x="111562" y="11214"/>
                  </a:cubicBezTo>
                  <a:cubicBezTo>
                    <a:pt x="113437" y="11214"/>
                    <a:pt x="115312" y="11214"/>
                    <a:pt x="116250" y="10093"/>
                  </a:cubicBezTo>
                  <a:cubicBezTo>
                    <a:pt x="117187" y="10093"/>
                    <a:pt x="120000" y="7850"/>
                    <a:pt x="119062" y="6728"/>
                  </a:cubicBezTo>
                  <a:cubicBezTo>
                    <a:pt x="117187" y="5607"/>
                    <a:pt x="114375" y="4485"/>
                    <a:pt x="111562" y="3364"/>
                  </a:cubicBezTo>
                  <a:cubicBezTo>
                    <a:pt x="110625" y="2242"/>
                    <a:pt x="109687" y="4485"/>
                    <a:pt x="108750" y="5607"/>
                  </a:cubicBezTo>
                  <a:cubicBezTo>
                    <a:pt x="108750" y="5607"/>
                    <a:pt x="106875" y="8971"/>
                    <a:pt x="106875" y="7850"/>
                  </a:cubicBezTo>
                  <a:cubicBezTo>
                    <a:pt x="106875" y="7850"/>
                    <a:pt x="106875" y="6728"/>
                    <a:pt x="106875" y="5607"/>
                  </a:cubicBezTo>
                  <a:cubicBezTo>
                    <a:pt x="106875" y="5607"/>
                    <a:pt x="105000" y="5607"/>
                    <a:pt x="105000" y="5607"/>
                  </a:cubicBezTo>
                  <a:cubicBezTo>
                    <a:pt x="105937" y="4485"/>
                    <a:pt x="107812" y="5607"/>
                    <a:pt x="107812" y="4485"/>
                  </a:cubicBezTo>
                  <a:cubicBezTo>
                    <a:pt x="107812" y="4485"/>
                    <a:pt x="105000" y="4485"/>
                    <a:pt x="105000" y="4485"/>
                  </a:cubicBezTo>
                  <a:cubicBezTo>
                    <a:pt x="105000" y="3364"/>
                    <a:pt x="108750" y="3364"/>
                    <a:pt x="108750" y="2242"/>
                  </a:cubicBezTo>
                  <a:cubicBezTo>
                    <a:pt x="107812" y="1121"/>
                    <a:pt x="102187" y="0"/>
                    <a:pt x="103125" y="2242"/>
                  </a:cubicBezTo>
                  <a:cubicBezTo>
                    <a:pt x="104062" y="3364"/>
                    <a:pt x="104062" y="3364"/>
                    <a:pt x="103125" y="4485"/>
                  </a:cubicBezTo>
                  <a:cubicBezTo>
                    <a:pt x="102187" y="5607"/>
                    <a:pt x="100312" y="7850"/>
                    <a:pt x="99375" y="7850"/>
                  </a:cubicBezTo>
                  <a:cubicBezTo>
                    <a:pt x="98437" y="7850"/>
                    <a:pt x="99375" y="3364"/>
                    <a:pt x="99375" y="3364"/>
                  </a:cubicBezTo>
                  <a:cubicBezTo>
                    <a:pt x="99375" y="2242"/>
                    <a:pt x="94687" y="10093"/>
                    <a:pt x="93750" y="10093"/>
                  </a:cubicBezTo>
                  <a:cubicBezTo>
                    <a:pt x="90937" y="10093"/>
                    <a:pt x="93750" y="5607"/>
                    <a:pt x="94687" y="4485"/>
                  </a:cubicBezTo>
                  <a:cubicBezTo>
                    <a:pt x="95625" y="4485"/>
                    <a:pt x="96562" y="2242"/>
                    <a:pt x="96562" y="2242"/>
                  </a:cubicBezTo>
                  <a:cubicBezTo>
                    <a:pt x="95625" y="1121"/>
                    <a:pt x="93750" y="0"/>
                    <a:pt x="93750" y="1121"/>
                  </a:cubicBezTo>
                  <a:cubicBezTo>
                    <a:pt x="93750" y="1121"/>
                    <a:pt x="94687" y="2242"/>
                    <a:pt x="94687" y="2242"/>
                  </a:cubicBezTo>
                  <a:cubicBezTo>
                    <a:pt x="94687" y="2242"/>
                    <a:pt x="92812" y="2242"/>
                    <a:pt x="91875" y="2242"/>
                  </a:cubicBezTo>
                  <a:cubicBezTo>
                    <a:pt x="90937" y="3364"/>
                    <a:pt x="91875" y="2242"/>
                    <a:pt x="90937" y="1121"/>
                  </a:cubicBezTo>
                  <a:cubicBezTo>
                    <a:pt x="90937" y="1121"/>
                    <a:pt x="89062" y="3364"/>
                    <a:pt x="89062" y="3364"/>
                  </a:cubicBezTo>
                  <a:cubicBezTo>
                    <a:pt x="89062" y="4485"/>
                    <a:pt x="90937" y="5607"/>
                    <a:pt x="90000" y="5607"/>
                  </a:cubicBezTo>
                  <a:cubicBezTo>
                    <a:pt x="89062" y="5607"/>
                    <a:pt x="89062" y="5607"/>
                    <a:pt x="89062" y="5607"/>
                  </a:cubicBezTo>
                  <a:cubicBezTo>
                    <a:pt x="88125" y="5607"/>
                    <a:pt x="88125" y="6728"/>
                    <a:pt x="88125" y="7850"/>
                  </a:cubicBezTo>
                  <a:cubicBezTo>
                    <a:pt x="89062" y="5607"/>
                    <a:pt x="85312" y="6728"/>
                    <a:pt x="85312" y="6728"/>
                  </a:cubicBezTo>
                  <a:cubicBezTo>
                    <a:pt x="85312" y="6728"/>
                    <a:pt x="87187" y="5607"/>
                    <a:pt x="87187" y="4485"/>
                  </a:cubicBezTo>
                  <a:cubicBezTo>
                    <a:pt x="87187" y="5607"/>
                    <a:pt x="83437" y="6728"/>
                    <a:pt x="82500" y="6728"/>
                  </a:cubicBezTo>
                  <a:cubicBezTo>
                    <a:pt x="81562" y="6728"/>
                    <a:pt x="85312" y="10093"/>
                    <a:pt x="85312" y="10093"/>
                  </a:cubicBezTo>
                  <a:cubicBezTo>
                    <a:pt x="85312" y="10093"/>
                    <a:pt x="84375" y="12336"/>
                    <a:pt x="84375" y="12336"/>
                  </a:cubicBezTo>
                  <a:cubicBezTo>
                    <a:pt x="84375" y="12336"/>
                    <a:pt x="81562" y="8971"/>
                    <a:pt x="81562" y="8971"/>
                  </a:cubicBezTo>
                  <a:cubicBezTo>
                    <a:pt x="81562" y="8971"/>
                    <a:pt x="79687" y="12336"/>
                    <a:pt x="79687" y="8971"/>
                  </a:cubicBezTo>
                  <a:cubicBezTo>
                    <a:pt x="78750" y="7850"/>
                    <a:pt x="75937" y="10093"/>
                    <a:pt x="75000" y="8971"/>
                  </a:cubicBezTo>
                  <a:cubicBezTo>
                    <a:pt x="75937" y="10093"/>
                    <a:pt x="78750" y="10093"/>
                    <a:pt x="78750" y="11214"/>
                  </a:cubicBezTo>
                  <a:cubicBezTo>
                    <a:pt x="78750" y="11214"/>
                    <a:pt x="77812" y="11214"/>
                    <a:pt x="77812" y="12336"/>
                  </a:cubicBezTo>
                  <a:cubicBezTo>
                    <a:pt x="77812" y="13457"/>
                    <a:pt x="78750" y="13457"/>
                    <a:pt x="78750" y="14579"/>
                  </a:cubicBezTo>
                  <a:cubicBezTo>
                    <a:pt x="78750" y="14579"/>
                    <a:pt x="75937" y="13457"/>
                    <a:pt x="75937" y="12336"/>
                  </a:cubicBezTo>
                  <a:cubicBezTo>
                    <a:pt x="75000" y="12336"/>
                    <a:pt x="75000" y="13457"/>
                    <a:pt x="75000" y="14579"/>
                  </a:cubicBezTo>
                  <a:cubicBezTo>
                    <a:pt x="74062" y="14579"/>
                    <a:pt x="74062" y="13457"/>
                    <a:pt x="74062" y="12336"/>
                  </a:cubicBezTo>
                  <a:cubicBezTo>
                    <a:pt x="74062" y="12336"/>
                    <a:pt x="72187" y="14579"/>
                    <a:pt x="72187" y="14579"/>
                  </a:cubicBezTo>
                  <a:cubicBezTo>
                    <a:pt x="71250" y="15700"/>
                    <a:pt x="73125" y="15700"/>
                    <a:pt x="73125" y="16822"/>
                  </a:cubicBezTo>
                  <a:cubicBezTo>
                    <a:pt x="73125" y="16822"/>
                    <a:pt x="71250" y="16822"/>
                    <a:pt x="71250" y="16822"/>
                  </a:cubicBezTo>
                  <a:cubicBezTo>
                    <a:pt x="70312" y="15700"/>
                    <a:pt x="71250" y="14579"/>
                    <a:pt x="71250" y="13457"/>
                  </a:cubicBezTo>
                  <a:cubicBezTo>
                    <a:pt x="71250" y="13457"/>
                    <a:pt x="68437" y="15700"/>
                    <a:pt x="68437" y="15700"/>
                  </a:cubicBezTo>
                  <a:cubicBezTo>
                    <a:pt x="68437" y="15700"/>
                    <a:pt x="68437" y="15700"/>
                    <a:pt x="69375" y="15700"/>
                  </a:cubicBezTo>
                  <a:cubicBezTo>
                    <a:pt x="68437" y="15700"/>
                    <a:pt x="67500" y="17943"/>
                    <a:pt x="67500" y="17943"/>
                  </a:cubicBezTo>
                  <a:cubicBezTo>
                    <a:pt x="66562" y="16822"/>
                    <a:pt x="68437" y="15700"/>
                    <a:pt x="67500" y="15700"/>
                  </a:cubicBezTo>
                  <a:cubicBezTo>
                    <a:pt x="66562" y="14579"/>
                    <a:pt x="65625" y="14579"/>
                    <a:pt x="65625" y="13457"/>
                  </a:cubicBezTo>
                  <a:cubicBezTo>
                    <a:pt x="65625" y="13457"/>
                    <a:pt x="67500" y="13457"/>
                    <a:pt x="67500" y="13457"/>
                  </a:cubicBezTo>
                  <a:cubicBezTo>
                    <a:pt x="67500" y="12336"/>
                    <a:pt x="64687" y="11214"/>
                    <a:pt x="63750" y="11214"/>
                  </a:cubicBezTo>
                  <a:cubicBezTo>
                    <a:pt x="63750" y="12336"/>
                    <a:pt x="64687" y="14579"/>
                    <a:pt x="64687" y="14579"/>
                  </a:cubicBezTo>
                  <a:cubicBezTo>
                    <a:pt x="64687" y="14579"/>
                    <a:pt x="60937" y="15700"/>
                    <a:pt x="61875" y="15700"/>
                  </a:cubicBezTo>
                  <a:cubicBezTo>
                    <a:pt x="61875" y="15700"/>
                    <a:pt x="63750" y="15700"/>
                    <a:pt x="63750" y="15700"/>
                  </a:cubicBezTo>
                  <a:cubicBezTo>
                    <a:pt x="63750" y="15700"/>
                    <a:pt x="62812" y="15700"/>
                    <a:pt x="62812" y="15700"/>
                  </a:cubicBezTo>
                  <a:cubicBezTo>
                    <a:pt x="63750" y="17943"/>
                    <a:pt x="65625" y="15700"/>
                    <a:pt x="64687" y="15700"/>
                  </a:cubicBezTo>
                  <a:cubicBezTo>
                    <a:pt x="65625" y="16822"/>
                    <a:pt x="64687" y="17943"/>
                    <a:pt x="64687" y="17943"/>
                  </a:cubicBezTo>
                  <a:cubicBezTo>
                    <a:pt x="64687" y="19065"/>
                    <a:pt x="62812" y="16822"/>
                    <a:pt x="62812" y="16822"/>
                  </a:cubicBezTo>
                  <a:cubicBezTo>
                    <a:pt x="61875" y="16822"/>
                    <a:pt x="61875" y="15700"/>
                    <a:pt x="60937" y="15700"/>
                  </a:cubicBezTo>
                  <a:cubicBezTo>
                    <a:pt x="60937" y="15700"/>
                    <a:pt x="60000" y="17943"/>
                    <a:pt x="59062" y="16822"/>
                  </a:cubicBezTo>
                  <a:cubicBezTo>
                    <a:pt x="59062" y="15700"/>
                    <a:pt x="56250" y="17943"/>
                    <a:pt x="56250" y="17943"/>
                  </a:cubicBezTo>
                  <a:cubicBezTo>
                    <a:pt x="56250" y="17943"/>
                    <a:pt x="56250" y="21308"/>
                    <a:pt x="56250" y="21308"/>
                  </a:cubicBezTo>
                  <a:cubicBezTo>
                    <a:pt x="56250" y="22429"/>
                    <a:pt x="57187" y="19065"/>
                    <a:pt x="58125" y="20186"/>
                  </a:cubicBezTo>
                  <a:cubicBezTo>
                    <a:pt x="58125" y="20186"/>
                    <a:pt x="60000" y="21308"/>
                    <a:pt x="60000" y="20186"/>
                  </a:cubicBezTo>
                  <a:cubicBezTo>
                    <a:pt x="60000" y="21308"/>
                    <a:pt x="59062" y="21308"/>
                    <a:pt x="59062" y="22429"/>
                  </a:cubicBezTo>
                  <a:cubicBezTo>
                    <a:pt x="58125" y="22429"/>
                    <a:pt x="59062" y="24672"/>
                    <a:pt x="58125" y="24672"/>
                  </a:cubicBezTo>
                  <a:cubicBezTo>
                    <a:pt x="58125" y="25794"/>
                    <a:pt x="57187" y="23551"/>
                    <a:pt x="57187" y="23551"/>
                  </a:cubicBezTo>
                  <a:cubicBezTo>
                    <a:pt x="56250" y="23551"/>
                    <a:pt x="56250" y="25794"/>
                    <a:pt x="55312" y="25794"/>
                  </a:cubicBezTo>
                  <a:cubicBezTo>
                    <a:pt x="55312" y="25794"/>
                    <a:pt x="55312" y="23551"/>
                    <a:pt x="55312" y="23551"/>
                  </a:cubicBezTo>
                  <a:cubicBezTo>
                    <a:pt x="54375" y="23551"/>
                    <a:pt x="54375" y="24672"/>
                    <a:pt x="53437" y="24672"/>
                  </a:cubicBezTo>
                  <a:cubicBezTo>
                    <a:pt x="53437" y="24672"/>
                    <a:pt x="53437" y="22429"/>
                    <a:pt x="53437" y="22429"/>
                  </a:cubicBezTo>
                  <a:cubicBezTo>
                    <a:pt x="53437" y="21308"/>
                    <a:pt x="52500" y="24672"/>
                    <a:pt x="51562" y="24672"/>
                  </a:cubicBezTo>
                  <a:cubicBezTo>
                    <a:pt x="49687" y="25794"/>
                    <a:pt x="52500" y="19065"/>
                    <a:pt x="52500" y="19065"/>
                  </a:cubicBezTo>
                  <a:cubicBezTo>
                    <a:pt x="51562" y="19065"/>
                    <a:pt x="49687" y="20186"/>
                    <a:pt x="49687" y="20186"/>
                  </a:cubicBezTo>
                  <a:cubicBezTo>
                    <a:pt x="48750" y="21308"/>
                    <a:pt x="50625" y="22429"/>
                    <a:pt x="50625" y="22429"/>
                  </a:cubicBezTo>
                  <a:cubicBezTo>
                    <a:pt x="49687" y="22429"/>
                    <a:pt x="49687" y="22429"/>
                    <a:pt x="48750" y="22429"/>
                  </a:cubicBezTo>
                  <a:cubicBezTo>
                    <a:pt x="48750" y="22429"/>
                    <a:pt x="48750" y="23551"/>
                    <a:pt x="47812" y="24672"/>
                  </a:cubicBezTo>
                  <a:cubicBezTo>
                    <a:pt x="48750" y="23551"/>
                    <a:pt x="44062" y="23551"/>
                    <a:pt x="45937" y="24672"/>
                  </a:cubicBezTo>
                  <a:cubicBezTo>
                    <a:pt x="45937" y="25794"/>
                    <a:pt x="47812" y="24672"/>
                    <a:pt x="47812" y="24672"/>
                  </a:cubicBezTo>
                  <a:cubicBezTo>
                    <a:pt x="47812" y="24672"/>
                    <a:pt x="46875" y="25794"/>
                    <a:pt x="47812" y="25794"/>
                  </a:cubicBezTo>
                  <a:cubicBezTo>
                    <a:pt x="47812" y="25794"/>
                    <a:pt x="48750" y="25794"/>
                    <a:pt x="48750" y="24672"/>
                  </a:cubicBezTo>
                  <a:cubicBezTo>
                    <a:pt x="48750" y="24672"/>
                    <a:pt x="48750" y="26915"/>
                    <a:pt x="47812" y="26915"/>
                  </a:cubicBezTo>
                  <a:cubicBezTo>
                    <a:pt x="46875" y="26915"/>
                    <a:pt x="46875" y="25794"/>
                    <a:pt x="45937" y="25794"/>
                  </a:cubicBezTo>
                  <a:cubicBezTo>
                    <a:pt x="45000" y="26915"/>
                    <a:pt x="45000" y="29158"/>
                    <a:pt x="44062" y="29158"/>
                  </a:cubicBezTo>
                  <a:cubicBezTo>
                    <a:pt x="44062" y="29158"/>
                    <a:pt x="41250" y="29158"/>
                    <a:pt x="41250" y="29158"/>
                  </a:cubicBezTo>
                  <a:cubicBezTo>
                    <a:pt x="41250" y="32523"/>
                    <a:pt x="47812" y="28037"/>
                    <a:pt x="47812" y="28037"/>
                  </a:cubicBezTo>
                  <a:cubicBezTo>
                    <a:pt x="48750" y="28037"/>
                    <a:pt x="49687" y="26915"/>
                    <a:pt x="50625" y="28037"/>
                  </a:cubicBezTo>
                  <a:cubicBezTo>
                    <a:pt x="52500" y="28037"/>
                    <a:pt x="51562" y="25794"/>
                    <a:pt x="50625" y="25794"/>
                  </a:cubicBezTo>
                  <a:cubicBezTo>
                    <a:pt x="51562" y="25794"/>
                    <a:pt x="51562" y="25794"/>
                    <a:pt x="51562" y="25794"/>
                  </a:cubicBezTo>
                  <a:cubicBezTo>
                    <a:pt x="52500" y="28037"/>
                    <a:pt x="53437" y="25794"/>
                    <a:pt x="54375" y="25794"/>
                  </a:cubicBezTo>
                  <a:cubicBezTo>
                    <a:pt x="53437" y="25794"/>
                    <a:pt x="53437" y="28037"/>
                    <a:pt x="52500" y="28037"/>
                  </a:cubicBezTo>
                  <a:cubicBezTo>
                    <a:pt x="53437" y="28037"/>
                    <a:pt x="54375" y="28037"/>
                    <a:pt x="54375" y="28037"/>
                  </a:cubicBezTo>
                  <a:cubicBezTo>
                    <a:pt x="54375" y="28037"/>
                    <a:pt x="52500" y="29158"/>
                    <a:pt x="52500" y="30280"/>
                  </a:cubicBezTo>
                  <a:cubicBezTo>
                    <a:pt x="52500" y="30280"/>
                    <a:pt x="57187" y="28037"/>
                    <a:pt x="57187" y="29158"/>
                  </a:cubicBezTo>
                  <a:cubicBezTo>
                    <a:pt x="56250" y="30280"/>
                    <a:pt x="53437" y="29158"/>
                    <a:pt x="53437" y="31401"/>
                  </a:cubicBezTo>
                  <a:cubicBezTo>
                    <a:pt x="52500" y="34766"/>
                    <a:pt x="50625" y="30280"/>
                    <a:pt x="50625" y="30280"/>
                  </a:cubicBezTo>
                  <a:cubicBezTo>
                    <a:pt x="50625" y="29158"/>
                    <a:pt x="50625" y="32523"/>
                    <a:pt x="50625" y="32523"/>
                  </a:cubicBezTo>
                  <a:cubicBezTo>
                    <a:pt x="50625" y="32523"/>
                    <a:pt x="49687" y="30280"/>
                    <a:pt x="48750" y="30280"/>
                  </a:cubicBezTo>
                  <a:cubicBezTo>
                    <a:pt x="47812" y="31401"/>
                    <a:pt x="45937" y="33644"/>
                    <a:pt x="45937" y="34766"/>
                  </a:cubicBezTo>
                  <a:cubicBezTo>
                    <a:pt x="45937" y="34766"/>
                    <a:pt x="47812" y="33644"/>
                    <a:pt x="47812" y="33644"/>
                  </a:cubicBezTo>
                  <a:cubicBezTo>
                    <a:pt x="47812" y="34766"/>
                    <a:pt x="49687" y="33644"/>
                    <a:pt x="49687" y="34766"/>
                  </a:cubicBezTo>
                  <a:cubicBezTo>
                    <a:pt x="49687" y="33644"/>
                    <a:pt x="46875" y="34766"/>
                    <a:pt x="46875" y="35887"/>
                  </a:cubicBezTo>
                  <a:cubicBezTo>
                    <a:pt x="47812" y="37009"/>
                    <a:pt x="50625" y="34766"/>
                    <a:pt x="49687" y="37009"/>
                  </a:cubicBezTo>
                  <a:cubicBezTo>
                    <a:pt x="50625" y="34766"/>
                    <a:pt x="44062" y="38130"/>
                    <a:pt x="44062" y="38130"/>
                  </a:cubicBezTo>
                  <a:cubicBezTo>
                    <a:pt x="44062" y="37009"/>
                    <a:pt x="49687" y="39252"/>
                    <a:pt x="48750" y="39252"/>
                  </a:cubicBezTo>
                  <a:cubicBezTo>
                    <a:pt x="47812" y="40373"/>
                    <a:pt x="46875" y="38130"/>
                    <a:pt x="45937" y="39252"/>
                  </a:cubicBezTo>
                  <a:cubicBezTo>
                    <a:pt x="45937" y="39252"/>
                    <a:pt x="45937" y="39252"/>
                    <a:pt x="45937" y="39252"/>
                  </a:cubicBezTo>
                  <a:cubicBezTo>
                    <a:pt x="45937" y="40373"/>
                    <a:pt x="43125" y="38130"/>
                    <a:pt x="42187" y="40373"/>
                  </a:cubicBezTo>
                  <a:cubicBezTo>
                    <a:pt x="42187" y="40373"/>
                    <a:pt x="45000" y="40373"/>
                    <a:pt x="45000" y="40373"/>
                  </a:cubicBezTo>
                  <a:cubicBezTo>
                    <a:pt x="43125" y="42616"/>
                    <a:pt x="41250" y="40373"/>
                    <a:pt x="42187" y="43738"/>
                  </a:cubicBezTo>
                  <a:cubicBezTo>
                    <a:pt x="42187" y="43738"/>
                    <a:pt x="40312" y="44859"/>
                    <a:pt x="40312" y="44859"/>
                  </a:cubicBezTo>
                  <a:cubicBezTo>
                    <a:pt x="39375" y="45981"/>
                    <a:pt x="39375" y="45981"/>
                    <a:pt x="39375" y="45981"/>
                  </a:cubicBezTo>
                  <a:cubicBezTo>
                    <a:pt x="39375" y="47102"/>
                    <a:pt x="38437" y="47102"/>
                    <a:pt x="38437" y="47102"/>
                  </a:cubicBezTo>
                  <a:cubicBezTo>
                    <a:pt x="38437" y="48224"/>
                    <a:pt x="39375" y="47102"/>
                    <a:pt x="39375" y="47102"/>
                  </a:cubicBezTo>
                  <a:cubicBezTo>
                    <a:pt x="40312" y="47102"/>
                    <a:pt x="39375" y="48224"/>
                    <a:pt x="39375" y="48224"/>
                  </a:cubicBezTo>
                  <a:cubicBezTo>
                    <a:pt x="40312" y="48224"/>
                    <a:pt x="42187" y="49345"/>
                    <a:pt x="43125" y="48224"/>
                  </a:cubicBezTo>
                  <a:cubicBezTo>
                    <a:pt x="41250" y="49345"/>
                    <a:pt x="41250" y="49345"/>
                    <a:pt x="39375" y="49345"/>
                  </a:cubicBezTo>
                  <a:cubicBezTo>
                    <a:pt x="38437" y="49345"/>
                    <a:pt x="35625" y="49345"/>
                    <a:pt x="35625" y="50467"/>
                  </a:cubicBezTo>
                  <a:cubicBezTo>
                    <a:pt x="35625" y="50467"/>
                    <a:pt x="36562" y="50467"/>
                    <a:pt x="36562" y="50467"/>
                  </a:cubicBezTo>
                  <a:cubicBezTo>
                    <a:pt x="36562" y="50467"/>
                    <a:pt x="35625" y="51588"/>
                    <a:pt x="35625" y="51588"/>
                  </a:cubicBezTo>
                  <a:cubicBezTo>
                    <a:pt x="35625" y="51588"/>
                    <a:pt x="37500" y="50467"/>
                    <a:pt x="37500" y="51588"/>
                  </a:cubicBezTo>
                  <a:cubicBezTo>
                    <a:pt x="37500" y="51588"/>
                    <a:pt x="35625" y="53831"/>
                    <a:pt x="35625" y="53831"/>
                  </a:cubicBezTo>
                  <a:cubicBezTo>
                    <a:pt x="35625" y="53831"/>
                    <a:pt x="36562" y="53831"/>
                    <a:pt x="36562" y="54953"/>
                  </a:cubicBezTo>
                  <a:cubicBezTo>
                    <a:pt x="36562" y="54953"/>
                    <a:pt x="34687" y="54953"/>
                    <a:pt x="34687" y="54953"/>
                  </a:cubicBezTo>
                  <a:cubicBezTo>
                    <a:pt x="34687" y="54953"/>
                    <a:pt x="36562" y="56074"/>
                    <a:pt x="36562" y="56074"/>
                  </a:cubicBezTo>
                  <a:cubicBezTo>
                    <a:pt x="35625" y="56074"/>
                    <a:pt x="34687" y="56074"/>
                    <a:pt x="34687" y="56074"/>
                  </a:cubicBezTo>
                  <a:cubicBezTo>
                    <a:pt x="34687" y="57196"/>
                    <a:pt x="35625" y="58317"/>
                    <a:pt x="36562" y="58317"/>
                  </a:cubicBezTo>
                  <a:cubicBezTo>
                    <a:pt x="34687" y="58317"/>
                    <a:pt x="32812" y="58317"/>
                    <a:pt x="31875" y="60560"/>
                  </a:cubicBezTo>
                  <a:cubicBezTo>
                    <a:pt x="31875" y="61682"/>
                    <a:pt x="28125" y="60560"/>
                    <a:pt x="28125" y="60560"/>
                  </a:cubicBezTo>
                  <a:cubicBezTo>
                    <a:pt x="28125" y="63925"/>
                    <a:pt x="33750" y="60560"/>
                    <a:pt x="34687" y="60560"/>
                  </a:cubicBezTo>
                  <a:cubicBezTo>
                    <a:pt x="33750" y="60560"/>
                    <a:pt x="32812" y="62803"/>
                    <a:pt x="32812" y="62803"/>
                  </a:cubicBezTo>
                  <a:cubicBezTo>
                    <a:pt x="30000" y="62803"/>
                    <a:pt x="31875" y="63925"/>
                    <a:pt x="30937" y="65046"/>
                  </a:cubicBezTo>
                  <a:cubicBezTo>
                    <a:pt x="30000" y="66168"/>
                    <a:pt x="28125" y="63925"/>
                    <a:pt x="27187" y="65046"/>
                  </a:cubicBezTo>
                  <a:cubicBezTo>
                    <a:pt x="27187" y="66168"/>
                    <a:pt x="24375" y="68411"/>
                    <a:pt x="24375" y="68411"/>
                  </a:cubicBezTo>
                  <a:cubicBezTo>
                    <a:pt x="24375" y="69532"/>
                    <a:pt x="25312" y="69532"/>
                    <a:pt x="25312" y="69532"/>
                  </a:cubicBezTo>
                  <a:cubicBezTo>
                    <a:pt x="25312" y="70654"/>
                    <a:pt x="22500" y="70654"/>
                    <a:pt x="22500" y="70654"/>
                  </a:cubicBezTo>
                  <a:cubicBezTo>
                    <a:pt x="22500" y="70654"/>
                    <a:pt x="23437" y="71775"/>
                    <a:pt x="23437" y="72897"/>
                  </a:cubicBezTo>
                  <a:cubicBezTo>
                    <a:pt x="23437" y="74018"/>
                    <a:pt x="25312" y="72897"/>
                    <a:pt x="26250" y="72897"/>
                  </a:cubicBezTo>
                  <a:cubicBezTo>
                    <a:pt x="27187" y="71775"/>
                    <a:pt x="28125" y="72897"/>
                    <a:pt x="29062" y="71775"/>
                  </a:cubicBezTo>
                  <a:cubicBezTo>
                    <a:pt x="29062" y="71775"/>
                    <a:pt x="28125" y="70654"/>
                    <a:pt x="28125" y="69532"/>
                  </a:cubicBezTo>
                  <a:cubicBezTo>
                    <a:pt x="28125" y="69532"/>
                    <a:pt x="30000" y="70654"/>
                    <a:pt x="30937" y="71775"/>
                  </a:cubicBezTo>
                  <a:cubicBezTo>
                    <a:pt x="30937" y="71775"/>
                    <a:pt x="28125" y="74018"/>
                    <a:pt x="28125" y="74018"/>
                  </a:cubicBezTo>
                  <a:cubicBezTo>
                    <a:pt x="27187" y="74018"/>
                    <a:pt x="26250" y="75140"/>
                    <a:pt x="26250" y="74018"/>
                  </a:cubicBezTo>
                  <a:cubicBezTo>
                    <a:pt x="25312" y="72897"/>
                    <a:pt x="24375" y="75140"/>
                    <a:pt x="23437" y="75140"/>
                  </a:cubicBezTo>
                  <a:cubicBezTo>
                    <a:pt x="22500" y="74018"/>
                    <a:pt x="22500" y="70654"/>
                    <a:pt x="21562" y="74018"/>
                  </a:cubicBezTo>
                  <a:cubicBezTo>
                    <a:pt x="19687" y="78504"/>
                    <a:pt x="18750" y="72897"/>
                    <a:pt x="19687" y="72897"/>
                  </a:cubicBezTo>
                  <a:cubicBezTo>
                    <a:pt x="17812" y="72897"/>
                    <a:pt x="19687" y="77383"/>
                    <a:pt x="17812" y="76261"/>
                  </a:cubicBezTo>
                  <a:cubicBezTo>
                    <a:pt x="14062" y="76261"/>
                    <a:pt x="16875" y="78504"/>
                    <a:pt x="15937" y="79626"/>
                  </a:cubicBezTo>
                  <a:cubicBezTo>
                    <a:pt x="15000" y="79626"/>
                    <a:pt x="15000" y="77383"/>
                    <a:pt x="15000" y="77383"/>
                  </a:cubicBezTo>
                  <a:cubicBezTo>
                    <a:pt x="13125" y="77383"/>
                    <a:pt x="11250" y="78504"/>
                    <a:pt x="10312" y="79626"/>
                  </a:cubicBezTo>
                  <a:cubicBezTo>
                    <a:pt x="10312" y="80747"/>
                    <a:pt x="14062" y="80747"/>
                    <a:pt x="15000" y="80747"/>
                  </a:cubicBezTo>
                  <a:cubicBezTo>
                    <a:pt x="15000" y="80747"/>
                    <a:pt x="17812" y="79626"/>
                    <a:pt x="17812" y="79626"/>
                  </a:cubicBezTo>
                  <a:cubicBezTo>
                    <a:pt x="18750" y="80747"/>
                    <a:pt x="14062" y="80747"/>
                    <a:pt x="14062" y="80747"/>
                  </a:cubicBezTo>
                  <a:cubicBezTo>
                    <a:pt x="13125" y="80747"/>
                    <a:pt x="13125" y="81869"/>
                    <a:pt x="12187" y="81869"/>
                  </a:cubicBezTo>
                  <a:cubicBezTo>
                    <a:pt x="11250" y="81869"/>
                    <a:pt x="10312" y="81869"/>
                    <a:pt x="9375" y="81869"/>
                  </a:cubicBezTo>
                  <a:cubicBezTo>
                    <a:pt x="7500" y="80747"/>
                    <a:pt x="6562" y="81869"/>
                    <a:pt x="8437" y="82990"/>
                  </a:cubicBezTo>
                  <a:cubicBezTo>
                    <a:pt x="9375" y="82990"/>
                    <a:pt x="11250" y="82990"/>
                    <a:pt x="11250" y="85233"/>
                  </a:cubicBezTo>
                  <a:cubicBezTo>
                    <a:pt x="11250" y="85233"/>
                    <a:pt x="10312" y="87476"/>
                    <a:pt x="10312" y="86355"/>
                  </a:cubicBezTo>
                  <a:cubicBezTo>
                    <a:pt x="9375" y="86355"/>
                    <a:pt x="11250" y="84112"/>
                    <a:pt x="9375" y="82990"/>
                  </a:cubicBezTo>
                  <a:cubicBezTo>
                    <a:pt x="6562" y="82990"/>
                    <a:pt x="8437" y="84112"/>
                    <a:pt x="7500" y="85233"/>
                  </a:cubicBezTo>
                  <a:cubicBezTo>
                    <a:pt x="7500" y="85233"/>
                    <a:pt x="7500" y="81869"/>
                    <a:pt x="6562" y="81869"/>
                  </a:cubicBezTo>
                  <a:cubicBezTo>
                    <a:pt x="6562" y="80747"/>
                    <a:pt x="4687" y="87476"/>
                    <a:pt x="5625" y="86355"/>
                  </a:cubicBezTo>
                  <a:cubicBezTo>
                    <a:pt x="4687" y="86355"/>
                    <a:pt x="4687" y="84112"/>
                    <a:pt x="4687" y="84112"/>
                  </a:cubicBezTo>
                  <a:cubicBezTo>
                    <a:pt x="3750" y="84112"/>
                    <a:pt x="3750" y="86355"/>
                    <a:pt x="3750" y="86355"/>
                  </a:cubicBezTo>
                  <a:cubicBezTo>
                    <a:pt x="2812" y="87476"/>
                    <a:pt x="937" y="86355"/>
                    <a:pt x="937" y="87476"/>
                  </a:cubicBezTo>
                  <a:cubicBezTo>
                    <a:pt x="937" y="88598"/>
                    <a:pt x="0" y="89719"/>
                    <a:pt x="937" y="89719"/>
                  </a:cubicBezTo>
                  <a:cubicBezTo>
                    <a:pt x="1875" y="89719"/>
                    <a:pt x="2812" y="89719"/>
                    <a:pt x="3750" y="90841"/>
                  </a:cubicBezTo>
                  <a:cubicBezTo>
                    <a:pt x="3750" y="90841"/>
                    <a:pt x="0" y="91962"/>
                    <a:pt x="937" y="93084"/>
                  </a:cubicBezTo>
                  <a:cubicBezTo>
                    <a:pt x="937" y="94205"/>
                    <a:pt x="2812" y="94205"/>
                    <a:pt x="2812" y="94205"/>
                  </a:cubicBezTo>
                  <a:cubicBezTo>
                    <a:pt x="2812" y="94205"/>
                    <a:pt x="5625" y="93084"/>
                    <a:pt x="5625" y="94205"/>
                  </a:cubicBezTo>
                  <a:cubicBezTo>
                    <a:pt x="4687" y="95327"/>
                    <a:pt x="1875" y="94205"/>
                    <a:pt x="937" y="96448"/>
                  </a:cubicBezTo>
                  <a:cubicBezTo>
                    <a:pt x="0" y="97570"/>
                    <a:pt x="5625" y="97570"/>
                    <a:pt x="3750" y="99813"/>
                  </a:cubicBezTo>
                  <a:cubicBezTo>
                    <a:pt x="3750" y="99813"/>
                    <a:pt x="2812" y="97570"/>
                    <a:pt x="1875" y="98691"/>
                  </a:cubicBezTo>
                  <a:cubicBezTo>
                    <a:pt x="937" y="99813"/>
                    <a:pt x="937" y="100934"/>
                    <a:pt x="1875" y="102056"/>
                  </a:cubicBezTo>
                  <a:cubicBezTo>
                    <a:pt x="2812" y="102056"/>
                    <a:pt x="4687" y="103177"/>
                    <a:pt x="5625" y="103177"/>
                  </a:cubicBezTo>
                  <a:cubicBezTo>
                    <a:pt x="6562" y="102056"/>
                    <a:pt x="7500" y="99813"/>
                    <a:pt x="8437" y="100934"/>
                  </a:cubicBezTo>
                  <a:cubicBezTo>
                    <a:pt x="7500" y="100934"/>
                    <a:pt x="6562" y="102056"/>
                    <a:pt x="6562" y="102056"/>
                  </a:cubicBezTo>
                  <a:cubicBezTo>
                    <a:pt x="6562" y="103177"/>
                    <a:pt x="5625" y="103177"/>
                    <a:pt x="4687" y="103177"/>
                  </a:cubicBezTo>
                  <a:cubicBezTo>
                    <a:pt x="4687" y="103177"/>
                    <a:pt x="6562" y="104299"/>
                    <a:pt x="6562" y="105420"/>
                  </a:cubicBezTo>
                  <a:cubicBezTo>
                    <a:pt x="6562" y="105420"/>
                    <a:pt x="3750" y="103177"/>
                    <a:pt x="4687" y="105420"/>
                  </a:cubicBezTo>
                  <a:cubicBezTo>
                    <a:pt x="4687" y="106542"/>
                    <a:pt x="7500" y="107663"/>
                    <a:pt x="7500" y="107663"/>
                  </a:cubicBezTo>
                  <a:cubicBezTo>
                    <a:pt x="7500" y="108785"/>
                    <a:pt x="4687" y="106542"/>
                    <a:pt x="3750" y="107663"/>
                  </a:cubicBezTo>
                  <a:cubicBezTo>
                    <a:pt x="1875" y="107663"/>
                    <a:pt x="3750" y="104299"/>
                    <a:pt x="2812" y="104299"/>
                  </a:cubicBezTo>
                  <a:cubicBezTo>
                    <a:pt x="2812" y="104299"/>
                    <a:pt x="937" y="106542"/>
                    <a:pt x="1875" y="107663"/>
                  </a:cubicBezTo>
                  <a:cubicBezTo>
                    <a:pt x="2812" y="107663"/>
                    <a:pt x="1875" y="109906"/>
                    <a:pt x="1875" y="109906"/>
                  </a:cubicBezTo>
                  <a:cubicBezTo>
                    <a:pt x="2812" y="111028"/>
                    <a:pt x="3750" y="108785"/>
                    <a:pt x="4687" y="107663"/>
                  </a:cubicBezTo>
                  <a:cubicBezTo>
                    <a:pt x="4687" y="107663"/>
                    <a:pt x="4687" y="108785"/>
                    <a:pt x="4687" y="108785"/>
                  </a:cubicBezTo>
                  <a:cubicBezTo>
                    <a:pt x="5625" y="108785"/>
                    <a:pt x="5625" y="107663"/>
                    <a:pt x="6562" y="107663"/>
                  </a:cubicBezTo>
                  <a:cubicBezTo>
                    <a:pt x="6562" y="107663"/>
                    <a:pt x="6562" y="109906"/>
                    <a:pt x="5625" y="109906"/>
                  </a:cubicBezTo>
                  <a:cubicBezTo>
                    <a:pt x="3750" y="111028"/>
                    <a:pt x="7500" y="113271"/>
                    <a:pt x="7500" y="112149"/>
                  </a:cubicBezTo>
                  <a:cubicBezTo>
                    <a:pt x="7500" y="114392"/>
                    <a:pt x="937" y="112149"/>
                    <a:pt x="4687" y="115514"/>
                  </a:cubicBezTo>
                  <a:cubicBezTo>
                    <a:pt x="6562" y="116635"/>
                    <a:pt x="7500" y="117757"/>
                    <a:pt x="9375" y="117757"/>
                  </a:cubicBezTo>
                  <a:cubicBezTo>
                    <a:pt x="9375" y="117757"/>
                    <a:pt x="12187" y="120000"/>
                    <a:pt x="13125" y="120000"/>
                  </a:cubicBezTo>
                  <a:cubicBezTo>
                    <a:pt x="15937" y="120000"/>
                    <a:pt x="19687" y="116635"/>
                    <a:pt x="21562" y="114392"/>
                  </a:cubicBezTo>
                  <a:cubicBezTo>
                    <a:pt x="22500" y="112149"/>
                    <a:pt x="23437" y="112149"/>
                    <a:pt x="25312" y="111028"/>
                  </a:cubicBezTo>
                  <a:cubicBezTo>
                    <a:pt x="26250" y="109906"/>
                    <a:pt x="26250" y="106542"/>
                    <a:pt x="27187" y="106542"/>
                  </a:cubicBezTo>
                  <a:cubicBezTo>
                    <a:pt x="27187" y="106542"/>
                    <a:pt x="27187" y="109906"/>
                    <a:pt x="28125" y="109906"/>
                  </a:cubicBezTo>
                  <a:cubicBezTo>
                    <a:pt x="30000" y="111028"/>
                    <a:pt x="29062" y="111028"/>
                    <a:pt x="29062" y="112149"/>
                  </a:cubicBezTo>
                  <a:cubicBezTo>
                    <a:pt x="30000" y="112149"/>
                    <a:pt x="30937" y="112149"/>
                    <a:pt x="31875" y="113271"/>
                  </a:cubicBezTo>
                  <a:cubicBezTo>
                    <a:pt x="31875" y="114392"/>
                    <a:pt x="30937" y="112149"/>
                    <a:pt x="31875" y="113271"/>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23" name="Shape 2597">
              <a:extLst>
                <a:ext uri="{FF2B5EF4-FFF2-40B4-BE49-F238E27FC236}">
                  <a16:creationId xmlns:a16="http://schemas.microsoft.com/office/drawing/2014/main" id="{5838AB32-26EA-9E4D-A528-A143A3BA98B2}"/>
                </a:ext>
              </a:extLst>
            </p:cNvPr>
            <p:cNvSpPr/>
            <p:nvPr/>
          </p:nvSpPr>
          <p:spPr>
            <a:xfrm>
              <a:off x="12945394" y="4366244"/>
              <a:ext cx="7563692" cy="2637631"/>
            </a:xfrm>
            <a:custGeom>
              <a:avLst/>
              <a:gdLst/>
              <a:ahLst/>
              <a:cxnLst/>
              <a:rect l="0" t="0" r="0" b="0"/>
              <a:pathLst>
                <a:path w="120000" h="120000" extrusionOk="0">
                  <a:moveTo>
                    <a:pt x="119703" y="47234"/>
                  </a:moveTo>
                  <a:cubicBezTo>
                    <a:pt x="119407" y="46382"/>
                    <a:pt x="118962" y="45957"/>
                    <a:pt x="118666" y="45106"/>
                  </a:cubicBezTo>
                  <a:cubicBezTo>
                    <a:pt x="118518" y="44680"/>
                    <a:pt x="118370" y="44255"/>
                    <a:pt x="118074" y="43829"/>
                  </a:cubicBezTo>
                  <a:cubicBezTo>
                    <a:pt x="117925" y="43829"/>
                    <a:pt x="117629" y="43829"/>
                    <a:pt x="117481" y="43404"/>
                  </a:cubicBezTo>
                  <a:cubicBezTo>
                    <a:pt x="117481" y="43829"/>
                    <a:pt x="117629" y="43829"/>
                    <a:pt x="117629" y="43829"/>
                  </a:cubicBezTo>
                  <a:cubicBezTo>
                    <a:pt x="117777" y="43829"/>
                    <a:pt x="117333" y="44255"/>
                    <a:pt x="117185" y="43829"/>
                  </a:cubicBezTo>
                  <a:cubicBezTo>
                    <a:pt x="117185" y="43829"/>
                    <a:pt x="117333" y="43829"/>
                    <a:pt x="117333" y="43404"/>
                  </a:cubicBezTo>
                  <a:cubicBezTo>
                    <a:pt x="117185" y="42978"/>
                    <a:pt x="116444" y="43829"/>
                    <a:pt x="116296" y="43404"/>
                  </a:cubicBezTo>
                  <a:cubicBezTo>
                    <a:pt x="116592" y="43829"/>
                    <a:pt x="116592" y="43829"/>
                    <a:pt x="116592" y="45106"/>
                  </a:cubicBezTo>
                  <a:cubicBezTo>
                    <a:pt x="116444" y="45531"/>
                    <a:pt x="116740" y="46382"/>
                    <a:pt x="116740" y="46382"/>
                  </a:cubicBezTo>
                  <a:cubicBezTo>
                    <a:pt x="116592" y="46382"/>
                    <a:pt x="116592" y="45957"/>
                    <a:pt x="116592" y="45957"/>
                  </a:cubicBezTo>
                  <a:cubicBezTo>
                    <a:pt x="116444" y="45531"/>
                    <a:pt x="116444" y="46382"/>
                    <a:pt x="116296" y="46382"/>
                  </a:cubicBezTo>
                  <a:cubicBezTo>
                    <a:pt x="116296" y="46382"/>
                    <a:pt x="116000" y="44680"/>
                    <a:pt x="116000" y="44680"/>
                  </a:cubicBezTo>
                  <a:cubicBezTo>
                    <a:pt x="116000" y="44255"/>
                    <a:pt x="116000" y="44255"/>
                    <a:pt x="116000" y="44255"/>
                  </a:cubicBezTo>
                  <a:cubicBezTo>
                    <a:pt x="116000" y="43829"/>
                    <a:pt x="115851" y="43404"/>
                    <a:pt x="116000" y="42978"/>
                  </a:cubicBezTo>
                  <a:cubicBezTo>
                    <a:pt x="116148" y="42127"/>
                    <a:pt x="115851" y="42553"/>
                    <a:pt x="115703" y="42127"/>
                  </a:cubicBezTo>
                  <a:cubicBezTo>
                    <a:pt x="115703" y="41702"/>
                    <a:pt x="115407" y="41276"/>
                    <a:pt x="115259" y="41276"/>
                  </a:cubicBezTo>
                  <a:cubicBezTo>
                    <a:pt x="114222" y="39574"/>
                    <a:pt x="113333" y="37872"/>
                    <a:pt x="112296" y="37021"/>
                  </a:cubicBezTo>
                  <a:cubicBezTo>
                    <a:pt x="112000" y="36595"/>
                    <a:pt x="111851" y="36170"/>
                    <a:pt x="111703" y="35744"/>
                  </a:cubicBezTo>
                  <a:cubicBezTo>
                    <a:pt x="111555" y="35319"/>
                    <a:pt x="111259" y="34893"/>
                    <a:pt x="110962" y="34893"/>
                  </a:cubicBezTo>
                  <a:cubicBezTo>
                    <a:pt x="110518" y="34468"/>
                    <a:pt x="110074" y="34042"/>
                    <a:pt x="109481" y="33191"/>
                  </a:cubicBezTo>
                  <a:cubicBezTo>
                    <a:pt x="109037" y="33191"/>
                    <a:pt x="108444" y="33191"/>
                    <a:pt x="108148" y="33191"/>
                  </a:cubicBezTo>
                  <a:cubicBezTo>
                    <a:pt x="107851" y="33191"/>
                    <a:pt x="107703" y="33191"/>
                    <a:pt x="107555" y="33191"/>
                  </a:cubicBezTo>
                  <a:cubicBezTo>
                    <a:pt x="107555" y="33191"/>
                    <a:pt x="107407" y="32765"/>
                    <a:pt x="107407" y="32765"/>
                  </a:cubicBezTo>
                  <a:cubicBezTo>
                    <a:pt x="107259" y="33191"/>
                    <a:pt x="107259" y="33617"/>
                    <a:pt x="107111" y="33191"/>
                  </a:cubicBezTo>
                  <a:cubicBezTo>
                    <a:pt x="106666" y="33191"/>
                    <a:pt x="106222" y="32765"/>
                    <a:pt x="105777" y="32340"/>
                  </a:cubicBezTo>
                  <a:cubicBezTo>
                    <a:pt x="105629" y="32340"/>
                    <a:pt x="105185" y="31914"/>
                    <a:pt x="105185" y="32765"/>
                  </a:cubicBezTo>
                  <a:cubicBezTo>
                    <a:pt x="105037" y="33617"/>
                    <a:pt x="104888" y="33617"/>
                    <a:pt x="105185" y="34042"/>
                  </a:cubicBezTo>
                  <a:cubicBezTo>
                    <a:pt x="105481" y="34893"/>
                    <a:pt x="105777" y="36595"/>
                    <a:pt x="105037" y="37021"/>
                  </a:cubicBezTo>
                  <a:cubicBezTo>
                    <a:pt x="104888" y="37446"/>
                    <a:pt x="104444" y="37446"/>
                    <a:pt x="104296" y="36595"/>
                  </a:cubicBezTo>
                  <a:cubicBezTo>
                    <a:pt x="104148" y="36170"/>
                    <a:pt x="104148" y="35744"/>
                    <a:pt x="103703" y="35744"/>
                  </a:cubicBezTo>
                  <a:cubicBezTo>
                    <a:pt x="103259" y="35319"/>
                    <a:pt x="103555" y="34893"/>
                    <a:pt x="103407" y="34468"/>
                  </a:cubicBezTo>
                  <a:cubicBezTo>
                    <a:pt x="103407" y="34042"/>
                    <a:pt x="102962" y="33617"/>
                    <a:pt x="102814" y="34042"/>
                  </a:cubicBezTo>
                  <a:cubicBezTo>
                    <a:pt x="102370" y="35319"/>
                    <a:pt x="101629" y="34042"/>
                    <a:pt x="101037" y="34042"/>
                  </a:cubicBezTo>
                  <a:cubicBezTo>
                    <a:pt x="100444" y="34042"/>
                    <a:pt x="99851" y="33617"/>
                    <a:pt x="99259" y="33617"/>
                  </a:cubicBezTo>
                  <a:cubicBezTo>
                    <a:pt x="98962" y="33617"/>
                    <a:pt x="98814" y="33617"/>
                    <a:pt x="98518" y="34042"/>
                  </a:cubicBezTo>
                  <a:cubicBezTo>
                    <a:pt x="98222" y="34468"/>
                    <a:pt x="98370" y="35744"/>
                    <a:pt x="98370" y="36595"/>
                  </a:cubicBezTo>
                  <a:cubicBezTo>
                    <a:pt x="98370" y="36595"/>
                    <a:pt x="98370" y="36595"/>
                    <a:pt x="98370" y="36595"/>
                  </a:cubicBezTo>
                  <a:cubicBezTo>
                    <a:pt x="98222" y="36595"/>
                    <a:pt x="98074" y="34468"/>
                    <a:pt x="97925" y="34042"/>
                  </a:cubicBezTo>
                  <a:cubicBezTo>
                    <a:pt x="97777" y="34042"/>
                    <a:pt x="97185" y="34042"/>
                    <a:pt x="97037" y="33191"/>
                  </a:cubicBezTo>
                  <a:cubicBezTo>
                    <a:pt x="97037" y="31914"/>
                    <a:pt x="97629" y="31489"/>
                    <a:pt x="97037" y="30212"/>
                  </a:cubicBezTo>
                  <a:cubicBezTo>
                    <a:pt x="96740" y="29787"/>
                    <a:pt x="96444" y="29361"/>
                    <a:pt x="96000" y="28936"/>
                  </a:cubicBezTo>
                  <a:cubicBezTo>
                    <a:pt x="95111" y="28085"/>
                    <a:pt x="94074" y="28936"/>
                    <a:pt x="93185" y="29361"/>
                  </a:cubicBezTo>
                  <a:cubicBezTo>
                    <a:pt x="92740" y="29361"/>
                    <a:pt x="92296" y="29361"/>
                    <a:pt x="91703" y="29361"/>
                  </a:cubicBezTo>
                  <a:cubicBezTo>
                    <a:pt x="91555" y="29361"/>
                    <a:pt x="91555" y="29361"/>
                    <a:pt x="91407" y="29361"/>
                  </a:cubicBezTo>
                  <a:cubicBezTo>
                    <a:pt x="91111" y="28936"/>
                    <a:pt x="91407" y="28936"/>
                    <a:pt x="91555" y="28510"/>
                  </a:cubicBezTo>
                  <a:cubicBezTo>
                    <a:pt x="91555" y="28085"/>
                    <a:pt x="90814" y="27659"/>
                    <a:pt x="90814" y="27659"/>
                  </a:cubicBezTo>
                  <a:cubicBezTo>
                    <a:pt x="90666" y="27234"/>
                    <a:pt x="90074" y="27659"/>
                    <a:pt x="89925" y="27659"/>
                  </a:cubicBezTo>
                  <a:cubicBezTo>
                    <a:pt x="89925" y="27659"/>
                    <a:pt x="90518" y="27234"/>
                    <a:pt x="90370" y="26808"/>
                  </a:cubicBezTo>
                  <a:cubicBezTo>
                    <a:pt x="90222" y="26808"/>
                    <a:pt x="90074" y="27234"/>
                    <a:pt x="89925" y="27234"/>
                  </a:cubicBezTo>
                  <a:cubicBezTo>
                    <a:pt x="89777" y="26808"/>
                    <a:pt x="89481" y="26382"/>
                    <a:pt x="89481" y="26382"/>
                  </a:cubicBezTo>
                  <a:cubicBezTo>
                    <a:pt x="89333" y="26382"/>
                    <a:pt x="88888" y="25531"/>
                    <a:pt x="89185" y="25531"/>
                  </a:cubicBezTo>
                  <a:cubicBezTo>
                    <a:pt x="89333" y="25531"/>
                    <a:pt x="89629" y="25531"/>
                    <a:pt x="89777" y="25531"/>
                  </a:cubicBezTo>
                  <a:cubicBezTo>
                    <a:pt x="90222" y="25531"/>
                    <a:pt x="89629" y="24255"/>
                    <a:pt x="89481" y="24255"/>
                  </a:cubicBezTo>
                  <a:cubicBezTo>
                    <a:pt x="89185" y="23404"/>
                    <a:pt x="88444" y="23829"/>
                    <a:pt x="88000" y="23404"/>
                  </a:cubicBezTo>
                  <a:cubicBezTo>
                    <a:pt x="87703" y="23404"/>
                    <a:pt x="87555" y="24255"/>
                    <a:pt x="87259" y="25106"/>
                  </a:cubicBezTo>
                  <a:cubicBezTo>
                    <a:pt x="87259" y="25106"/>
                    <a:pt x="86222" y="26808"/>
                    <a:pt x="86222" y="25531"/>
                  </a:cubicBezTo>
                  <a:cubicBezTo>
                    <a:pt x="86370" y="24680"/>
                    <a:pt x="86518" y="25531"/>
                    <a:pt x="86814" y="25106"/>
                  </a:cubicBezTo>
                  <a:cubicBezTo>
                    <a:pt x="86814" y="25106"/>
                    <a:pt x="86666" y="23829"/>
                    <a:pt x="86518" y="23829"/>
                  </a:cubicBezTo>
                  <a:cubicBezTo>
                    <a:pt x="86518" y="23829"/>
                    <a:pt x="85629" y="23829"/>
                    <a:pt x="85629" y="23829"/>
                  </a:cubicBezTo>
                  <a:cubicBezTo>
                    <a:pt x="85777" y="23404"/>
                    <a:pt x="86074" y="22978"/>
                    <a:pt x="86370" y="22978"/>
                  </a:cubicBezTo>
                  <a:cubicBezTo>
                    <a:pt x="86518" y="23404"/>
                    <a:pt x="87555" y="23404"/>
                    <a:pt x="87555" y="23404"/>
                  </a:cubicBezTo>
                  <a:cubicBezTo>
                    <a:pt x="87555" y="22978"/>
                    <a:pt x="86666" y="22978"/>
                    <a:pt x="86518" y="22553"/>
                  </a:cubicBezTo>
                  <a:cubicBezTo>
                    <a:pt x="86222" y="22553"/>
                    <a:pt x="85925" y="22553"/>
                    <a:pt x="85629" y="22553"/>
                  </a:cubicBezTo>
                  <a:cubicBezTo>
                    <a:pt x="85037" y="22127"/>
                    <a:pt x="84444" y="22127"/>
                    <a:pt x="83851" y="21702"/>
                  </a:cubicBezTo>
                  <a:cubicBezTo>
                    <a:pt x="83703" y="21702"/>
                    <a:pt x="83111" y="21276"/>
                    <a:pt x="83111" y="21276"/>
                  </a:cubicBezTo>
                  <a:cubicBezTo>
                    <a:pt x="83111" y="21702"/>
                    <a:pt x="83259" y="22127"/>
                    <a:pt x="83111" y="22127"/>
                  </a:cubicBezTo>
                  <a:cubicBezTo>
                    <a:pt x="82962" y="22553"/>
                    <a:pt x="82814" y="22553"/>
                    <a:pt x="82666" y="22553"/>
                  </a:cubicBezTo>
                  <a:cubicBezTo>
                    <a:pt x="82518" y="22553"/>
                    <a:pt x="81777" y="22978"/>
                    <a:pt x="81925" y="23829"/>
                  </a:cubicBezTo>
                  <a:cubicBezTo>
                    <a:pt x="82074" y="24680"/>
                    <a:pt x="82370" y="23404"/>
                    <a:pt x="82518" y="23829"/>
                  </a:cubicBezTo>
                  <a:cubicBezTo>
                    <a:pt x="82518" y="23829"/>
                    <a:pt x="82074" y="24255"/>
                    <a:pt x="82222" y="25106"/>
                  </a:cubicBezTo>
                  <a:cubicBezTo>
                    <a:pt x="82370" y="25106"/>
                    <a:pt x="82222" y="25531"/>
                    <a:pt x="82222" y="25957"/>
                  </a:cubicBezTo>
                  <a:cubicBezTo>
                    <a:pt x="82370" y="25957"/>
                    <a:pt x="82518" y="26382"/>
                    <a:pt x="82518" y="26808"/>
                  </a:cubicBezTo>
                  <a:cubicBezTo>
                    <a:pt x="82518" y="26808"/>
                    <a:pt x="81925" y="26808"/>
                    <a:pt x="81777" y="26808"/>
                  </a:cubicBezTo>
                  <a:cubicBezTo>
                    <a:pt x="81481" y="26808"/>
                    <a:pt x="81777" y="26382"/>
                    <a:pt x="81777" y="26382"/>
                  </a:cubicBezTo>
                  <a:cubicBezTo>
                    <a:pt x="81629" y="25957"/>
                    <a:pt x="81185" y="26382"/>
                    <a:pt x="81185" y="26382"/>
                  </a:cubicBezTo>
                  <a:cubicBezTo>
                    <a:pt x="80888" y="26808"/>
                    <a:pt x="80592" y="26382"/>
                    <a:pt x="80444" y="26382"/>
                  </a:cubicBezTo>
                  <a:cubicBezTo>
                    <a:pt x="80296" y="26382"/>
                    <a:pt x="80888" y="26808"/>
                    <a:pt x="80888" y="26808"/>
                  </a:cubicBezTo>
                  <a:cubicBezTo>
                    <a:pt x="81333" y="27234"/>
                    <a:pt x="80888" y="28085"/>
                    <a:pt x="80740" y="27659"/>
                  </a:cubicBezTo>
                  <a:cubicBezTo>
                    <a:pt x="80592" y="27659"/>
                    <a:pt x="80592" y="27234"/>
                    <a:pt x="80592" y="26808"/>
                  </a:cubicBezTo>
                  <a:cubicBezTo>
                    <a:pt x="80444" y="26808"/>
                    <a:pt x="80296" y="26808"/>
                    <a:pt x="80148" y="26808"/>
                  </a:cubicBezTo>
                  <a:cubicBezTo>
                    <a:pt x="79851" y="26382"/>
                    <a:pt x="79555" y="25957"/>
                    <a:pt x="79111" y="26382"/>
                  </a:cubicBezTo>
                  <a:cubicBezTo>
                    <a:pt x="78666" y="26382"/>
                    <a:pt x="78370" y="27659"/>
                    <a:pt x="77925" y="26808"/>
                  </a:cubicBezTo>
                  <a:cubicBezTo>
                    <a:pt x="77629" y="26382"/>
                    <a:pt x="77333" y="25957"/>
                    <a:pt x="77185" y="25106"/>
                  </a:cubicBezTo>
                  <a:cubicBezTo>
                    <a:pt x="77037" y="24680"/>
                    <a:pt x="76740" y="26382"/>
                    <a:pt x="76592" y="26382"/>
                  </a:cubicBezTo>
                  <a:cubicBezTo>
                    <a:pt x="76444" y="27234"/>
                    <a:pt x="76296" y="29787"/>
                    <a:pt x="75851" y="29361"/>
                  </a:cubicBezTo>
                  <a:cubicBezTo>
                    <a:pt x="75555" y="28936"/>
                    <a:pt x="75259" y="28936"/>
                    <a:pt x="74962" y="28085"/>
                  </a:cubicBezTo>
                  <a:cubicBezTo>
                    <a:pt x="74814" y="27659"/>
                    <a:pt x="74518" y="26808"/>
                    <a:pt x="74370" y="26382"/>
                  </a:cubicBezTo>
                  <a:cubicBezTo>
                    <a:pt x="74222" y="25531"/>
                    <a:pt x="73925" y="25106"/>
                    <a:pt x="73777" y="24680"/>
                  </a:cubicBezTo>
                  <a:cubicBezTo>
                    <a:pt x="73481" y="23829"/>
                    <a:pt x="74074" y="24255"/>
                    <a:pt x="74222" y="24255"/>
                  </a:cubicBezTo>
                  <a:cubicBezTo>
                    <a:pt x="74370" y="24255"/>
                    <a:pt x="74666" y="23829"/>
                    <a:pt x="74666" y="23404"/>
                  </a:cubicBezTo>
                  <a:cubicBezTo>
                    <a:pt x="74666" y="23404"/>
                    <a:pt x="73925" y="22127"/>
                    <a:pt x="73925" y="22127"/>
                  </a:cubicBezTo>
                  <a:cubicBezTo>
                    <a:pt x="73925" y="22127"/>
                    <a:pt x="74370" y="22127"/>
                    <a:pt x="74370" y="21702"/>
                  </a:cubicBezTo>
                  <a:cubicBezTo>
                    <a:pt x="74222" y="21276"/>
                    <a:pt x="73925" y="21276"/>
                    <a:pt x="73925" y="21276"/>
                  </a:cubicBezTo>
                  <a:cubicBezTo>
                    <a:pt x="73925" y="20425"/>
                    <a:pt x="74666" y="20000"/>
                    <a:pt x="73925" y="19574"/>
                  </a:cubicBezTo>
                  <a:cubicBezTo>
                    <a:pt x="73777" y="19574"/>
                    <a:pt x="73629" y="18723"/>
                    <a:pt x="73333" y="18723"/>
                  </a:cubicBezTo>
                  <a:cubicBezTo>
                    <a:pt x="73185" y="18723"/>
                    <a:pt x="72888" y="18297"/>
                    <a:pt x="72740" y="18723"/>
                  </a:cubicBezTo>
                  <a:cubicBezTo>
                    <a:pt x="72592" y="18723"/>
                    <a:pt x="72592" y="19148"/>
                    <a:pt x="72444" y="19148"/>
                  </a:cubicBezTo>
                  <a:cubicBezTo>
                    <a:pt x="72296" y="18723"/>
                    <a:pt x="72296" y="18723"/>
                    <a:pt x="72148" y="18723"/>
                  </a:cubicBezTo>
                  <a:cubicBezTo>
                    <a:pt x="72000" y="18723"/>
                    <a:pt x="71703" y="18723"/>
                    <a:pt x="71555" y="18297"/>
                  </a:cubicBezTo>
                  <a:cubicBezTo>
                    <a:pt x="71407" y="18297"/>
                    <a:pt x="71259" y="18297"/>
                    <a:pt x="71111" y="17446"/>
                  </a:cubicBezTo>
                  <a:cubicBezTo>
                    <a:pt x="70962" y="17446"/>
                    <a:pt x="71111" y="17021"/>
                    <a:pt x="70814" y="17446"/>
                  </a:cubicBezTo>
                  <a:cubicBezTo>
                    <a:pt x="70814" y="17446"/>
                    <a:pt x="70666" y="17872"/>
                    <a:pt x="70518" y="17872"/>
                  </a:cubicBezTo>
                  <a:cubicBezTo>
                    <a:pt x="70370" y="17872"/>
                    <a:pt x="70370" y="17446"/>
                    <a:pt x="70222" y="17872"/>
                  </a:cubicBezTo>
                  <a:cubicBezTo>
                    <a:pt x="70222" y="18297"/>
                    <a:pt x="70074" y="18723"/>
                    <a:pt x="70074" y="19148"/>
                  </a:cubicBezTo>
                  <a:cubicBezTo>
                    <a:pt x="70074" y="19574"/>
                    <a:pt x="70370" y="19574"/>
                    <a:pt x="70222" y="20000"/>
                  </a:cubicBezTo>
                  <a:cubicBezTo>
                    <a:pt x="70074" y="20425"/>
                    <a:pt x="70222" y="20425"/>
                    <a:pt x="70074" y="20425"/>
                  </a:cubicBezTo>
                  <a:cubicBezTo>
                    <a:pt x="69925" y="20425"/>
                    <a:pt x="69629" y="20425"/>
                    <a:pt x="69481" y="20851"/>
                  </a:cubicBezTo>
                  <a:cubicBezTo>
                    <a:pt x="69629" y="20425"/>
                    <a:pt x="70074" y="21276"/>
                    <a:pt x="70074" y="21276"/>
                  </a:cubicBezTo>
                  <a:cubicBezTo>
                    <a:pt x="69925" y="21702"/>
                    <a:pt x="69481" y="20851"/>
                    <a:pt x="69185" y="20851"/>
                  </a:cubicBezTo>
                  <a:cubicBezTo>
                    <a:pt x="68888" y="20851"/>
                    <a:pt x="68444" y="20851"/>
                    <a:pt x="68000" y="20851"/>
                  </a:cubicBezTo>
                  <a:cubicBezTo>
                    <a:pt x="67851" y="20851"/>
                    <a:pt x="67851" y="20425"/>
                    <a:pt x="67703" y="20425"/>
                  </a:cubicBezTo>
                  <a:cubicBezTo>
                    <a:pt x="67555" y="20000"/>
                    <a:pt x="67111" y="20425"/>
                    <a:pt x="66962" y="20425"/>
                  </a:cubicBezTo>
                  <a:cubicBezTo>
                    <a:pt x="66814" y="20000"/>
                    <a:pt x="66518" y="20000"/>
                    <a:pt x="66370" y="19574"/>
                  </a:cubicBezTo>
                  <a:cubicBezTo>
                    <a:pt x="66370" y="19148"/>
                    <a:pt x="66666" y="19148"/>
                    <a:pt x="66666" y="18723"/>
                  </a:cubicBezTo>
                  <a:cubicBezTo>
                    <a:pt x="66814" y="18297"/>
                    <a:pt x="65481" y="18297"/>
                    <a:pt x="65333" y="18297"/>
                  </a:cubicBezTo>
                  <a:cubicBezTo>
                    <a:pt x="64592" y="17872"/>
                    <a:pt x="64000" y="18297"/>
                    <a:pt x="63259" y="18297"/>
                  </a:cubicBezTo>
                  <a:cubicBezTo>
                    <a:pt x="62814" y="18297"/>
                    <a:pt x="62962" y="18297"/>
                    <a:pt x="63111" y="19148"/>
                  </a:cubicBezTo>
                  <a:cubicBezTo>
                    <a:pt x="63111" y="19574"/>
                    <a:pt x="62814" y="19148"/>
                    <a:pt x="62814" y="19148"/>
                  </a:cubicBezTo>
                  <a:cubicBezTo>
                    <a:pt x="62518" y="19148"/>
                    <a:pt x="62666" y="18723"/>
                    <a:pt x="62666" y="18297"/>
                  </a:cubicBezTo>
                  <a:cubicBezTo>
                    <a:pt x="62666" y="17446"/>
                    <a:pt x="62518" y="16170"/>
                    <a:pt x="62222" y="17021"/>
                  </a:cubicBezTo>
                  <a:cubicBezTo>
                    <a:pt x="62222" y="17872"/>
                    <a:pt x="61629" y="17872"/>
                    <a:pt x="61333" y="17446"/>
                  </a:cubicBezTo>
                  <a:cubicBezTo>
                    <a:pt x="61185" y="17021"/>
                    <a:pt x="61481" y="16170"/>
                    <a:pt x="60888" y="16595"/>
                  </a:cubicBezTo>
                  <a:cubicBezTo>
                    <a:pt x="60740" y="16595"/>
                    <a:pt x="60592" y="16595"/>
                    <a:pt x="60444" y="16595"/>
                  </a:cubicBezTo>
                  <a:cubicBezTo>
                    <a:pt x="60296" y="16170"/>
                    <a:pt x="60148" y="16595"/>
                    <a:pt x="59851" y="17021"/>
                  </a:cubicBezTo>
                  <a:cubicBezTo>
                    <a:pt x="59555" y="17872"/>
                    <a:pt x="60296" y="17446"/>
                    <a:pt x="60296" y="17872"/>
                  </a:cubicBezTo>
                  <a:cubicBezTo>
                    <a:pt x="60296" y="18723"/>
                    <a:pt x="59703" y="18297"/>
                    <a:pt x="59555" y="18723"/>
                  </a:cubicBezTo>
                  <a:cubicBezTo>
                    <a:pt x="59407" y="19148"/>
                    <a:pt x="59111" y="19148"/>
                    <a:pt x="58814" y="19574"/>
                  </a:cubicBezTo>
                  <a:cubicBezTo>
                    <a:pt x="58518" y="20000"/>
                    <a:pt x="58222" y="20000"/>
                    <a:pt x="57777" y="20000"/>
                  </a:cubicBezTo>
                  <a:cubicBezTo>
                    <a:pt x="57481" y="20000"/>
                    <a:pt x="57481" y="20000"/>
                    <a:pt x="57333" y="20851"/>
                  </a:cubicBezTo>
                  <a:cubicBezTo>
                    <a:pt x="57185" y="21276"/>
                    <a:pt x="56592" y="21702"/>
                    <a:pt x="56444" y="21702"/>
                  </a:cubicBezTo>
                  <a:cubicBezTo>
                    <a:pt x="56444" y="21276"/>
                    <a:pt x="56740" y="21276"/>
                    <a:pt x="56740" y="21276"/>
                  </a:cubicBezTo>
                  <a:cubicBezTo>
                    <a:pt x="57037" y="20851"/>
                    <a:pt x="57037" y="20000"/>
                    <a:pt x="57185" y="19574"/>
                  </a:cubicBezTo>
                  <a:cubicBezTo>
                    <a:pt x="57333" y="18723"/>
                    <a:pt x="57481" y="19574"/>
                    <a:pt x="57629" y="19148"/>
                  </a:cubicBezTo>
                  <a:cubicBezTo>
                    <a:pt x="57777" y="19148"/>
                    <a:pt x="57777" y="18723"/>
                    <a:pt x="57925" y="18723"/>
                  </a:cubicBezTo>
                  <a:cubicBezTo>
                    <a:pt x="58370" y="17872"/>
                    <a:pt x="58962" y="17446"/>
                    <a:pt x="59407" y="16595"/>
                  </a:cubicBezTo>
                  <a:cubicBezTo>
                    <a:pt x="59703" y="16170"/>
                    <a:pt x="60000" y="15744"/>
                    <a:pt x="60296" y="15319"/>
                  </a:cubicBezTo>
                  <a:cubicBezTo>
                    <a:pt x="60888" y="14042"/>
                    <a:pt x="61629" y="13191"/>
                    <a:pt x="62222" y="12340"/>
                  </a:cubicBezTo>
                  <a:cubicBezTo>
                    <a:pt x="62666" y="11914"/>
                    <a:pt x="63111" y="11063"/>
                    <a:pt x="62666" y="9787"/>
                  </a:cubicBezTo>
                  <a:cubicBezTo>
                    <a:pt x="62518" y="9361"/>
                    <a:pt x="62518" y="10212"/>
                    <a:pt x="62370" y="9787"/>
                  </a:cubicBezTo>
                  <a:cubicBezTo>
                    <a:pt x="62222" y="9361"/>
                    <a:pt x="62074" y="9361"/>
                    <a:pt x="61925" y="8936"/>
                  </a:cubicBezTo>
                  <a:cubicBezTo>
                    <a:pt x="61925" y="8510"/>
                    <a:pt x="62666" y="9361"/>
                    <a:pt x="62666" y="9361"/>
                  </a:cubicBezTo>
                  <a:cubicBezTo>
                    <a:pt x="62814" y="9361"/>
                    <a:pt x="63259" y="9361"/>
                    <a:pt x="62962" y="8510"/>
                  </a:cubicBezTo>
                  <a:cubicBezTo>
                    <a:pt x="62814" y="8085"/>
                    <a:pt x="62814" y="7659"/>
                    <a:pt x="62666" y="7234"/>
                  </a:cubicBezTo>
                  <a:cubicBezTo>
                    <a:pt x="62518" y="6382"/>
                    <a:pt x="62370" y="8085"/>
                    <a:pt x="62222" y="8085"/>
                  </a:cubicBezTo>
                  <a:cubicBezTo>
                    <a:pt x="62222" y="7659"/>
                    <a:pt x="62222" y="7234"/>
                    <a:pt x="62222" y="7234"/>
                  </a:cubicBezTo>
                  <a:cubicBezTo>
                    <a:pt x="62222" y="6808"/>
                    <a:pt x="62222" y="6808"/>
                    <a:pt x="62074" y="6382"/>
                  </a:cubicBezTo>
                  <a:cubicBezTo>
                    <a:pt x="62074" y="5957"/>
                    <a:pt x="61777" y="5531"/>
                    <a:pt x="61629" y="5531"/>
                  </a:cubicBezTo>
                  <a:cubicBezTo>
                    <a:pt x="61333" y="5106"/>
                    <a:pt x="61185" y="5106"/>
                    <a:pt x="60888" y="4680"/>
                  </a:cubicBezTo>
                  <a:cubicBezTo>
                    <a:pt x="60592" y="4680"/>
                    <a:pt x="60592" y="4680"/>
                    <a:pt x="60148" y="5106"/>
                  </a:cubicBezTo>
                  <a:cubicBezTo>
                    <a:pt x="59851" y="5106"/>
                    <a:pt x="58814" y="3829"/>
                    <a:pt x="58666" y="5106"/>
                  </a:cubicBezTo>
                  <a:cubicBezTo>
                    <a:pt x="58518" y="5531"/>
                    <a:pt x="57629" y="5957"/>
                    <a:pt x="57481" y="5531"/>
                  </a:cubicBezTo>
                  <a:cubicBezTo>
                    <a:pt x="57481" y="5531"/>
                    <a:pt x="58370" y="3829"/>
                    <a:pt x="58074" y="3404"/>
                  </a:cubicBezTo>
                  <a:cubicBezTo>
                    <a:pt x="58074" y="3404"/>
                    <a:pt x="57037" y="3829"/>
                    <a:pt x="56888" y="3404"/>
                  </a:cubicBezTo>
                  <a:cubicBezTo>
                    <a:pt x="56888" y="2978"/>
                    <a:pt x="57185" y="2978"/>
                    <a:pt x="57185" y="2978"/>
                  </a:cubicBezTo>
                  <a:cubicBezTo>
                    <a:pt x="57185" y="2553"/>
                    <a:pt x="56000" y="2978"/>
                    <a:pt x="56000" y="2978"/>
                  </a:cubicBezTo>
                  <a:cubicBezTo>
                    <a:pt x="56148" y="2127"/>
                    <a:pt x="56740" y="2553"/>
                    <a:pt x="56888" y="2127"/>
                  </a:cubicBezTo>
                  <a:cubicBezTo>
                    <a:pt x="57037" y="1702"/>
                    <a:pt x="57333" y="2127"/>
                    <a:pt x="57185" y="1702"/>
                  </a:cubicBezTo>
                  <a:cubicBezTo>
                    <a:pt x="57185" y="1276"/>
                    <a:pt x="57185" y="851"/>
                    <a:pt x="57037" y="851"/>
                  </a:cubicBezTo>
                  <a:cubicBezTo>
                    <a:pt x="56592" y="851"/>
                    <a:pt x="56444" y="425"/>
                    <a:pt x="56000" y="425"/>
                  </a:cubicBezTo>
                  <a:cubicBezTo>
                    <a:pt x="55703" y="0"/>
                    <a:pt x="55407" y="425"/>
                    <a:pt x="55111" y="851"/>
                  </a:cubicBezTo>
                  <a:cubicBezTo>
                    <a:pt x="54518" y="1276"/>
                    <a:pt x="53925" y="2553"/>
                    <a:pt x="53629" y="3404"/>
                  </a:cubicBezTo>
                  <a:cubicBezTo>
                    <a:pt x="53481" y="3829"/>
                    <a:pt x="53481" y="3829"/>
                    <a:pt x="53629" y="4255"/>
                  </a:cubicBezTo>
                  <a:cubicBezTo>
                    <a:pt x="53777" y="4255"/>
                    <a:pt x="53629" y="4680"/>
                    <a:pt x="53629" y="5106"/>
                  </a:cubicBezTo>
                  <a:cubicBezTo>
                    <a:pt x="53629" y="5957"/>
                    <a:pt x="54222" y="5531"/>
                    <a:pt x="54222" y="5957"/>
                  </a:cubicBezTo>
                  <a:cubicBezTo>
                    <a:pt x="54222" y="5531"/>
                    <a:pt x="53481" y="5957"/>
                    <a:pt x="53333" y="5957"/>
                  </a:cubicBezTo>
                  <a:cubicBezTo>
                    <a:pt x="53185" y="5957"/>
                    <a:pt x="52296" y="5531"/>
                    <a:pt x="52148" y="5957"/>
                  </a:cubicBezTo>
                  <a:cubicBezTo>
                    <a:pt x="52148" y="5531"/>
                    <a:pt x="52592" y="7234"/>
                    <a:pt x="52592" y="7234"/>
                  </a:cubicBezTo>
                  <a:cubicBezTo>
                    <a:pt x="52740" y="7659"/>
                    <a:pt x="52000" y="6808"/>
                    <a:pt x="51851" y="6808"/>
                  </a:cubicBezTo>
                  <a:cubicBezTo>
                    <a:pt x="51703" y="6808"/>
                    <a:pt x="51407" y="7234"/>
                    <a:pt x="51111" y="7659"/>
                  </a:cubicBezTo>
                  <a:cubicBezTo>
                    <a:pt x="51111" y="7659"/>
                    <a:pt x="51111" y="7659"/>
                    <a:pt x="50962" y="7659"/>
                  </a:cubicBezTo>
                  <a:cubicBezTo>
                    <a:pt x="50666" y="7659"/>
                    <a:pt x="50962" y="7659"/>
                    <a:pt x="50814" y="7234"/>
                  </a:cubicBezTo>
                  <a:cubicBezTo>
                    <a:pt x="50814" y="7659"/>
                    <a:pt x="50074" y="8510"/>
                    <a:pt x="50074" y="8510"/>
                  </a:cubicBezTo>
                  <a:cubicBezTo>
                    <a:pt x="50074" y="8085"/>
                    <a:pt x="50370" y="7659"/>
                    <a:pt x="50370" y="7659"/>
                  </a:cubicBezTo>
                  <a:cubicBezTo>
                    <a:pt x="50370" y="7234"/>
                    <a:pt x="49629" y="7659"/>
                    <a:pt x="49481" y="7234"/>
                  </a:cubicBezTo>
                  <a:cubicBezTo>
                    <a:pt x="49481" y="7234"/>
                    <a:pt x="49777" y="6808"/>
                    <a:pt x="49777" y="6808"/>
                  </a:cubicBezTo>
                  <a:cubicBezTo>
                    <a:pt x="49629" y="7234"/>
                    <a:pt x="48888" y="7659"/>
                    <a:pt x="48592" y="7659"/>
                  </a:cubicBezTo>
                  <a:cubicBezTo>
                    <a:pt x="47851" y="8085"/>
                    <a:pt x="48740" y="8085"/>
                    <a:pt x="48888" y="8510"/>
                  </a:cubicBezTo>
                  <a:cubicBezTo>
                    <a:pt x="48740" y="8085"/>
                    <a:pt x="48000" y="8936"/>
                    <a:pt x="47851" y="8936"/>
                  </a:cubicBezTo>
                  <a:cubicBezTo>
                    <a:pt x="47703" y="8936"/>
                    <a:pt x="47555" y="8936"/>
                    <a:pt x="47407" y="9361"/>
                  </a:cubicBezTo>
                  <a:cubicBezTo>
                    <a:pt x="47259" y="9787"/>
                    <a:pt x="46962" y="9361"/>
                    <a:pt x="46666" y="9361"/>
                  </a:cubicBezTo>
                  <a:cubicBezTo>
                    <a:pt x="46518" y="9361"/>
                    <a:pt x="46370" y="10212"/>
                    <a:pt x="46074" y="10212"/>
                  </a:cubicBezTo>
                  <a:cubicBezTo>
                    <a:pt x="45777" y="10638"/>
                    <a:pt x="45629" y="10212"/>
                    <a:pt x="45481" y="10638"/>
                  </a:cubicBezTo>
                  <a:cubicBezTo>
                    <a:pt x="45333" y="11063"/>
                    <a:pt x="45185" y="11489"/>
                    <a:pt x="45037" y="11489"/>
                  </a:cubicBezTo>
                  <a:cubicBezTo>
                    <a:pt x="44740" y="11489"/>
                    <a:pt x="44444" y="11489"/>
                    <a:pt x="44296" y="11489"/>
                  </a:cubicBezTo>
                  <a:cubicBezTo>
                    <a:pt x="44296" y="11489"/>
                    <a:pt x="44740" y="12340"/>
                    <a:pt x="44740" y="12340"/>
                  </a:cubicBezTo>
                  <a:cubicBezTo>
                    <a:pt x="44592" y="12765"/>
                    <a:pt x="43703" y="12765"/>
                    <a:pt x="43703" y="12765"/>
                  </a:cubicBezTo>
                  <a:cubicBezTo>
                    <a:pt x="43703" y="12765"/>
                    <a:pt x="44296" y="12765"/>
                    <a:pt x="44296" y="12765"/>
                  </a:cubicBezTo>
                  <a:cubicBezTo>
                    <a:pt x="44296" y="12765"/>
                    <a:pt x="44000" y="12765"/>
                    <a:pt x="43851" y="12765"/>
                  </a:cubicBezTo>
                  <a:cubicBezTo>
                    <a:pt x="44000" y="12765"/>
                    <a:pt x="44296" y="13191"/>
                    <a:pt x="44296" y="13191"/>
                  </a:cubicBezTo>
                  <a:cubicBezTo>
                    <a:pt x="44148" y="13191"/>
                    <a:pt x="44148" y="13191"/>
                    <a:pt x="44000" y="13191"/>
                  </a:cubicBezTo>
                  <a:cubicBezTo>
                    <a:pt x="44148" y="13191"/>
                    <a:pt x="44000" y="13617"/>
                    <a:pt x="44000" y="13617"/>
                  </a:cubicBezTo>
                  <a:cubicBezTo>
                    <a:pt x="44000" y="14042"/>
                    <a:pt x="43555" y="13617"/>
                    <a:pt x="43555" y="13617"/>
                  </a:cubicBezTo>
                  <a:cubicBezTo>
                    <a:pt x="43555" y="14042"/>
                    <a:pt x="43851" y="14042"/>
                    <a:pt x="43851" y="14468"/>
                  </a:cubicBezTo>
                  <a:cubicBezTo>
                    <a:pt x="44000" y="14468"/>
                    <a:pt x="43703" y="14468"/>
                    <a:pt x="43703" y="14468"/>
                  </a:cubicBezTo>
                  <a:cubicBezTo>
                    <a:pt x="43703" y="15319"/>
                    <a:pt x="44296" y="14468"/>
                    <a:pt x="44148" y="15319"/>
                  </a:cubicBezTo>
                  <a:cubicBezTo>
                    <a:pt x="43851" y="16170"/>
                    <a:pt x="44592" y="16595"/>
                    <a:pt x="44148" y="17021"/>
                  </a:cubicBezTo>
                  <a:cubicBezTo>
                    <a:pt x="43851" y="17021"/>
                    <a:pt x="43555" y="17021"/>
                    <a:pt x="43259" y="17021"/>
                  </a:cubicBezTo>
                  <a:cubicBezTo>
                    <a:pt x="43111" y="17446"/>
                    <a:pt x="43111" y="17872"/>
                    <a:pt x="42814" y="17446"/>
                  </a:cubicBezTo>
                  <a:cubicBezTo>
                    <a:pt x="42666" y="17446"/>
                    <a:pt x="42518" y="17446"/>
                    <a:pt x="42370" y="17446"/>
                  </a:cubicBezTo>
                  <a:cubicBezTo>
                    <a:pt x="41777" y="17872"/>
                    <a:pt x="41185" y="17872"/>
                    <a:pt x="40592" y="17872"/>
                  </a:cubicBezTo>
                  <a:cubicBezTo>
                    <a:pt x="40296" y="17872"/>
                    <a:pt x="40000" y="17872"/>
                    <a:pt x="39851" y="18297"/>
                  </a:cubicBezTo>
                  <a:cubicBezTo>
                    <a:pt x="39703" y="18723"/>
                    <a:pt x="39555" y="19148"/>
                    <a:pt x="39555" y="19574"/>
                  </a:cubicBezTo>
                  <a:cubicBezTo>
                    <a:pt x="39555" y="20000"/>
                    <a:pt x="39851" y="20425"/>
                    <a:pt x="39851" y="20851"/>
                  </a:cubicBezTo>
                  <a:cubicBezTo>
                    <a:pt x="39703" y="21702"/>
                    <a:pt x="39703" y="22127"/>
                    <a:pt x="39851" y="22553"/>
                  </a:cubicBezTo>
                  <a:cubicBezTo>
                    <a:pt x="40148" y="23404"/>
                    <a:pt x="40592" y="22978"/>
                    <a:pt x="40888" y="23829"/>
                  </a:cubicBezTo>
                  <a:cubicBezTo>
                    <a:pt x="40888" y="23829"/>
                    <a:pt x="41185" y="25531"/>
                    <a:pt x="41185" y="25531"/>
                  </a:cubicBezTo>
                  <a:cubicBezTo>
                    <a:pt x="40592" y="25531"/>
                    <a:pt x="40444" y="25531"/>
                    <a:pt x="40000" y="24680"/>
                  </a:cubicBezTo>
                  <a:cubicBezTo>
                    <a:pt x="39555" y="23829"/>
                    <a:pt x="38814" y="22978"/>
                    <a:pt x="38222" y="22978"/>
                  </a:cubicBezTo>
                  <a:cubicBezTo>
                    <a:pt x="37925" y="22978"/>
                    <a:pt x="38074" y="22553"/>
                    <a:pt x="37777" y="22127"/>
                  </a:cubicBezTo>
                  <a:cubicBezTo>
                    <a:pt x="37629" y="22127"/>
                    <a:pt x="37037" y="22127"/>
                    <a:pt x="37037" y="22978"/>
                  </a:cubicBezTo>
                  <a:cubicBezTo>
                    <a:pt x="37037" y="23404"/>
                    <a:pt x="37629" y="23404"/>
                    <a:pt x="37629" y="23404"/>
                  </a:cubicBezTo>
                  <a:cubicBezTo>
                    <a:pt x="37629" y="23404"/>
                    <a:pt x="37185" y="23829"/>
                    <a:pt x="37333" y="23829"/>
                  </a:cubicBezTo>
                  <a:cubicBezTo>
                    <a:pt x="37629" y="24255"/>
                    <a:pt x="37777" y="23829"/>
                    <a:pt x="37925" y="24680"/>
                  </a:cubicBezTo>
                  <a:cubicBezTo>
                    <a:pt x="37925" y="25531"/>
                    <a:pt x="37481" y="25106"/>
                    <a:pt x="37333" y="25106"/>
                  </a:cubicBezTo>
                  <a:cubicBezTo>
                    <a:pt x="37037" y="24680"/>
                    <a:pt x="36888" y="24255"/>
                    <a:pt x="36592" y="24680"/>
                  </a:cubicBezTo>
                  <a:cubicBezTo>
                    <a:pt x="36296" y="24680"/>
                    <a:pt x="36444" y="25957"/>
                    <a:pt x="36592" y="26382"/>
                  </a:cubicBezTo>
                  <a:cubicBezTo>
                    <a:pt x="36740" y="26808"/>
                    <a:pt x="37037" y="26808"/>
                    <a:pt x="37185" y="26808"/>
                  </a:cubicBezTo>
                  <a:cubicBezTo>
                    <a:pt x="37481" y="27234"/>
                    <a:pt x="37777" y="27234"/>
                    <a:pt x="37925" y="27659"/>
                  </a:cubicBezTo>
                  <a:cubicBezTo>
                    <a:pt x="38074" y="28085"/>
                    <a:pt x="38074" y="28510"/>
                    <a:pt x="38074" y="28510"/>
                  </a:cubicBezTo>
                  <a:cubicBezTo>
                    <a:pt x="38222" y="28510"/>
                    <a:pt x="38370" y="28510"/>
                    <a:pt x="38518" y="28510"/>
                  </a:cubicBezTo>
                  <a:cubicBezTo>
                    <a:pt x="38518" y="28510"/>
                    <a:pt x="38074" y="28936"/>
                    <a:pt x="38074" y="28936"/>
                  </a:cubicBezTo>
                  <a:cubicBezTo>
                    <a:pt x="37777" y="28936"/>
                    <a:pt x="37777" y="28510"/>
                    <a:pt x="37629" y="28085"/>
                  </a:cubicBezTo>
                  <a:cubicBezTo>
                    <a:pt x="37333" y="27659"/>
                    <a:pt x="36888" y="27659"/>
                    <a:pt x="36444" y="27659"/>
                  </a:cubicBezTo>
                  <a:cubicBezTo>
                    <a:pt x="36296" y="27659"/>
                    <a:pt x="35555" y="27234"/>
                    <a:pt x="35851" y="26382"/>
                  </a:cubicBezTo>
                  <a:cubicBezTo>
                    <a:pt x="36000" y="26382"/>
                    <a:pt x="35851" y="25957"/>
                    <a:pt x="35851" y="25531"/>
                  </a:cubicBezTo>
                  <a:cubicBezTo>
                    <a:pt x="35703" y="25106"/>
                    <a:pt x="35851" y="24680"/>
                    <a:pt x="35851" y="24255"/>
                  </a:cubicBezTo>
                  <a:cubicBezTo>
                    <a:pt x="36000" y="23404"/>
                    <a:pt x="36148" y="21702"/>
                    <a:pt x="35851" y="21276"/>
                  </a:cubicBezTo>
                  <a:cubicBezTo>
                    <a:pt x="35259" y="20851"/>
                    <a:pt x="35703" y="22978"/>
                    <a:pt x="35555" y="23829"/>
                  </a:cubicBezTo>
                  <a:cubicBezTo>
                    <a:pt x="35259" y="24680"/>
                    <a:pt x="34814" y="25106"/>
                    <a:pt x="34518" y="25957"/>
                  </a:cubicBezTo>
                  <a:cubicBezTo>
                    <a:pt x="34074" y="27234"/>
                    <a:pt x="34222" y="26808"/>
                    <a:pt x="34518" y="27659"/>
                  </a:cubicBezTo>
                  <a:cubicBezTo>
                    <a:pt x="34666" y="28085"/>
                    <a:pt x="35111" y="29361"/>
                    <a:pt x="35111" y="30212"/>
                  </a:cubicBezTo>
                  <a:cubicBezTo>
                    <a:pt x="35111" y="30212"/>
                    <a:pt x="34962" y="31063"/>
                    <a:pt x="34814" y="31063"/>
                  </a:cubicBezTo>
                  <a:cubicBezTo>
                    <a:pt x="34666" y="31914"/>
                    <a:pt x="34518" y="32765"/>
                    <a:pt x="34518" y="33617"/>
                  </a:cubicBezTo>
                  <a:cubicBezTo>
                    <a:pt x="34518" y="33617"/>
                    <a:pt x="34666" y="35744"/>
                    <a:pt x="34814" y="35744"/>
                  </a:cubicBezTo>
                  <a:cubicBezTo>
                    <a:pt x="35111" y="35744"/>
                    <a:pt x="35407" y="35744"/>
                    <a:pt x="35703" y="35319"/>
                  </a:cubicBezTo>
                  <a:cubicBezTo>
                    <a:pt x="36000" y="34893"/>
                    <a:pt x="36444" y="35319"/>
                    <a:pt x="36740" y="35744"/>
                  </a:cubicBezTo>
                  <a:cubicBezTo>
                    <a:pt x="37185" y="35744"/>
                    <a:pt x="37481" y="36595"/>
                    <a:pt x="37629" y="37872"/>
                  </a:cubicBezTo>
                  <a:cubicBezTo>
                    <a:pt x="37777" y="38723"/>
                    <a:pt x="37185" y="40000"/>
                    <a:pt x="37481" y="40425"/>
                  </a:cubicBezTo>
                  <a:cubicBezTo>
                    <a:pt x="37481" y="40425"/>
                    <a:pt x="38370" y="41276"/>
                    <a:pt x="38370" y="41276"/>
                  </a:cubicBezTo>
                  <a:cubicBezTo>
                    <a:pt x="38370" y="41702"/>
                    <a:pt x="37333" y="40851"/>
                    <a:pt x="37185" y="40851"/>
                  </a:cubicBezTo>
                  <a:cubicBezTo>
                    <a:pt x="37185" y="40851"/>
                    <a:pt x="37037" y="39574"/>
                    <a:pt x="37037" y="39574"/>
                  </a:cubicBezTo>
                  <a:cubicBezTo>
                    <a:pt x="37185" y="38723"/>
                    <a:pt x="37333" y="38297"/>
                    <a:pt x="37037" y="37872"/>
                  </a:cubicBezTo>
                  <a:cubicBezTo>
                    <a:pt x="36740" y="37446"/>
                    <a:pt x="36888" y="36595"/>
                    <a:pt x="36592" y="36170"/>
                  </a:cubicBezTo>
                  <a:cubicBezTo>
                    <a:pt x="36296" y="36170"/>
                    <a:pt x="36000" y="36595"/>
                    <a:pt x="35703" y="36595"/>
                  </a:cubicBezTo>
                  <a:cubicBezTo>
                    <a:pt x="35703" y="36595"/>
                    <a:pt x="35111" y="37021"/>
                    <a:pt x="35111" y="37446"/>
                  </a:cubicBezTo>
                  <a:cubicBezTo>
                    <a:pt x="35259" y="37446"/>
                    <a:pt x="35407" y="37446"/>
                    <a:pt x="35259" y="37446"/>
                  </a:cubicBezTo>
                  <a:cubicBezTo>
                    <a:pt x="35259" y="37872"/>
                    <a:pt x="34962" y="38297"/>
                    <a:pt x="35111" y="38723"/>
                  </a:cubicBezTo>
                  <a:cubicBezTo>
                    <a:pt x="35703" y="39574"/>
                    <a:pt x="35259" y="40851"/>
                    <a:pt x="34962" y="41702"/>
                  </a:cubicBezTo>
                  <a:cubicBezTo>
                    <a:pt x="34814" y="42127"/>
                    <a:pt x="34666" y="42978"/>
                    <a:pt x="34666" y="43404"/>
                  </a:cubicBezTo>
                  <a:cubicBezTo>
                    <a:pt x="34518" y="43829"/>
                    <a:pt x="34222" y="44255"/>
                    <a:pt x="33925" y="44255"/>
                  </a:cubicBezTo>
                  <a:cubicBezTo>
                    <a:pt x="33777" y="44680"/>
                    <a:pt x="33629" y="44680"/>
                    <a:pt x="33629" y="45531"/>
                  </a:cubicBezTo>
                  <a:cubicBezTo>
                    <a:pt x="33481" y="46382"/>
                    <a:pt x="33185" y="45957"/>
                    <a:pt x="33037" y="45957"/>
                  </a:cubicBezTo>
                  <a:cubicBezTo>
                    <a:pt x="32592" y="45531"/>
                    <a:pt x="32296" y="45957"/>
                    <a:pt x="32000" y="45531"/>
                  </a:cubicBezTo>
                  <a:cubicBezTo>
                    <a:pt x="31851" y="45531"/>
                    <a:pt x="31703" y="45106"/>
                    <a:pt x="31555" y="45106"/>
                  </a:cubicBezTo>
                  <a:cubicBezTo>
                    <a:pt x="31259" y="45106"/>
                    <a:pt x="31259" y="44680"/>
                    <a:pt x="31111" y="44255"/>
                  </a:cubicBezTo>
                  <a:cubicBezTo>
                    <a:pt x="31111" y="44255"/>
                    <a:pt x="31407" y="43829"/>
                    <a:pt x="31407" y="44255"/>
                  </a:cubicBezTo>
                  <a:cubicBezTo>
                    <a:pt x="31555" y="45106"/>
                    <a:pt x="31851" y="45106"/>
                    <a:pt x="31851" y="44680"/>
                  </a:cubicBezTo>
                  <a:cubicBezTo>
                    <a:pt x="32000" y="44255"/>
                    <a:pt x="32740" y="45531"/>
                    <a:pt x="33037" y="44680"/>
                  </a:cubicBezTo>
                  <a:cubicBezTo>
                    <a:pt x="33037" y="44255"/>
                    <a:pt x="32740" y="43829"/>
                    <a:pt x="33037" y="43829"/>
                  </a:cubicBezTo>
                  <a:cubicBezTo>
                    <a:pt x="33185" y="43404"/>
                    <a:pt x="33481" y="42978"/>
                    <a:pt x="33629" y="42553"/>
                  </a:cubicBezTo>
                  <a:cubicBezTo>
                    <a:pt x="33777" y="41702"/>
                    <a:pt x="33629" y="41702"/>
                    <a:pt x="34074" y="41276"/>
                  </a:cubicBezTo>
                  <a:cubicBezTo>
                    <a:pt x="34518" y="40425"/>
                    <a:pt x="33925" y="39574"/>
                    <a:pt x="34222" y="38723"/>
                  </a:cubicBezTo>
                  <a:cubicBezTo>
                    <a:pt x="34518" y="38297"/>
                    <a:pt x="34518" y="37872"/>
                    <a:pt x="34222" y="37446"/>
                  </a:cubicBezTo>
                  <a:cubicBezTo>
                    <a:pt x="34074" y="37446"/>
                    <a:pt x="33925" y="37021"/>
                    <a:pt x="33777" y="36595"/>
                  </a:cubicBezTo>
                  <a:cubicBezTo>
                    <a:pt x="33629" y="35744"/>
                    <a:pt x="33777" y="34468"/>
                    <a:pt x="33777" y="33617"/>
                  </a:cubicBezTo>
                  <a:cubicBezTo>
                    <a:pt x="33777" y="32765"/>
                    <a:pt x="33629" y="31914"/>
                    <a:pt x="33777" y="31063"/>
                  </a:cubicBezTo>
                  <a:cubicBezTo>
                    <a:pt x="33777" y="30212"/>
                    <a:pt x="34074" y="30212"/>
                    <a:pt x="34074" y="29361"/>
                  </a:cubicBezTo>
                  <a:cubicBezTo>
                    <a:pt x="33925" y="28510"/>
                    <a:pt x="33629" y="28085"/>
                    <a:pt x="33481" y="27659"/>
                  </a:cubicBezTo>
                  <a:cubicBezTo>
                    <a:pt x="33333" y="27234"/>
                    <a:pt x="33185" y="26808"/>
                    <a:pt x="33333" y="26382"/>
                  </a:cubicBezTo>
                  <a:cubicBezTo>
                    <a:pt x="33629" y="25957"/>
                    <a:pt x="33629" y="25106"/>
                    <a:pt x="33777" y="24255"/>
                  </a:cubicBezTo>
                  <a:cubicBezTo>
                    <a:pt x="33925" y="23829"/>
                    <a:pt x="34074" y="22553"/>
                    <a:pt x="33925" y="22127"/>
                  </a:cubicBezTo>
                  <a:cubicBezTo>
                    <a:pt x="33925" y="21702"/>
                    <a:pt x="33333" y="21276"/>
                    <a:pt x="33037" y="20851"/>
                  </a:cubicBezTo>
                  <a:cubicBezTo>
                    <a:pt x="32740" y="20851"/>
                    <a:pt x="32444" y="20851"/>
                    <a:pt x="32148" y="20851"/>
                  </a:cubicBezTo>
                  <a:cubicBezTo>
                    <a:pt x="32000" y="20851"/>
                    <a:pt x="31555" y="20425"/>
                    <a:pt x="31407" y="20851"/>
                  </a:cubicBezTo>
                  <a:cubicBezTo>
                    <a:pt x="30962" y="21702"/>
                    <a:pt x="30962" y="24680"/>
                    <a:pt x="30518" y="25531"/>
                  </a:cubicBezTo>
                  <a:cubicBezTo>
                    <a:pt x="30222" y="26808"/>
                    <a:pt x="29333" y="27234"/>
                    <a:pt x="29333" y="28936"/>
                  </a:cubicBezTo>
                  <a:cubicBezTo>
                    <a:pt x="29333" y="29361"/>
                    <a:pt x="29777" y="28936"/>
                    <a:pt x="29777" y="28936"/>
                  </a:cubicBezTo>
                  <a:cubicBezTo>
                    <a:pt x="29925" y="29361"/>
                    <a:pt x="29777" y="31063"/>
                    <a:pt x="29777" y="31063"/>
                  </a:cubicBezTo>
                  <a:cubicBezTo>
                    <a:pt x="29629" y="31914"/>
                    <a:pt x="29925" y="32340"/>
                    <a:pt x="29481" y="32340"/>
                  </a:cubicBezTo>
                  <a:cubicBezTo>
                    <a:pt x="29481" y="32765"/>
                    <a:pt x="29333" y="32765"/>
                    <a:pt x="29333" y="33191"/>
                  </a:cubicBezTo>
                  <a:cubicBezTo>
                    <a:pt x="29481" y="33617"/>
                    <a:pt x="29629" y="33617"/>
                    <a:pt x="29777" y="33617"/>
                  </a:cubicBezTo>
                  <a:cubicBezTo>
                    <a:pt x="29925" y="33617"/>
                    <a:pt x="30518" y="33617"/>
                    <a:pt x="30518" y="34042"/>
                  </a:cubicBezTo>
                  <a:cubicBezTo>
                    <a:pt x="30518" y="34893"/>
                    <a:pt x="30518" y="35744"/>
                    <a:pt x="30814" y="36170"/>
                  </a:cubicBezTo>
                  <a:cubicBezTo>
                    <a:pt x="31111" y="36595"/>
                    <a:pt x="31407" y="36170"/>
                    <a:pt x="31111" y="37021"/>
                  </a:cubicBezTo>
                  <a:cubicBezTo>
                    <a:pt x="30962" y="37446"/>
                    <a:pt x="30962" y="38297"/>
                    <a:pt x="30814" y="38723"/>
                  </a:cubicBezTo>
                  <a:cubicBezTo>
                    <a:pt x="30666" y="39574"/>
                    <a:pt x="29925" y="37446"/>
                    <a:pt x="29777" y="37021"/>
                  </a:cubicBezTo>
                  <a:cubicBezTo>
                    <a:pt x="29333" y="36170"/>
                    <a:pt x="28740" y="35744"/>
                    <a:pt x="28296" y="35319"/>
                  </a:cubicBezTo>
                  <a:cubicBezTo>
                    <a:pt x="28000" y="34893"/>
                    <a:pt x="27851" y="34468"/>
                    <a:pt x="27555" y="34042"/>
                  </a:cubicBezTo>
                  <a:cubicBezTo>
                    <a:pt x="27407" y="34042"/>
                    <a:pt x="27111" y="33617"/>
                    <a:pt x="26962" y="33617"/>
                  </a:cubicBezTo>
                  <a:cubicBezTo>
                    <a:pt x="26518" y="33617"/>
                    <a:pt x="26074" y="33191"/>
                    <a:pt x="25629" y="33191"/>
                  </a:cubicBezTo>
                  <a:cubicBezTo>
                    <a:pt x="25037" y="33191"/>
                    <a:pt x="24444" y="33191"/>
                    <a:pt x="24888" y="35319"/>
                  </a:cubicBezTo>
                  <a:cubicBezTo>
                    <a:pt x="25185" y="35744"/>
                    <a:pt x="25037" y="36595"/>
                    <a:pt x="24740" y="37021"/>
                  </a:cubicBezTo>
                  <a:cubicBezTo>
                    <a:pt x="24592" y="37446"/>
                    <a:pt x="24148" y="36595"/>
                    <a:pt x="24296" y="37872"/>
                  </a:cubicBezTo>
                  <a:cubicBezTo>
                    <a:pt x="24444" y="38297"/>
                    <a:pt x="23259" y="38297"/>
                    <a:pt x="23851" y="37021"/>
                  </a:cubicBezTo>
                  <a:cubicBezTo>
                    <a:pt x="24000" y="36595"/>
                    <a:pt x="23555" y="35744"/>
                    <a:pt x="23407" y="36170"/>
                  </a:cubicBezTo>
                  <a:cubicBezTo>
                    <a:pt x="23111" y="36170"/>
                    <a:pt x="22814" y="36595"/>
                    <a:pt x="22666" y="37021"/>
                  </a:cubicBezTo>
                  <a:cubicBezTo>
                    <a:pt x="22222" y="37872"/>
                    <a:pt x="21777" y="37021"/>
                    <a:pt x="21333" y="37446"/>
                  </a:cubicBezTo>
                  <a:cubicBezTo>
                    <a:pt x="20888" y="37872"/>
                    <a:pt x="20592" y="38723"/>
                    <a:pt x="20296" y="38723"/>
                  </a:cubicBezTo>
                  <a:cubicBezTo>
                    <a:pt x="20148" y="38723"/>
                    <a:pt x="19259" y="38723"/>
                    <a:pt x="19407" y="38297"/>
                  </a:cubicBezTo>
                  <a:cubicBezTo>
                    <a:pt x="19703" y="38297"/>
                    <a:pt x="19703" y="38297"/>
                    <a:pt x="19703" y="37872"/>
                  </a:cubicBezTo>
                  <a:cubicBezTo>
                    <a:pt x="19703" y="36595"/>
                    <a:pt x="20000" y="37021"/>
                    <a:pt x="20000" y="36170"/>
                  </a:cubicBezTo>
                  <a:cubicBezTo>
                    <a:pt x="20148" y="35744"/>
                    <a:pt x="19111" y="36595"/>
                    <a:pt x="19111" y="36595"/>
                  </a:cubicBezTo>
                  <a:cubicBezTo>
                    <a:pt x="18962" y="36595"/>
                    <a:pt x="18814" y="36595"/>
                    <a:pt x="18814" y="37021"/>
                  </a:cubicBezTo>
                  <a:cubicBezTo>
                    <a:pt x="18814" y="37446"/>
                    <a:pt x="18814" y="37872"/>
                    <a:pt x="18814" y="38297"/>
                  </a:cubicBezTo>
                  <a:cubicBezTo>
                    <a:pt x="18666" y="38297"/>
                    <a:pt x="18370" y="37872"/>
                    <a:pt x="18222" y="37872"/>
                  </a:cubicBezTo>
                  <a:cubicBezTo>
                    <a:pt x="17925" y="37872"/>
                    <a:pt x="17481" y="38297"/>
                    <a:pt x="17185" y="38723"/>
                  </a:cubicBezTo>
                  <a:cubicBezTo>
                    <a:pt x="16740" y="39148"/>
                    <a:pt x="16296" y="40000"/>
                    <a:pt x="15851" y="40425"/>
                  </a:cubicBezTo>
                  <a:cubicBezTo>
                    <a:pt x="15555" y="40425"/>
                    <a:pt x="15407" y="40851"/>
                    <a:pt x="15259" y="41702"/>
                  </a:cubicBezTo>
                  <a:cubicBezTo>
                    <a:pt x="15259" y="42127"/>
                    <a:pt x="15259" y="43404"/>
                    <a:pt x="14962" y="43404"/>
                  </a:cubicBezTo>
                  <a:cubicBezTo>
                    <a:pt x="14666" y="43404"/>
                    <a:pt x="14370" y="43829"/>
                    <a:pt x="14074" y="43829"/>
                  </a:cubicBezTo>
                  <a:cubicBezTo>
                    <a:pt x="13925" y="43829"/>
                    <a:pt x="13777" y="42978"/>
                    <a:pt x="13629" y="42553"/>
                  </a:cubicBezTo>
                  <a:cubicBezTo>
                    <a:pt x="13333" y="41702"/>
                    <a:pt x="12888" y="42127"/>
                    <a:pt x="13185" y="40851"/>
                  </a:cubicBezTo>
                  <a:cubicBezTo>
                    <a:pt x="13333" y="40000"/>
                    <a:pt x="13777" y="40425"/>
                    <a:pt x="13925" y="40000"/>
                  </a:cubicBezTo>
                  <a:cubicBezTo>
                    <a:pt x="14222" y="40000"/>
                    <a:pt x="14518" y="40425"/>
                    <a:pt x="14370" y="39574"/>
                  </a:cubicBezTo>
                  <a:cubicBezTo>
                    <a:pt x="14222" y="39148"/>
                    <a:pt x="14074" y="38297"/>
                    <a:pt x="13925" y="37872"/>
                  </a:cubicBezTo>
                  <a:cubicBezTo>
                    <a:pt x="13629" y="37021"/>
                    <a:pt x="13185" y="37446"/>
                    <a:pt x="12888" y="37446"/>
                  </a:cubicBezTo>
                  <a:cubicBezTo>
                    <a:pt x="12740" y="37446"/>
                    <a:pt x="11851" y="37021"/>
                    <a:pt x="11851" y="37021"/>
                  </a:cubicBezTo>
                  <a:cubicBezTo>
                    <a:pt x="11851" y="37021"/>
                    <a:pt x="12296" y="37446"/>
                    <a:pt x="12296" y="37446"/>
                  </a:cubicBezTo>
                  <a:cubicBezTo>
                    <a:pt x="12444" y="37872"/>
                    <a:pt x="12444" y="38297"/>
                    <a:pt x="12444" y="38723"/>
                  </a:cubicBezTo>
                  <a:cubicBezTo>
                    <a:pt x="12444" y="39148"/>
                    <a:pt x="12444" y="40000"/>
                    <a:pt x="12444" y="40425"/>
                  </a:cubicBezTo>
                  <a:cubicBezTo>
                    <a:pt x="12296" y="40851"/>
                    <a:pt x="12148" y="41276"/>
                    <a:pt x="12148" y="41702"/>
                  </a:cubicBezTo>
                  <a:cubicBezTo>
                    <a:pt x="12296" y="42553"/>
                    <a:pt x="12888" y="42553"/>
                    <a:pt x="12740" y="43829"/>
                  </a:cubicBezTo>
                  <a:cubicBezTo>
                    <a:pt x="12592" y="44255"/>
                    <a:pt x="12444" y="45106"/>
                    <a:pt x="12444" y="45531"/>
                  </a:cubicBezTo>
                  <a:cubicBezTo>
                    <a:pt x="12444" y="45531"/>
                    <a:pt x="12444" y="47234"/>
                    <a:pt x="12444" y="47234"/>
                  </a:cubicBezTo>
                  <a:cubicBezTo>
                    <a:pt x="12444" y="47234"/>
                    <a:pt x="12296" y="45957"/>
                    <a:pt x="12296" y="45957"/>
                  </a:cubicBezTo>
                  <a:cubicBezTo>
                    <a:pt x="12148" y="45957"/>
                    <a:pt x="12000" y="46808"/>
                    <a:pt x="11851" y="46382"/>
                  </a:cubicBezTo>
                  <a:cubicBezTo>
                    <a:pt x="11851" y="46382"/>
                    <a:pt x="12148" y="45957"/>
                    <a:pt x="12148" y="45531"/>
                  </a:cubicBezTo>
                  <a:cubicBezTo>
                    <a:pt x="12000" y="45106"/>
                    <a:pt x="11703" y="45106"/>
                    <a:pt x="11555" y="45106"/>
                  </a:cubicBezTo>
                  <a:cubicBezTo>
                    <a:pt x="11407" y="45106"/>
                    <a:pt x="11259" y="44680"/>
                    <a:pt x="11111" y="45106"/>
                  </a:cubicBezTo>
                  <a:cubicBezTo>
                    <a:pt x="10814" y="45106"/>
                    <a:pt x="10666" y="45957"/>
                    <a:pt x="10370" y="45957"/>
                  </a:cubicBezTo>
                  <a:cubicBezTo>
                    <a:pt x="10074" y="46808"/>
                    <a:pt x="9925" y="46808"/>
                    <a:pt x="9629" y="47659"/>
                  </a:cubicBezTo>
                  <a:cubicBezTo>
                    <a:pt x="9333" y="48510"/>
                    <a:pt x="9037" y="48510"/>
                    <a:pt x="9481" y="49361"/>
                  </a:cubicBezTo>
                  <a:cubicBezTo>
                    <a:pt x="9629" y="49787"/>
                    <a:pt x="9925" y="51063"/>
                    <a:pt x="9777" y="51489"/>
                  </a:cubicBezTo>
                  <a:cubicBezTo>
                    <a:pt x="9629" y="51914"/>
                    <a:pt x="8740" y="51063"/>
                    <a:pt x="8592" y="51063"/>
                  </a:cubicBezTo>
                  <a:cubicBezTo>
                    <a:pt x="8444" y="50638"/>
                    <a:pt x="8000" y="51063"/>
                    <a:pt x="7851" y="51063"/>
                  </a:cubicBezTo>
                  <a:cubicBezTo>
                    <a:pt x="8000" y="50638"/>
                    <a:pt x="7259" y="48936"/>
                    <a:pt x="7111" y="49787"/>
                  </a:cubicBezTo>
                  <a:cubicBezTo>
                    <a:pt x="6370" y="51489"/>
                    <a:pt x="8000" y="51914"/>
                    <a:pt x="8000" y="52765"/>
                  </a:cubicBezTo>
                  <a:cubicBezTo>
                    <a:pt x="7851" y="54468"/>
                    <a:pt x="7407" y="53617"/>
                    <a:pt x="6962" y="53617"/>
                  </a:cubicBezTo>
                  <a:cubicBezTo>
                    <a:pt x="6518" y="53191"/>
                    <a:pt x="6370" y="52340"/>
                    <a:pt x="5925" y="51914"/>
                  </a:cubicBezTo>
                  <a:cubicBezTo>
                    <a:pt x="5629" y="51489"/>
                    <a:pt x="5629" y="51063"/>
                    <a:pt x="5481" y="50212"/>
                  </a:cubicBezTo>
                  <a:cubicBezTo>
                    <a:pt x="5481" y="49361"/>
                    <a:pt x="5333" y="49361"/>
                    <a:pt x="5185" y="48936"/>
                  </a:cubicBezTo>
                  <a:cubicBezTo>
                    <a:pt x="5185" y="48510"/>
                    <a:pt x="5629" y="47659"/>
                    <a:pt x="5629" y="47659"/>
                  </a:cubicBezTo>
                  <a:cubicBezTo>
                    <a:pt x="5777" y="46382"/>
                    <a:pt x="5037" y="45531"/>
                    <a:pt x="4740" y="45531"/>
                  </a:cubicBezTo>
                  <a:cubicBezTo>
                    <a:pt x="4444" y="45106"/>
                    <a:pt x="4444" y="44255"/>
                    <a:pt x="4148" y="44255"/>
                  </a:cubicBezTo>
                  <a:cubicBezTo>
                    <a:pt x="4296" y="43829"/>
                    <a:pt x="3555" y="42127"/>
                    <a:pt x="3555" y="42127"/>
                  </a:cubicBezTo>
                  <a:cubicBezTo>
                    <a:pt x="3851" y="41702"/>
                    <a:pt x="4148" y="42978"/>
                    <a:pt x="4296" y="43404"/>
                  </a:cubicBezTo>
                  <a:cubicBezTo>
                    <a:pt x="4444" y="43829"/>
                    <a:pt x="4592" y="43829"/>
                    <a:pt x="4592" y="43404"/>
                  </a:cubicBezTo>
                  <a:cubicBezTo>
                    <a:pt x="4740" y="43404"/>
                    <a:pt x="4888" y="43829"/>
                    <a:pt x="4888" y="43829"/>
                  </a:cubicBezTo>
                  <a:cubicBezTo>
                    <a:pt x="5333" y="44255"/>
                    <a:pt x="5629" y="44680"/>
                    <a:pt x="6074" y="44680"/>
                  </a:cubicBezTo>
                  <a:cubicBezTo>
                    <a:pt x="6370" y="45106"/>
                    <a:pt x="6814" y="45106"/>
                    <a:pt x="7259" y="45531"/>
                  </a:cubicBezTo>
                  <a:cubicBezTo>
                    <a:pt x="8000" y="46382"/>
                    <a:pt x="8592" y="46382"/>
                    <a:pt x="9333" y="45106"/>
                  </a:cubicBezTo>
                  <a:cubicBezTo>
                    <a:pt x="9629" y="44680"/>
                    <a:pt x="9777" y="44255"/>
                    <a:pt x="10074" y="43829"/>
                  </a:cubicBezTo>
                  <a:cubicBezTo>
                    <a:pt x="10518" y="42978"/>
                    <a:pt x="10222" y="42553"/>
                    <a:pt x="10222" y="41276"/>
                  </a:cubicBezTo>
                  <a:cubicBezTo>
                    <a:pt x="10222" y="40000"/>
                    <a:pt x="9185" y="39574"/>
                    <a:pt x="8888" y="38723"/>
                  </a:cubicBezTo>
                  <a:cubicBezTo>
                    <a:pt x="8444" y="37872"/>
                    <a:pt x="7851" y="37021"/>
                    <a:pt x="7407" y="36595"/>
                  </a:cubicBezTo>
                  <a:cubicBezTo>
                    <a:pt x="6962" y="35744"/>
                    <a:pt x="6370" y="34893"/>
                    <a:pt x="5925" y="34893"/>
                  </a:cubicBezTo>
                  <a:cubicBezTo>
                    <a:pt x="5777" y="34468"/>
                    <a:pt x="5777" y="34893"/>
                    <a:pt x="5629" y="34893"/>
                  </a:cubicBezTo>
                  <a:cubicBezTo>
                    <a:pt x="5481" y="34893"/>
                    <a:pt x="5333" y="34468"/>
                    <a:pt x="5185" y="34468"/>
                  </a:cubicBezTo>
                  <a:cubicBezTo>
                    <a:pt x="4888" y="34042"/>
                    <a:pt x="4592" y="35744"/>
                    <a:pt x="4296" y="35744"/>
                  </a:cubicBezTo>
                  <a:cubicBezTo>
                    <a:pt x="4296" y="35319"/>
                    <a:pt x="4888" y="34042"/>
                    <a:pt x="4296" y="34042"/>
                  </a:cubicBezTo>
                  <a:cubicBezTo>
                    <a:pt x="4148" y="34042"/>
                    <a:pt x="3555" y="33191"/>
                    <a:pt x="3555" y="33191"/>
                  </a:cubicBezTo>
                  <a:cubicBezTo>
                    <a:pt x="3703" y="32765"/>
                    <a:pt x="4296" y="34042"/>
                    <a:pt x="4296" y="33191"/>
                  </a:cubicBezTo>
                  <a:cubicBezTo>
                    <a:pt x="4296" y="32765"/>
                    <a:pt x="3703" y="31914"/>
                    <a:pt x="3555" y="31914"/>
                  </a:cubicBezTo>
                  <a:cubicBezTo>
                    <a:pt x="3407" y="32340"/>
                    <a:pt x="2962" y="33191"/>
                    <a:pt x="2962" y="33191"/>
                  </a:cubicBezTo>
                  <a:cubicBezTo>
                    <a:pt x="2962" y="32765"/>
                    <a:pt x="2962" y="32765"/>
                    <a:pt x="2814" y="32340"/>
                  </a:cubicBezTo>
                  <a:cubicBezTo>
                    <a:pt x="2518" y="32340"/>
                    <a:pt x="2518" y="32765"/>
                    <a:pt x="2370" y="33191"/>
                  </a:cubicBezTo>
                  <a:cubicBezTo>
                    <a:pt x="2370" y="33191"/>
                    <a:pt x="2370" y="33191"/>
                    <a:pt x="2370" y="32765"/>
                  </a:cubicBezTo>
                  <a:cubicBezTo>
                    <a:pt x="2222" y="33191"/>
                    <a:pt x="2074" y="34042"/>
                    <a:pt x="1925" y="34042"/>
                  </a:cubicBezTo>
                  <a:cubicBezTo>
                    <a:pt x="1777" y="34468"/>
                    <a:pt x="1481" y="34468"/>
                    <a:pt x="1481" y="34468"/>
                  </a:cubicBezTo>
                  <a:cubicBezTo>
                    <a:pt x="1333" y="35319"/>
                    <a:pt x="740" y="35319"/>
                    <a:pt x="888" y="36170"/>
                  </a:cubicBezTo>
                  <a:cubicBezTo>
                    <a:pt x="1333" y="37021"/>
                    <a:pt x="740" y="36170"/>
                    <a:pt x="740" y="37446"/>
                  </a:cubicBezTo>
                  <a:cubicBezTo>
                    <a:pt x="740" y="38297"/>
                    <a:pt x="1333" y="38723"/>
                    <a:pt x="1481" y="39148"/>
                  </a:cubicBezTo>
                  <a:cubicBezTo>
                    <a:pt x="1777" y="39574"/>
                    <a:pt x="2074" y="40425"/>
                    <a:pt x="1925" y="41276"/>
                  </a:cubicBezTo>
                  <a:cubicBezTo>
                    <a:pt x="1777" y="42127"/>
                    <a:pt x="1333" y="42553"/>
                    <a:pt x="1333" y="43404"/>
                  </a:cubicBezTo>
                  <a:cubicBezTo>
                    <a:pt x="1481" y="44255"/>
                    <a:pt x="1777" y="45106"/>
                    <a:pt x="1925" y="45957"/>
                  </a:cubicBezTo>
                  <a:cubicBezTo>
                    <a:pt x="2074" y="46808"/>
                    <a:pt x="1777" y="46808"/>
                    <a:pt x="1777" y="47659"/>
                  </a:cubicBezTo>
                  <a:cubicBezTo>
                    <a:pt x="1777" y="48510"/>
                    <a:pt x="2222" y="49361"/>
                    <a:pt x="1925" y="49787"/>
                  </a:cubicBezTo>
                  <a:cubicBezTo>
                    <a:pt x="1629" y="50212"/>
                    <a:pt x="2074" y="51489"/>
                    <a:pt x="2074" y="51914"/>
                  </a:cubicBezTo>
                  <a:cubicBezTo>
                    <a:pt x="2370" y="52765"/>
                    <a:pt x="2666" y="52765"/>
                    <a:pt x="2222" y="53617"/>
                  </a:cubicBezTo>
                  <a:cubicBezTo>
                    <a:pt x="1925" y="54468"/>
                    <a:pt x="2074" y="54468"/>
                    <a:pt x="2222" y="54893"/>
                  </a:cubicBezTo>
                  <a:cubicBezTo>
                    <a:pt x="2962" y="56170"/>
                    <a:pt x="3407" y="57021"/>
                    <a:pt x="2666" y="58723"/>
                  </a:cubicBezTo>
                  <a:cubicBezTo>
                    <a:pt x="1925" y="60851"/>
                    <a:pt x="1185" y="62553"/>
                    <a:pt x="592" y="64680"/>
                  </a:cubicBezTo>
                  <a:cubicBezTo>
                    <a:pt x="888" y="64680"/>
                    <a:pt x="888" y="64255"/>
                    <a:pt x="1037" y="64680"/>
                  </a:cubicBezTo>
                  <a:cubicBezTo>
                    <a:pt x="1185" y="65531"/>
                    <a:pt x="1481" y="65531"/>
                    <a:pt x="1629" y="65957"/>
                  </a:cubicBezTo>
                  <a:cubicBezTo>
                    <a:pt x="2518" y="66808"/>
                    <a:pt x="1333" y="66808"/>
                    <a:pt x="1037" y="66808"/>
                  </a:cubicBezTo>
                  <a:cubicBezTo>
                    <a:pt x="740" y="66808"/>
                    <a:pt x="592" y="67234"/>
                    <a:pt x="592" y="68085"/>
                  </a:cubicBezTo>
                  <a:cubicBezTo>
                    <a:pt x="592" y="68936"/>
                    <a:pt x="296" y="69361"/>
                    <a:pt x="148" y="70212"/>
                  </a:cubicBezTo>
                  <a:cubicBezTo>
                    <a:pt x="0" y="70638"/>
                    <a:pt x="148" y="71489"/>
                    <a:pt x="296" y="72340"/>
                  </a:cubicBezTo>
                  <a:cubicBezTo>
                    <a:pt x="296" y="73191"/>
                    <a:pt x="0" y="74042"/>
                    <a:pt x="148" y="74468"/>
                  </a:cubicBezTo>
                  <a:cubicBezTo>
                    <a:pt x="444" y="74893"/>
                    <a:pt x="444" y="74893"/>
                    <a:pt x="444" y="75744"/>
                  </a:cubicBezTo>
                  <a:cubicBezTo>
                    <a:pt x="296" y="76595"/>
                    <a:pt x="592" y="77021"/>
                    <a:pt x="592" y="77872"/>
                  </a:cubicBezTo>
                  <a:cubicBezTo>
                    <a:pt x="592" y="78297"/>
                    <a:pt x="1037" y="79148"/>
                    <a:pt x="1185" y="79148"/>
                  </a:cubicBezTo>
                  <a:cubicBezTo>
                    <a:pt x="1185" y="79148"/>
                    <a:pt x="1333" y="78723"/>
                    <a:pt x="1481" y="78723"/>
                  </a:cubicBezTo>
                  <a:cubicBezTo>
                    <a:pt x="1629" y="78723"/>
                    <a:pt x="1629" y="79574"/>
                    <a:pt x="1777" y="79574"/>
                  </a:cubicBezTo>
                  <a:cubicBezTo>
                    <a:pt x="2074" y="79148"/>
                    <a:pt x="2074" y="78723"/>
                    <a:pt x="2370" y="79574"/>
                  </a:cubicBezTo>
                  <a:cubicBezTo>
                    <a:pt x="2666" y="80000"/>
                    <a:pt x="2666" y="80000"/>
                    <a:pt x="2666" y="80851"/>
                  </a:cubicBezTo>
                  <a:cubicBezTo>
                    <a:pt x="2518" y="82978"/>
                    <a:pt x="3111" y="84680"/>
                    <a:pt x="3555" y="85531"/>
                  </a:cubicBezTo>
                  <a:cubicBezTo>
                    <a:pt x="3851" y="85957"/>
                    <a:pt x="4000" y="86382"/>
                    <a:pt x="3703" y="86808"/>
                  </a:cubicBezTo>
                  <a:cubicBezTo>
                    <a:pt x="3555" y="87659"/>
                    <a:pt x="3407" y="87234"/>
                    <a:pt x="3111" y="87234"/>
                  </a:cubicBezTo>
                  <a:cubicBezTo>
                    <a:pt x="2814" y="87234"/>
                    <a:pt x="3259" y="91063"/>
                    <a:pt x="3555" y="90638"/>
                  </a:cubicBezTo>
                  <a:cubicBezTo>
                    <a:pt x="3703" y="90212"/>
                    <a:pt x="3851" y="88936"/>
                    <a:pt x="4000" y="89361"/>
                  </a:cubicBezTo>
                  <a:cubicBezTo>
                    <a:pt x="4148" y="89361"/>
                    <a:pt x="4296" y="89787"/>
                    <a:pt x="4592" y="89787"/>
                  </a:cubicBezTo>
                  <a:cubicBezTo>
                    <a:pt x="4888" y="89787"/>
                    <a:pt x="5185" y="90212"/>
                    <a:pt x="5185" y="91063"/>
                  </a:cubicBezTo>
                  <a:cubicBezTo>
                    <a:pt x="5185" y="91489"/>
                    <a:pt x="5037" y="91489"/>
                    <a:pt x="5037" y="91489"/>
                  </a:cubicBezTo>
                  <a:cubicBezTo>
                    <a:pt x="4888" y="91914"/>
                    <a:pt x="5037" y="92765"/>
                    <a:pt x="5185" y="92765"/>
                  </a:cubicBezTo>
                  <a:cubicBezTo>
                    <a:pt x="5333" y="93191"/>
                    <a:pt x="5629" y="92765"/>
                    <a:pt x="5777" y="93191"/>
                  </a:cubicBezTo>
                  <a:cubicBezTo>
                    <a:pt x="5925" y="93617"/>
                    <a:pt x="5925" y="94468"/>
                    <a:pt x="5925" y="94893"/>
                  </a:cubicBezTo>
                  <a:cubicBezTo>
                    <a:pt x="5925" y="95319"/>
                    <a:pt x="6370" y="94893"/>
                    <a:pt x="6518" y="94893"/>
                  </a:cubicBezTo>
                  <a:cubicBezTo>
                    <a:pt x="6666" y="95319"/>
                    <a:pt x="6962" y="96595"/>
                    <a:pt x="7111" y="95744"/>
                  </a:cubicBezTo>
                  <a:cubicBezTo>
                    <a:pt x="7259" y="94893"/>
                    <a:pt x="7407" y="95319"/>
                    <a:pt x="7555" y="95744"/>
                  </a:cubicBezTo>
                  <a:cubicBezTo>
                    <a:pt x="7851" y="96595"/>
                    <a:pt x="7851" y="96170"/>
                    <a:pt x="8148" y="96170"/>
                  </a:cubicBezTo>
                  <a:cubicBezTo>
                    <a:pt x="8296" y="96170"/>
                    <a:pt x="8444" y="97446"/>
                    <a:pt x="8592" y="97021"/>
                  </a:cubicBezTo>
                  <a:cubicBezTo>
                    <a:pt x="8888" y="96595"/>
                    <a:pt x="9185" y="97446"/>
                    <a:pt x="9333" y="97872"/>
                  </a:cubicBezTo>
                  <a:cubicBezTo>
                    <a:pt x="9629" y="98297"/>
                    <a:pt x="9185" y="98723"/>
                    <a:pt x="9185" y="98723"/>
                  </a:cubicBezTo>
                  <a:cubicBezTo>
                    <a:pt x="8888" y="99148"/>
                    <a:pt x="9333" y="99574"/>
                    <a:pt x="9333" y="99574"/>
                  </a:cubicBezTo>
                  <a:cubicBezTo>
                    <a:pt x="9333" y="99574"/>
                    <a:pt x="8888" y="99574"/>
                    <a:pt x="9037" y="100425"/>
                  </a:cubicBezTo>
                  <a:cubicBezTo>
                    <a:pt x="9333" y="100851"/>
                    <a:pt x="9185" y="101276"/>
                    <a:pt x="9037" y="101702"/>
                  </a:cubicBezTo>
                  <a:cubicBezTo>
                    <a:pt x="9037" y="102127"/>
                    <a:pt x="8592" y="102127"/>
                    <a:pt x="8444" y="102127"/>
                  </a:cubicBezTo>
                  <a:cubicBezTo>
                    <a:pt x="8148" y="102127"/>
                    <a:pt x="8000" y="102978"/>
                    <a:pt x="7851" y="103829"/>
                  </a:cubicBezTo>
                  <a:cubicBezTo>
                    <a:pt x="8000" y="103829"/>
                    <a:pt x="8592" y="103829"/>
                    <a:pt x="8592" y="104255"/>
                  </a:cubicBezTo>
                  <a:cubicBezTo>
                    <a:pt x="8592" y="104680"/>
                    <a:pt x="7851" y="105106"/>
                    <a:pt x="7851" y="105531"/>
                  </a:cubicBezTo>
                  <a:cubicBezTo>
                    <a:pt x="7851" y="105957"/>
                    <a:pt x="8148" y="105957"/>
                    <a:pt x="8148" y="106808"/>
                  </a:cubicBezTo>
                  <a:cubicBezTo>
                    <a:pt x="8148" y="106808"/>
                    <a:pt x="7703" y="107234"/>
                    <a:pt x="7703" y="107234"/>
                  </a:cubicBezTo>
                  <a:cubicBezTo>
                    <a:pt x="7555" y="107659"/>
                    <a:pt x="7555" y="108085"/>
                    <a:pt x="7407" y="108510"/>
                  </a:cubicBezTo>
                  <a:cubicBezTo>
                    <a:pt x="7407" y="108936"/>
                    <a:pt x="7111" y="108510"/>
                    <a:pt x="7111" y="109361"/>
                  </a:cubicBezTo>
                  <a:cubicBezTo>
                    <a:pt x="6962" y="109787"/>
                    <a:pt x="7259" y="110638"/>
                    <a:pt x="7555" y="110638"/>
                  </a:cubicBezTo>
                  <a:cubicBezTo>
                    <a:pt x="7851" y="111063"/>
                    <a:pt x="8148" y="111489"/>
                    <a:pt x="8592" y="112340"/>
                  </a:cubicBezTo>
                  <a:cubicBezTo>
                    <a:pt x="8740" y="112765"/>
                    <a:pt x="8888" y="113191"/>
                    <a:pt x="9037" y="113191"/>
                  </a:cubicBezTo>
                  <a:cubicBezTo>
                    <a:pt x="9185" y="114042"/>
                    <a:pt x="9185" y="113617"/>
                    <a:pt x="9481" y="113191"/>
                  </a:cubicBezTo>
                  <a:cubicBezTo>
                    <a:pt x="9925" y="113191"/>
                    <a:pt x="10370" y="114468"/>
                    <a:pt x="10814" y="114468"/>
                  </a:cubicBezTo>
                  <a:cubicBezTo>
                    <a:pt x="11259" y="114468"/>
                    <a:pt x="11703" y="115319"/>
                    <a:pt x="12148" y="115744"/>
                  </a:cubicBezTo>
                  <a:cubicBezTo>
                    <a:pt x="12592" y="116170"/>
                    <a:pt x="12888" y="115744"/>
                    <a:pt x="13333" y="115744"/>
                  </a:cubicBezTo>
                  <a:cubicBezTo>
                    <a:pt x="13481" y="116170"/>
                    <a:pt x="13629" y="116595"/>
                    <a:pt x="13629" y="117021"/>
                  </a:cubicBezTo>
                  <a:cubicBezTo>
                    <a:pt x="13629" y="117446"/>
                    <a:pt x="13777" y="117446"/>
                    <a:pt x="13925" y="117446"/>
                  </a:cubicBezTo>
                  <a:cubicBezTo>
                    <a:pt x="14370" y="117872"/>
                    <a:pt x="14666" y="120000"/>
                    <a:pt x="15259" y="119148"/>
                  </a:cubicBezTo>
                  <a:cubicBezTo>
                    <a:pt x="15407" y="118723"/>
                    <a:pt x="15703" y="118297"/>
                    <a:pt x="15555" y="117872"/>
                  </a:cubicBezTo>
                  <a:cubicBezTo>
                    <a:pt x="15407" y="117446"/>
                    <a:pt x="15259" y="117021"/>
                    <a:pt x="15111" y="116595"/>
                  </a:cubicBezTo>
                  <a:cubicBezTo>
                    <a:pt x="14814" y="115744"/>
                    <a:pt x="14666" y="114893"/>
                    <a:pt x="14814" y="113617"/>
                  </a:cubicBezTo>
                  <a:cubicBezTo>
                    <a:pt x="14814" y="112765"/>
                    <a:pt x="14666" y="111914"/>
                    <a:pt x="14370" y="111489"/>
                  </a:cubicBezTo>
                  <a:cubicBezTo>
                    <a:pt x="14074" y="111063"/>
                    <a:pt x="14518" y="110212"/>
                    <a:pt x="14666" y="109787"/>
                  </a:cubicBezTo>
                  <a:cubicBezTo>
                    <a:pt x="14814" y="108936"/>
                    <a:pt x="14814" y="108085"/>
                    <a:pt x="15259" y="108085"/>
                  </a:cubicBezTo>
                  <a:cubicBezTo>
                    <a:pt x="15407" y="108085"/>
                    <a:pt x="15555" y="107659"/>
                    <a:pt x="15703" y="107234"/>
                  </a:cubicBezTo>
                  <a:cubicBezTo>
                    <a:pt x="15851" y="106808"/>
                    <a:pt x="16000" y="106808"/>
                    <a:pt x="16148" y="106382"/>
                  </a:cubicBezTo>
                  <a:cubicBezTo>
                    <a:pt x="16000" y="106382"/>
                    <a:pt x="15703" y="105957"/>
                    <a:pt x="15703" y="105531"/>
                  </a:cubicBezTo>
                  <a:cubicBezTo>
                    <a:pt x="15703" y="105106"/>
                    <a:pt x="16000" y="105531"/>
                    <a:pt x="16000" y="105531"/>
                  </a:cubicBezTo>
                  <a:cubicBezTo>
                    <a:pt x="16000" y="105106"/>
                    <a:pt x="15703" y="103829"/>
                    <a:pt x="15555" y="103404"/>
                  </a:cubicBezTo>
                  <a:cubicBezTo>
                    <a:pt x="15407" y="102553"/>
                    <a:pt x="15259" y="102553"/>
                    <a:pt x="14962" y="102553"/>
                  </a:cubicBezTo>
                  <a:cubicBezTo>
                    <a:pt x="14518" y="102553"/>
                    <a:pt x="14814" y="101702"/>
                    <a:pt x="14518" y="101276"/>
                  </a:cubicBezTo>
                  <a:cubicBezTo>
                    <a:pt x="14370" y="100851"/>
                    <a:pt x="13925" y="100851"/>
                    <a:pt x="14222" y="100000"/>
                  </a:cubicBezTo>
                  <a:cubicBezTo>
                    <a:pt x="14370" y="99148"/>
                    <a:pt x="14666" y="98723"/>
                    <a:pt x="14370" y="98297"/>
                  </a:cubicBezTo>
                  <a:cubicBezTo>
                    <a:pt x="14222" y="97446"/>
                    <a:pt x="14518" y="97021"/>
                    <a:pt x="14666" y="96595"/>
                  </a:cubicBezTo>
                  <a:cubicBezTo>
                    <a:pt x="14666" y="96170"/>
                    <a:pt x="14962" y="94893"/>
                    <a:pt x="14962" y="95319"/>
                  </a:cubicBezTo>
                  <a:cubicBezTo>
                    <a:pt x="15111" y="95744"/>
                    <a:pt x="15259" y="96595"/>
                    <a:pt x="15407" y="97021"/>
                  </a:cubicBezTo>
                  <a:cubicBezTo>
                    <a:pt x="15703" y="97021"/>
                    <a:pt x="15851" y="96595"/>
                    <a:pt x="15851" y="96170"/>
                  </a:cubicBezTo>
                  <a:cubicBezTo>
                    <a:pt x="15703" y="95319"/>
                    <a:pt x="15703" y="94893"/>
                    <a:pt x="16000" y="94468"/>
                  </a:cubicBezTo>
                  <a:cubicBezTo>
                    <a:pt x="16296" y="94042"/>
                    <a:pt x="16296" y="93191"/>
                    <a:pt x="16592" y="93191"/>
                  </a:cubicBezTo>
                  <a:cubicBezTo>
                    <a:pt x="16888" y="92765"/>
                    <a:pt x="17185" y="91489"/>
                    <a:pt x="17481" y="91914"/>
                  </a:cubicBezTo>
                  <a:cubicBezTo>
                    <a:pt x="17777" y="91914"/>
                    <a:pt x="17777" y="92765"/>
                    <a:pt x="18074" y="91914"/>
                  </a:cubicBezTo>
                  <a:cubicBezTo>
                    <a:pt x="18370" y="91489"/>
                    <a:pt x="18370" y="91914"/>
                    <a:pt x="18666" y="92340"/>
                  </a:cubicBezTo>
                  <a:cubicBezTo>
                    <a:pt x="18962" y="92340"/>
                    <a:pt x="19259" y="92340"/>
                    <a:pt x="19555" y="92765"/>
                  </a:cubicBezTo>
                  <a:cubicBezTo>
                    <a:pt x="19851" y="93191"/>
                    <a:pt x="19851" y="94042"/>
                    <a:pt x="20148" y="94893"/>
                  </a:cubicBezTo>
                  <a:cubicBezTo>
                    <a:pt x="20148" y="94893"/>
                    <a:pt x="20148" y="93617"/>
                    <a:pt x="20444" y="94042"/>
                  </a:cubicBezTo>
                  <a:cubicBezTo>
                    <a:pt x="20592" y="94042"/>
                    <a:pt x="20740" y="94893"/>
                    <a:pt x="21037" y="94893"/>
                  </a:cubicBezTo>
                  <a:cubicBezTo>
                    <a:pt x="21185" y="95319"/>
                    <a:pt x="21333" y="94468"/>
                    <a:pt x="21481" y="94042"/>
                  </a:cubicBezTo>
                  <a:cubicBezTo>
                    <a:pt x="21777" y="93191"/>
                    <a:pt x="21925" y="94042"/>
                    <a:pt x="22222" y="94042"/>
                  </a:cubicBezTo>
                  <a:cubicBezTo>
                    <a:pt x="22518" y="94042"/>
                    <a:pt x="22666" y="93191"/>
                    <a:pt x="22962" y="93617"/>
                  </a:cubicBezTo>
                  <a:cubicBezTo>
                    <a:pt x="23259" y="94042"/>
                    <a:pt x="23407" y="94468"/>
                    <a:pt x="23703" y="94893"/>
                  </a:cubicBezTo>
                  <a:cubicBezTo>
                    <a:pt x="24000" y="95319"/>
                    <a:pt x="23851" y="94893"/>
                    <a:pt x="24148" y="94468"/>
                  </a:cubicBezTo>
                  <a:cubicBezTo>
                    <a:pt x="24296" y="94042"/>
                    <a:pt x="24888" y="94468"/>
                    <a:pt x="25037" y="94468"/>
                  </a:cubicBezTo>
                  <a:cubicBezTo>
                    <a:pt x="25185" y="94468"/>
                    <a:pt x="25481" y="93617"/>
                    <a:pt x="25481" y="93191"/>
                  </a:cubicBezTo>
                  <a:cubicBezTo>
                    <a:pt x="25481" y="92340"/>
                    <a:pt x="25037" y="92340"/>
                    <a:pt x="24888" y="91914"/>
                  </a:cubicBezTo>
                  <a:cubicBezTo>
                    <a:pt x="23851" y="90638"/>
                    <a:pt x="25333" y="91063"/>
                    <a:pt x="25037" y="89361"/>
                  </a:cubicBezTo>
                  <a:cubicBezTo>
                    <a:pt x="24888" y="88936"/>
                    <a:pt x="24592" y="88936"/>
                    <a:pt x="25037" y="88510"/>
                  </a:cubicBezTo>
                  <a:cubicBezTo>
                    <a:pt x="25185" y="88085"/>
                    <a:pt x="25481" y="88510"/>
                    <a:pt x="25629" y="88085"/>
                  </a:cubicBezTo>
                  <a:cubicBezTo>
                    <a:pt x="26222" y="88085"/>
                    <a:pt x="24592" y="85957"/>
                    <a:pt x="25333" y="85106"/>
                  </a:cubicBezTo>
                  <a:cubicBezTo>
                    <a:pt x="25481" y="85106"/>
                    <a:pt x="25777" y="85106"/>
                    <a:pt x="25925" y="85106"/>
                  </a:cubicBezTo>
                  <a:cubicBezTo>
                    <a:pt x="26370" y="85106"/>
                    <a:pt x="26666" y="85106"/>
                    <a:pt x="27111" y="84680"/>
                  </a:cubicBezTo>
                  <a:cubicBezTo>
                    <a:pt x="27407" y="84255"/>
                    <a:pt x="27703" y="84255"/>
                    <a:pt x="28000" y="84255"/>
                  </a:cubicBezTo>
                  <a:cubicBezTo>
                    <a:pt x="28296" y="83829"/>
                    <a:pt x="28592" y="83404"/>
                    <a:pt x="29037" y="83404"/>
                  </a:cubicBezTo>
                  <a:cubicBezTo>
                    <a:pt x="29629" y="82978"/>
                    <a:pt x="30222" y="82553"/>
                    <a:pt x="30814" y="81702"/>
                  </a:cubicBezTo>
                  <a:cubicBezTo>
                    <a:pt x="31259" y="80851"/>
                    <a:pt x="32148" y="80851"/>
                    <a:pt x="32444" y="82553"/>
                  </a:cubicBezTo>
                  <a:cubicBezTo>
                    <a:pt x="32592" y="83404"/>
                    <a:pt x="32444" y="83404"/>
                    <a:pt x="32592" y="84255"/>
                  </a:cubicBezTo>
                  <a:cubicBezTo>
                    <a:pt x="32592" y="85531"/>
                    <a:pt x="33185" y="84255"/>
                    <a:pt x="33481" y="84680"/>
                  </a:cubicBezTo>
                  <a:cubicBezTo>
                    <a:pt x="33629" y="84680"/>
                    <a:pt x="33481" y="85106"/>
                    <a:pt x="33629" y="85106"/>
                  </a:cubicBezTo>
                  <a:cubicBezTo>
                    <a:pt x="33777" y="85531"/>
                    <a:pt x="33777" y="85106"/>
                    <a:pt x="33777" y="85106"/>
                  </a:cubicBezTo>
                  <a:cubicBezTo>
                    <a:pt x="33925" y="84680"/>
                    <a:pt x="34074" y="85106"/>
                    <a:pt x="34222" y="85531"/>
                  </a:cubicBezTo>
                  <a:cubicBezTo>
                    <a:pt x="34370" y="85531"/>
                    <a:pt x="34370" y="85531"/>
                    <a:pt x="34222" y="85957"/>
                  </a:cubicBezTo>
                  <a:cubicBezTo>
                    <a:pt x="34074" y="87234"/>
                    <a:pt x="35111" y="86382"/>
                    <a:pt x="35407" y="85957"/>
                  </a:cubicBezTo>
                  <a:cubicBezTo>
                    <a:pt x="35407" y="85957"/>
                    <a:pt x="36740" y="83829"/>
                    <a:pt x="36740" y="84255"/>
                  </a:cubicBezTo>
                  <a:cubicBezTo>
                    <a:pt x="36740" y="84680"/>
                    <a:pt x="36444" y="85531"/>
                    <a:pt x="36740" y="85957"/>
                  </a:cubicBezTo>
                  <a:cubicBezTo>
                    <a:pt x="37037" y="85957"/>
                    <a:pt x="37185" y="86382"/>
                    <a:pt x="37333" y="86808"/>
                  </a:cubicBezTo>
                  <a:cubicBezTo>
                    <a:pt x="37777" y="88085"/>
                    <a:pt x="37925" y="89361"/>
                    <a:pt x="38222" y="90638"/>
                  </a:cubicBezTo>
                  <a:cubicBezTo>
                    <a:pt x="38518" y="91914"/>
                    <a:pt x="38666" y="93191"/>
                    <a:pt x="38962" y="94042"/>
                  </a:cubicBezTo>
                  <a:cubicBezTo>
                    <a:pt x="39407" y="95319"/>
                    <a:pt x="39407" y="92340"/>
                    <a:pt x="39851" y="93617"/>
                  </a:cubicBezTo>
                  <a:cubicBezTo>
                    <a:pt x="40444" y="95319"/>
                    <a:pt x="40740" y="94468"/>
                    <a:pt x="41481" y="94042"/>
                  </a:cubicBezTo>
                  <a:cubicBezTo>
                    <a:pt x="41777" y="93617"/>
                    <a:pt x="41925" y="94893"/>
                    <a:pt x="42074" y="95319"/>
                  </a:cubicBezTo>
                  <a:cubicBezTo>
                    <a:pt x="42222" y="96170"/>
                    <a:pt x="42518" y="96170"/>
                    <a:pt x="42666" y="97021"/>
                  </a:cubicBezTo>
                  <a:cubicBezTo>
                    <a:pt x="42814" y="97872"/>
                    <a:pt x="43111" y="97872"/>
                    <a:pt x="43407" y="97872"/>
                  </a:cubicBezTo>
                  <a:cubicBezTo>
                    <a:pt x="43851" y="97446"/>
                    <a:pt x="43703" y="97872"/>
                    <a:pt x="43851" y="98297"/>
                  </a:cubicBezTo>
                  <a:cubicBezTo>
                    <a:pt x="44148" y="100000"/>
                    <a:pt x="45037" y="97872"/>
                    <a:pt x="45481" y="97872"/>
                  </a:cubicBezTo>
                  <a:cubicBezTo>
                    <a:pt x="45925" y="97446"/>
                    <a:pt x="46370" y="96170"/>
                    <a:pt x="46814" y="95744"/>
                  </a:cubicBezTo>
                  <a:cubicBezTo>
                    <a:pt x="47407" y="94468"/>
                    <a:pt x="47703" y="94468"/>
                    <a:pt x="48444" y="94893"/>
                  </a:cubicBezTo>
                  <a:cubicBezTo>
                    <a:pt x="48740" y="94893"/>
                    <a:pt x="48740" y="95319"/>
                    <a:pt x="49037" y="96170"/>
                  </a:cubicBezTo>
                  <a:cubicBezTo>
                    <a:pt x="49185" y="96595"/>
                    <a:pt x="49481" y="96595"/>
                    <a:pt x="49777" y="96595"/>
                  </a:cubicBezTo>
                  <a:cubicBezTo>
                    <a:pt x="50074" y="96595"/>
                    <a:pt x="50222" y="97021"/>
                    <a:pt x="50518" y="97021"/>
                  </a:cubicBezTo>
                  <a:cubicBezTo>
                    <a:pt x="50814" y="97872"/>
                    <a:pt x="50962" y="97021"/>
                    <a:pt x="51259" y="96595"/>
                  </a:cubicBezTo>
                  <a:cubicBezTo>
                    <a:pt x="51703" y="95319"/>
                    <a:pt x="50962" y="94468"/>
                    <a:pt x="51259" y="93191"/>
                  </a:cubicBezTo>
                  <a:cubicBezTo>
                    <a:pt x="51407" y="92340"/>
                    <a:pt x="52000" y="90638"/>
                    <a:pt x="52296" y="91063"/>
                  </a:cubicBezTo>
                  <a:cubicBezTo>
                    <a:pt x="52888" y="91914"/>
                    <a:pt x="53629" y="91914"/>
                    <a:pt x="54222" y="92765"/>
                  </a:cubicBezTo>
                  <a:cubicBezTo>
                    <a:pt x="54518" y="93191"/>
                    <a:pt x="54370" y="94042"/>
                    <a:pt x="54518" y="94468"/>
                  </a:cubicBezTo>
                  <a:cubicBezTo>
                    <a:pt x="54666" y="95744"/>
                    <a:pt x="54962" y="95744"/>
                    <a:pt x="55407" y="96170"/>
                  </a:cubicBezTo>
                  <a:cubicBezTo>
                    <a:pt x="56000" y="96595"/>
                    <a:pt x="56592" y="95319"/>
                    <a:pt x="57185" y="95744"/>
                  </a:cubicBezTo>
                  <a:cubicBezTo>
                    <a:pt x="57333" y="95744"/>
                    <a:pt x="57629" y="95744"/>
                    <a:pt x="57777" y="96170"/>
                  </a:cubicBezTo>
                  <a:cubicBezTo>
                    <a:pt x="58074" y="96595"/>
                    <a:pt x="58370" y="96595"/>
                    <a:pt x="58666" y="97446"/>
                  </a:cubicBezTo>
                  <a:cubicBezTo>
                    <a:pt x="59407" y="99148"/>
                    <a:pt x="60592" y="99148"/>
                    <a:pt x="61481" y="98297"/>
                  </a:cubicBezTo>
                  <a:cubicBezTo>
                    <a:pt x="62074" y="97872"/>
                    <a:pt x="62518" y="97021"/>
                    <a:pt x="63111" y="96595"/>
                  </a:cubicBezTo>
                  <a:cubicBezTo>
                    <a:pt x="63407" y="95744"/>
                    <a:pt x="63851" y="96595"/>
                    <a:pt x="64148" y="96595"/>
                  </a:cubicBezTo>
                  <a:cubicBezTo>
                    <a:pt x="64444" y="97021"/>
                    <a:pt x="64592" y="96170"/>
                    <a:pt x="64888" y="96595"/>
                  </a:cubicBezTo>
                  <a:cubicBezTo>
                    <a:pt x="65037" y="97021"/>
                    <a:pt x="65629" y="98297"/>
                    <a:pt x="65925" y="97872"/>
                  </a:cubicBezTo>
                  <a:cubicBezTo>
                    <a:pt x="66074" y="97872"/>
                    <a:pt x="66370" y="97446"/>
                    <a:pt x="66518" y="97021"/>
                  </a:cubicBezTo>
                  <a:cubicBezTo>
                    <a:pt x="66962" y="96595"/>
                    <a:pt x="67111" y="96595"/>
                    <a:pt x="67111" y="95744"/>
                  </a:cubicBezTo>
                  <a:cubicBezTo>
                    <a:pt x="67111" y="94042"/>
                    <a:pt x="67555" y="92340"/>
                    <a:pt x="67851" y="91489"/>
                  </a:cubicBezTo>
                  <a:cubicBezTo>
                    <a:pt x="68000" y="91063"/>
                    <a:pt x="68148" y="90212"/>
                    <a:pt x="68000" y="89787"/>
                  </a:cubicBezTo>
                  <a:cubicBezTo>
                    <a:pt x="67851" y="89361"/>
                    <a:pt x="67407" y="89361"/>
                    <a:pt x="67703" y="88510"/>
                  </a:cubicBezTo>
                  <a:cubicBezTo>
                    <a:pt x="68148" y="87234"/>
                    <a:pt x="68888" y="87234"/>
                    <a:pt x="69629" y="86808"/>
                  </a:cubicBezTo>
                  <a:cubicBezTo>
                    <a:pt x="69925" y="86808"/>
                    <a:pt x="70222" y="86808"/>
                    <a:pt x="70518" y="87234"/>
                  </a:cubicBezTo>
                  <a:cubicBezTo>
                    <a:pt x="70814" y="87659"/>
                    <a:pt x="71259" y="87659"/>
                    <a:pt x="71555" y="88085"/>
                  </a:cubicBezTo>
                  <a:cubicBezTo>
                    <a:pt x="72000" y="88510"/>
                    <a:pt x="72148" y="90212"/>
                    <a:pt x="72444" y="91489"/>
                  </a:cubicBezTo>
                  <a:cubicBezTo>
                    <a:pt x="72592" y="92765"/>
                    <a:pt x="72888" y="94042"/>
                    <a:pt x="73037" y="95319"/>
                  </a:cubicBezTo>
                  <a:cubicBezTo>
                    <a:pt x="73037" y="95744"/>
                    <a:pt x="73037" y="96595"/>
                    <a:pt x="73185" y="97446"/>
                  </a:cubicBezTo>
                  <a:cubicBezTo>
                    <a:pt x="73185" y="97872"/>
                    <a:pt x="73629" y="97872"/>
                    <a:pt x="73777" y="97872"/>
                  </a:cubicBezTo>
                  <a:cubicBezTo>
                    <a:pt x="74370" y="98297"/>
                    <a:pt x="75111" y="99148"/>
                    <a:pt x="75259" y="100851"/>
                  </a:cubicBezTo>
                  <a:cubicBezTo>
                    <a:pt x="75407" y="102127"/>
                    <a:pt x="75555" y="102978"/>
                    <a:pt x="76148" y="102978"/>
                  </a:cubicBezTo>
                  <a:cubicBezTo>
                    <a:pt x="76296" y="102978"/>
                    <a:pt x="76592" y="102978"/>
                    <a:pt x="76740" y="102978"/>
                  </a:cubicBezTo>
                  <a:cubicBezTo>
                    <a:pt x="77037" y="102978"/>
                    <a:pt x="77037" y="102127"/>
                    <a:pt x="77333" y="102127"/>
                  </a:cubicBezTo>
                  <a:cubicBezTo>
                    <a:pt x="77777" y="102127"/>
                    <a:pt x="78222" y="100851"/>
                    <a:pt x="78518" y="102553"/>
                  </a:cubicBezTo>
                  <a:cubicBezTo>
                    <a:pt x="78518" y="103404"/>
                    <a:pt x="78518" y="103404"/>
                    <a:pt x="78370" y="103829"/>
                  </a:cubicBezTo>
                  <a:cubicBezTo>
                    <a:pt x="78074" y="104680"/>
                    <a:pt x="78074" y="105106"/>
                    <a:pt x="77925" y="105957"/>
                  </a:cubicBezTo>
                  <a:cubicBezTo>
                    <a:pt x="77777" y="107234"/>
                    <a:pt x="77481" y="108510"/>
                    <a:pt x="77185" y="109787"/>
                  </a:cubicBezTo>
                  <a:cubicBezTo>
                    <a:pt x="77037" y="110638"/>
                    <a:pt x="76888" y="110212"/>
                    <a:pt x="76740" y="109787"/>
                  </a:cubicBezTo>
                  <a:cubicBezTo>
                    <a:pt x="76444" y="109361"/>
                    <a:pt x="76444" y="109787"/>
                    <a:pt x="76148" y="110212"/>
                  </a:cubicBezTo>
                  <a:cubicBezTo>
                    <a:pt x="76000" y="110212"/>
                    <a:pt x="75703" y="110638"/>
                    <a:pt x="75703" y="110638"/>
                  </a:cubicBezTo>
                  <a:cubicBezTo>
                    <a:pt x="75555" y="111063"/>
                    <a:pt x="76000" y="112765"/>
                    <a:pt x="76000" y="113617"/>
                  </a:cubicBezTo>
                  <a:cubicBezTo>
                    <a:pt x="75851" y="114042"/>
                    <a:pt x="75851" y="114893"/>
                    <a:pt x="75851" y="115319"/>
                  </a:cubicBezTo>
                  <a:cubicBezTo>
                    <a:pt x="75703" y="116170"/>
                    <a:pt x="75407" y="115744"/>
                    <a:pt x="75407" y="116595"/>
                  </a:cubicBezTo>
                  <a:cubicBezTo>
                    <a:pt x="75703" y="116170"/>
                    <a:pt x="75851" y="116595"/>
                    <a:pt x="76148" y="115744"/>
                  </a:cubicBezTo>
                  <a:cubicBezTo>
                    <a:pt x="76296" y="114893"/>
                    <a:pt x="76592" y="115744"/>
                    <a:pt x="76888" y="115744"/>
                  </a:cubicBezTo>
                  <a:cubicBezTo>
                    <a:pt x="77481" y="116595"/>
                    <a:pt x="78074" y="115744"/>
                    <a:pt x="78666" y="114468"/>
                  </a:cubicBezTo>
                  <a:cubicBezTo>
                    <a:pt x="79111" y="113191"/>
                    <a:pt x="79555" y="111489"/>
                    <a:pt x="80000" y="110212"/>
                  </a:cubicBezTo>
                  <a:cubicBezTo>
                    <a:pt x="80444" y="108510"/>
                    <a:pt x="80888" y="106808"/>
                    <a:pt x="81333" y="105106"/>
                  </a:cubicBezTo>
                  <a:cubicBezTo>
                    <a:pt x="82074" y="102127"/>
                    <a:pt x="82814" y="100000"/>
                    <a:pt x="82666" y="96170"/>
                  </a:cubicBezTo>
                  <a:cubicBezTo>
                    <a:pt x="82666" y="94468"/>
                    <a:pt x="82814" y="93617"/>
                    <a:pt x="83111" y="92340"/>
                  </a:cubicBezTo>
                  <a:cubicBezTo>
                    <a:pt x="83259" y="91489"/>
                    <a:pt x="83259" y="91063"/>
                    <a:pt x="83407" y="90212"/>
                  </a:cubicBezTo>
                  <a:cubicBezTo>
                    <a:pt x="83407" y="90212"/>
                    <a:pt x="83407" y="89787"/>
                    <a:pt x="83407" y="89361"/>
                  </a:cubicBezTo>
                  <a:cubicBezTo>
                    <a:pt x="83407" y="88936"/>
                    <a:pt x="83111" y="88510"/>
                    <a:pt x="83111" y="88085"/>
                  </a:cubicBezTo>
                  <a:cubicBezTo>
                    <a:pt x="83111" y="88085"/>
                    <a:pt x="83407" y="88510"/>
                    <a:pt x="83407" y="88085"/>
                  </a:cubicBezTo>
                  <a:cubicBezTo>
                    <a:pt x="83259" y="87659"/>
                    <a:pt x="83259" y="87234"/>
                    <a:pt x="83111" y="87234"/>
                  </a:cubicBezTo>
                  <a:cubicBezTo>
                    <a:pt x="82962" y="86808"/>
                    <a:pt x="82666" y="85531"/>
                    <a:pt x="82518" y="85106"/>
                  </a:cubicBezTo>
                  <a:cubicBezTo>
                    <a:pt x="82370" y="85106"/>
                    <a:pt x="81629" y="84255"/>
                    <a:pt x="81481" y="84680"/>
                  </a:cubicBezTo>
                  <a:cubicBezTo>
                    <a:pt x="81481" y="85106"/>
                    <a:pt x="81629" y="85531"/>
                    <a:pt x="81481" y="85531"/>
                  </a:cubicBezTo>
                  <a:cubicBezTo>
                    <a:pt x="81185" y="85531"/>
                    <a:pt x="81185" y="86382"/>
                    <a:pt x="81037" y="86382"/>
                  </a:cubicBezTo>
                  <a:cubicBezTo>
                    <a:pt x="80740" y="87234"/>
                    <a:pt x="80592" y="85957"/>
                    <a:pt x="80592" y="85531"/>
                  </a:cubicBezTo>
                  <a:cubicBezTo>
                    <a:pt x="80592" y="84680"/>
                    <a:pt x="80888" y="84255"/>
                    <a:pt x="80444" y="84680"/>
                  </a:cubicBezTo>
                  <a:cubicBezTo>
                    <a:pt x="80000" y="85106"/>
                    <a:pt x="80592" y="85957"/>
                    <a:pt x="80000" y="85957"/>
                  </a:cubicBezTo>
                  <a:cubicBezTo>
                    <a:pt x="79851" y="85957"/>
                    <a:pt x="80148" y="83829"/>
                    <a:pt x="80000" y="83404"/>
                  </a:cubicBezTo>
                  <a:cubicBezTo>
                    <a:pt x="80000" y="83829"/>
                    <a:pt x="78370" y="83829"/>
                    <a:pt x="79111" y="82553"/>
                  </a:cubicBezTo>
                  <a:cubicBezTo>
                    <a:pt x="79703" y="81276"/>
                    <a:pt x="80296" y="80000"/>
                    <a:pt x="80888" y="78723"/>
                  </a:cubicBezTo>
                  <a:cubicBezTo>
                    <a:pt x="81037" y="78297"/>
                    <a:pt x="81185" y="77446"/>
                    <a:pt x="81333" y="77021"/>
                  </a:cubicBezTo>
                  <a:cubicBezTo>
                    <a:pt x="81777" y="76170"/>
                    <a:pt x="82222" y="75319"/>
                    <a:pt x="82518" y="74468"/>
                  </a:cubicBezTo>
                  <a:cubicBezTo>
                    <a:pt x="82666" y="74042"/>
                    <a:pt x="82814" y="73191"/>
                    <a:pt x="83111" y="72765"/>
                  </a:cubicBezTo>
                  <a:cubicBezTo>
                    <a:pt x="83407" y="71914"/>
                    <a:pt x="83703" y="71063"/>
                    <a:pt x="84000" y="70212"/>
                  </a:cubicBezTo>
                  <a:cubicBezTo>
                    <a:pt x="84592" y="68936"/>
                    <a:pt x="85481" y="68936"/>
                    <a:pt x="86222" y="68936"/>
                  </a:cubicBezTo>
                  <a:cubicBezTo>
                    <a:pt x="86370" y="68936"/>
                    <a:pt x="86518" y="68936"/>
                    <a:pt x="86666" y="68936"/>
                  </a:cubicBezTo>
                  <a:cubicBezTo>
                    <a:pt x="86814" y="69361"/>
                    <a:pt x="86814" y="69787"/>
                    <a:pt x="86962" y="69787"/>
                  </a:cubicBezTo>
                  <a:cubicBezTo>
                    <a:pt x="87111" y="69361"/>
                    <a:pt x="87407" y="69361"/>
                    <a:pt x="87555" y="68936"/>
                  </a:cubicBezTo>
                  <a:cubicBezTo>
                    <a:pt x="87703" y="68936"/>
                    <a:pt x="87851" y="69361"/>
                    <a:pt x="88000" y="69361"/>
                  </a:cubicBezTo>
                  <a:cubicBezTo>
                    <a:pt x="88148" y="69361"/>
                    <a:pt x="88296" y="69361"/>
                    <a:pt x="88444" y="69361"/>
                  </a:cubicBezTo>
                  <a:cubicBezTo>
                    <a:pt x="88444" y="68936"/>
                    <a:pt x="88592" y="69361"/>
                    <a:pt x="88740" y="69361"/>
                  </a:cubicBezTo>
                  <a:cubicBezTo>
                    <a:pt x="89037" y="69361"/>
                    <a:pt x="89037" y="68085"/>
                    <a:pt x="89481" y="68085"/>
                  </a:cubicBezTo>
                  <a:cubicBezTo>
                    <a:pt x="89629" y="68085"/>
                    <a:pt x="89925" y="68085"/>
                    <a:pt x="90074" y="68085"/>
                  </a:cubicBezTo>
                  <a:cubicBezTo>
                    <a:pt x="90222" y="68510"/>
                    <a:pt x="90370" y="68936"/>
                    <a:pt x="90518" y="68936"/>
                  </a:cubicBezTo>
                  <a:cubicBezTo>
                    <a:pt x="90666" y="69361"/>
                    <a:pt x="91259" y="68510"/>
                    <a:pt x="91259" y="69787"/>
                  </a:cubicBezTo>
                  <a:cubicBezTo>
                    <a:pt x="91259" y="69787"/>
                    <a:pt x="90814" y="69787"/>
                    <a:pt x="90814" y="70212"/>
                  </a:cubicBezTo>
                  <a:cubicBezTo>
                    <a:pt x="90666" y="71063"/>
                    <a:pt x="91259" y="70638"/>
                    <a:pt x="91259" y="70638"/>
                  </a:cubicBezTo>
                  <a:cubicBezTo>
                    <a:pt x="91555" y="70638"/>
                    <a:pt x="91851" y="70638"/>
                    <a:pt x="92000" y="70638"/>
                  </a:cubicBezTo>
                  <a:cubicBezTo>
                    <a:pt x="92148" y="70212"/>
                    <a:pt x="92148" y="70212"/>
                    <a:pt x="92296" y="69787"/>
                  </a:cubicBezTo>
                  <a:cubicBezTo>
                    <a:pt x="92444" y="69787"/>
                    <a:pt x="92592" y="70212"/>
                    <a:pt x="92888" y="70212"/>
                  </a:cubicBezTo>
                  <a:cubicBezTo>
                    <a:pt x="93037" y="70212"/>
                    <a:pt x="94074" y="69361"/>
                    <a:pt x="93481" y="68936"/>
                  </a:cubicBezTo>
                  <a:cubicBezTo>
                    <a:pt x="93185" y="68936"/>
                    <a:pt x="93037" y="69361"/>
                    <a:pt x="93037" y="68085"/>
                  </a:cubicBezTo>
                  <a:cubicBezTo>
                    <a:pt x="93037" y="67659"/>
                    <a:pt x="93333" y="66382"/>
                    <a:pt x="93481" y="65957"/>
                  </a:cubicBezTo>
                  <a:cubicBezTo>
                    <a:pt x="93777" y="65531"/>
                    <a:pt x="93925" y="65106"/>
                    <a:pt x="94222" y="64255"/>
                  </a:cubicBezTo>
                  <a:cubicBezTo>
                    <a:pt x="94370" y="63829"/>
                    <a:pt x="94666" y="63829"/>
                    <a:pt x="94814" y="62978"/>
                  </a:cubicBezTo>
                  <a:cubicBezTo>
                    <a:pt x="94962" y="62127"/>
                    <a:pt x="95111" y="61702"/>
                    <a:pt x="95407" y="61702"/>
                  </a:cubicBezTo>
                  <a:cubicBezTo>
                    <a:pt x="95703" y="61702"/>
                    <a:pt x="96148" y="61276"/>
                    <a:pt x="96444" y="61276"/>
                  </a:cubicBezTo>
                  <a:cubicBezTo>
                    <a:pt x="96740" y="61276"/>
                    <a:pt x="96888" y="62127"/>
                    <a:pt x="97037" y="62127"/>
                  </a:cubicBezTo>
                  <a:cubicBezTo>
                    <a:pt x="97185" y="61702"/>
                    <a:pt x="97333" y="60851"/>
                    <a:pt x="97481" y="61276"/>
                  </a:cubicBezTo>
                  <a:cubicBezTo>
                    <a:pt x="97629" y="61702"/>
                    <a:pt x="97185" y="62978"/>
                    <a:pt x="97185" y="63404"/>
                  </a:cubicBezTo>
                  <a:cubicBezTo>
                    <a:pt x="97185" y="64255"/>
                    <a:pt x="97333" y="63404"/>
                    <a:pt x="97629" y="63829"/>
                  </a:cubicBezTo>
                  <a:cubicBezTo>
                    <a:pt x="97629" y="63829"/>
                    <a:pt x="97333" y="64680"/>
                    <a:pt x="97333" y="65106"/>
                  </a:cubicBezTo>
                  <a:cubicBezTo>
                    <a:pt x="97333" y="65531"/>
                    <a:pt x="98370" y="63404"/>
                    <a:pt x="98370" y="63404"/>
                  </a:cubicBezTo>
                  <a:cubicBezTo>
                    <a:pt x="98518" y="62978"/>
                    <a:pt x="98666" y="62553"/>
                    <a:pt x="98962" y="62127"/>
                  </a:cubicBezTo>
                  <a:cubicBezTo>
                    <a:pt x="99111" y="61702"/>
                    <a:pt x="99555" y="62553"/>
                    <a:pt x="99555" y="61702"/>
                  </a:cubicBezTo>
                  <a:cubicBezTo>
                    <a:pt x="99407" y="60851"/>
                    <a:pt x="99555" y="59148"/>
                    <a:pt x="100000" y="59148"/>
                  </a:cubicBezTo>
                  <a:cubicBezTo>
                    <a:pt x="100148" y="58723"/>
                    <a:pt x="100444" y="58297"/>
                    <a:pt x="100592" y="58723"/>
                  </a:cubicBezTo>
                  <a:cubicBezTo>
                    <a:pt x="100740" y="58723"/>
                    <a:pt x="101037" y="59574"/>
                    <a:pt x="101185" y="59148"/>
                  </a:cubicBezTo>
                  <a:cubicBezTo>
                    <a:pt x="100888" y="59574"/>
                    <a:pt x="100444" y="59148"/>
                    <a:pt x="100296" y="60425"/>
                  </a:cubicBezTo>
                  <a:cubicBezTo>
                    <a:pt x="100296" y="60851"/>
                    <a:pt x="100296" y="61276"/>
                    <a:pt x="100296" y="61702"/>
                  </a:cubicBezTo>
                  <a:cubicBezTo>
                    <a:pt x="100296" y="62127"/>
                    <a:pt x="100000" y="62127"/>
                    <a:pt x="100148" y="62553"/>
                  </a:cubicBezTo>
                  <a:cubicBezTo>
                    <a:pt x="100148" y="62978"/>
                    <a:pt x="100296" y="62978"/>
                    <a:pt x="100148" y="63404"/>
                  </a:cubicBezTo>
                  <a:cubicBezTo>
                    <a:pt x="100000" y="63404"/>
                    <a:pt x="99851" y="63829"/>
                    <a:pt x="100000" y="64255"/>
                  </a:cubicBezTo>
                  <a:cubicBezTo>
                    <a:pt x="100000" y="64255"/>
                    <a:pt x="99111" y="65106"/>
                    <a:pt x="99111" y="65531"/>
                  </a:cubicBezTo>
                  <a:cubicBezTo>
                    <a:pt x="98814" y="65957"/>
                    <a:pt x="98666" y="66808"/>
                    <a:pt x="98370" y="67234"/>
                  </a:cubicBezTo>
                  <a:cubicBezTo>
                    <a:pt x="98074" y="68085"/>
                    <a:pt x="97777" y="68510"/>
                    <a:pt x="97481" y="69361"/>
                  </a:cubicBezTo>
                  <a:cubicBezTo>
                    <a:pt x="96888" y="70638"/>
                    <a:pt x="96444" y="73617"/>
                    <a:pt x="95703" y="73617"/>
                  </a:cubicBezTo>
                  <a:cubicBezTo>
                    <a:pt x="95555" y="73617"/>
                    <a:pt x="94962" y="74042"/>
                    <a:pt x="94962" y="74468"/>
                  </a:cubicBezTo>
                  <a:cubicBezTo>
                    <a:pt x="94962" y="75744"/>
                    <a:pt x="94962" y="76170"/>
                    <a:pt x="94518" y="77021"/>
                  </a:cubicBezTo>
                  <a:cubicBezTo>
                    <a:pt x="93925" y="78297"/>
                    <a:pt x="93925" y="80851"/>
                    <a:pt x="94074" y="82978"/>
                  </a:cubicBezTo>
                  <a:cubicBezTo>
                    <a:pt x="94222" y="85106"/>
                    <a:pt x="94074" y="87659"/>
                    <a:pt x="94518" y="89361"/>
                  </a:cubicBezTo>
                  <a:cubicBezTo>
                    <a:pt x="94666" y="90212"/>
                    <a:pt x="94666" y="91489"/>
                    <a:pt x="94666" y="92340"/>
                  </a:cubicBezTo>
                  <a:cubicBezTo>
                    <a:pt x="94666" y="92340"/>
                    <a:pt x="94666" y="93191"/>
                    <a:pt x="94814" y="93191"/>
                  </a:cubicBezTo>
                  <a:cubicBezTo>
                    <a:pt x="94962" y="93191"/>
                    <a:pt x="94666" y="94468"/>
                    <a:pt x="94814" y="94468"/>
                  </a:cubicBezTo>
                  <a:cubicBezTo>
                    <a:pt x="94814" y="94468"/>
                    <a:pt x="95555" y="92765"/>
                    <a:pt x="95555" y="92340"/>
                  </a:cubicBezTo>
                  <a:cubicBezTo>
                    <a:pt x="95851" y="91489"/>
                    <a:pt x="96000" y="90638"/>
                    <a:pt x="96148" y="89361"/>
                  </a:cubicBezTo>
                  <a:cubicBezTo>
                    <a:pt x="96296" y="88510"/>
                    <a:pt x="96888" y="87659"/>
                    <a:pt x="97037" y="87659"/>
                  </a:cubicBezTo>
                  <a:cubicBezTo>
                    <a:pt x="97481" y="88510"/>
                    <a:pt x="97037" y="85957"/>
                    <a:pt x="97185" y="85531"/>
                  </a:cubicBezTo>
                  <a:cubicBezTo>
                    <a:pt x="97481" y="84255"/>
                    <a:pt x="97629" y="83829"/>
                    <a:pt x="98074" y="83829"/>
                  </a:cubicBezTo>
                  <a:cubicBezTo>
                    <a:pt x="98518" y="83829"/>
                    <a:pt x="99111" y="83829"/>
                    <a:pt x="98814" y="82553"/>
                  </a:cubicBezTo>
                  <a:cubicBezTo>
                    <a:pt x="98370" y="81276"/>
                    <a:pt x="98666" y="80000"/>
                    <a:pt x="99111" y="79148"/>
                  </a:cubicBezTo>
                  <a:cubicBezTo>
                    <a:pt x="99259" y="78723"/>
                    <a:pt x="99259" y="79574"/>
                    <a:pt x="99407" y="79574"/>
                  </a:cubicBezTo>
                  <a:cubicBezTo>
                    <a:pt x="99703" y="79574"/>
                    <a:pt x="99703" y="78297"/>
                    <a:pt x="99703" y="77872"/>
                  </a:cubicBezTo>
                  <a:cubicBezTo>
                    <a:pt x="99407" y="77021"/>
                    <a:pt x="99111" y="76595"/>
                    <a:pt x="99407" y="75319"/>
                  </a:cubicBezTo>
                  <a:cubicBezTo>
                    <a:pt x="99407" y="75319"/>
                    <a:pt x="99851" y="74893"/>
                    <a:pt x="99703" y="74468"/>
                  </a:cubicBezTo>
                  <a:cubicBezTo>
                    <a:pt x="99555" y="74468"/>
                    <a:pt x="99407" y="73617"/>
                    <a:pt x="99259" y="73617"/>
                  </a:cubicBezTo>
                  <a:cubicBezTo>
                    <a:pt x="99111" y="73617"/>
                    <a:pt x="99259" y="74042"/>
                    <a:pt x="99111" y="74042"/>
                  </a:cubicBezTo>
                  <a:cubicBezTo>
                    <a:pt x="98814" y="74042"/>
                    <a:pt x="98666" y="73617"/>
                    <a:pt x="98814" y="72765"/>
                  </a:cubicBezTo>
                  <a:cubicBezTo>
                    <a:pt x="98962" y="71914"/>
                    <a:pt x="99259" y="71489"/>
                    <a:pt x="99555" y="70212"/>
                  </a:cubicBezTo>
                  <a:cubicBezTo>
                    <a:pt x="99703" y="69361"/>
                    <a:pt x="99703" y="68085"/>
                    <a:pt x="100148" y="67234"/>
                  </a:cubicBezTo>
                  <a:cubicBezTo>
                    <a:pt x="100296" y="66808"/>
                    <a:pt x="100296" y="67659"/>
                    <a:pt x="100296" y="67659"/>
                  </a:cubicBezTo>
                  <a:cubicBezTo>
                    <a:pt x="100592" y="67659"/>
                    <a:pt x="100592" y="66808"/>
                    <a:pt x="100740" y="67234"/>
                  </a:cubicBezTo>
                  <a:cubicBezTo>
                    <a:pt x="100888" y="67234"/>
                    <a:pt x="100888" y="67659"/>
                    <a:pt x="101037" y="67234"/>
                  </a:cubicBezTo>
                  <a:cubicBezTo>
                    <a:pt x="101333" y="66808"/>
                    <a:pt x="101481" y="66382"/>
                    <a:pt x="101777" y="65957"/>
                  </a:cubicBezTo>
                  <a:cubicBezTo>
                    <a:pt x="102222" y="65531"/>
                    <a:pt x="101629" y="67234"/>
                    <a:pt x="101925" y="67659"/>
                  </a:cubicBezTo>
                  <a:cubicBezTo>
                    <a:pt x="101925" y="68085"/>
                    <a:pt x="102518" y="66382"/>
                    <a:pt x="102666" y="66382"/>
                  </a:cubicBezTo>
                  <a:cubicBezTo>
                    <a:pt x="102962" y="65957"/>
                    <a:pt x="103259" y="65531"/>
                    <a:pt x="103703" y="65531"/>
                  </a:cubicBezTo>
                  <a:cubicBezTo>
                    <a:pt x="104000" y="65531"/>
                    <a:pt x="104296" y="65531"/>
                    <a:pt x="104444" y="66382"/>
                  </a:cubicBezTo>
                  <a:cubicBezTo>
                    <a:pt x="104592" y="66382"/>
                    <a:pt x="104740" y="66808"/>
                    <a:pt x="104888" y="67234"/>
                  </a:cubicBezTo>
                  <a:cubicBezTo>
                    <a:pt x="105037" y="67659"/>
                    <a:pt x="105037" y="66382"/>
                    <a:pt x="105185" y="66382"/>
                  </a:cubicBezTo>
                  <a:cubicBezTo>
                    <a:pt x="106370" y="63404"/>
                    <a:pt x="107703" y="62127"/>
                    <a:pt x="109037" y="60425"/>
                  </a:cubicBezTo>
                  <a:cubicBezTo>
                    <a:pt x="109333" y="60000"/>
                    <a:pt x="109777" y="59574"/>
                    <a:pt x="109925" y="58723"/>
                  </a:cubicBezTo>
                  <a:cubicBezTo>
                    <a:pt x="110074" y="57872"/>
                    <a:pt x="110074" y="59148"/>
                    <a:pt x="110370" y="59148"/>
                  </a:cubicBezTo>
                  <a:cubicBezTo>
                    <a:pt x="110518" y="59148"/>
                    <a:pt x="110814" y="59148"/>
                    <a:pt x="110962" y="59148"/>
                  </a:cubicBezTo>
                  <a:cubicBezTo>
                    <a:pt x="111111" y="59574"/>
                    <a:pt x="111259" y="60000"/>
                    <a:pt x="111407" y="60000"/>
                  </a:cubicBezTo>
                  <a:cubicBezTo>
                    <a:pt x="111851" y="60000"/>
                    <a:pt x="111851" y="58297"/>
                    <a:pt x="111703" y="57446"/>
                  </a:cubicBezTo>
                  <a:cubicBezTo>
                    <a:pt x="111703" y="57021"/>
                    <a:pt x="111111" y="56170"/>
                    <a:pt x="111259" y="55744"/>
                  </a:cubicBezTo>
                  <a:cubicBezTo>
                    <a:pt x="111259" y="55319"/>
                    <a:pt x="110962" y="53191"/>
                    <a:pt x="110814" y="53617"/>
                  </a:cubicBezTo>
                  <a:cubicBezTo>
                    <a:pt x="110814" y="54042"/>
                    <a:pt x="110518" y="53191"/>
                    <a:pt x="110370" y="53191"/>
                  </a:cubicBezTo>
                  <a:cubicBezTo>
                    <a:pt x="110222" y="52765"/>
                    <a:pt x="110370" y="52340"/>
                    <a:pt x="110222" y="51914"/>
                  </a:cubicBezTo>
                  <a:cubicBezTo>
                    <a:pt x="110222" y="51489"/>
                    <a:pt x="109777" y="51914"/>
                    <a:pt x="109777" y="51914"/>
                  </a:cubicBezTo>
                  <a:cubicBezTo>
                    <a:pt x="109629" y="52340"/>
                    <a:pt x="109185" y="51914"/>
                    <a:pt x="109333" y="51489"/>
                  </a:cubicBezTo>
                  <a:cubicBezTo>
                    <a:pt x="109333" y="51063"/>
                    <a:pt x="109777" y="51489"/>
                    <a:pt x="109925" y="51489"/>
                  </a:cubicBezTo>
                  <a:cubicBezTo>
                    <a:pt x="109925" y="51063"/>
                    <a:pt x="109481" y="51063"/>
                    <a:pt x="109481" y="51063"/>
                  </a:cubicBezTo>
                  <a:cubicBezTo>
                    <a:pt x="109481" y="49787"/>
                    <a:pt x="110666" y="51914"/>
                    <a:pt x="110814" y="51914"/>
                  </a:cubicBezTo>
                  <a:cubicBezTo>
                    <a:pt x="111111" y="52340"/>
                    <a:pt x="112000" y="51489"/>
                    <a:pt x="112296" y="50638"/>
                  </a:cubicBezTo>
                  <a:cubicBezTo>
                    <a:pt x="112444" y="50212"/>
                    <a:pt x="112148" y="50212"/>
                    <a:pt x="112148" y="49787"/>
                  </a:cubicBezTo>
                  <a:cubicBezTo>
                    <a:pt x="112148" y="49787"/>
                    <a:pt x="112740" y="49787"/>
                    <a:pt x="112740" y="48936"/>
                  </a:cubicBezTo>
                  <a:cubicBezTo>
                    <a:pt x="112592" y="48510"/>
                    <a:pt x="112296" y="48085"/>
                    <a:pt x="112444" y="47659"/>
                  </a:cubicBezTo>
                  <a:cubicBezTo>
                    <a:pt x="112444" y="47234"/>
                    <a:pt x="112740" y="46382"/>
                    <a:pt x="112740" y="46382"/>
                  </a:cubicBezTo>
                  <a:cubicBezTo>
                    <a:pt x="112888" y="46382"/>
                    <a:pt x="113481" y="46808"/>
                    <a:pt x="113481" y="46382"/>
                  </a:cubicBezTo>
                  <a:cubicBezTo>
                    <a:pt x="113333" y="46808"/>
                    <a:pt x="112888" y="47234"/>
                    <a:pt x="113037" y="47659"/>
                  </a:cubicBezTo>
                  <a:cubicBezTo>
                    <a:pt x="113185" y="48085"/>
                    <a:pt x="113333" y="48510"/>
                    <a:pt x="113333" y="48510"/>
                  </a:cubicBezTo>
                  <a:cubicBezTo>
                    <a:pt x="113333" y="48936"/>
                    <a:pt x="113185" y="49361"/>
                    <a:pt x="113333" y="49361"/>
                  </a:cubicBezTo>
                  <a:cubicBezTo>
                    <a:pt x="113629" y="49361"/>
                    <a:pt x="113925" y="48936"/>
                    <a:pt x="114222" y="48936"/>
                  </a:cubicBezTo>
                  <a:cubicBezTo>
                    <a:pt x="114518" y="48936"/>
                    <a:pt x="114814" y="48936"/>
                    <a:pt x="115111" y="49361"/>
                  </a:cubicBezTo>
                  <a:cubicBezTo>
                    <a:pt x="115259" y="49787"/>
                    <a:pt x="115259" y="49787"/>
                    <a:pt x="115259" y="50638"/>
                  </a:cubicBezTo>
                  <a:cubicBezTo>
                    <a:pt x="115259" y="51063"/>
                    <a:pt x="115851" y="51489"/>
                    <a:pt x="116000" y="51489"/>
                  </a:cubicBezTo>
                  <a:cubicBezTo>
                    <a:pt x="116148" y="51914"/>
                    <a:pt x="117037" y="53617"/>
                    <a:pt x="117185" y="52765"/>
                  </a:cubicBezTo>
                  <a:cubicBezTo>
                    <a:pt x="117037" y="54042"/>
                    <a:pt x="117925" y="52765"/>
                    <a:pt x="117925" y="52765"/>
                  </a:cubicBezTo>
                  <a:cubicBezTo>
                    <a:pt x="117925" y="52340"/>
                    <a:pt x="117333" y="52340"/>
                    <a:pt x="117481" y="51914"/>
                  </a:cubicBezTo>
                  <a:cubicBezTo>
                    <a:pt x="117481" y="51063"/>
                    <a:pt x="117925" y="51914"/>
                    <a:pt x="117925" y="51914"/>
                  </a:cubicBezTo>
                  <a:cubicBezTo>
                    <a:pt x="117925" y="51063"/>
                    <a:pt x="117777" y="51914"/>
                    <a:pt x="117925" y="50638"/>
                  </a:cubicBezTo>
                  <a:cubicBezTo>
                    <a:pt x="117925" y="50212"/>
                    <a:pt x="117925" y="49787"/>
                    <a:pt x="117925" y="49361"/>
                  </a:cubicBezTo>
                  <a:cubicBezTo>
                    <a:pt x="117777" y="48936"/>
                    <a:pt x="117629" y="48936"/>
                    <a:pt x="117629" y="48510"/>
                  </a:cubicBezTo>
                  <a:cubicBezTo>
                    <a:pt x="117629" y="48510"/>
                    <a:pt x="118666" y="49361"/>
                    <a:pt x="118814" y="48936"/>
                  </a:cubicBezTo>
                  <a:cubicBezTo>
                    <a:pt x="118814" y="48936"/>
                    <a:pt x="118666" y="48510"/>
                    <a:pt x="118518" y="48510"/>
                  </a:cubicBezTo>
                  <a:cubicBezTo>
                    <a:pt x="118666" y="48510"/>
                    <a:pt x="119111" y="48936"/>
                    <a:pt x="119259" y="48510"/>
                  </a:cubicBezTo>
                  <a:cubicBezTo>
                    <a:pt x="119259" y="48085"/>
                    <a:pt x="119259" y="47659"/>
                    <a:pt x="119407" y="47234"/>
                  </a:cubicBezTo>
                  <a:cubicBezTo>
                    <a:pt x="119407" y="47234"/>
                    <a:pt x="119851" y="47234"/>
                    <a:pt x="119851" y="47234"/>
                  </a:cubicBezTo>
                  <a:cubicBezTo>
                    <a:pt x="119851" y="47234"/>
                    <a:pt x="119703" y="47234"/>
                    <a:pt x="119703" y="47234"/>
                  </a:cubicBezTo>
                  <a:cubicBezTo>
                    <a:pt x="119555" y="46808"/>
                    <a:pt x="120000" y="47234"/>
                    <a:pt x="119703" y="47234"/>
                  </a:cubicBezTo>
                  <a:close/>
                  <a:moveTo>
                    <a:pt x="60000" y="81702"/>
                  </a:moveTo>
                  <a:cubicBezTo>
                    <a:pt x="59851" y="82978"/>
                    <a:pt x="59851" y="84255"/>
                    <a:pt x="59703" y="85531"/>
                  </a:cubicBezTo>
                  <a:cubicBezTo>
                    <a:pt x="59555" y="86382"/>
                    <a:pt x="59111" y="85957"/>
                    <a:pt x="59111" y="86808"/>
                  </a:cubicBezTo>
                  <a:cubicBezTo>
                    <a:pt x="59111" y="86808"/>
                    <a:pt x="59407" y="86808"/>
                    <a:pt x="59555" y="86808"/>
                  </a:cubicBezTo>
                  <a:cubicBezTo>
                    <a:pt x="59555" y="86808"/>
                    <a:pt x="58222" y="89361"/>
                    <a:pt x="58074" y="89361"/>
                  </a:cubicBezTo>
                  <a:cubicBezTo>
                    <a:pt x="57925" y="89787"/>
                    <a:pt x="57777" y="90212"/>
                    <a:pt x="57481" y="90212"/>
                  </a:cubicBezTo>
                  <a:cubicBezTo>
                    <a:pt x="57333" y="90638"/>
                    <a:pt x="57185" y="91489"/>
                    <a:pt x="57037" y="91914"/>
                  </a:cubicBezTo>
                  <a:cubicBezTo>
                    <a:pt x="56888" y="92340"/>
                    <a:pt x="55851" y="93191"/>
                    <a:pt x="55703" y="92340"/>
                  </a:cubicBezTo>
                  <a:cubicBezTo>
                    <a:pt x="55703" y="91914"/>
                    <a:pt x="56740" y="91063"/>
                    <a:pt x="56888" y="90638"/>
                  </a:cubicBezTo>
                  <a:cubicBezTo>
                    <a:pt x="57333" y="89787"/>
                    <a:pt x="57777" y="88510"/>
                    <a:pt x="58222" y="87659"/>
                  </a:cubicBezTo>
                  <a:cubicBezTo>
                    <a:pt x="58518" y="87234"/>
                    <a:pt x="58518" y="85957"/>
                    <a:pt x="58814" y="85531"/>
                  </a:cubicBezTo>
                  <a:cubicBezTo>
                    <a:pt x="59111" y="84255"/>
                    <a:pt x="59407" y="82978"/>
                    <a:pt x="59555" y="81702"/>
                  </a:cubicBezTo>
                  <a:cubicBezTo>
                    <a:pt x="59555" y="80851"/>
                    <a:pt x="59555" y="80851"/>
                    <a:pt x="59851" y="80425"/>
                  </a:cubicBezTo>
                  <a:cubicBezTo>
                    <a:pt x="60148" y="80000"/>
                    <a:pt x="60000" y="81276"/>
                    <a:pt x="60000" y="81702"/>
                  </a:cubicBezTo>
                  <a:cubicBezTo>
                    <a:pt x="59851" y="82127"/>
                    <a:pt x="60000" y="80851"/>
                    <a:pt x="60000" y="81702"/>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24" name="Shape 2598">
              <a:extLst>
                <a:ext uri="{FF2B5EF4-FFF2-40B4-BE49-F238E27FC236}">
                  <a16:creationId xmlns:a16="http://schemas.microsoft.com/office/drawing/2014/main" id="{E3B3A7AB-709C-5644-B83B-275E05B8328F}"/>
                </a:ext>
              </a:extLst>
            </p:cNvPr>
            <p:cNvSpPr/>
            <p:nvPr/>
          </p:nvSpPr>
          <p:spPr>
            <a:xfrm>
              <a:off x="18193799" y="6226603"/>
              <a:ext cx="140126" cy="299441"/>
            </a:xfrm>
            <a:custGeom>
              <a:avLst/>
              <a:gdLst/>
              <a:ahLst/>
              <a:cxnLst/>
              <a:rect l="0" t="0" r="0" b="0"/>
              <a:pathLst>
                <a:path w="120000" h="120000" extrusionOk="0">
                  <a:moveTo>
                    <a:pt x="104000" y="97500"/>
                  </a:moveTo>
                  <a:cubicBezTo>
                    <a:pt x="104000" y="82500"/>
                    <a:pt x="72000" y="63750"/>
                    <a:pt x="80000" y="48750"/>
                  </a:cubicBezTo>
                  <a:cubicBezTo>
                    <a:pt x="88000" y="37500"/>
                    <a:pt x="80000" y="26250"/>
                    <a:pt x="72000" y="15000"/>
                  </a:cubicBezTo>
                  <a:cubicBezTo>
                    <a:pt x="72000" y="11250"/>
                    <a:pt x="72000" y="7500"/>
                    <a:pt x="72000" y="3750"/>
                  </a:cubicBezTo>
                  <a:cubicBezTo>
                    <a:pt x="72000" y="0"/>
                    <a:pt x="48000" y="0"/>
                    <a:pt x="48000" y="0"/>
                  </a:cubicBezTo>
                  <a:cubicBezTo>
                    <a:pt x="48000" y="3750"/>
                    <a:pt x="56000" y="7500"/>
                    <a:pt x="56000" y="11250"/>
                  </a:cubicBezTo>
                  <a:cubicBezTo>
                    <a:pt x="64000" y="15000"/>
                    <a:pt x="56000" y="18750"/>
                    <a:pt x="48000" y="18750"/>
                  </a:cubicBezTo>
                  <a:cubicBezTo>
                    <a:pt x="40000" y="22500"/>
                    <a:pt x="32000" y="18750"/>
                    <a:pt x="32000" y="26250"/>
                  </a:cubicBezTo>
                  <a:cubicBezTo>
                    <a:pt x="32000" y="30000"/>
                    <a:pt x="32000" y="30000"/>
                    <a:pt x="32000" y="33750"/>
                  </a:cubicBezTo>
                  <a:cubicBezTo>
                    <a:pt x="24000" y="41250"/>
                    <a:pt x="24000" y="48750"/>
                    <a:pt x="16000" y="52500"/>
                  </a:cubicBezTo>
                  <a:cubicBezTo>
                    <a:pt x="0" y="56250"/>
                    <a:pt x="32000" y="67500"/>
                    <a:pt x="40000" y="75000"/>
                  </a:cubicBezTo>
                  <a:cubicBezTo>
                    <a:pt x="48000" y="82500"/>
                    <a:pt x="32000" y="120000"/>
                    <a:pt x="48000" y="120000"/>
                  </a:cubicBezTo>
                  <a:cubicBezTo>
                    <a:pt x="72000" y="120000"/>
                    <a:pt x="96000" y="120000"/>
                    <a:pt x="120000" y="120000"/>
                  </a:cubicBezTo>
                  <a:cubicBezTo>
                    <a:pt x="120000" y="112500"/>
                    <a:pt x="112000" y="105000"/>
                    <a:pt x="104000" y="97500"/>
                  </a:cubicBezTo>
                  <a:cubicBezTo>
                    <a:pt x="104000" y="90000"/>
                    <a:pt x="104000" y="101250"/>
                    <a:pt x="104000" y="975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25" name="Shape 2599">
              <a:extLst>
                <a:ext uri="{FF2B5EF4-FFF2-40B4-BE49-F238E27FC236}">
                  <a16:creationId xmlns:a16="http://schemas.microsoft.com/office/drawing/2014/main" id="{CAC1EEDA-6365-3D41-B792-FF62F658BB08}"/>
                </a:ext>
              </a:extLst>
            </p:cNvPr>
            <p:cNvSpPr/>
            <p:nvPr/>
          </p:nvSpPr>
          <p:spPr>
            <a:xfrm>
              <a:off x="18222461" y="6516486"/>
              <a:ext cx="140126" cy="216614"/>
            </a:xfrm>
            <a:custGeom>
              <a:avLst/>
              <a:gdLst/>
              <a:ahLst/>
              <a:cxnLst/>
              <a:rect l="0" t="0" r="0" b="0"/>
              <a:pathLst>
                <a:path w="120000" h="120000" extrusionOk="0">
                  <a:moveTo>
                    <a:pt x="96000" y="5217"/>
                  </a:moveTo>
                  <a:cubicBezTo>
                    <a:pt x="88000" y="5217"/>
                    <a:pt x="72000" y="5217"/>
                    <a:pt x="56000" y="5217"/>
                  </a:cubicBezTo>
                  <a:cubicBezTo>
                    <a:pt x="40000" y="5217"/>
                    <a:pt x="24000" y="0"/>
                    <a:pt x="16000" y="10434"/>
                  </a:cubicBezTo>
                  <a:cubicBezTo>
                    <a:pt x="16000" y="20869"/>
                    <a:pt x="8000" y="26086"/>
                    <a:pt x="8000" y="36521"/>
                  </a:cubicBezTo>
                  <a:cubicBezTo>
                    <a:pt x="8000" y="41739"/>
                    <a:pt x="16000" y="46956"/>
                    <a:pt x="16000" y="57391"/>
                  </a:cubicBezTo>
                  <a:cubicBezTo>
                    <a:pt x="16000" y="62608"/>
                    <a:pt x="0" y="120000"/>
                    <a:pt x="8000" y="120000"/>
                  </a:cubicBezTo>
                  <a:cubicBezTo>
                    <a:pt x="24000" y="114782"/>
                    <a:pt x="8000" y="99130"/>
                    <a:pt x="32000" y="104347"/>
                  </a:cubicBezTo>
                  <a:cubicBezTo>
                    <a:pt x="40000" y="104347"/>
                    <a:pt x="56000" y="99130"/>
                    <a:pt x="56000" y="104347"/>
                  </a:cubicBezTo>
                  <a:cubicBezTo>
                    <a:pt x="64000" y="104347"/>
                    <a:pt x="64000" y="120000"/>
                    <a:pt x="72000" y="120000"/>
                  </a:cubicBezTo>
                  <a:cubicBezTo>
                    <a:pt x="72000" y="120000"/>
                    <a:pt x="72000" y="104347"/>
                    <a:pt x="72000" y="104347"/>
                  </a:cubicBezTo>
                  <a:cubicBezTo>
                    <a:pt x="72000" y="93913"/>
                    <a:pt x="56000" y="88695"/>
                    <a:pt x="48000" y="83478"/>
                  </a:cubicBezTo>
                  <a:cubicBezTo>
                    <a:pt x="40000" y="73043"/>
                    <a:pt x="16000" y="46956"/>
                    <a:pt x="32000" y="36521"/>
                  </a:cubicBezTo>
                  <a:cubicBezTo>
                    <a:pt x="56000" y="26086"/>
                    <a:pt x="48000" y="20869"/>
                    <a:pt x="72000" y="15652"/>
                  </a:cubicBezTo>
                  <a:cubicBezTo>
                    <a:pt x="88000" y="10434"/>
                    <a:pt x="112000" y="20869"/>
                    <a:pt x="120000" y="31304"/>
                  </a:cubicBezTo>
                  <a:cubicBezTo>
                    <a:pt x="112000" y="20869"/>
                    <a:pt x="104000" y="10434"/>
                    <a:pt x="96000" y="5217"/>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26" name="Shape 2600">
              <a:extLst>
                <a:ext uri="{FF2B5EF4-FFF2-40B4-BE49-F238E27FC236}">
                  <a16:creationId xmlns:a16="http://schemas.microsoft.com/office/drawing/2014/main" id="{1E6A274E-4BAD-CE4B-B0B8-4EB23340F659}"/>
                </a:ext>
              </a:extLst>
            </p:cNvPr>
            <p:cNvSpPr/>
            <p:nvPr/>
          </p:nvSpPr>
          <p:spPr>
            <a:xfrm>
              <a:off x="17483610" y="7153596"/>
              <a:ext cx="197453" cy="235730"/>
            </a:xfrm>
            <a:custGeom>
              <a:avLst/>
              <a:gdLst/>
              <a:ahLst/>
              <a:cxnLst/>
              <a:rect l="0" t="0" r="0" b="0"/>
              <a:pathLst>
                <a:path w="120000" h="120000" extrusionOk="0">
                  <a:moveTo>
                    <a:pt x="28571" y="4800"/>
                  </a:moveTo>
                  <a:cubicBezTo>
                    <a:pt x="17142" y="9600"/>
                    <a:pt x="11428" y="28800"/>
                    <a:pt x="22857" y="33600"/>
                  </a:cubicBezTo>
                  <a:cubicBezTo>
                    <a:pt x="40000" y="48000"/>
                    <a:pt x="11428" y="43200"/>
                    <a:pt x="5714" y="43200"/>
                  </a:cubicBezTo>
                  <a:cubicBezTo>
                    <a:pt x="5714" y="43200"/>
                    <a:pt x="17142" y="52800"/>
                    <a:pt x="17142" y="52800"/>
                  </a:cubicBezTo>
                  <a:cubicBezTo>
                    <a:pt x="17142" y="62400"/>
                    <a:pt x="17142" y="62400"/>
                    <a:pt x="11428" y="67200"/>
                  </a:cubicBezTo>
                  <a:cubicBezTo>
                    <a:pt x="11428" y="67200"/>
                    <a:pt x="17142" y="72000"/>
                    <a:pt x="17142" y="76800"/>
                  </a:cubicBezTo>
                  <a:cubicBezTo>
                    <a:pt x="11428" y="81600"/>
                    <a:pt x="5714" y="96000"/>
                    <a:pt x="5714" y="96000"/>
                  </a:cubicBezTo>
                  <a:cubicBezTo>
                    <a:pt x="5714" y="96000"/>
                    <a:pt x="17142" y="96000"/>
                    <a:pt x="17142" y="100800"/>
                  </a:cubicBezTo>
                  <a:cubicBezTo>
                    <a:pt x="17142" y="100800"/>
                    <a:pt x="0" y="110400"/>
                    <a:pt x="0" y="115200"/>
                  </a:cubicBezTo>
                  <a:cubicBezTo>
                    <a:pt x="0" y="115200"/>
                    <a:pt x="5714" y="110400"/>
                    <a:pt x="11428" y="110400"/>
                  </a:cubicBezTo>
                  <a:cubicBezTo>
                    <a:pt x="11428" y="110400"/>
                    <a:pt x="11428" y="120000"/>
                    <a:pt x="17142" y="115200"/>
                  </a:cubicBezTo>
                  <a:cubicBezTo>
                    <a:pt x="17142" y="110400"/>
                    <a:pt x="28571" y="105600"/>
                    <a:pt x="34285" y="105600"/>
                  </a:cubicBezTo>
                  <a:cubicBezTo>
                    <a:pt x="40000" y="100800"/>
                    <a:pt x="34285" y="120000"/>
                    <a:pt x="45714" y="105600"/>
                  </a:cubicBezTo>
                  <a:cubicBezTo>
                    <a:pt x="51428" y="96000"/>
                    <a:pt x="45714" y="100800"/>
                    <a:pt x="51428" y="105600"/>
                  </a:cubicBezTo>
                  <a:cubicBezTo>
                    <a:pt x="51428" y="105600"/>
                    <a:pt x="68571" y="100800"/>
                    <a:pt x="68571" y="100800"/>
                  </a:cubicBezTo>
                  <a:cubicBezTo>
                    <a:pt x="80000" y="100800"/>
                    <a:pt x="74285" y="96000"/>
                    <a:pt x="80000" y="96000"/>
                  </a:cubicBezTo>
                  <a:cubicBezTo>
                    <a:pt x="91428" y="96000"/>
                    <a:pt x="91428" y="91200"/>
                    <a:pt x="97142" y="86400"/>
                  </a:cubicBezTo>
                  <a:cubicBezTo>
                    <a:pt x="102857" y="76800"/>
                    <a:pt x="108571" y="91200"/>
                    <a:pt x="114285" y="96000"/>
                  </a:cubicBezTo>
                  <a:cubicBezTo>
                    <a:pt x="120000" y="96000"/>
                    <a:pt x="108571" y="76800"/>
                    <a:pt x="108571" y="76800"/>
                  </a:cubicBezTo>
                  <a:cubicBezTo>
                    <a:pt x="102857" y="72000"/>
                    <a:pt x="97142" y="67200"/>
                    <a:pt x="97142" y="57600"/>
                  </a:cubicBezTo>
                  <a:cubicBezTo>
                    <a:pt x="97142" y="33600"/>
                    <a:pt x="80000" y="19200"/>
                    <a:pt x="68571" y="0"/>
                  </a:cubicBezTo>
                  <a:cubicBezTo>
                    <a:pt x="57142" y="9600"/>
                    <a:pt x="45714" y="4800"/>
                    <a:pt x="28571" y="4800"/>
                  </a:cubicBezTo>
                  <a:cubicBezTo>
                    <a:pt x="28571" y="9600"/>
                    <a:pt x="34285" y="4800"/>
                    <a:pt x="28571" y="48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27" name="Shape 2601">
              <a:extLst>
                <a:ext uri="{FF2B5EF4-FFF2-40B4-BE49-F238E27FC236}">
                  <a16:creationId xmlns:a16="http://schemas.microsoft.com/office/drawing/2014/main" id="{4DD22817-C432-D542-AB21-C74EA4E3E863}"/>
                </a:ext>
              </a:extLst>
            </p:cNvPr>
            <p:cNvSpPr/>
            <p:nvPr/>
          </p:nvSpPr>
          <p:spPr>
            <a:xfrm>
              <a:off x="17400808" y="6901936"/>
              <a:ext cx="299363" cy="289887"/>
            </a:xfrm>
            <a:custGeom>
              <a:avLst/>
              <a:gdLst/>
              <a:ahLst/>
              <a:cxnLst/>
              <a:rect l="0" t="0" r="0" b="0"/>
              <a:pathLst>
                <a:path w="120000" h="120000" extrusionOk="0">
                  <a:moveTo>
                    <a:pt x="120000" y="11612"/>
                  </a:moveTo>
                  <a:cubicBezTo>
                    <a:pt x="116250" y="7741"/>
                    <a:pt x="112500" y="0"/>
                    <a:pt x="108750" y="3870"/>
                  </a:cubicBezTo>
                  <a:cubicBezTo>
                    <a:pt x="105000" y="3870"/>
                    <a:pt x="105000" y="11612"/>
                    <a:pt x="101250" y="15483"/>
                  </a:cubicBezTo>
                  <a:cubicBezTo>
                    <a:pt x="101250" y="15483"/>
                    <a:pt x="97500" y="11612"/>
                    <a:pt x="93750" y="19354"/>
                  </a:cubicBezTo>
                  <a:cubicBezTo>
                    <a:pt x="90000" y="23225"/>
                    <a:pt x="82500" y="23225"/>
                    <a:pt x="75000" y="23225"/>
                  </a:cubicBezTo>
                  <a:cubicBezTo>
                    <a:pt x="67500" y="27096"/>
                    <a:pt x="82500" y="34838"/>
                    <a:pt x="75000" y="38709"/>
                  </a:cubicBezTo>
                  <a:cubicBezTo>
                    <a:pt x="63750" y="42580"/>
                    <a:pt x="60000" y="34838"/>
                    <a:pt x="48750" y="34838"/>
                  </a:cubicBezTo>
                  <a:cubicBezTo>
                    <a:pt x="45000" y="30967"/>
                    <a:pt x="37500" y="42580"/>
                    <a:pt x="37500" y="46451"/>
                  </a:cubicBezTo>
                  <a:cubicBezTo>
                    <a:pt x="26250" y="58064"/>
                    <a:pt x="3750" y="58064"/>
                    <a:pt x="0" y="73548"/>
                  </a:cubicBezTo>
                  <a:cubicBezTo>
                    <a:pt x="0" y="73548"/>
                    <a:pt x="22500" y="81290"/>
                    <a:pt x="22500" y="81290"/>
                  </a:cubicBezTo>
                  <a:cubicBezTo>
                    <a:pt x="22500" y="85161"/>
                    <a:pt x="18750" y="92903"/>
                    <a:pt x="18750" y="92903"/>
                  </a:cubicBezTo>
                  <a:cubicBezTo>
                    <a:pt x="18750" y="100645"/>
                    <a:pt x="22500" y="96774"/>
                    <a:pt x="22500" y="100645"/>
                  </a:cubicBezTo>
                  <a:cubicBezTo>
                    <a:pt x="22500" y="96774"/>
                    <a:pt x="7500" y="108387"/>
                    <a:pt x="11250" y="112258"/>
                  </a:cubicBezTo>
                  <a:cubicBezTo>
                    <a:pt x="11250" y="112258"/>
                    <a:pt x="18750" y="116129"/>
                    <a:pt x="18750" y="116129"/>
                  </a:cubicBezTo>
                  <a:cubicBezTo>
                    <a:pt x="22500" y="116129"/>
                    <a:pt x="18750" y="116129"/>
                    <a:pt x="18750" y="120000"/>
                  </a:cubicBezTo>
                  <a:cubicBezTo>
                    <a:pt x="18750" y="116129"/>
                    <a:pt x="33750" y="116129"/>
                    <a:pt x="33750" y="120000"/>
                  </a:cubicBezTo>
                  <a:cubicBezTo>
                    <a:pt x="37500" y="120000"/>
                    <a:pt x="41250" y="120000"/>
                    <a:pt x="45000" y="120000"/>
                  </a:cubicBezTo>
                  <a:cubicBezTo>
                    <a:pt x="45000" y="120000"/>
                    <a:pt x="48750" y="112258"/>
                    <a:pt x="52500" y="108387"/>
                  </a:cubicBezTo>
                  <a:cubicBezTo>
                    <a:pt x="63750" y="108387"/>
                    <a:pt x="71250" y="112258"/>
                    <a:pt x="78750" y="104516"/>
                  </a:cubicBezTo>
                  <a:cubicBezTo>
                    <a:pt x="78750" y="96774"/>
                    <a:pt x="60000" y="89032"/>
                    <a:pt x="60000" y="85161"/>
                  </a:cubicBezTo>
                  <a:cubicBezTo>
                    <a:pt x="63750" y="81290"/>
                    <a:pt x="67500" y="77419"/>
                    <a:pt x="75000" y="73548"/>
                  </a:cubicBezTo>
                  <a:cubicBezTo>
                    <a:pt x="82500" y="65806"/>
                    <a:pt x="90000" y="58064"/>
                    <a:pt x="101250" y="54193"/>
                  </a:cubicBezTo>
                  <a:cubicBezTo>
                    <a:pt x="108750" y="46451"/>
                    <a:pt x="97500" y="34838"/>
                    <a:pt x="101250" y="30967"/>
                  </a:cubicBezTo>
                  <a:cubicBezTo>
                    <a:pt x="108750" y="23225"/>
                    <a:pt x="112500" y="15483"/>
                    <a:pt x="120000" y="11612"/>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28" name="Shape 2602">
              <a:extLst>
                <a:ext uri="{FF2B5EF4-FFF2-40B4-BE49-F238E27FC236}">
                  <a16:creationId xmlns:a16="http://schemas.microsoft.com/office/drawing/2014/main" id="{DCD24DF7-3B83-CF48-82B5-16251412B600}"/>
                </a:ext>
              </a:extLst>
            </p:cNvPr>
            <p:cNvSpPr/>
            <p:nvPr/>
          </p:nvSpPr>
          <p:spPr>
            <a:xfrm>
              <a:off x="11209731" y="6162889"/>
              <a:ext cx="222932" cy="232542"/>
            </a:xfrm>
            <a:custGeom>
              <a:avLst/>
              <a:gdLst/>
              <a:ahLst/>
              <a:cxnLst/>
              <a:rect l="0" t="0" r="0" b="0"/>
              <a:pathLst>
                <a:path w="120000" h="120000" extrusionOk="0">
                  <a:moveTo>
                    <a:pt x="105000" y="38400"/>
                  </a:moveTo>
                  <a:cubicBezTo>
                    <a:pt x="100000" y="38400"/>
                    <a:pt x="95000" y="24000"/>
                    <a:pt x="90000" y="24000"/>
                  </a:cubicBezTo>
                  <a:cubicBezTo>
                    <a:pt x="80000" y="28800"/>
                    <a:pt x="85000" y="33600"/>
                    <a:pt x="75000" y="28800"/>
                  </a:cubicBezTo>
                  <a:cubicBezTo>
                    <a:pt x="55000" y="24000"/>
                    <a:pt x="75000" y="14400"/>
                    <a:pt x="80000" y="4800"/>
                  </a:cubicBezTo>
                  <a:cubicBezTo>
                    <a:pt x="70000" y="4800"/>
                    <a:pt x="55000" y="0"/>
                    <a:pt x="50000" y="4800"/>
                  </a:cubicBezTo>
                  <a:cubicBezTo>
                    <a:pt x="50000" y="4800"/>
                    <a:pt x="60000" y="4800"/>
                    <a:pt x="50000" y="9600"/>
                  </a:cubicBezTo>
                  <a:cubicBezTo>
                    <a:pt x="50000" y="9600"/>
                    <a:pt x="40000" y="14400"/>
                    <a:pt x="45000" y="14400"/>
                  </a:cubicBezTo>
                  <a:cubicBezTo>
                    <a:pt x="45000" y="19200"/>
                    <a:pt x="55000" y="14400"/>
                    <a:pt x="55000" y="19200"/>
                  </a:cubicBezTo>
                  <a:cubicBezTo>
                    <a:pt x="60000" y="24000"/>
                    <a:pt x="45000" y="24000"/>
                    <a:pt x="45000" y="24000"/>
                  </a:cubicBezTo>
                  <a:cubicBezTo>
                    <a:pt x="35000" y="28800"/>
                    <a:pt x="15000" y="24000"/>
                    <a:pt x="10000" y="28800"/>
                  </a:cubicBezTo>
                  <a:cubicBezTo>
                    <a:pt x="10000" y="28800"/>
                    <a:pt x="15000" y="28800"/>
                    <a:pt x="15000" y="33600"/>
                  </a:cubicBezTo>
                  <a:cubicBezTo>
                    <a:pt x="15000" y="33600"/>
                    <a:pt x="5000" y="33600"/>
                    <a:pt x="10000" y="38400"/>
                  </a:cubicBezTo>
                  <a:cubicBezTo>
                    <a:pt x="10000" y="38400"/>
                    <a:pt x="10000" y="38400"/>
                    <a:pt x="10000" y="38400"/>
                  </a:cubicBezTo>
                  <a:cubicBezTo>
                    <a:pt x="15000" y="38400"/>
                    <a:pt x="5000" y="38400"/>
                    <a:pt x="5000" y="38400"/>
                  </a:cubicBezTo>
                  <a:cubicBezTo>
                    <a:pt x="5000" y="43200"/>
                    <a:pt x="25000" y="43200"/>
                    <a:pt x="15000" y="48000"/>
                  </a:cubicBezTo>
                  <a:cubicBezTo>
                    <a:pt x="0" y="57600"/>
                    <a:pt x="20000" y="62400"/>
                    <a:pt x="30000" y="62400"/>
                  </a:cubicBezTo>
                  <a:cubicBezTo>
                    <a:pt x="35000" y="62400"/>
                    <a:pt x="25000" y="76800"/>
                    <a:pt x="25000" y="81600"/>
                  </a:cubicBezTo>
                  <a:cubicBezTo>
                    <a:pt x="20000" y="81600"/>
                    <a:pt x="10000" y="100800"/>
                    <a:pt x="5000" y="96000"/>
                  </a:cubicBezTo>
                  <a:cubicBezTo>
                    <a:pt x="5000" y="96000"/>
                    <a:pt x="15000" y="96000"/>
                    <a:pt x="15000" y="96000"/>
                  </a:cubicBezTo>
                  <a:cubicBezTo>
                    <a:pt x="10000" y="100800"/>
                    <a:pt x="5000" y="96000"/>
                    <a:pt x="0" y="105600"/>
                  </a:cubicBezTo>
                  <a:cubicBezTo>
                    <a:pt x="0" y="105600"/>
                    <a:pt x="15000" y="100800"/>
                    <a:pt x="15000" y="100800"/>
                  </a:cubicBezTo>
                  <a:cubicBezTo>
                    <a:pt x="15000" y="100800"/>
                    <a:pt x="10000" y="110400"/>
                    <a:pt x="10000" y="115200"/>
                  </a:cubicBezTo>
                  <a:cubicBezTo>
                    <a:pt x="10000" y="115200"/>
                    <a:pt x="20000" y="110400"/>
                    <a:pt x="20000" y="110400"/>
                  </a:cubicBezTo>
                  <a:cubicBezTo>
                    <a:pt x="20000" y="110400"/>
                    <a:pt x="20000" y="115200"/>
                    <a:pt x="20000" y="120000"/>
                  </a:cubicBezTo>
                  <a:cubicBezTo>
                    <a:pt x="25000" y="120000"/>
                    <a:pt x="35000" y="115200"/>
                    <a:pt x="40000" y="115200"/>
                  </a:cubicBezTo>
                  <a:cubicBezTo>
                    <a:pt x="55000" y="110400"/>
                    <a:pt x="70000" y="96000"/>
                    <a:pt x="85000" y="96000"/>
                  </a:cubicBezTo>
                  <a:cubicBezTo>
                    <a:pt x="105000" y="96000"/>
                    <a:pt x="100000" y="91200"/>
                    <a:pt x="110000" y="76800"/>
                  </a:cubicBezTo>
                  <a:cubicBezTo>
                    <a:pt x="120000" y="62400"/>
                    <a:pt x="105000" y="52800"/>
                    <a:pt x="105000" y="38400"/>
                  </a:cubicBezTo>
                  <a:cubicBezTo>
                    <a:pt x="100000" y="38400"/>
                    <a:pt x="105000" y="43200"/>
                    <a:pt x="105000" y="384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29" name="Shape 2603">
              <a:extLst>
                <a:ext uri="{FF2B5EF4-FFF2-40B4-BE49-F238E27FC236}">
                  <a16:creationId xmlns:a16="http://schemas.microsoft.com/office/drawing/2014/main" id="{2B794AFC-2A0E-8347-B04F-8859CC5EBE72}"/>
                </a:ext>
              </a:extLst>
            </p:cNvPr>
            <p:cNvSpPr/>
            <p:nvPr/>
          </p:nvSpPr>
          <p:spPr>
            <a:xfrm>
              <a:off x="11321191" y="6153336"/>
              <a:ext cx="149682" cy="92380"/>
            </a:xfrm>
            <a:custGeom>
              <a:avLst/>
              <a:gdLst/>
              <a:ahLst/>
              <a:cxnLst/>
              <a:rect l="0" t="0" r="0" b="0"/>
              <a:pathLst>
                <a:path w="120000" h="120000" extrusionOk="0">
                  <a:moveTo>
                    <a:pt x="7500" y="72000"/>
                  </a:moveTo>
                  <a:cubicBezTo>
                    <a:pt x="0" y="84000"/>
                    <a:pt x="22500" y="96000"/>
                    <a:pt x="30000" y="96000"/>
                  </a:cubicBezTo>
                  <a:cubicBezTo>
                    <a:pt x="30000" y="96000"/>
                    <a:pt x="37500" y="84000"/>
                    <a:pt x="37500" y="84000"/>
                  </a:cubicBezTo>
                  <a:cubicBezTo>
                    <a:pt x="45000" y="72000"/>
                    <a:pt x="52500" y="84000"/>
                    <a:pt x="60000" y="96000"/>
                  </a:cubicBezTo>
                  <a:cubicBezTo>
                    <a:pt x="75000" y="120000"/>
                    <a:pt x="120000" y="60000"/>
                    <a:pt x="82500" y="48000"/>
                  </a:cubicBezTo>
                  <a:cubicBezTo>
                    <a:pt x="90000" y="48000"/>
                    <a:pt x="82500" y="24000"/>
                    <a:pt x="82500" y="24000"/>
                  </a:cubicBezTo>
                  <a:cubicBezTo>
                    <a:pt x="75000" y="0"/>
                    <a:pt x="67500" y="0"/>
                    <a:pt x="52500" y="12000"/>
                  </a:cubicBezTo>
                  <a:cubicBezTo>
                    <a:pt x="45000" y="12000"/>
                    <a:pt x="30000" y="12000"/>
                    <a:pt x="30000" y="24000"/>
                  </a:cubicBezTo>
                  <a:cubicBezTo>
                    <a:pt x="22500" y="36000"/>
                    <a:pt x="7500" y="48000"/>
                    <a:pt x="7500" y="72000"/>
                  </a:cubicBezTo>
                  <a:cubicBezTo>
                    <a:pt x="7500" y="72000"/>
                    <a:pt x="7500" y="60000"/>
                    <a:pt x="7500" y="72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30" name="Shape 2604">
              <a:extLst>
                <a:ext uri="{FF2B5EF4-FFF2-40B4-BE49-F238E27FC236}">
                  <a16:creationId xmlns:a16="http://schemas.microsoft.com/office/drawing/2014/main" id="{CCA3F8F0-F815-A84A-A738-E77D83BE0AF9}"/>
                </a:ext>
              </a:extLst>
            </p:cNvPr>
            <p:cNvSpPr/>
            <p:nvPr/>
          </p:nvSpPr>
          <p:spPr>
            <a:xfrm>
              <a:off x="11267053" y="6854154"/>
              <a:ext cx="585985" cy="430050"/>
            </a:xfrm>
            <a:custGeom>
              <a:avLst/>
              <a:gdLst/>
              <a:ahLst/>
              <a:cxnLst/>
              <a:rect l="0" t="0" r="0" b="0"/>
              <a:pathLst>
                <a:path w="120000" h="120000" extrusionOk="0">
                  <a:moveTo>
                    <a:pt x="110476" y="20869"/>
                  </a:moveTo>
                  <a:cubicBezTo>
                    <a:pt x="104761" y="20869"/>
                    <a:pt x="102857" y="18260"/>
                    <a:pt x="99047" y="15652"/>
                  </a:cubicBezTo>
                  <a:cubicBezTo>
                    <a:pt x="97142" y="13043"/>
                    <a:pt x="95238" y="15652"/>
                    <a:pt x="93333" y="15652"/>
                  </a:cubicBezTo>
                  <a:cubicBezTo>
                    <a:pt x="91428" y="15652"/>
                    <a:pt x="87619" y="15652"/>
                    <a:pt x="85714" y="15652"/>
                  </a:cubicBezTo>
                  <a:cubicBezTo>
                    <a:pt x="81904" y="13043"/>
                    <a:pt x="78095" y="10434"/>
                    <a:pt x="76190" y="10434"/>
                  </a:cubicBezTo>
                  <a:cubicBezTo>
                    <a:pt x="74285" y="7826"/>
                    <a:pt x="74285" y="7826"/>
                    <a:pt x="72380" y="5217"/>
                  </a:cubicBezTo>
                  <a:cubicBezTo>
                    <a:pt x="70476" y="7826"/>
                    <a:pt x="68571" y="5217"/>
                    <a:pt x="66666" y="5217"/>
                  </a:cubicBezTo>
                  <a:cubicBezTo>
                    <a:pt x="62857" y="2608"/>
                    <a:pt x="60952" y="5217"/>
                    <a:pt x="59047" y="5217"/>
                  </a:cubicBezTo>
                  <a:cubicBezTo>
                    <a:pt x="55238" y="5217"/>
                    <a:pt x="53333" y="5217"/>
                    <a:pt x="51428" y="5217"/>
                  </a:cubicBezTo>
                  <a:cubicBezTo>
                    <a:pt x="45714" y="5217"/>
                    <a:pt x="40000" y="2608"/>
                    <a:pt x="32380" y="2608"/>
                  </a:cubicBezTo>
                  <a:cubicBezTo>
                    <a:pt x="28571" y="2608"/>
                    <a:pt x="20952" y="0"/>
                    <a:pt x="15238" y="0"/>
                  </a:cubicBezTo>
                  <a:cubicBezTo>
                    <a:pt x="13333" y="2608"/>
                    <a:pt x="7619" y="5217"/>
                    <a:pt x="3809" y="7826"/>
                  </a:cubicBezTo>
                  <a:cubicBezTo>
                    <a:pt x="0" y="10434"/>
                    <a:pt x="1904" y="13043"/>
                    <a:pt x="3809" y="15652"/>
                  </a:cubicBezTo>
                  <a:cubicBezTo>
                    <a:pt x="3809" y="20869"/>
                    <a:pt x="3809" y="23478"/>
                    <a:pt x="3809" y="28695"/>
                  </a:cubicBezTo>
                  <a:cubicBezTo>
                    <a:pt x="5714" y="28695"/>
                    <a:pt x="9523" y="26086"/>
                    <a:pt x="9523" y="26086"/>
                  </a:cubicBezTo>
                  <a:cubicBezTo>
                    <a:pt x="11428" y="26086"/>
                    <a:pt x="9523" y="31304"/>
                    <a:pt x="13333" y="31304"/>
                  </a:cubicBezTo>
                  <a:cubicBezTo>
                    <a:pt x="17142" y="31304"/>
                    <a:pt x="19047" y="28695"/>
                    <a:pt x="22857" y="28695"/>
                  </a:cubicBezTo>
                  <a:cubicBezTo>
                    <a:pt x="26666" y="26086"/>
                    <a:pt x="30476" y="33913"/>
                    <a:pt x="26666" y="36521"/>
                  </a:cubicBezTo>
                  <a:cubicBezTo>
                    <a:pt x="22857" y="41739"/>
                    <a:pt x="24761" y="44347"/>
                    <a:pt x="24761" y="52173"/>
                  </a:cubicBezTo>
                  <a:cubicBezTo>
                    <a:pt x="22857" y="54782"/>
                    <a:pt x="24761" y="62608"/>
                    <a:pt x="22857" y="65217"/>
                  </a:cubicBezTo>
                  <a:cubicBezTo>
                    <a:pt x="17142" y="65217"/>
                    <a:pt x="19047" y="67826"/>
                    <a:pt x="22857" y="73043"/>
                  </a:cubicBezTo>
                  <a:cubicBezTo>
                    <a:pt x="24761" y="75652"/>
                    <a:pt x="19047" y="80869"/>
                    <a:pt x="19047" y="86086"/>
                  </a:cubicBezTo>
                  <a:cubicBezTo>
                    <a:pt x="22857" y="91304"/>
                    <a:pt x="19047" y="93913"/>
                    <a:pt x="19047" y="99130"/>
                  </a:cubicBezTo>
                  <a:cubicBezTo>
                    <a:pt x="24761" y="96521"/>
                    <a:pt x="28571" y="109565"/>
                    <a:pt x="32380" y="114782"/>
                  </a:cubicBezTo>
                  <a:cubicBezTo>
                    <a:pt x="32380" y="117391"/>
                    <a:pt x="36190" y="120000"/>
                    <a:pt x="38095" y="117391"/>
                  </a:cubicBezTo>
                  <a:cubicBezTo>
                    <a:pt x="38095" y="117391"/>
                    <a:pt x="40000" y="114782"/>
                    <a:pt x="40000" y="112173"/>
                  </a:cubicBezTo>
                  <a:cubicBezTo>
                    <a:pt x="41904" y="112173"/>
                    <a:pt x="45714" y="109565"/>
                    <a:pt x="45714" y="109565"/>
                  </a:cubicBezTo>
                  <a:cubicBezTo>
                    <a:pt x="53333" y="106956"/>
                    <a:pt x="60952" y="109565"/>
                    <a:pt x="68571" y="106956"/>
                  </a:cubicBezTo>
                  <a:cubicBezTo>
                    <a:pt x="70476" y="104347"/>
                    <a:pt x="70476" y="101739"/>
                    <a:pt x="74285" y="99130"/>
                  </a:cubicBezTo>
                  <a:cubicBezTo>
                    <a:pt x="78095" y="96521"/>
                    <a:pt x="80000" y="93913"/>
                    <a:pt x="81904" y="91304"/>
                  </a:cubicBezTo>
                  <a:cubicBezTo>
                    <a:pt x="83809" y="83478"/>
                    <a:pt x="85714" y="80869"/>
                    <a:pt x="89523" y="78260"/>
                  </a:cubicBezTo>
                  <a:cubicBezTo>
                    <a:pt x="91428" y="75652"/>
                    <a:pt x="87619" y="70434"/>
                    <a:pt x="85714" y="67826"/>
                  </a:cubicBezTo>
                  <a:cubicBezTo>
                    <a:pt x="85714" y="65217"/>
                    <a:pt x="89523" y="57391"/>
                    <a:pt x="91428" y="54782"/>
                  </a:cubicBezTo>
                  <a:cubicBezTo>
                    <a:pt x="91428" y="54782"/>
                    <a:pt x="93333" y="52173"/>
                    <a:pt x="95238" y="49565"/>
                  </a:cubicBezTo>
                  <a:cubicBezTo>
                    <a:pt x="95238" y="49565"/>
                    <a:pt x="95238" y="44347"/>
                    <a:pt x="97142" y="44347"/>
                  </a:cubicBezTo>
                  <a:cubicBezTo>
                    <a:pt x="102857" y="39130"/>
                    <a:pt x="108571" y="36521"/>
                    <a:pt x="114285" y="33913"/>
                  </a:cubicBezTo>
                  <a:cubicBezTo>
                    <a:pt x="116190" y="31304"/>
                    <a:pt x="120000" y="28695"/>
                    <a:pt x="120000" y="23478"/>
                  </a:cubicBezTo>
                  <a:cubicBezTo>
                    <a:pt x="118095" y="18260"/>
                    <a:pt x="114285" y="23478"/>
                    <a:pt x="110476" y="20869"/>
                  </a:cubicBezTo>
                  <a:cubicBezTo>
                    <a:pt x="104761" y="20869"/>
                    <a:pt x="114285" y="23478"/>
                    <a:pt x="110476" y="20869"/>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31" name="Shape 2605">
              <a:extLst>
                <a:ext uri="{FF2B5EF4-FFF2-40B4-BE49-F238E27FC236}">
                  <a16:creationId xmlns:a16="http://schemas.microsoft.com/office/drawing/2014/main" id="{8420E29D-7550-DE4B-B067-FD0684879515}"/>
                </a:ext>
              </a:extLst>
            </p:cNvPr>
            <p:cNvSpPr/>
            <p:nvPr/>
          </p:nvSpPr>
          <p:spPr>
            <a:xfrm>
              <a:off x="11267053" y="6946536"/>
              <a:ext cx="149682" cy="283515"/>
            </a:xfrm>
            <a:custGeom>
              <a:avLst/>
              <a:gdLst/>
              <a:ahLst/>
              <a:cxnLst/>
              <a:rect l="0" t="0" r="0" b="0"/>
              <a:pathLst>
                <a:path w="120000" h="120000" extrusionOk="0">
                  <a:moveTo>
                    <a:pt x="82500" y="100000"/>
                  </a:moveTo>
                  <a:cubicBezTo>
                    <a:pt x="90000" y="92000"/>
                    <a:pt x="75000" y="88000"/>
                    <a:pt x="82500" y="84000"/>
                  </a:cubicBezTo>
                  <a:cubicBezTo>
                    <a:pt x="90000" y="72000"/>
                    <a:pt x="90000" y="72000"/>
                    <a:pt x="75000" y="64000"/>
                  </a:cubicBezTo>
                  <a:cubicBezTo>
                    <a:pt x="67500" y="56000"/>
                    <a:pt x="82500" y="60000"/>
                    <a:pt x="90000" y="56000"/>
                  </a:cubicBezTo>
                  <a:cubicBezTo>
                    <a:pt x="97500" y="52000"/>
                    <a:pt x="97500" y="40000"/>
                    <a:pt x="97500" y="36000"/>
                  </a:cubicBezTo>
                  <a:cubicBezTo>
                    <a:pt x="97500" y="24000"/>
                    <a:pt x="90000" y="24000"/>
                    <a:pt x="105000" y="16000"/>
                  </a:cubicBezTo>
                  <a:cubicBezTo>
                    <a:pt x="120000" y="12000"/>
                    <a:pt x="105000" y="0"/>
                    <a:pt x="90000" y="4000"/>
                  </a:cubicBezTo>
                  <a:cubicBezTo>
                    <a:pt x="75000" y="4000"/>
                    <a:pt x="67500" y="8000"/>
                    <a:pt x="52500" y="8000"/>
                  </a:cubicBezTo>
                  <a:cubicBezTo>
                    <a:pt x="37500" y="8000"/>
                    <a:pt x="45000" y="0"/>
                    <a:pt x="37500" y="0"/>
                  </a:cubicBezTo>
                  <a:cubicBezTo>
                    <a:pt x="45000" y="0"/>
                    <a:pt x="22500" y="0"/>
                    <a:pt x="30000" y="0"/>
                  </a:cubicBezTo>
                  <a:cubicBezTo>
                    <a:pt x="15000" y="4000"/>
                    <a:pt x="22500" y="8000"/>
                    <a:pt x="22500" y="16000"/>
                  </a:cubicBezTo>
                  <a:cubicBezTo>
                    <a:pt x="22500" y="20000"/>
                    <a:pt x="22500" y="28000"/>
                    <a:pt x="22500" y="32000"/>
                  </a:cubicBezTo>
                  <a:cubicBezTo>
                    <a:pt x="15000" y="40000"/>
                    <a:pt x="15000" y="48000"/>
                    <a:pt x="15000" y="52000"/>
                  </a:cubicBezTo>
                  <a:cubicBezTo>
                    <a:pt x="7500" y="64000"/>
                    <a:pt x="0" y="68000"/>
                    <a:pt x="0" y="80000"/>
                  </a:cubicBezTo>
                  <a:cubicBezTo>
                    <a:pt x="7500" y="84000"/>
                    <a:pt x="15000" y="80000"/>
                    <a:pt x="15000" y="88000"/>
                  </a:cubicBezTo>
                  <a:cubicBezTo>
                    <a:pt x="22500" y="92000"/>
                    <a:pt x="15000" y="104000"/>
                    <a:pt x="15000" y="112000"/>
                  </a:cubicBezTo>
                  <a:cubicBezTo>
                    <a:pt x="15000" y="120000"/>
                    <a:pt x="30000" y="120000"/>
                    <a:pt x="45000" y="120000"/>
                  </a:cubicBezTo>
                  <a:cubicBezTo>
                    <a:pt x="75000" y="120000"/>
                    <a:pt x="67500" y="108000"/>
                    <a:pt x="82500" y="100000"/>
                  </a:cubicBezTo>
                  <a:cubicBezTo>
                    <a:pt x="90000" y="92000"/>
                    <a:pt x="75000" y="104000"/>
                    <a:pt x="82500" y="10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32" name="Shape 2606">
              <a:extLst>
                <a:ext uri="{FF2B5EF4-FFF2-40B4-BE49-F238E27FC236}">
                  <a16:creationId xmlns:a16="http://schemas.microsoft.com/office/drawing/2014/main" id="{A842D31B-A991-C649-934F-4020D1F5474E}"/>
                </a:ext>
              </a:extLst>
            </p:cNvPr>
            <p:cNvSpPr/>
            <p:nvPr/>
          </p:nvSpPr>
          <p:spPr>
            <a:xfrm>
              <a:off x="13069599" y="9510897"/>
              <a:ext cx="493631" cy="825058"/>
            </a:xfrm>
            <a:custGeom>
              <a:avLst/>
              <a:gdLst/>
              <a:ahLst/>
              <a:cxnLst/>
              <a:rect l="0" t="0" r="0" b="0"/>
              <a:pathLst>
                <a:path w="120000" h="120000" extrusionOk="0">
                  <a:moveTo>
                    <a:pt x="117735" y="31363"/>
                  </a:moveTo>
                  <a:cubicBezTo>
                    <a:pt x="110943" y="23181"/>
                    <a:pt x="113207" y="12272"/>
                    <a:pt x="113207" y="4090"/>
                  </a:cubicBezTo>
                  <a:cubicBezTo>
                    <a:pt x="113207" y="0"/>
                    <a:pt x="108679" y="2727"/>
                    <a:pt x="104150" y="4090"/>
                  </a:cubicBezTo>
                  <a:cubicBezTo>
                    <a:pt x="101886" y="5454"/>
                    <a:pt x="97358" y="8181"/>
                    <a:pt x="92830" y="8181"/>
                  </a:cubicBezTo>
                  <a:cubicBezTo>
                    <a:pt x="90566" y="8181"/>
                    <a:pt x="86037" y="6818"/>
                    <a:pt x="86037" y="9545"/>
                  </a:cubicBezTo>
                  <a:cubicBezTo>
                    <a:pt x="81509" y="13636"/>
                    <a:pt x="76981" y="9545"/>
                    <a:pt x="72452" y="9545"/>
                  </a:cubicBezTo>
                  <a:cubicBezTo>
                    <a:pt x="67924" y="9545"/>
                    <a:pt x="67924" y="12272"/>
                    <a:pt x="63396" y="9545"/>
                  </a:cubicBezTo>
                  <a:cubicBezTo>
                    <a:pt x="61132" y="9545"/>
                    <a:pt x="54339" y="9545"/>
                    <a:pt x="52075" y="9545"/>
                  </a:cubicBezTo>
                  <a:cubicBezTo>
                    <a:pt x="45283" y="9545"/>
                    <a:pt x="47547" y="21818"/>
                    <a:pt x="54339" y="24545"/>
                  </a:cubicBezTo>
                  <a:cubicBezTo>
                    <a:pt x="54339" y="24545"/>
                    <a:pt x="54339" y="27272"/>
                    <a:pt x="56603" y="27272"/>
                  </a:cubicBezTo>
                  <a:cubicBezTo>
                    <a:pt x="56603" y="28636"/>
                    <a:pt x="58867" y="28636"/>
                    <a:pt x="61132" y="30000"/>
                  </a:cubicBezTo>
                  <a:cubicBezTo>
                    <a:pt x="61132" y="32727"/>
                    <a:pt x="61132" y="36818"/>
                    <a:pt x="61132" y="38181"/>
                  </a:cubicBezTo>
                  <a:cubicBezTo>
                    <a:pt x="61132" y="40909"/>
                    <a:pt x="63396" y="42272"/>
                    <a:pt x="56603" y="42272"/>
                  </a:cubicBezTo>
                  <a:cubicBezTo>
                    <a:pt x="54339" y="42272"/>
                    <a:pt x="54339" y="46363"/>
                    <a:pt x="54339" y="47727"/>
                  </a:cubicBezTo>
                  <a:cubicBezTo>
                    <a:pt x="52075" y="46363"/>
                    <a:pt x="47547" y="43636"/>
                    <a:pt x="45283" y="42272"/>
                  </a:cubicBezTo>
                  <a:cubicBezTo>
                    <a:pt x="43018" y="39545"/>
                    <a:pt x="47547" y="36818"/>
                    <a:pt x="47547" y="34090"/>
                  </a:cubicBezTo>
                  <a:cubicBezTo>
                    <a:pt x="49811" y="27272"/>
                    <a:pt x="43018" y="32727"/>
                    <a:pt x="36226" y="30000"/>
                  </a:cubicBezTo>
                  <a:cubicBezTo>
                    <a:pt x="33962" y="28636"/>
                    <a:pt x="33962" y="25909"/>
                    <a:pt x="29433" y="27272"/>
                  </a:cubicBezTo>
                  <a:cubicBezTo>
                    <a:pt x="20377" y="30000"/>
                    <a:pt x="13584" y="31363"/>
                    <a:pt x="4528" y="32727"/>
                  </a:cubicBezTo>
                  <a:cubicBezTo>
                    <a:pt x="2264" y="34090"/>
                    <a:pt x="0" y="34090"/>
                    <a:pt x="0" y="35454"/>
                  </a:cubicBezTo>
                  <a:cubicBezTo>
                    <a:pt x="0" y="36818"/>
                    <a:pt x="2264" y="39545"/>
                    <a:pt x="2264" y="40909"/>
                  </a:cubicBezTo>
                  <a:cubicBezTo>
                    <a:pt x="9056" y="40909"/>
                    <a:pt x="27169" y="43636"/>
                    <a:pt x="27169" y="47727"/>
                  </a:cubicBezTo>
                  <a:cubicBezTo>
                    <a:pt x="29433" y="51818"/>
                    <a:pt x="29433" y="55909"/>
                    <a:pt x="29433" y="60000"/>
                  </a:cubicBezTo>
                  <a:cubicBezTo>
                    <a:pt x="27169" y="62727"/>
                    <a:pt x="31698" y="66818"/>
                    <a:pt x="27169" y="70909"/>
                  </a:cubicBezTo>
                  <a:cubicBezTo>
                    <a:pt x="22641" y="75000"/>
                    <a:pt x="18113" y="80454"/>
                    <a:pt x="13584" y="84545"/>
                  </a:cubicBezTo>
                  <a:cubicBezTo>
                    <a:pt x="9056" y="87272"/>
                    <a:pt x="13584" y="92727"/>
                    <a:pt x="13584" y="94090"/>
                  </a:cubicBezTo>
                  <a:cubicBezTo>
                    <a:pt x="18113" y="99545"/>
                    <a:pt x="18113" y="102272"/>
                    <a:pt x="18113" y="106363"/>
                  </a:cubicBezTo>
                  <a:cubicBezTo>
                    <a:pt x="18113" y="110454"/>
                    <a:pt x="18113" y="114545"/>
                    <a:pt x="20377" y="118636"/>
                  </a:cubicBezTo>
                  <a:cubicBezTo>
                    <a:pt x="20377" y="120000"/>
                    <a:pt x="27169" y="118636"/>
                    <a:pt x="27169" y="117272"/>
                  </a:cubicBezTo>
                  <a:cubicBezTo>
                    <a:pt x="29433" y="115909"/>
                    <a:pt x="29433" y="113181"/>
                    <a:pt x="29433" y="113181"/>
                  </a:cubicBezTo>
                  <a:cubicBezTo>
                    <a:pt x="27169" y="113181"/>
                    <a:pt x="24905" y="113181"/>
                    <a:pt x="24905" y="113181"/>
                  </a:cubicBezTo>
                  <a:cubicBezTo>
                    <a:pt x="24905" y="109090"/>
                    <a:pt x="31698" y="106363"/>
                    <a:pt x="36226" y="105000"/>
                  </a:cubicBezTo>
                  <a:cubicBezTo>
                    <a:pt x="43018" y="103636"/>
                    <a:pt x="52075" y="102272"/>
                    <a:pt x="56603" y="98181"/>
                  </a:cubicBezTo>
                  <a:cubicBezTo>
                    <a:pt x="56603" y="96818"/>
                    <a:pt x="56603" y="90000"/>
                    <a:pt x="56603" y="87272"/>
                  </a:cubicBezTo>
                  <a:cubicBezTo>
                    <a:pt x="56603" y="84545"/>
                    <a:pt x="47547" y="65454"/>
                    <a:pt x="47547" y="65454"/>
                  </a:cubicBezTo>
                  <a:cubicBezTo>
                    <a:pt x="49811" y="64090"/>
                    <a:pt x="49811" y="68181"/>
                    <a:pt x="54339" y="65454"/>
                  </a:cubicBezTo>
                  <a:cubicBezTo>
                    <a:pt x="58867" y="62727"/>
                    <a:pt x="61132" y="61363"/>
                    <a:pt x="65660" y="60000"/>
                  </a:cubicBezTo>
                  <a:cubicBezTo>
                    <a:pt x="70188" y="58636"/>
                    <a:pt x="72452" y="50454"/>
                    <a:pt x="79245" y="51818"/>
                  </a:cubicBezTo>
                  <a:cubicBezTo>
                    <a:pt x="81509" y="51818"/>
                    <a:pt x="86037" y="49090"/>
                    <a:pt x="90566" y="49090"/>
                  </a:cubicBezTo>
                  <a:cubicBezTo>
                    <a:pt x="95094" y="47727"/>
                    <a:pt x="99622" y="46363"/>
                    <a:pt x="104150" y="43636"/>
                  </a:cubicBezTo>
                  <a:cubicBezTo>
                    <a:pt x="106415" y="42272"/>
                    <a:pt x="120000" y="34090"/>
                    <a:pt x="117735" y="31363"/>
                  </a:cubicBezTo>
                  <a:cubicBezTo>
                    <a:pt x="115471" y="30000"/>
                    <a:pt x="117735" y="32727"/>
                    <a:pt x="117735" y="31363"/>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33" name="Shape 2607">
              <a:extLst>
                <a:ext uri="{FF2B5EF4-FFF2-40B4-BE49-F238E27FC236}">
                  <a16:creationId xmlns:a16="http://schemas.microsoft.com/office/drawing/2014/main" id="{04963826-D349-1F4A-A480-13BA72BAC73A}"/>
                </a:ext>
              </a:extLst>
            </p:cNvPr>
            <p:cNvSpPr/>
            <p:nvPr/>
          </p:nvSpPr>
          <p:spPr>
            <a:xfrm>
              <a:off x="13181064" y="9485412"/>
              <a:ext cx="149682" cy="353597"/>
            </a:xfrm>
            <a:custGeom>
              <a:avLst/>
              <a:gdLst/>
              <a:ahLst/>
              <a:cxnLst/>
              <a:rect l="0" t="0" r="0" b="0"/>
              <a:pathLst>
                <a:path w="120000" h="120000" extrusionOk="0">
                  <a:moveTo>
                    <a:pt x="30000" y="78947"/>
                  </a:moveTo>
                  <a:cubicBezTo>
                    <a:pt x="45000" y="82105"/>
                    <a:pt x="67500" y="75789"/>
                    <a:pt x="67500" y="82105"/>
                  </a:cubicBezTo>
                  <a:cubicBezTo>
                    <a:pt x="75000" y="88421"/>
                    <a:pt x="67500" y="91578"/>
                    <a:pt x="60000" y="97894"/>
                  </a:cubicBezTo>
                  <a:cubicBezTo>
                    <a:pt x="45000" y="104210"/>
                    <a:pt x="75000" y="113684"/>
                    <a:pt x="90000" y="120000"/>
                  </a:cubicBezTo>
                  <a:cubicBezTo>
                    <a:pt x="97500" y="116842"/>
                    <a:pt x="90000" y="110526"/>
                    <a:pt x="90000" y="107368"/>
                  </a:cubicBezTo>
                  <a:cubicBezTo>
                    <a:pt x="97500" y="104210"/>
                    <a:pt x="120000" y="110526"/>
                    <a:pt x="112500" y="104210"/>
                  </a:cubicBezTo>
                  <a:cubicBezTo>
                    <a:pt x="112500" y="97894"/>
                    <a:pt x="112500" y="91578"/>
                    <a:pt x="112500" y="85263"/>
                  </a:cubicBezTo>
                  <a:cubicBezTo>
                    <a:pt x="105000" y="78947"/>
                    <a:pt x="97500" y="75789"/>
                    <a:pt x="90000" y="69473"/>
                  </a:cubicBezTo>
                  <a:cubicBezTo>
                    <a:pt x="82500" y="78947"/>
                    <a:pt x="60000" y="66315"/>
                    <a:pt x="60000" y="63157"/>
                  </a:cubicBezTo>
                  <a:cubicBezTo>
                    <a:pt x="60000" y="56842"/>
                    <a:pt x="60000" y="53684"/>
                    <a:pt x="60000" y="50526"/>
                  </a:cubicBezTo>
                  <a:cubicBezTo>
                    <a:pt x="60000" y="44210"/>
                    <a:pt x="60000" y="47368"/>
                    <a:pt x="52500" y="44210"/>
                  </a:cubicBezTo>
                  <a:cubicBezTo>
                    <a:pt x="45000" y="44210"/>
                    <a:pt x="60000" y="25263"/>
                    <a:pt x="60000" y="25263"/>
                  </a:cubicBezTo>
                  <a:cubicBezTo>
                    <a:pt x="60000" y="18947"/>
                    <a:pt x="52500" y="15789"/>
                    <a:pt x="52500" y="9473"/>
                  </a:cubicBezTo>
                  <a:cubicBezTo>
                    <a:pt x="45000" y="6315"/>
                    <a:pt x="37500" y="0"/>
                    <a:pt x="52500" y="3157"/>
                  </a:cubicBezTo>
                  <a:cubicBezTo>
                    <a:pt x="45000" y="0"/>
                    <a:pt x="22500" y="0"/>
                    <a:pt x="15000" y="0"/>
                  </a:cubicBezTo>
                  <a:cubicBezTo>
                    <a:pt x="15000" y="3157"/>
                    <a:pt x="45000" y="15789"/>
                    <a:pt x="30000" y="18947"/>
                  </a:cubicBezTo>
                  <a:cubicBezTo>
                    <a:pt x="7500" y="22105"/>
                    <a:pt x="15000" y="37894"/>
                    <a:pt x="30000" y="44210"/>
                  </a:cubicBezTo>
                  <a:cubicBezTo>
                    <a:pt x="30000" y="47368"/>
                    <a:pt x="15000" y="47368"/>
                    <a:pt x="15000" y="50526"/>
                  </a:cubicBezTo>
                  <a:cubicBezTo>
                    <a:pt x="7500" y="50526"/>
                    <a:pt x="7500" y="60000"/>
                    <a:pt x="7500" y="63157"/>
                  </a:cubicBezTo>
                  <a:cubicBezTo>
                    <a:pt x="0" y="69473"/>
                    <a:pt x="22500" y="75789"/>
                    <a:pt x="30000" y="78947"/>
                  </a:cubicBezTo>
                  <a:cubicBezTo>
                    <a:pt x="37500" y="82105"/>
                    <a:pt x="30000" y="75789"/>
                    <a:pt x="30000" y="78947"/>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34" name="Shape 2608">
              <a:extLst>
                <a:ext uri="{FF2B5EF4-FFF2-40B4-BE49-F238E27FC236}">
                  <a16:creationId xmlns:a16="http://schemas.microsoft.com/office/drawing/2014/main" id="{76250729-5FE6-CC46-B397-30AE040D4321}"/>
                </a:ext>
              </a:extLst>
            </p:cNvPr>
            <p:cNvSpPr/>
            <p:nvPr/>
          </p:nvSpPr>
          <p:spPr>
            <a:xfrm>
              <a:off x="12674693" y="9418516"/>
              <a:ext cx="560507" cy="468275"/>
            </a:xfrm>
            <a:custGeom>
              <a:avLst/>
              <a:gdLst/>
              <a:ahLst/>
              <a:cxnLst/>
              <a:rect l="0" t="0" r="0" b="0"/>
              <a:pathLst>
                <a:path w="120000" h="120000" extrusionOk="0">
                  <a:moveTo>
                    <a:pt x="112000" y="72000"/>
                  </a:moveTo>
                  <a:cubicBezTo>
                    <a:pt x="108000" y="64800"/>
                    <a:pt x="112000" y="64800"/>
                    <a:pt x="110000" y="57600"/>
                  </a:cubicBezTo>
                  <a:cubicBezTo>
                    <a:pt x="110000" y="55200"/>
                    <a:pt x="112000" y="55200"/>
                    <a:pt x="114000" y="52800"/>
                  </a:cubicBezTo>
                  <a:cubicBezTo>
                    <a:pt x="116000" y="50400"/>
                    <a:pt x="114000" y="48000"/>
                    <a:pt x="114000" y="45600"/>
                  </a:cubicBezTo>
                  <a:cubicBezTo>
                    <a:pt x="112000" y="40800"/>
                    <a:pt x="112000" y="33600"/>
                    <a:pt x="116000" y="31200"/>
                  </a:cubicBezTo>
                  <a:cubicBezTo>
                    <a:pt x="120000" y="28800"/>
                    <a:pt x="114000" y="21600"/>
                    <a:pt x="112000" y="19200"/>
                  </a:cubicBezTo>
                  <a:cubicBezTo>
                    <a:pt x="110000" y="14400"/>
                    <a:pt x="106000" y="12000"/>
                    <a:pt x="102000" y="12000"/>
                  </a:cubicBezTo>
                  <a:cubicBezTo>
                    <a:pt x="100000" y="9600"/>
                    <a:pt x="98000" y="7200"/>
                    <a:pt x="96000" y="7200"/>
                  </a:cubicBezTo>
                  <a:cubicBezTo>
                    <a:pt x="94000" y="4800"/>
                    <a:pt x="92000" y="2400"/>
                    <a:pt x="90000" y="0"/>
                  </a:cubicBezTo>
                  <a:cubicBezTo>
                    <a:pt x="90000" y="0"/>
                    <a:pt x="78000" y="2400"/>
                    <a:pt x="76000" y="2400"/>
                  </a:cubicBezTo>
                  <a:cubicBezTo>
                    <a:pt x="72000" y="2400"/>
                    <a:pt x="72000" y="7200"/>
                    <a:pt x="68000" y="9600"/>
                  </a:cubicBezTo>
                  <a:cubicBezTo>
                    <a:pt x="66000" y="14400"/>
                    <a:pt x="68000" y="21600"/>
                    <a:pt x="70000" y="24000"/>
                  </a:cubicBezTo>
                  <a:cubicBezTo>
                    <a:pt x="70000" y="31200"/>
                    <a:pt x="66000" y="33600"/>
                    <a:pt x="66000" y="40800"/>
                  </a:cubicBezTo>
                  <a:cubicBezTo>
                    <a:pt x="66000" y="43200"/>
                    <a:pt x="70000" y="50400"/>
                    <a:pt x="74000" y="50400"/>
                  </a:cubicBezTo>
                  <a:cubicBezTo>
                    <a:pt x="78000" y="50400"/>
                    <a:pt x="80000" y="48000"/>
                    <a:pt x="80000" y="55200"/>
                  </a:cubicBezTo>
                  <a:cubicBezTo>
                    <a:pt x="80000" y="60000"/>
                    <a:pt x="80000" y="62400"/>
                    <a:pt x="78000" y="62400"/>
                  </a:cubicBezTo>
                  <a:cubicBezTo>
                    <a:pt x="74000" y="64800"/>
                    <a:pt x="72000" y="67200"/>
                    <a:pt x="70000" y="62400"/>
                  </a:cubicBezTo>
                  <a:cubicBezTo>
                    <a:pt x="68000" y="57600"/>
                    <a:pt x="66000" y="52800"/>
                    <a:pt x="62000" y="52800"/>
                  </a:cubicBezTo>
                  <a:cubicBezTo>
                    <a:pt x="58000" y="50400"/>
                    <a:pt x="56000" y="45600"/>
                    <a:pt x="54000" y="40800"/>
                  </a:cubicBezTo>
                  <a:cubicBezTo>
                    <a:pt x="50000" y="50400"/>
                    <a:pt x="46000" y="45600"/>
                    <a:pt x="40000" y="43200"/>
                  </a:cubicBezTo>
                  <a:cubicBezTo>
                    <a:pt x="36000" y="43200"/>
                    <a:pt x="36000" y="38400"/>
                    <a:pt x="32000" y="38400"/>
                  </a:cubicBezTo>
                  <a:cubicBezTo>
                    <a:pt x="32000" y="38400"/>
                    <a:pt x="30000" y="40800"/>
                    <a:pt x="28000" y="38400"/>
                  </a:cubicBezTo>
                  <a:cubicBezTo>
                    <a:pt x="26000" y="38400"/>
                    <a:pt x="26000" y="33600"/>
                    <a:pt x="22000" y="33600"/>
                  </a:cubicBezTo>
                  <a:cubicBezTo>
                    <a:pt x="22000" y="38400"/>
                    <a:pt x="22000" y="43200"/>
                    <a:pt x="22000" y="48000"/>
                  </a:cubicBezTo>
                  <a:cubicBezTo>
                    <a:pt x="22000" y="52800"/>
                    <a:pt x="24000" y="57600"/>
                    <a:pt x="20000" y="57600"/>
                  </a:cubicBezTo>
                  <a:cubicBezTo>
                    <a:pt x="14000" y="57600"/>
                    <a:pt x="8000" y="57600"/>
                    <a:pt x="4000" y="57600"/>
                  </a:cubicBezTo>
                  <a:cubicBezTo>
                    <a:pt x="2000" y="57600"/>
                    <a:pt x="2000" y="67200"/>
                    <a:pt x="2000" y="69600"/>
                  </a:cubicBezTo>
                  <a:cubicBezTo>
                    <a:pt x="2000" y="79200"/>
                    <a:pt x="0" y="96000"/>
                    <a:pt x="6000" y="103200"/>
                  </a:cubicBezTo>
                  <a:cubicBezTo>
                    <a:pt x="8000" y="105600"/>
                    <a:pt x="14000" y="115200"/>
                    <a:pt x="16000" y="115200"/>
                  </a:cubicBezTo>
                  <a:cubicBezTo>
                    <a:pt x="20000" y="112800"/>
                    <a:pt x="38000" y="112800"/>
                    <a:pt x="32000" y="120000"/>
                  </a:cubicBezTo>
                  <a:cubicBezTo>
                    <a:pt x="36000" y="120000"/>
                    <a:pt x="34000" y="120000"/>
                    <a:pt x="36000" y="120000"/>
                  </a:cubicBezTo>
                  <a:cubicBezTo>
                    <a:pt x="40000" y="117600"/>
                    <a:pt x="42000" y="120000"/>
                    <a:pt x="44000" y="120000"/>
                  </a:cubicBezTo>
                  <a:cubicBezTo>
                    <a:pt x="50000" y="120000"/>
                    <a:pt x="54000" y="120000"/>
                    <a:pt x="56000" y="112800"/>
                  </a:cubicBezTo>
                  <a:cubicBezTo>
                    <a:pt x="58000" y="110400"/>
                    <a:pt x="60000" y="108000"/>
                    <a:pt x="62000" y="105600"/>
                  </a:cubicBezTo>
                  <a:cubicBezTo>
                    <a:pt x="64000" y="103200"/>
                    <a:pt x="68000" y="103200"/>
                    <a:pt x="70000" y="98400"/>
                  </a:cubicBezTo>
                  <a:cubicBezTo>
                    <a:pt x="72000" y="96000"/>
                    <a:pt x="72000" y="93600"/>
                    <a:pt x="74000" y="91200"/>
                  </a:cubicBezTo>
                  <a:cubicBezTo>
                    <a:pt x="78000" y="91200"/>
                    <a:pt x="82000" y="91200"/>
                    <a:pt x="86000" y="91200"/>
                  </a:cubicBezTo>
                  <a:cubicBezTo>
                    <a:pt x="84000" y="88800"/>
                    <a:pt x="84000" y="84000"/>
                    <a:pt x="84000" y="84000"/>
                  </a:cubicBezTo>
                  <a:cubicBezTo>
                    <a:pt x="88000" y="81600"/>
                    <a:pt x="90000" y="81600"/>
                    <a:pt x="92000" y="79200"/>
                  </a:cubicBezTo>
                  <a:cubicBezTo>
                    <a:pt x="98000" y="76800"/>
                    <a:pt x="106000" y="74400"/>
                    <a:pt x="112000" y="72000"/>
                  </a:cubicBezTo>
                  <a:cubicBezTo>
                    <a:pt x="110000" y="69600"/>
                    <a:pt x="110000" y="72000"/>
                    <a:pt x="112000" y="72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35" name="Shape 2609">
              <a:extLst>
                <a:ext uri="{FF2B5EF4-FFF2-40B4-BE49-F238E27FC236}">
                  <a16:creationId xmlns:a16="http://schemas.microsoft.com/office/drawing/2014/main" id="{BEFC2817-CBB1-6849-B54D-98E00202636F}"/>
                </a:ext>
              </a:extLst>
            </p:cNvPr>
            <p:cNvSpPr/>
            <p:nvPr/>
          </p:nvSpPr>
          <p:spPr>
            <a:xfrm>
              <a:off x="12247945" y="9839009"/>
              <a:ext cx="595540" cy="589328"/>
            </a:xfrm>
            <a:custGeom>
              <a:avLst/>
              <a:gdLst/>
              <a:ahLst/>
              <a:cxnLst/>
              <a:rect l="0" t="0" r="0" b="0"/>
              <a:pathLst>
                <a:path w="120000" h="120000" extrusionOk="0">
                  <a:moveTo>
                    <a:pt x="61875" y="9523"/>
                  </a:moveTo>
                  <a:cubicBezTo>
                    <a:pt x="60000" y="9523"/>
                    <a:pt x="58125" y="3809"/>
                    <a:pt x="58125" y="3809"/>
                  </a:cubicBezTo>
                  <a:cubicBezTo>
                    <a:pt x="56250" y="3809"/>
                    <a:pt x="54375" y="3809"/>
                    <a:pt x="52500" y="3809"/>
                  </a:cubicBezTo>
                  <a:cubicBezTo>
                    <a:pt x="46875" y="3809"/>
                    <a:pt x="39375" y="3809"/>
                    <a:pt x="33750" y="3809"/>
                  </a:cubicBezTo>
                  <a:cubicBezTo>
                    <a:pt x="28125" y="3809"/>
                    <a:pt x="24375" y="3809"/>
                    <a:pt x="18750" y="3809"/>
                  </a:cubicBezTo>
                  <a:cubicBezTo>
                    <a:pt x="16875" y="3809"/>
                    <a:pt x="16875" y="0"/>
                    <a:pt x="13125" y="0"/>
                  </a:cubicBezTo>
                  <a:cubicBezTo>
                    <a:pt x="11250" y="0"/>
                    <a:pt x="9375" y="3809"/>
                    <a:pt x="7500" y="3809"/>
                  </a:cubicBezTo>
                  <a:cubicBezTo>
                    <a:pt x="5625" y="3809"/>
                    <a:pt x="3750" y="3809"/>
                    <a:pt x="1875" y="3809"/>
                  </a:cubicBezTo>
                  <a:cubicBezTo>
                    <a:pt x="0" y="13333"/>
                    <a:pt x="7500" y="17142"/>
                    <a:pt x="11250" y="26666"/>
                  </a:cubicBezTo>
                  <a:cubicBezTo>
                    <a:pt x="13125" y="30476"/>
                    <a:pt x="15000" y="36190"/>
                    <a:pt x="16875" y="40000"/>
                  </a:cubicBezTo>
                  <a:cubicBezTo>
                    <a:pt x="18750" y="45714"/>
                    <a:pt x="22500" y="49523"/>
                    <a:pt x="24375" y="55238"/>
                  </a:cubicBezTo>
                  <a:cubicBezTo>
                    <a:pt x="24375" y="57142"/>
                    <a:pt x="24375" y="62857"/>
                    <a:pt x="24375" y="64761"/>
                  </a:cubicBezTo>
                  <a:cubicBezTo>
                    <a:pt x="24375" y="70476"/>
                    <a:pt x="26250" y="74285"/>
                    <a:pt x="26250" y="80000"/>
                  </a:cubicBezTo>
                  <a:cubicBezTo>
                    <a:pt x="28125" y="85714"/>
                    <a:pt x="28125" y="91428"/>
                    <a:pt x="30000" y="97142"/>
                  </a:cubicBezTo>
                  <a:cubicBezTo>
                    <a:pt x="31875" y="104761"/>
                    <a:pt x="37500" y="110476"/>
                    <a:pt x="41250" y="116190"/>
                  </a:cubicBezTo>
                  <a:cubicBezTo>
                    <a:pt x="46875" y="110476"/>
                    <a:pt x="46875" y="114285"/>
                    <a:pt x="52500" y="118095"/>
                  </a:cubicBezTo>
                  <a:cubicBezTo>
                    <a:pt x="54375" y="120000"/>
                    <a:pt x="60000" y="120000"/>
                    <a:pt x="61875" y="118095"/>
                  </a:cubicBezTo>
                  <a:cubicBezTo>
                    <a:pt x="67500" y="118095"/>
                    <a:pt x="71250" y="116190"/>
                    <a:pt x="71250" y="110476"/>
                  </a:cubicBezTo>
                  <a:cubicBezTo>
                    <a:pt x="71250" y="99047"/>
                    <a:pt x="71250" y="87619"/>
                    <a:pt x="71250" y="76190"/>
                  </a:cubicBezTo>
                  <a:cubicBezTo>
                    <a:pt x="71250" y="68571"/>
                    <a:pt x="71250" y="60952"/>
                    <a:pt x="71250" y="53333"/>
                  </a:cubicBezTo>
                  <a:cubicBezTo>
                    <a:pt x="71250" y="51428"/>
                    <a:pt x="71250" y="49523"/>
                    <a:pt x="73125" y="49523"/>
                  </a:cubicBezTo>
                  <a:cubicBezTo>
                    <a:pt x="73125" y="49523"/>
                    <a:pt x="80625" y="49523"/>
                    <a:pt x="80625" y="49523"/>
                  </a:cubicBezTo>
                  <a:cubicBezTo>
                    <a:pt x="80625" y="38095"/>
                    <a:pt x="80625" y="24761"/>
                    <a:pt x="80625" y="13333"/>
                  </a:cubicBezTo>
                  <a:cubicBezTo>
                    <a:pt x="86250" y="15238"/>
                    <a:pt x="90000" y="11428"/>
                    <a:pt x="95625" y="11428"/>
                  </a:cubicBezTo>
                  <a:cubicBezTo>
                    <a:pt x="95625" y="9523"/>
                    <a:pt x="97500" y="9523"/>
                    <a:pt x="99375" y="9523"/>
                  </a:cubicBezTo>
                  <a:cubicBezTo>
                    <a:pt x="99375" y="9523"/>
                    <a:pt x="103125" y="15238"/>
                    <a:pt x="105000" y="15238"/>
                  </a:cubicBezTo>
                  <a:cubicBezTo>
                    <a:pt x="106875" y="13333"/>
                    <a:pt x="105000" y="11428"/>
                    <a:pt x="108750" y="11428"/>
                  </a:cubicBezTo>
                  <a:cubicBezTo>
                    <a:pt x="110625" y="11428"/>
                    <a:pt x="112500" y="9523"/>
                    <a:pt x="116250" y="9523"/>
                  </a:cubicBezTo>
                  <a:cubicBezTo>
                    <a:pt x="120000" y="7619"/>
                    <a:pt x="112500" y="3809"/>
                    <a:pt x="110625" y="3809"/>
                  </a:cubicBezTo>
                  <a:cubicBezTo>
                    <a:pt x="101250" y="3809"/>
                    <a:pt x="93750" y="9523"/>
                    <a:pt x="84375" y="9523"/>
                  </a:cubicBezTo>
                  <a:cubicBezTo>
                    <a:pt x="76875" y="9523"/>
                    <a:pt x="69375" y="9523"/>
                    <a:pt x="61875" y="9523"/>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36" name="Shape 2610">
              <a:extLst>
                <a:ext uri="{FF2B5EF4-FFF2-40B4-BE49-F238E27FC236}">
                  <a16:creationId xmlns:a16="http://schemas.microsoft.com/office/drawing/2014/main" id="{27D07E30-A2BE-E749-A995-66358D6BFD10}"/>
                </a:ext>
              </a:extLst>
            </p:cNvPr>
            <p:cNvSpPr/>
            <p:nvPr/>
          </p:nvSpPr>
          <p:spPr>
            <a:xfrm>
              <a:off x="12263868" y="8781409"/>
              <a:ext cx="850318" cy="888768"/>
            </a:xfrm>
            <a:custGeom>
              <a:avLst/>
              <a:gdLst/>
              <a:ahLst/>
              <a:cxnLst/>
              <a:rect l="0" t="0" r="0" b="0"/>
              <a:pathLst>
                <a:path w="120000" h="120000" extrusionOk="0">
                  <a:moveTo>
                    <a:pt x="118681" y="18947"/>
                  </a:moveTo>
                  <a:cubicBezTo>
                    <a:pt x="117362" y="17684"/>
                    <a:pt x="117362" y="15157"/>
                    <a:pt x="117362" y="12631"/>
                  </a:cubicBezTo>
                  <a:cubicBezTo>
                    <a:pt x="117362" y="11368"/>
                    <a:pt x="114725" y="10105"/>
                    <a:pt x="113406" y="8842"/>
                  </a:cubicBezTo>
                  <a:cubicBezTo>
                    <a:pt x="113406" y="7578"/>
                    <a:pt x="110769" y="5052"/>
                    <a:pt x="109450" y="5052"/>
                  </a:cubicBezTo>
                  <a:cubicBezTo>
                    <a:pt x="108131" y="5052"/>
                    <a:pt x="108131" y="7578"/>
                    <a:pt x="105494" y="6315"/>
                  </a:cubicBezTo>
                  <a:cubicBezTo>
                    <a:pt x="102857" y="5052"/>
                    <a:pt x="104175" y="6315"/>
                    <a:pt x="101538" y="7578"/>
                  </a:cubicBezTo>
                  <a:cubicBezTo>
                    <a:pt x="101538" y="7578"/>
                    <a:pt x="98901" y="6315"/>
                    <a:pt x="98901" y="5052"/>
                  </a:cubicBezTo>
                  <a:cubicBezTo>
                    <a:pt x="97582" y="3789"/>
                    <a:pt x="96263" y="2526"/>
                    <a:pt x="94945" y="1263"/>
                  </a:cubicBezTo>
                  <a:cubicBezTo>
                    <a:pt x="93626" y="0"/>
                    <a:pt x="92307" y="2526"/>
                    <a:pt x="90989" y="2526"/>
                  </a:cubicBezTo>
                  <a:cubicBezTo>
                    <a:pt x="89670" y="3789"/>
                    <a:pt x="87032" y="2526"/>
                    <a:pt x="85714" y="1263"/>
                  </a:cubicBezTo>
                  <a:cubicBezTo>
                    <a:pt x="83076" y="0"/>
                    <a:pt x="83076" y="1263"/>
                    <a:pt x="80439" y="2526"/>
                  </a:cubicBezTo>
                  <a:cubicBezTo>
                    <a:pt x="79120" y="3789"/>
                    <a:pt x="76483" y="2526"/>
                    <a:pt x="75164" y="2526"/>
                  </a:cubicBezTo>
                  <a:cubicBezTo>
                    <a:pt x="73846" y="3789"/>
                    <a:pt x="69890" y="3789"/>
                    <a:pt x="68571" y="3789"/>
                  </a:cubicBezTo>
                  <a:cubicBezTo>
                    <a:pt x="64615" y="1263"/>
                    <a:pt x="67252" y="7578"/>
                    <a:pt x="63296" y="7578"/>
                  </a:cubicBezTo>
                  <a:cubicBezTo>
                    <a:pt x="60659" y="8842"/>
                    <a:pt x="55384" y="7578"/>
                    <a:pt x="52747" y="6315"/>
                  </a:cubicBezTo>
                  <a:cubicBezTo>
                    <a:pt x="50109" y="5052"/>
                    <a:pt x="48791" y="2526"/>
                    <a:pt x="46153" y="2526"/>
                  </a:cubicBezTo>
                  <a:cubicBezTo>
                    <a:pt x="44835" y="1263"/>
                    <a:pt x="42197" y="3789"/>
                    <a:pt x="40879" y="5052"/>
                  </a:cubicBezTo>
                  <a:cubicBezTo>
                    <a:pt x="38241" y="7578"/>
                    <a:pt x="40879" y="11368"/>
                    <a:pt x="39560" y="15157"/>
                  </a:cubicBezTo>
                  <a:cubicBezTo>
                    <a:pt x="35604" y="21473"/>
                    <a:pt x="35604" y="29052"/>
                    <a:pt x="31648" y="34105"/>
                  </a:cubicBezTo>
                  <a:cubicBezTo>
                    <a:pt x="29010" y="37894"/>
                    <a:pt x="27692" y="40421"/>
                    <a:pt x="25054" y="44210"/>
                  </a:cubicBezTo>
                  <a:cubicBezTo>
                    <a:pt x="23736" y="46736"/>
                    <a:pt x="23736" y="49263"/>
                    <a:pt x="23736" y="51789"/>
                  </a:cubicBezTo>
                  <a:cubicBezTo>
                    <a:pt x="23736" y="55578"/>
                    <a:pt x="25054" y="58105"/>
                    <a:pt x="22417" y="60631"/>
                  </a:cubicBezTo>
                  <a:cubicBezTo>
                    <a:pt x="21098" y="60631"/>
                    <a:pt x="14505" y="64421"/>
                    <a:pt x="14505" y="64421"/>
                  </a:cubicBezTo>
                  <a:cubicBezTo>
                    <a:pt x="13186" y="64421"/>
                    <a:pt x="15824" y="60631"/>
                    <a:pt x="13186" y="61894"/>
                  </a:cubicBezTo>
                  <a:cubicBezTo>
                    <a:pt x="9230" y="64421"/>
                    <a:pt x="9230" y="66947"/>
                    <a:pt x="6593" y="63157"/>
                  </a:cubicBezTo>
                  <a:cubicBezTo>
                    <a:pt x="5274" y="64421"/>
                    <a:pt x="2637" y="66947"/>
                    <a:pt x="2637" y="69473"/>
                  </a:cubicBezTo>
                  <a:cubicBezTo>
                    <a:pt x="2637" y="69473"/>
                    <a:pt x="2637" y="70736"/>
                    <a:pt x="1318" y="70736"/>
                  </a:cubicBezTo>
                  <a:cubicBezTo>
                    <a:pt x="0" y="72000"/>
                    <a:pt x="1318" y="73263"/>
                    <a:pt x="1318" y="74526"/>
                  </a:cubicBezTo>
                  <a:cubicBezTo>
                    <a:pt x="6593" y="70736"/>
                    <a:pt x="10549" y="72000"/>
                    <a:pt x="17142" y="72000"/>
                  </a:cubicBezTo>
                  <a:cubicBezTo>
                    <a:pt x="19780" y="72000"/>
                    <a:pt x="21098" y="72000"/>
                    <a:pt x="23736" y="72000"/>
                  </a:cubicBezTo>
                  <a:cubicBezTo>
                    <a:pt x="26373" y="72000"/>
                    <a:pt x="27692" y="75789"/>
                    <a:pt x="29010" y="78315"/>
                  </a:cubicBezTo>
                  <a:cubicBezTo>
                    <a:pt x="30329" y="80842"/>
                    <a:pt x="31648" y="84631"/>
                    <a:pt x="34285" y="85894"/>
                  </a:cubicBezTo>
                  <a:cubicBezTo>
                    <a:pt x="35604" y="87157"/>
                    <a:pt x="40879" y="85894"/>
                    <a:pt x="43516" y="84631"/>
                  </a:cubicBezTo>
                  <a:cubicBezTo>
                    <a:pt x="44835" y="84631"/>
                    <a:pt x="44835" y="80842"/>
                    <a:pt x="46153" y="79578"/>
                  </a:cubicBezTo>
                  <a:cubicBezTo>
                    <a:pt x="46153" y="77052"/>
                    <a:pt x="50109" y="78315"/>
                    <a:pt x="51428" y="78315"/>
                  </a:cubicBezTo>
                  <a:cubicBezTo>
                    <a:pt x="51428" y="80842"/>
                    <a:pt x="51428" y="80842"/>
                    <a:pt x="54065" y="80842"/>
                  </a:cubicBezTo>
                  <a:cubicBezTo>
                    <a:pt x="55384" y="80842"/>
                    <a:pt x="59340" y="79578"/>
                    <a:pt x="59340" y="82105"/>
                  </a:cubicBezTo>
                  <a:cubicBezTo>
                    <a:pt x="59340" y="84631"/>
                    <a:pt x="60659" y="85894"/>
                    <a:pt x="60659" y="88421"/>
                  </a:cubicBezTo>
                  <a:cubicBezTo>
                    <a:pt x="60659" y="89684"/>
                    <a:pt x="60659" y="90947"/>
                    <a:pt x="59340" y="93473"/>
                  </a:cubicBezTo>
                  <a:cubicBezTo>
                    <a:pt x="59340" y="94736"/>
                    <a:pt x="60659" y="97263"/>
                    <a:pt x="61978" y="98526"/>
                  </a:cubicBezTo>
                  <a:cubicBezTo>
                    <a:pt x="63296" y="99789"/>
                    <a:pt x="61978" y="102315"/>
                    <a:pt x="61978" y="103578"/>
                  </a:cubicBezTo>
                  <a:cubicBezTo>
                    <a:pt x="61978" y="107368"/>
                    <a:pt x="68571" y="103578"/>
                    <a:pt x="69890" y="103578"/>
                  </a:cubicBezTo>
                  <a:cubicBezTo>
                    <a:pt x="72527" y="103578"/>
                    <a:pt x="73846" y="103578"/>
                    <a:pt x="75164" y="104842"/>
                  </a:cubicBezTo>
                  <a:cubicBezTo>
                    <a:pt x="77802" y="107368"/>
                    <a:pt x="76483" y="106105"/>
                    <a:pt x="79120" y="106105"/>
                  </a:cubicBezTo>
                  <a:cubicBezTo>
                    <a:pt x="81758" y="106105"/>
                    <a:pt x="81758" y="107368"/>
                    <a:pt x="83076" y="108631"/>
                  </a:cubicBezTo>
                  <a:cubicBezTo>
                    <a:pt x="84395" y="108631"/>
                    <a:pt x="85714" y="109894"/>
                    <a:pt x="87032" y="109894"/>
                  </a:cubicBezTo>
                  <a:cubicBezTo>
                    <a:pt x="90989" y="111157"/>
                    <a:pt x="92307" y="111157"/>
                    <a:pt x="93626" y="107368"/>
                  </a:cubicBezTo>
                  <a:cubicBezTo>
                    <a:pt x="94945" y="111157"/>
                    <a:pt x="96263" y="112421"/>
                    <a:pt x="100219" y="113684"/>
                  </a:cubicBezTo>
                  <a:cubicBezTo>
                    <a:pt x="102857" y="114947"/>
                    <a:pt x="102857" y="118736"/>
                    <a:pt x="105494" y="120000"/>
                  </a:cubicBezTo>
                  <a:cubicBezTo>
                    <a:pt x="105494" y="120000"/>
                    <a:pt x="110769" y="118736"/>
                    <a:pt x="110769" y="118736"/>
                  </a:cubicBezTo>
                  <a:cubicBezTo>
                    <a:pt x="110769" y="116210"/>
                    <a:pt x="112087" y="111157"/>
                    <a:pt x="109450" y="112421"/>
                  </a:cubicBezTo>
                  <a:cubicBezTo>
                    <a:pt x="105494" y="113684"/>
                    <a:pt x="102857" y="111157"/>
                    <a:pt x="101538" y="107368"/>
                  </a:cubicBezTo>
                  <a:cubicBezTo>
                    <a:pt x="101538" y="104842"/>
                    <a:pt x="104175" y="101052"/>
                    <a:pt x="102857" y="97263"/>
                  </a:cubicBezTo>
                  <a:cubicBezTo>
                    <a:pt x="102857" y="96000"/>
                    <a:pt x="101538" y="93473"/>
                    <a:pt x="102857" y="92210"/>
                  </a:cubicBezTo>
                  <a:cubicBezTo>
                    <a:pt x="102857" y="92210"/>
                    <a:pt x="102857" y="90947"/>
                    <a:pt x="104175" y="90947"/>
                  </a:cubicBezTo>
                  <a:cubicBezTo>
                    <a:pt x="105494" y="90947"/>
                    <a:pt x="104175" y="88421"/>
                    <a:pt x="105494" y="88421"/>
                  </a:cubicBezTo>
                  <a:cubicBezTo>
                    <a:pt x="106813" y="85894"/>
                    <a:pt x="113406" y="85894"/>
                    <a:pt x="114725" y="85894"/>
                  </a:cubicBezTo>
                  <a:cubicBezTo>
                    <a:pt x="112087" y="84631"/>
                    <a:pt x="113406" y="80842"/>
                    <a:pt x="110769" y="79578"/>
                  </a:cubicBezTo>
                  <a:cubicBezTo>
                    <a:pt x="109450" y="78315"/>
                    <a:pt x="108131" y="77052"/>
                    <a:pt x="108131" y="75789"/>
                  </a:cubicBezTo>
                  <a:cubicBezTo>
                    <a:pt x="108131" y="73263"/>
                    <a:pt x="108131" y="70736"/>
                    <a:pt x="106813" y="69473"/>
                  </a:cubicBezTo>
                  <a:cubicBezTo>
                    <a:pt x="106813" y="66947"/>
                    <a:pt x="105494" y="65684"/>
                    <a:pt x="105494" y="63157"/>
                  </a:cubicBezTo>
                  <a:cubicBezTo>
                    <a:pt x="105494" y="61894"/>
                    <a:pt x="105494" y="55578"/>
                    <a:pt x="106813" y="56842"/>
                  </a:cubicBezTo>
                  <a:cubicBezTo>
                    <a:pt x="105494" y="51789"/>
                    <a:pt x="105494" y="49263"/>
                    <a:pt x="108131" y="44210"/>
                  </a:cubicBezTo>
                  <a:cubicBezTo>
                    <a:pt x="109450" y="40421"/>
                    <a:pt x="109450" y="39157"/>
                    <a:pt x="109450" y="35368"/>
                  </a:cubicBezTo>
                  <a:cubicBezTo>
                    <a:pt x="109450" y="31578"/>
                    <a:pt x="112087" y="29052"/>
                    <a:pt x="114725" y="26526"/>
                  </a:cubicBezTo>
                  <a:cubicBezTo>
                    <a:pt x="116043" y="25263"/>
                    <a:pt x="117362" y="24000"/>
                    <a:pt x="118681" y="22736"/>
                  </a:cubicBezTo>
                  <a:cubicBezTo>
                    <a:pt x="120000" y="21473"/>
                    <a:pt x="120000" y="21473"/>
                    <a:pt x="118681" y="18947"/>
                  </a:cubicBezTo>
                  <a:cubicBezTo>
                    <a:pt x="117362" y="18947"/>
                    <a:pt x="120000" y="20210"/>
                    <a:pt x="118681" y="18947"/>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37" name="Shape 2611">
              <a:extLst>
                <a:ext uri="{FF2B5EF4-FFF2-40B4-BE49-F238E27FC236}">
                  <a16:creationId xmlns:a16="http://schemas.microsoft.com/office/drawing/2014/main" id="{504639B5-1997-254B-8659-27341C99CD5F}"/>
                </a:ext>
              </a:extLst>
            </p:cNvPr>
            <p:cNvSpPr/>
            <p:nvPr/>
          </p:nvSpPr>
          <p:spPr>
            <a:xfrm>
              <a:off x="12254313" y="9307024"/>
              <a:ext cx="525478" cy="589328"/>
            </a:xfrm>
            <a:custGeom>
              <a:avLst/>
              <a:gdLst/>
              <a:ahLst/>
              <a:cxnLst/>
              <a:rect l="0" t="0" r="0" b="0"/>
              <a:pathLst>
                <a:path w="120000" h="120000" extrusionOk="0">
                  <a:moveTo>
                    <a:pt x="109285" y="51428"/>
                  </a:moveTo>
                  <a:cubicBezTo>
                    <a:pt x="104999" y="51428"/>
                    <a:pt x="102857" y="53333"/>
                    <a:pt x="102857" y="49523"/>
                  </a:cubicBezTo>
                  <a:cubicBezTo>
                    <a:pt x="102857" y="45714"/>
                    <a:pt x="102857" y="43809"/>
                    <a:pt x="100714" y="40000"/>
                  </a:cubicBezTo>
                  <a:cubicBezTo>
                    <a:pt x="96428" y="34285"/>
                    <a:pt x="102857" y="28571"/>
                    <a:pt x="98571" y="22857"/>
                  </a:cubicBezTo>
                  <a:cubicBezTo>
                    <a:pt x="98571" y="20952"/>
                    <a:pt x="98571" y="15238"/>
                    <a:pt x="98571" y="15238"/>
                  </a:cubicBezTo>
                  <a:cubicBezTo>
                    <a:pt x="98571" y="15238"/>
                    <a:pt x="92142" y="15238"/>
                    <a:pt x="92142" y="15238"/>
                  </a:cubicBezTo>
                  <a:cubicBezTo>
                    <a:pt x="85714" y="15238"/>
                    <a:pt x="85714" y="17142"/>
                    <a:pt x="85714" y="11428"/>
                  </a:cubicBezTo>
                  <a:cubicBezTo>
                    <a:pt x="79285" y="11428"/>
                    <a:pt x="77142" y="9523"/>
                    <a:pt x="75000" y="15238"/>
                  </a:cubicBezTo>
                  <a:cubicBezTo>
                    <a:pt x="75000" y="15238"/>
                    <a:pt x="75000" y="20952"/>
                    <a:pt x="72857" y="20952"/>
                  </a:cubicBezTo>
                  <a:cubicBezTo>
                    <a:pt x="70714" y="22857"/>
                    <a:pt x="66428" y="22857"/>
                    <a:pt x="62142" y="22857"/>
                  </a:cubicBezTo>
                  <a:cubicBezTo>
                    <a:pt x="47142" y="24761"/>
                    <a:pt x="51428" y="1904"/>
                    <a:pt x="38571" y="1904"/>
                  </a:cubicBezTo>
                  <a:cubicBezTo>
                    <a:pt x="27857" y="1904"/>
                    <a:pt x="14999" y="0"/>
                    <a:pt x="6428" y="3809"/>
                  </a:cubicBezTo>
                  <a:cubicBezTo>
                    <a:pt x="2142" y="7619"/>
                    <a:pt x="12857" y="19047"/>
                    <a:pt x="12857" y="22857"/>
                  </a:cubicBezTo>
                  <a:cubicBezTo>
                    <a:pt x="14999" y="24761"/>
                    <a:pt x="14999" y="28571"/>
                    <a:pt x="12857" y="30476"/>
                  </a:cubicBezTo>
                  <a:cubicBezTo>
                    <a:pt x="8571" y="32380"/>
                    <a:pt x="12857" y="36190"/>
                    <a:pt x="12857" y="38095"/>
                  </a:cubicBezTo>
                  <a:cubicBezTo>
                    <a:pt x="19285" y="45714"/>
                    <a:pt x="23571" y="55238"/>
                    <a:pt x="17142" y="62857"/>
                  </a:cubicBezTo>
                  <a:cubicBezTo>
                    <a:pt x="12857" y="68571"/>
                    <a:pt x="8571" y="72380"/>
                    <a:pt x="6428" y="78095"/>
                  </a:cubicBezTo>
                  <a:cubicBezTo>
                    <a:pt x="4285" y="83809"/>
                    <a:pt x="2142" y="89523"/>
                    <a:pt x="0" y="95238"/>
                  </a:cubicBezTo>
                  <a:cubicBezTo>
                    <a:pt x="0" y="99047"/>
                    <a:pt x="0" y="102857"/>
                    <a:pt x="0" y="104761"/>
                  </a:cubicBezTo>
                  <a:cubicBezTo>
                    <a:pt x="0" y="106666"/>
                    <a:pt x="0" y="110476"/>
                    <a:pt x="0" y="112380"/>
                  </a:cubicBezTo>
                  <a:cubicBezTo>
                    <a:pt x="2142" y="112380"/>
                    <a:pt x="4285" y="112380"/>
                    <a:pt x="6428" y="112380"/>
                  </a:cubicBezTo>
                  <a:cubicBezTo>
                    <a:pt x="10714" y="112380"/>
                    <a:pt x="10714" y="106666"/>
                    <a:pt x="17142" y="110476"/>
                  </a:cubicBezTo>
                  <a:cubicBezTo>
                    <a:pt x="17142" y="110476"/>
                    <a:pt x="19285" y="112380"/>
                    <a:pt x="19285" y="112380"/>
                  </a:cubicBezTo>
                  <a:cubicBezTo>
                    <a:pt x="25714" y="112380"/>
                    <a:pt x="29999" y="112380"/>
                    <a:pt x="34285" y="112380"/>
                  </a:cubicBezTo>
                  <a:cubicBezTo>
                    <a:pt x="40714" y="112380"/>
                    <a:pt x="47142" y="112380"/>
                    <a:pt x="53571" y="112380"/>
                  </a:cubicBezTo>
                  <a:cubicBezTo>
                    <a:pt x="55714" y="112380"/>
                    <a:pt x="62142" y="112380"/>
                    <a:pt x="64285" y="112380"/>
                  </a:cubicBezTo>
                  <a:cubicBezTo>
                    <a:pt x="68571" y="120000"/>
                    <a:pt x="77142" y="118095"/>
                    <a:pt x="83571" y="118095"/>
                  </a:cubicBezTo>
                  <a:cubicBezTo>
                    <a:pt x="94285" y="118095"/>
                    <a:pt x="102857" y="116190"/>
                    <a:pt x="113571" y="114285"/>
                  </a:cubicBezTo>
                  <a:cubicBezTo>
                    <a:pt x="107142" y="108571"/>
                    <a:pt x="98571" y="104761"/>
                    <a:pt x="98571" y="97142"/>
                  </a:cubicBezTo>
                  <a:cubicBezTo>
                    <a:pt x="98571" y="87619"/>
                    <a:pt x="98571" y="78095"/>
                    <a:pt x="98571" y="70476"/>
                  </a:cubicBezTo>
                  <a:cubicBezTo>
                    <a:pt x="98571" y="68571"/>
                    <a:pt x="119999" y="72380"/>
                    <a:pt x="119999" y="66666"/>
                  </a:cubicBezTo>
                  <a:cubicBezTo>
                    <a:pt x="119999" y="62857"/>
                    <a:pt x="119999" y="57142"/>
                    <a:pt x="119999" y="51428"/>
                  </a:cubicBezTo>
                  <a:cubicBezTo>
                    <a:pt x="119999" y="45714"/>
                    <a:pt x="113571" y="51428"/>
                    <a:pt x="109285" y="51428"/>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38" name="Shape 2612">
              <a:extLst>
                <a:ext uri="{FF2B5EF4-FFF2-40B4-BE49-F238E27FC236}">
                  <a16:creationId xmlns:a16="http://schemas.microsoft.com/office/drawing/2014/main" id="{B8DF4FBD-19BC-3044-BD33-07CCD63DC0BE}"/>
                </a:ext>
              </a:extLst>
            </p:cNvPr>
            <p:cNvSpPr/>
            <p:nvPr/>
          </p:nvSpPr>
          <p:spPr>
            <a:xfrm>
              <a:off x="12591893" y="9867680"/>
              <a:ext cx="429937" cy="449162"/>
            </a:xfrm>
            <a:custGeom>
              <a:avLst/>
              <a:gdLst/>
              <a:ahLst/>
              <a:cxnLst/>
              <a:rect l="0" t="0" r="0" b="0"/>
              <a:pathLst>
                <a:path w="120000" h="120000" extrusionOk="0">
                  <a:moveTo>
                    <a:pt x="65217" y="5000"/>
                  </a:moveTo>
                  <a:cubicBezTo>
                    <a:pt x="62608" y="7500"/>
                    <a:pt x="57391" y="7500"/>
                    <a:pt x="54782" y="7500"/>
                  </a:cubicBezTo>
                  <a:cubicBezTo>
                    <a:pt x="49565" y="7500"/>
                    <a:pt x="52173" y="15000"/>
                    <a:pt x="46956" y="10000"/>
                  </a:cubicBezTo>
                  <a:cubicBezTo>
                    <a:pt x="39130" y="0"/>
                    <a:pt x="26086" y="12500"/>
                    <a:pt x="15652" y="10000"/>
                  </a:cubicBezTo>
                  <a:cubicBezTo>
                    <a:pt x="15652" y="22500"/>
                    <a:pt x="15652" y="35000"/>
                    <a:pt x="15652" y="45000"/>
                  </a:cubicBezTo>
                  <a:cubicBezTo>
                    <a:pt x="15652" y="47500"/>
                    <a:pt x="18260" y="57500"/>
                    <a:pt x="15652" y="57500"/>
                  </a:cubicBezTo>
                  <a:cubicBezTo>
                    <a:pt x="13043" y="60000"/>
                    <a:pt x="2608" y="55000"/>
                    <a:pt x="2608" y="60000"/>
                  </a:cubicBezTo>
                  <a:cubicBezTo>
                    <a:pt x="2608" y="65000"/>
                    <a:pt x="2608" y="72500"/>
                    <a:pt x="2608" y="77500"/>
                  </a:cubicBezTo>
                  <a:cubicBezTo>
                    <a:pt x="2608" y="82500"/>
                    <a:pt x="0" y="90000"/>
                    <a:pt x="2608" y="95000"/>
                  </a:cubicBezTo>
                  <a:cubicBezTo>
                    <a:pt x="13043" y="97500"/>
                    <a:pt x="15652" y="110000"/>
                    <a:pt x="10434" y="117500"/>
                  </a:cubicBezTo>
                  <a:cubicBezTo>
                    <a:pt x="10434" y="120000"/>
                    <a:pt x="20869" y="120000"/>
                    <a:pt x="20869" y="120000"/>
                  </a:cubicBezTo>
                  <a:cubicBezTo>
                    <a:pt x="26086" y="120000"/>
                    <a:pt x="28695" y="115000"/>
                    <a:pt x="33913" y="110000"/>
                  </a:cubicBezTo>
                  <a:cubicBezTo>
                    <a:pt x="39130" y="105000"/>
                    <a:pt x="39130" y="97500"/>
                    <a:pt x="49565" y="102500"/>
                  </a:cubicBezTo>
                  <a:cubicBezTo>
                    <a:pt x="60000" y="107500"/>
                    <a:pt x="70434" y="110000"/>
                    <a:pt x="75652" y="97500"/>
                  </a:cubicBezTo>
                  <a:cubicBezTo>
                    <a:pt x="75652" y="95000"/>
                    <a:pt x="75652" y="92500"/>
                    <a:pt x="80869" y="92500"/>
                  </a:cubicBezTo>
                  <a:cubicBezTo>
                    <a:pt x="86086" y="92500"/>
                    <a:pt x="88695" y="87500"/>
                    <a:pt x="88695" y="85000"/>
                  </a:cubicBezTo>
                  <a:cubicBezTo>
                    <a:pt x="93913" y="77500"/>
                    <a:pt x="104347" y="70000"/>
                    <a:pt x="112173" y="65000"/>
                  </a:cubicBezTo>
                  <a:cubicBezTo>
                    <a:pt x="117391" y="62500"/>
                    <a:pt x="120000" y="60000"/>
                    <a:pt x="114782" y="55000"/>
                  </a:cubicBezTo>
                  <a:cubicBezTo>
                    <a:pt x="112173" y="52500"/>
                    <a:pt x="104347" y="55000"/>
                    <a:pt x="104347" y="52500"/>
                  </a:cubicBezTo>
                  <a:cubicBezTo>
                    <a:pt x="101739" y="50000"/>
                    <a:pt x="99130" y="47500"/>
                    <a:pt x="99130" y="42500"/>
                  </a:cubicBezTo>
                  <a:cubicBezTo>
                    <a:pt x="99130" y="42500"/>
                    <a:pt x="101739" y="40000"/>
                    <a:pt x="101739" y="37500"/>
                  </a:cubicBezTo>
                  <a:cubicBezTo>
                    <a:pt x="99130" y="37500"/>
                    <a:pt x="96521" y="37500"/>
                    <a:pt x="93913" y="35000"/>
                  </a:cubicBezTo>
                  <a:cubicBezTo>
                    <a:pt x="93913" y="35000"/>
                    <a:pt x="96521" y="32500"/>
                    <a:pt x="93913" y="32500"/>
                  </a:cubicBezTo>
                  <a:cubicBezTo>
                    <a:pt x="91304" y="32500"/>
                    <a:pt x="91304" y="30000"/>
                    <a:pt x="88695" y="30000"/>
                  </a:cubicBezTo>
                  <a:cubicBezTo>
                    <a:pt x="83478" y="27500"/>
                    <a:pt x="80869" y="25000"/>
                    <a:pt x="78260" y="17500"/>
                  </a:cubicBezTo>
                  <a:cubicBezTo>
                    <a:pt x="78260" y="15000"/>
                    <a:pt x="70434" y="5000"/>
                    <a:pt x="65217" y="5000"/>
                  </a:cubicBezTo>
                  <a:cubicBezTo>
                    <a:pt x="65217" y="5000"/>
                    <a:pt x="67826" y="5000"/>
                    <a:pt x="65217" y="5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39" name="Shape 2613">
              <a:extLst>
                <a:ext uri="{FF2B5EF4-FFF2-40B4-BE49-F238E27FC236}">
                  <a16:creationId xmlns:a16="http://schemas.microsoft.com/office/drawing/2014/main" id="{C6327ADD-FBD1-1F45-9220-81F550102C26}"/>
                </a:ext>
              </a:extLst>
            </p:cNvPr>
            <p:cNvSpPr/>
            <p:nvPr/>
          </p:nvSpPr>
          <p:spPr>
            <a:xfrm>
              <a:off x="12824376" y="9775297"/>
              <a:ext cx="366242" cy="324925"/>
            </a:xfrm>
            <a:custGeom>
              <a:avLst/>
              <a:gdLst/>
              <a:ahLst/>
              <a:cxnLst/>
              <a:rect l="0" t="0" r="0" b="0"/>
              <a:pathLst>
                <a:path w="120000" h="120000" extrusionOk="0">
                  <a:moveTo>
                    <a:pt x="120000" y="75428"/>
                  </a:moveTo>
                  <a:cubicBezTo>
                    <a:pt x="120000" y="72000"/>
                    <a:pt x="116923" y="65142"/>
                    <a:pt x="116923" y="61714"/>
                  </a:cubicBezTo>
                  <a:cubicBezTo>
                    <a:pt x="116923" y="54857"/>
                    <a:pt x="120000" y="51428"/>
                    <a:pt x="120000" y="48000"/>
                  </a:cubicBezTo>
                  <a:cubicBezTo>
                    <a:pt x="120000" y="37714"/>
                    <a:pt x="120000" y="30857"/>
                    <a:pt x="116923" y="24000"/>
                  </a:cubicBezTo>
                  <a:cubicBezTo>
                    <a:pt x="116923" y="13714"/>
                    <a:pt x="89230" y="6857"/>
                    <a:pt x="83076" y="6857"/>
                  </a:cubicBezTo>
                  <a:cubicBezTo>
                    <a:pt x="83076" y="0"/>
                    <a:pt x="83076" y="0"/>
                    <a:pt x="73846" y="0"/>
                  </a:cubicBezTo>
                  <a:cubicBezTo>
                    <a:pt x="64615" y="0"/>
                    <a:pt x="64615" y="3428"/>
                    <a:pt x="58461" y="10285"/>
                  </a:cubicBezTo>
                  <a:cubicBezTo>
                    <a:pt x="55384" y="17142"/>
                    <a:pt x="46153" y="20571"/>
                    <a:pt x="40000" y="24000"/>
                  </a:cubicBezTo>
                  <a:cubicBezTo>
                    <a:pt x="36923" y="30857"/>
                    <a:pt x="33846" y="41142"/>
                    <a:pt x="27692" y="41142"/>
                  </a:cubicBezTo>
                  <a:cubicBezTo>
                    <a:pt x="21538" y="41142"/>
                    <a:pt x="15384" y="37714"/>
                    <a:pt x="6153" y="41142"/>
                  </a:cubicBezTo>
                  <a:cubicBezTo>
                    <a:pt x="0" y="44571"/>
                    <a:pt x="12307" y="51428"/>
                    <a:pt x="15384" y="54857"/>
                  </a:cubicBezTo>
                  <a:cubicBezTo>
                    <a:pt x="18461" y="61714"/>
                    <a:pt x="18461" y="68571"/>
                    <a:pt x="24615" y="72000"/>
                  </a:cubicBezTo>
                  <a:cubicBezTo>
                    <a:pt x="27692" y="75428"/>
                    <a:pt x="30769" y="78857"/>
                    <a:pt x="33846" y="78857"/>
                  </a:cubicBezTo>
                  <a:cubicBezTo>
                    <a:pt x="36923" y="78857"/>
                    <a:pt x="33846" y="82285"/>
                    <a:pt x="33846" y="82285"/>
                  </a:cubicBezTo>
                  <a:cubicBezTo>
                    <a:pt x="36923" y="82285"/>
                    <a:pt x="40000" y="85714"/>
                    <a:pt x="43076" y="85714"/>
                  </a:cubicBezTo>
                  <a:cubicBezTo>
                    <a:pt x="43076" y="89142"/>
                    <a:pt x="40000" y="92571"/>
                    <a:pt x="40000" y="96000"/>
                  </a:cubicBezTo>
                  <a:cubicBezTo>
                    <a:pt x="40000" y="99428"/>
                    <a:pt x="43076" y="106285"/>
                    <a:pt x="46153" y="106285"/>
                  </a:cubicBezTo>
                  <a:cubicBezTo>
                    <a:pt x="55384" y="106285"/>
                    <a:pt x="58461" y="106285"/>
                    <a:pt x="61538" y="116571"/>
                  </a:cubicBezTo>
                  <a:cubicBezTo>
                    <a:pt x="64615" y="120000"/>
                    <a:pt x="70769" y="116571"/>
                    <a:pt x="76923" y="120000"/>
                  </a:cubicBezTo>
                  <a:cubicBezTo>
                    <a:pt x="80000" y="120000"/>
                    <a:pt x="80000" y="120000"/>
                    <a:pt x="83076" y="120000"/>
                  </a:cubicBezTo>
                  <a:cubicBezTo>
                    <a:pt x="95384" y="120000"/>
                    <a:pt x="98461" y="116571"/>
                    <a:pt x="104615" y="106285"/>
                  </a:cubicBezTo>
                  <a:cubicBezTo>
                    <a:pt x="107692" y="102857"/>
                    <a:pt x="110769" y="96000"/>
                    <a:pt x="110769" y="92571"/>
                  </a:cubicBezTo>
                  <a:cubicBezTo>
                    <a:pt x="113846" y="85714"/>
                    <a:pt x="120000" y="82285"/>
                    <a:pt x="120000" y="75428"/>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40" name="Shape 2614">
              <a:extLst>
                <a:ext uri="{FF2B5EF4-FFF2-40B4-BE49-F238E27FC236}">
                  <a16:creationId xmlns:a16="http://schemas.microsoft.com/office/drawing/2014/main" id="{F5D8B9AA-926A-7644-8140-C8039CAB1F31}"/>
                </a:ext>
              </a:extLst>
            </p:cNvPr>
            <p:cNvSpPr/>
            <p:nvPr/>
          </p:nvSpPr>
          <p:spPr>
            <a:xfrm>
              <a:off x="13069599" y="10259499"/>
              <a:ext cx="92356" cy="105123"/>
            </a:xfrm>
            <a:custGeom>
              <a:avLst/>
              <a:gdLst/>
              <a:ahLst/>
              <a:cxnLst/>
              <a:rect l="0" t="0" r="0" b="0"/>
              <a:pathLst>
                <a:path w="120000" h="120000" extrusionOk="0">
                  <a:moveTo>
                    <a:pt x="60000" y="10909"/>
                  </a:moveTo>
                  <a:cubicBezTo>
                    <a:pt x="0" y="21818"/>
                    <a:pt x="36000" y="120000"/>
                    <a:pt x="84000" y="98181"/>
                  </a:cubicBezTo>
                  <a:cubicBezTo>
                    <a:pt x="120000" y="87272"/>
                    <a:pt x="108000" y="0"/>
                    <a:pt x="60000" y="10909"/>
                  </a:cubicBezTo>
                  <a:cubicBezTo>
                    <a:pt x="36000" y="10909"/>
                    <a:pt x="72000" y="10909"/>
                    <a:pt x="60000" y="10909"/>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41" name="Shape 2615">
              <a:extLst>
                <a:ext uri="{FF2B5EF4-FFF2-40B4-BE49-F238E27FC236}">
                  <a16:creationId xmlns:a16="http://schemas.microsoft.com/office/drawing/2014/main" id="{5378E28D-B08D-A149-ACC5-FEA6EA41503A}"/>
                </a:ext>
              </a:extLst>
            </p:cNvPr>
            <p:cNvSpPr/>
            <p:nvPr/>
          </p:nvSpPr>
          <p:spPr>
            <a:xfrm>
              <a:off x="12442212" y="10090667"/>
              <a:ext cx="738852" cy="646664"/>
            </a:xfrm>
            <a:custGeom>
              <a:avLst/>
              <a:gdLst/>
              <a:ahLst/>
              <a:cxnLst/>
              <a:rect l="0" t="0" r="0" b="0"/>
              <a:pathLst>
                <a:path w="120000" h="120000" extrusionOk="0">
                  <a:moveTo>
                    <a:pt x="112405" y="46956"/>
                  </a:moveTo>
                  <a:cubicBezTo>
                    <a:pt x="107848" y="46956"/>
                    <a:pt x="103291" y="41739"/>
                    <a:pt x="104810" y="38260"/>
                  </a:cubicBezTo>
                  <a:cubicBezTo>
                    <a:pt x="104810" y="34782"/>
                    <a:pt x="107848" y="33043"/>
                    <a:pt x="109367" y="33043"/>
                  </a:cubicBezTo>
                  <a:cubicBezTo>
                    <a:pt x="110886" y="33043"/>
                    <a:pt x="112405" y="34782"/>
                    <a:pt x="113924" y="34782"/>
                  </a:cubicBezTo>
                  <a:cubicBezTo>
                    <a:pt x="113924" y="29565"/>
                    <a:pt x="115443" y="24347"/>
                    <a:pt x="113924" y="19130"/>
                  </a:cubicBezTo>
                  <a:cubicBezTo>
                    <a:pt x="112405" y="17391"/>
                    <a:pt x="110886" y="13913"/>
                    <a:pt x="110886" y="12173"/>
                  </a:cubicBezTo>
                  <a:cubicBezTo>
                    <a:pt x="109367" y="8695"/>
                    <a:pt x="109367" y="5217"/>
                    <a:pt x="109367" y="1739"/>
                  </a:cubicBezTo>
                  <a:cubicBezTo>
                    <a:pt x="106329" y="3478"/>
                    <a:pt x="101772" y="1739"/>
                    <a:pt x="100253" y="1739"/>
                  </a:cubicBezTo>
                  <a:cubicBezTo>
                    <a:pt x="95696" y="0"/>
                    <a:pt x="92658" y="0"/>
                    <a:pt x="91139" y="3478"/>
                  </a:cubicBezTo>
                  <a:cubicBezTo>
                    <a:pt x="88101" y="5217"/>
                    <a:pt x="85063" y="5217"/>
                    <a:pt x="83544" y="8695"/>
                  </a:cubicBezTo>
                  <a:cubicBezTo>
                    <a:pt x="82025" y="10434"/>
                    <a:pt x="78987" y="12173"/>
                    <a:pt x="77468" y="13913"/>
                  </a:cubicBezTo>
                  <a:cubicBezTo>
                    <a:pt x="75949" y="15652"/>
                    <a:pt x="75949" y="19130"/>
                    <a:pt x="74430" y="20869"/>
                  </a:cubicBezTo>
                  <a:cubicBezTo>
                    <a:pt x="72911" y="24347"/>
                    <a:pt x="69873" y="20869"/>
                    <a:pt x="68354" y="24347"/>
                  </a:cubicBezTo>
                  <a:cubicBezTo>
                    <a:pt x="66835" y="26086"/>
                    <a:pt x="68354" y="27826"/>
                    <a:pt x="66835" y="29565"/>
                  </a:cubicBezTo>
                  <a:cubicBezTo>
                    <a:pt x="63797" y="36521"/>
                    <a:pt x="56202" y="31304"/>
                    <a:pt x="51645" y="29565"/>
                  </a:cubicBezTo>
                  <a:cubicBezTo>
                    <a:pt x="47088" y="26086"/>
                    <a:pt x="45569" y="33043"/>
                    <a:pt x="42531" y="36521"/>
                  </a:cubicBezTo>
                  <a:cubicBezTo>
                    <a:pt x="41012" y="38260"/>
                    <a:pt x="39493" y="41739"/>
                    <a:pt x="36455" y="41739"/>
                  </a:cubicBezTo>
                  <a:cubicBezTo>
                    <a:pt x="36455" y="41739"/>
                    <a:pt x="30379" y="41739"/>
                    <a:pt x="30379" y="40000"/>
                  </a:cubicBezTo>
                  <a:cubicBezTo>
                    <a:pt x="33417" y="34782"/>
                    <a:pt x="31898" y="26086"/>
                    <a:pt x="25822" y="24347"/>
                  </a:cubicBezTo>
                  <a:cubicBezTo>
                    <a:pt x="25822" y="33043"/>
                    <a:pt x="25822" y="41739"/>
                    <a:pt x="25822" y="50434"/>
                  </a:cubicBezTo>
                  <a:cubicBezTo>
                    <a:pt x="25822" y="50434"/>
                    <a:pt x="27341" y="55652"/>
                    <a:pt x="25822" y="57391"/>
                  </a:cubicBezTo>
                  <a:cubicBezTo>
                    <a:pt x="21265" y="60869"/>
                    <a:pt x="19746" y="62608"/>
                    <a:pt x="13670" y="60869"/>
                  </a:cubicBezTo>
                  <a:cubicBezTo>
                    <a:pt x="12151" y="60869"/>
                    <a:pt x="10632" y="60869"/>
                    <a:pt x="9113" y="59130"/>
                  </a:cubicBezTo>
                  <a:cubicBezTo>
                    <a:pt x="7594" y="55652"/>
                    <a:pt x="6075" y="53913"/>
                    <a:pt x="3037" y="57391"/>
                  </a:cubicBezTo>
                  <a:cubicBezTo>
                    <a:pt x="0" y="60869"/>
                    <a:pt x="3037" y="66086"/>
                    <a:pt x="4556" y="69565"/>
                  </a:cubicBezTo>
                  <a:cubicBezTo>
                    <a:pt x="6075" y="71304"/>
                    <a:pt x="7594" y="74782"/>
                    <a:pt x="7594" y="78260"/>
                  </a:cubicBezTo>
                  <a:cubicBezTo>
                    <a:pt x="10632" y="85217"/>
                    <a:pt x="16708" y="88695"/>
                    <a:pt x="13670" y="97391"/>
                  </a:cubicBezTo>
                  <a:cubicBezTo>
                    <a:pt x="12151" y="100869"/>
                    <a:pt x="10632" y="100869"/>
                    <a:pt x="12151" y="104347"/>
                  </a:cubicBezTo>
                  <a:cubicBezTo>
                    <a:pt x="13670" y="106086"/>
                    <a:pt x="13670" y="107826"/>
                    <a:pt x="13670" y="107826"/>
                  </a:cubicBezTo>
                  <a:cubicBezTo>
                    <a:pt x="15189" y="109565"/>
                    <a:pt x="13670" y="113043"/>
                    <a:pt x="15189" y="114782"/>
                  </a:cubicBezTo>
                  <a:cubicBezTo>
                    <a:pt x="15189" y="114782"/>
                    <a:pt x="15189" y="111304"/>
                    <a:pt x="16708" y="111304"/>
                  </a:cubicBezTo>
                  <a:cubicBezTo>
                    <a:pt x="16708" y="111304"/>
                    <a:pt x="21265" y="116521"/>
                    <a:pt x="22784" y="118260"/>
                  </a:cubicBezTo>
                  <a:cubicBezTo>
                    <a:pt x="25822" y="120000"/>
                    <a:pt x="28860" y="114782"/>
                    <a:pt x="31898" y="114782"/>
                  </a:cubicBezTo>
                  <a:cubicBezTo>
                    <a:pt x="34936" y="113043"/>
                    <a:pt x="37974" y="116521"/>
                    <a:pt x="39493" y="113043"/>
                  </a:cubicBezTo>
                  <a:cubicBezTo>
                    <a:pt x="42531" y="111304"/>
                    <a:pt x="44050" y="111304"/>
                    <a:pt x="47088" y="111304"/>
                  </a:cubicBezTo>
                  <a:cubicBezTo>
                    <a:pt x="50126" y="111304"/>
                    <a:pt x="53164" y="111304"/>
                    <a:pt x="57721" y="111304"/>
                  </a:cubicBezTo>
                  <a:cubicBezTo>
                    <a:pt x="57721" y="111304"/>
                    <a:pt x="59240" y="111304"/>
                    <a:pt x="59240" y="111304"/>
                  </a:cubicBezTo>
                  <a:cubicBezTo>
                    <a:pt x="60759" y="111304"/>
                    <a:pt x="60759" y="109565"/>
                    <a:pt x="62278" y="109565"/>
                  </a:cubicBezTo>
                  <a:cubicBezTo>
                    <a:pt x="62278" y="109565"/>
                    <a:pt x="62278" y="107826"/>
                    <a:pt x="63797" y="107826"/>
                  </a:cubicBezTo>
                  <a:cubicBezTo>
                    <a:pt x="63797" y="109565"/>
                    <a:pt x="63797" y="113043"/>
                    <a:pt x="66835" y="113043"/>
                  </a:cubicBezTo>
                  <a:cubicBezTo>
                    <a:pt x="66835" y="113043"/>
                    <a:pt x="65316" y="106086"/>
                    <a:pt x="69873" y="107826"/>
                  </a:cubicBezTo>
                  <a:cubicBezTo>
                    <a:pt x="75949" y="109565"/>
                    <a:pt x="82025" y="102608"/>
                    <a:pt x="86582" y="97391"/>
                  </a:cubicBezTo>
                  <a:cubicBezTo>
                    <a:pt x="91139" y="93913"/>
                    <a:pt x="94177" y="88695"/>
                    <a:pt x="98734" y="83478"/>
                  </a:cubicBezTo>
                  <a:cubicBezTo>
                    <a:pt x="103291" y="78260"/>
                    <a:pt x="104810" y="71304"/>
                    <a:pt x="109367" y="64347"/>
                  </a:cubicBezTo>
                  <a:cubicBezTo>
                    <a:pt x="110886" y="62608"/>
                    <a:pt x="115443" y="60869"/>
                    <a:pt x="116962" y="57391"/>
                  </a:cubicBezTo>
                  <a:cubicBezTo>
                    <a:pt x="118481" y="53913"/>
                    <a:pt x="120000" y="46956"/>
                    <a:pt x="120000" y="43478"/>
                  </a:cubicBezTo>
                  <a:cubicBezTo>
                    <a:pt x="118481" y="43478"/>
                    <a:pt x="116962" y="43478"/>
                    <a:pt x="115443" y="43478"/>
                  </a:cubicBezTo>
                  <a:cubicBezTo>
                    <a:pt x="113924" y="43478"/>
                    <a:pt x="113924" y="46956"/>
                    <a:pt x="112405" y="46956"/>
                  </a:cubicBezTo>
                  <a:close/>
                  <a:moveTo>
                    <a:pt x="94177" y="67826"/>
                  </a:moveTo>
                  <a:cubicBezTo>
                    <a:pt x="92658" y="67826"/>
                    <a:pt x="92658" y="71304"/>
                    <a:pt x="92658" y="71304"/>
                  </a:cubicBezTo>
                  <a:cubicBezTo>
                    <a:pt x="91139" y="74782"/>
                    <a:pt x="88101" y="73043"/>
                    <a:pt x="86582" y="74782"/>
                  </a:cubicBezTo>
                  <a:cubicBezTo>
                    <a:pt x="85063" y="74782"/>
                    <a:pt x="85063" y="76521"/>
                    <a:pt x="83544" y="76521"/>
                  </a:cubicBezTo>
                  <a:cubicBezTo>
                    <a:pt x="80506" y="76521"/>
                    <a:pt x="78987" y="73043"/>
                    <a:pt x="78987" y="71304"/>
                  </a:cubicBezTo>
                  <a:cubicBezTo>
                    <a:pt x="77468" y="67826"/>
                    <a:pt x="82025" y="62608"/>
                    <a:pt x="85063" y="60869"/>
                  </a:cubicBezTo>
                  <a:cubicBezTo>
                    <a:pt x="86582" y="59130"/>
                    <a:pt x="89620" y="59130"/>
                    <a:pt x="91139" y="60869"/>
                  </a:cubicBezTo>
                  <a:cubicBezTo>
                    <a:pt x="92658" y="62608"/>
                    <a:pt x="97215" y="66086"/>
                    <a:pt x="94177" y="67826"/>
                  </a:cubicBezTo>
                  <a:cubicBezTo>
                    <a:pt x="92658" y="67826"/>
                    <a:pt x="95696" y="66086"/>
                    <a:pt x="94177" y="67826"/>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42" name="Shape 2616">
              <a:extLst>
                <a:ext uri="{FF2B5EF4-FFF2-40B4-BE49-F238E27FC236}">
                  <a16:creationId xmlns:a16="http://schemas.microsoft.com/office/drawing/2014/main" id="{A7574825-39AB-CA46-8C77-B686DDCDDA4D}"/>
                </a:ext>
              </a:extLst>
            </p:cNvPr>
            <p:cNvSpPr/>
            <p:nvPr/>
          </p:nvSpPr>
          <p:spPr>
            <a:xfrm>
              <a:off x="12919917" y="10399666"/>
              <a:ext cx="121017" cy="124237"/>
            </a:xfrm>
            <a:custGeom>
              <a:avLst/>
              <a:gdLst/>
              <a:ahLst/>
              <a:cxnLst/>
              <a:rect l="0" t="0" r="0" b="0"/>
              <a:pathLst>
                <a:path w="120000" h="120000" extrusionOk="0">
                  <a:moveTo>
                    <a:pt x="101538" y="36923"/>
                  </a:moveTo>
                  <a:cubicBezTo>
                    <a:pt x="83076" y="18461"/>
                    <a:pt x="46153" y="0"/>
                    <a:pt x="27692" y="27692"/>
                  </a:cubicBezTo>
                  <a:cubicBezTo>
                    <a:pt x="9230" y="46153"/>
                    <a:pt x="0" y="64615"/>
                    <a:pt x="18461" y="83076"/>
                  </a:cubicBezTo>
                  <a:cubicBezTo>
                    <a:pt x="36923" y="120000"/>
                    <a:pt x="46153" y="83076"/>
                    <a:pt x="64615" y="83076"/>
                  </a:cubicBezTo>
                  <a:cubicBezTo>
                    <a:pt x="92307" y="83076"/>
                    <a:pt x="120000" y="46153"/>
                    <a:pt x="101538" y="36923"/>
                  </a:cubicBezTo>
                  <a:cubicBezTo>
                    <a:pt x="92307" y="27692"/>
                    <a:pt x="110769" y="36923"/>
                    <a:pt x="101538" y="36923"/>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43" name="Shape 2617">
              <a:extLst>
                <a:ext uri="{FF2B5EF4-FFF2-40B4-BE49-F238E27FC236}">
                  <a16:creationId xmlns:a16="http://schemas.microsoft.com/office/drawing/2014/main" id="{196FE7A4-A82C-B347-B7E4-A14CA6EE84A9}"/>
                </a:ext>
              </a:extLst>
            </p:cNvPr>
            <p:cNvSpPr/>
            <p:nvPr/>
          </p:nvSpPr>
          <p:spPr>
            <a:xfrm>
              <a:off x="12263868" y="9240123"/>
              <a:ext cx="47769" cy="76451"/>
            </a:xfrm>
            <a:custGeom>
              <a:avLst/>
              <a:gdLst/>
              <a:ahLst/>
              <a:cxnLst/>
              <a:rect l="0" t="0" r="0" b="0"/>
              <a:pathLst>
                <a:path w="120000" h="120000" extrusionOk="0">
                  <a:moveTo>
                    <a:pt x="48000" y="75000"/>
                  </a:moveTo>
                  <a:cubicBezTo>
                    <a:pt x="48000" y="60000"/>
                    <a:pt x="96000" y="30000"/>
                    <a:pt x="120000" y="15000"/>
                  </a:cubicBezTo>
                  <a:cubicBezTo>
                    <a:pt x="96000" y="0"/>
                    <a:pt x="48000" y="30000"/>
                    <a:pt x="24000" y="45000"/>
                  </a:cubicBezTo>
                  <a:cubicBezTo>
                    <a:pt x="0" y="60000"/>
                    <a:pt x="0" y="90000"/>
                    <a:pt x="0" y="120000"/>
                  </a:cubicBezTo>
                  <a:cubicBezTo>
                    <a:pt x="48000" y="105000"/>
                    <a:pt x="48000" y="90000"/>
                    <a:pt x="48000" y="75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44" name="Shape 2618">
              <a:extLst>
                <a:ext uri="{FF2B5EF4-FFF2-40B4-BE49-F238E27FC236}">
                  <a16:creationId xmlns:a16="http://schemas.microsoft.com/office/drawing/2014/main" id="{D29A94CA-B0CA-AE47-B86E-25C6C9B74D14}"/>
                </a:ext>
              </a:extLst>
            </p:cNvPr>
            <p:cNvSpPr/>
            <p:nvPr/>
          </p:nvSpPr>
          <p:spPr>
            <a:xfrm>
              <a:off x="12219280" y="8857862"/>
              <a:ext cx="324841" cy="420492"/>
            </a:xfrm>
            <a:custGeom>
              <a:avLst/>
              <a:gdLst/>
              <a:ahLst/>
              <a:cxnLst/>
              <a:rect l="0" t="0" r="0" b="0"/>
              <a:pathLst>
                <a:path w="120000" h="120000" extrusionOk="0">
                  <a:moveTo>
                    <a:pt x="37714" y="117333"/>
                  </a:moveTo>
                  <a:cubicBezTo>
                    <a:pt x="41142" y="117333"/>
                    <a:pt x="48000" y="112000"/>
                    <a:pt x="51428" y="109333"/>
                  </a:cubicBezTo>
                  <a:cubicBezTo>
                    <a:pt x="58285" y="106666"/>
                    <a:pt x="51428" y="114666"/>
                    <a:pt x="54857" y="114666"/>
                  </a:cubicBezTo>
                  <a:cubicBezTo>
                    <a:pt x="54857" y="114666"/>
                    <a:pt x="78857" y="104000"/>
                    <a:pt x="78857" y="98666"/>
                  </a:cubicBezTo>
                  <a:cubicBezTo>
                    <a:pt x="78857" y="88000"/>
                    <a:pt x="78857" y="77333"/>
                    <a:pt x="85714" y="69333"/>
                  </a:cubicBezTo>
                  <a:cubicBezTo>
                    <a:pt x="92571" y="58666"/>
                    <a:pt x="102857" y="50666"/>
                    <a:pt x="106285" y="42666"/>
                  </a:cubicBezTo>
                  <a:cubicBezTo>
                    <a:pt x="109714" y="34666"/>
                    <a:pt x="109714" y="29333"/>
                    <a:pt x="113142" y="21333"/>
                  </a:cubicBezTo>
                  <a:cubicBezTo>
                    <a:pt x="113142" y="16000"/>
                    <a:pt x="120000" y="10666"/>
                    <a:pt x="120000" y="5333"/>
                  </a:cubicBezTo>
                  <a:cubicBezTo>
                    <a:pt x="113142" y="5333"/>
                    <a:pt x="106285" y="0"/>
                    <a:pt x="99428" y="2666"/>
                  </a:cubicBezTo>
                  <a:cubicBezTo>
                    <a:pt x="96000" y="2666"/>
                    <a:pt x="89142" y="2666"/>
                    <a:pt x="89142" y="5333"/>
                  </a:cubicBezTo>
                  <a:cubicBezTo>
                    <a:pt x="85714" y="10666"/>
                    <a:pt x="85714" y="13333"/>
                    <a:pt x="85714" y="16000"/>
                  </a:cubicBezTo>
                  <a:cubicBezTo>
                    <a:pt x="82285" y="24000"/>
                    <a:pt x="78857" y="26666"/>
                    <a:pt x="68571" y="26666"/>
                  </a:cubicBezTo>
                  <a:cubicBezTo>
                    <a:pt x="58285" y="24000"/>
                    <a:pt x="44571" y="21333"/>
                    <a:pt x="34285" y="21333"/>
                  </a:cubicBezTo>
                  <a:cubicBezTo>
                    <a:pt x="34285" y="26666"/>
                    <a:pt x="30857" y="37333"/>
                    <a:pt x="44571" y="34666"/>
                  </a:cubicBezTo>
                  <a:cubicBezTo>
                    <a:pt x="58285" y="29333"/>
                    <a:pt x="48000" y="45333"/>
                    <a:pt x="48000" y="50666"/>
                  </a:cubicBezTo>
                  <a:cubicBezTo>
                    <a:pt x="48000" y="53333"/>
                    <a:pt x="48000" y="56000"/>
                    <a:pt x="51428" y="58666"/>
                  </a:cubicBezTo>
                  <a:cubicBezTo>
                    <a:pt x="54857" y="61333"/>
                    <a:pt x="54857" y="64000"/>
                    <a:pt x="54857" y="66666"/>
                  </a:cubicBezTo>
                  <a:cubicBezTo>
                    <a:pt x="54857" y="72000"/>
                    <a:pt x="54857" y="80000"/>
                    <a:pt x="51428" y="85333"/>
                  </a:cubicBezTo>
                  <a:cubicBezTo>
                    <a:pt x="51428" y="88000"/>
                    <a:pt x="44571" y="82666"/>
                    <a:pt x="44571" y="82666"/>
                  </a:cubicBezTo>
                  <a:cubicBezTo>
                    <a:pt x="37714" y="82666"/>
                    <a:pt x="37714" y="88000"/>
                    <a:pt x="34285" y="85333"/>
                  </a:cubicBezTo>
                  <a:cubicBezTo>
                    <a:pt x="34285" y="82666"/>
                    <a:pt x="30857" y="80000"/>
                    <a:pt x="27428" y="77333"/>
                  </a:cubicBezTo>
                  <a:cubicBezTo>
                    <a:pt x="24000" y="77333"/>
                    <a:pt x="24000" y="82666"/>
                    <a:pt x="20571" y="85333"/>
                  </a:cubicBezTo>
                  <a:cubicBezTo>
                    <a:pt x="20571" y="85333"/>
                    <a:pt x="13714" y="85333"/>
                    <a:pt x="13714" y="85333"/>
                  </a:cubicBezTo>
                  <a:cubicBezTo>
                    <a:pt x="6857" y="85333"/>
                    <a:pt x="10285" y="90666"/>
                    <a:pt x="10285" y="93333"/>
                  </a:cubicBezTo>
                  <a:cubicBezTo>
                    <a:pt x="13714" y="101333"/>
                    <a:pt x="10285" y="98666"/>
                    <a:pt x="0" y="104000"/>
                  </a:cubicBezTo>
                  <a:cubicBezTo>
                    <a:pt x="6857" y="109333"/>
                    <a:pt x="13714" y="112000"/>
                    <a:pt x="17142" y="120000"/>
                  </a:cubicBezTo>
                  <a:cubicBezTo>
                    <a:pt x="20571" y="117333"/>
                    <a:pt x="24000" y="114666"/>
                    <a:pt x="27428" y="112000"/>
                  </a:cubicBezTo>
                  <a:cubicBezTo>
                    <a:pt x="34285" y="109333"/>
                    <a:pt x="34285" y="114666"/>
                    <a:pt x="37714" y="117333"/>
                  </a:cubicBezTo>
                  <a:cubicBezTo>
                    <a:pt x="41142" y="117333"/>
                    <a:pt x="34285" y="114666"/>
                    <a:pt x="37714" y="117333"/>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45" name="Shape 2619">
              <a:extLst>
                <a:ext uri="{FF2B5EF4-FFF2-40B4-BE49-F238E27FC236}">
                  <a16:creationId xmlns:a16="http://schemas.microsoft.com/office/drawing/2014/main" id="{4B3F354B-6E7B-E44E-BE37-FEADE6C1E670}"/>
                </a:ext>
              </a:extLst>
            </p:cNvPr>
            <p:cNvSpPr/>
            <p:nvPr/>
          </p:nvSpPr>
          <p:spPr>
            <a:xfrm>
              <a:off x="12359408" y="8520191"/>
              <a:ext cx="595540" cy="420492"/>
            </a:xfrm>
            <a:custGeom>
              <a:avLst/>
              <a:gdLst/>
              <a:ahLst/>
              <a:cxnLst/>
              <a:rect l="0" t="0" r="0" b="0"/>
              <a:pathLst>
                <a:path w="120000" h="120000" extrusionOk="0">
                  <a:moveTo>
                    <a:pt x="22500" y="98666"/>
                  </a:moveTo>
                  <a:cubicBezTo>
                    <a:pt x="24375" y="98666"/>
                    <a:pt x="30000" y="96000"/>
                    <a:pt x="31875" y="98666"/>
                  </a:cubicBezTo>
                  <a:cubicBezTo>
                    <a:pt x="31875" y="101333"/>
                    <a:pt x="37500" y="101333"/>
                    <a:pt x="37500" y="101333"/>
                  </a:cubicBezTo>
                  <a:cubicBezTo>
                    <a:pt x="39375" y="96000"/>
                    <a:pt x="37500" y="90666"/>
                    <a:pt x="39375" y="88000"/>
                  </a:cubicBezTo>
                  <a:cubicBezTo>
                    <a:pt x="39375" y="85333"/>
                    <a:pt x="43125" y="77333"/>
                    <a:pt x="46875" y="80000"/>
                  </a:cubicBezTo>
                  <a:cubicBezTo>
                    <a:pt x="50625" y="80000"/>
                    <a:pt x="52500" y="85333"/>
                    <a:pt x="56250" y="88000"/>
                  </a:cubicBezTo>
                  <a:cubicBezTo>
                    <a:pt x="60000" y="90666"/>
                    <a:pt x="63750" y="90666"/>
                    <a:pt x="67500" y="90666"/>
                  </a:cubicBezTo>
                  <a:cubicBezTo>
                    <a:pt x="69375" y="90666"/>
                    <a:pt x="73125" y="93333"/>
                    <a:pt x="73125" y="90666"/>
                  </a:cubicBezTo>
                  <a:cubicBezTo>
                    <a:pt x="75000" y="88000"/>
                    <a:pt x="75000" y="77333"/>
                    <a:pt x="76875" y="80000"/>
                  </a:cubicBezTo>
                  <a:cubicBezTo>
                    <a:pt x="80625" y="82666"/>
                    <a:pt x="80625" y="82666"/>
                    <a:pt x="84375" y="82666"/>
                  </a:cubicBezTo>
                  <a:cubicBezTo>
                    <a:pt x="88125" y="80000"/>
                    <a:pt x="90000" y="82666"/>
                    <a:pt x="93750" y="82666"/>
                  </a:cubicBezTo>
                  <a:cubicBezTo>
                    <a:pt x="97500" y="82666"/>
                    <a:pt x="99375" y="74666"/>
                    <a:pt x="103125" y="77333"/>
                  </a:cubicBezTo>
                  <a:cubicBezTo>
                    <a:pt x="105000" y="77333"/>
                    <a:pt x="108750" y="82666"/>
                    <a:pt x="112500" y="80000"/>
                  </a:cubicBezTo>
                  <a:cubicBezTo>
                    <a:pt x="120000" y="74666"/>
                    <a:pt x="110625" y="69333"/>
                    <a:pt x="108750" y="64000"/>
                  </a:cubicBezTo>
                  <a:cubicBezTo>
                    <a:pt x="106875" y="58666"/>
                    <a:pt x="106875" y="56000"/>
                    <a:pt x="103125" y="53333"/>
                  </a:cubicBezTo>
                  <a:cubicBezTo>
                    <a:pt x="99375" y="50666"/>
                    <a:pt x="97500" y="48000"/>
                    <a:pt x="95625" y="42666"/>
                  </a:cubicBezTo>
                  <a:cubicBezTo>
                    <a:pt x="95625" y="37333"/>
                    <a:pt x="91875" y="37333"/>
                    <a:pt x="88125" y="34666"/>
                  </a:cubicBezTo>
                  <a:cubicBezTo>
                    <a:pt x="88125" y="34666"/>
                    <a:pt x="88125" y="32000"/>
                    <a:pt x="86250" y="32000"/>
                  </a:cubicBezTo>
                  <a:cubicBezTo>
                    <a:pt x="86250" y="32000"/>
                    <a:pt x="82500" y="32000"/>
                    <a:pt x="82500" y="32000"/>
                  </a:cubicBezTo>
                  <a:cubicBezTo>
                    <a:pt x="80625" y="29333"/>
                    <a:pt x="82500" y="18666"/>
                    <a:pt x="82500" y="16000"/>
                  </a:cubicBezTo>
                  <a:cubicBezTo>
                    <a:pt x="82500" y="10666"/>
                    <a:pt x="78750" y="8000"/>
                    <a:pt x="76875" y="2666"/>
                  </a:cubicBezTo>
                  <a:cubicBezTo>
                    <a:pt x="76875" y="2666"/>
                    <a:pt x="76875" y="0"/>
                    <a:pt x="76875" y="0"/>
                  </a:cubicBezTo>
                  <a:cubicBezTo>
                    <a:pt x="75000" y="0"/>
                    <a:pt x="73125" y="0"/>
                    <a:pt x="71250" y="0"/>
                  </a:cubicBezTo>
                  <a:cubicBezTo>
                    <a:pt x="67500" y="2666"/>
                    <a:pt x="67500" y="2666"/>
                    <a:pt x="65625" y="8000"/>
                  </a:cubicBezTo>
                  <a:cubicBezTo>
                    <a:pt x="65625" y="16000"/>
                    <a:pt x="52500" y="26666"/>
                    <a:pt x="48750" y="26666"/>
                  </a:cubicBezTo>
                  <a:cubicBezTo>
                    <a:pt x="46875" y="26666"/>
                    <a:pt x="39375" y="26666"/>
                    <a:pt x="41250" y="29333"/>
                  </a:cubicBezTo>
                  <a:cubicBezTo>
                    <a:pt x="43125" y="34666"/>
                    <a:pt x="37500" y="40000"/>
                    <a:pt x="35625" y="40000"/>
                  </a:cubicBezTo>
                  <a:cubicBezTo>
                    <a:pt x="31875" y="42666"/>
                    <a:pt x="28125" y="45333"/>
                    <a:pt x="24375" y="45333"/>
                  </a:cubicBezTo>
                  <a:cubicBezTo>
                    <a:pt x="20625" y="48000"/>
                    <a:pt x="20625" y="42666"/>
                    <a:pt x="16875" y="45333"/>
                  </a:cubicBezTo>
                  <a:cubicBezTo>
                    <a:pt x="13125" y="48000"/>
                    <a:pt x="11250" y="45333"/>
                    <a:pt x="11250" y="48000"/>
                  </a:cubicBezTo>
                  <a:cubicBezTo>
                    <a:pt x="9375" y="53333"/>
                    <a:pt x="7500" y="58666"/>
                    <a:pt x="5625" y="61333"/>
                  </a:cubicBezTo>
                  <a:cubicBezTo>
                    <a:pt x="0" y="72000"/>
                    <a:pt x="3750" y="80000"/>
                    <a:pt x="7500" y="90666"/>
                  </a:cubicBezTo>
                  <a:cubicBezTo>
                    <a:pt x="9375" y="96000"/>
                    <a:pt x="9375" y="98666"/>
                    <a:pt x="11250" y="104000"/>
                  </a:cubicBezTo>
                  <a:cubicBezTo>
                    <a:pt x="15000" y="109333"/>
                    <a:pt x="16875" y="112000"/>
                    <a:pt x="16875" y="120000"/>
                  </a:cubicBezTo>
                  <a:cubicBezTo>
                    <a:pt x="16875" y="117333"/>
                    <a:pt x="18750" y="98666"/>
                    <a:pt x="22500" y="98666"/>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46" name="Shape 2620">
              <a:extLst>
                <a:ext uri="{FF2B5EF4-FFF2-40B4-BE49-F238E27FC236}">
                  <a16:creationId xmlns:a16="http://schemas.microsoft.com/office/drawing/2014/main" id="{BF47C90C-AF8E-654B-97DD-A352E09719CB}"/>
                </a:ext>
              </a:extLst>
            </p:cNvPr>
            <p:cNvSpPr/>
            <p:nvPr/>
          </p:nvSpPr>
          <p:spPr>
            <a:xfrm>
              <a:off x="11696987" y="7921310"/>
              <a:ext cx="1092357" cy="767716"/>
            </a:xfrm>
            <a:custGeom>
              <a:avLst/>
              <a:gdLst/>
              <a:ahLst/>
              <a:cxnLst/>
              <a:rect l="0" t="0" r="0" b="0"/>
              <a:pathLst>
                <a:path w="120000" h="120000" extrusionOk="0">
                  <a:moveTo>
                    <a:pt x="82051" y="118536"/>
                  </a:moveTo>
                  <a:cubicBezTo>
                    <a:pt x="83076" y="117073"/>
                    <a:pt x="84102" y="120000"/>
                    <a:pt x="85128" y="120000"/>
                  </a:cubicBezTo>
                  <a:cubicBezTo>
                    <a:pt x="87179" y="118536"/>
                    <a:pt x="89230" y="117073"/>
                    <a:pt x="91282" y="115609"/>
                  </a:cubicBezTo>
                  <a:cubicBezTo>
                    <a:pt x="92307" y="115609"/>
                    <a:pt x="95384" y="114146"/>
                    <a:pt x="95384" y="111219"/>
                  </a:cubicBezTo>
                  <a:cubicBezTo>
                    <a:pt x="95384" y="108292"/>
                    <a:pt x="96410" y="109756"/>
                    <a:pt x="98461" y="108292"/>
                  </a:cubicBezTo>
                  <a:cubicBezTo>
                    <a:pt x="101538" y="108292"/>
                    <a:pt x="105641" y="103902"/>
                    <a:pt x="107692" y="99512"/>
                  </a:cubicBezTo>
                  <a:cubicBezTo>
                    <a:pt x="108717" y="98048"/>
                    <a:pt x="108717" y="96585"/>
                    <a:pt x="109743" y="95121"/>
                  </a:cubicBezTo>
                  <a:cubicBezTo>
                    <a:pt x="110769" y="93658"/>
                    <a:pt x="112820" y="93658"/>
                    <a:pt x="114871" y="93658"/>
                  </a:cubicBezTo>
                  <a:cubicBezTo>
                    <a:pt x="114871" y="90731"/>
                    <a:pt x="112820" y="89268"/>
                    <a:pt x="111794" y="86341"/>
                  </a:cubicBezTo>
                  <a:cubicBezTo>
                    <a:pt x="111794" y="84878"/>
                    <a:pt x="112820" y="80487"/>
                    <a:pt x="109743" y="80487"/>
                  </a:cubicBezTo>
                  <a:cubicBezTo>
                    <a:pt x="108717" y="80487"/>
                    <a:pt x="111794" y="77560"/>
                    <a:pt x="110769" y="76097"/>
                  </a:cubicBezTo>
                  <a:cubicBezTo>
                    <a:pt x="110769" y="71707"/>
                    <a:pt x="111794" y="70243"/>
                    <a:pt x="112820" y="67317"/>
                  </a:cubicBezTo>
                  <a:cubicBezTo>
                    <a:pt x="112820" y="64390"/>
                    <a:pt x="114871" y="64390"/>
                    <a:pt x="114871" y="61463"/>
                  </a:cubicBezTo>
                  <a:cubicBezTo>
                    <a:pt x="114871" y="60000"/>
                    <a:pt x="115897" y="58536"/>
                    <a:pt x="116923" y="58536"/>
                  </a:cubicBezTo>
                  <a:cubicBezTo>
                    <a:pt x="120000" y="58536"/>
                    <a:pt x="120000" y="58536"/>
                    <a:pt x="120000" y="55609"/>
                  </a:cubicBezTo>
                  <a:cubicBezTo>
                    <a:pt x="120000" y="46829"/>
                    <a:pt x="120000" y="39512"/>
                    <a:pt x="120000" y="30731"/>
                  </a:cubicBezTo>
                  <a:cubicBezTo>
                    <a:pt x="120000" y="27804"/>
                    <a:pt x="115897" y="26341"/>
                    <a:pt x="113846" y="24878"/>
                  </a:cubicBezTo>
                  <a:cubicBezTo>
                    <a:pt x="103589" y="17560"/>
                    <a:pt x="93333" y="8780"/>
                    <a:pt x="83076" y="1463"/>
                  </a:cubicBezTo>
                  <a:cubicBezTo>
                    <a:pt x="82051" y="1463"/>
                    <a:pt x="82051" y="0"/>
                    <a:pt x="81025" y="0"/>
                  </a:cubicBezTo>
                  <a:cubicBezTo>
                    <a:pt x="80000" y="1463"/>
                    <a:pt x="77948" y="2926"/>
                    <a:pt x="76923" y="2926"/>
                  </a:cubicBezTo>
                  <a:cubicBezTo>
                    <a:pt x="75897" y="4390"/>
                    <a:pt x="73846" y="7317"/>
                    <a:pt x="72820" y="7317"/>
                  </a:cubicBezTo>
                  <a:cubicBezTo>
                    <a:pt x="71794" y="7317"/>
                    <a:pt x="70769" y="4390"/>
                    <a:pt x="68717" y="2926"/>
                  </a:cubicBezTo>
                  <a:cubicBezTo>
                    <a:pt x="67692" y="1463"/>
                    <a:pt x="66666" y="1463"/>
                    <a:pt x="65641" y="1463"/>
                  </a:cubicBezTo>
                  <a:cubicBezTo>
                    <a:pt x="63589" y="0"/>
                    <a:pt x="62564" y="0"/>
                    <a:pt x="60512" y="1463"/>
                  </a:cubicBezTo>
                  <a:cubicBezTo>
                    <a:pt x="53333" y="7317"/>
                    <a:pt x="46153" y="14634"/>
                    <a:pt x="38974" y="20487"/>
                  </a:cubicBezTo>
                  <a:cubicBezTo>
                    <a:pt x="35897" y="23414"/>
                    <a:pt x="32820" y="26341"/>
                    <a:pt x="29743" y="30731"/>
                  </a:cubicBezTo>
                  <a:cubicBezTo>
                    <a:pt x="28717" y="32195"/>
                    <a:pt x="27692" y="32195"/>
                    <a:pt x="26666" y="32195"/>
                  </a:cubicBezTo>
                  <a:cubicBezTo>
                    <a:pt x="23589" y="32195"/>
                    <a:pt x="22564" y="32195"/>
                    <a:pt x="22564" y="36585"/>
                  </a:cubicBezTo>
                  <a:cubicBezTo>
                    <a:pt x="22564" y="40975"/>
                    <a:pt x="22564" y="45365"/>
                    <a:pt x="22564" y="49756"/>
                  </a:cubicBezTo>
                  <a:cubicBezTo>
                    <a:pt x="22564" y="54146"/>
                    <a:pt x="21538" y="58536"/>
                    <a:pt x="19487" y="61463"/>
                  </a:cubicBezTo>
                  <a:cubicBezTo>
                    <a:pt x="18461" y="62926"/>
                    <a:pt x="15384" y="62926"/>
                    <a:pt x="14358" y="62926"/>
                  </a:cubicBezTo>
                  <a:cubicBezTo>
                    <a:pt x="12307" y="62926"/>
                    <a:pt x="10256" y="62926"/>
                    <a:pt x="8205" y="62926"/>
                  </a:cubicBezTo>
                  <a:cubicBezTo>
                    <a:pt x="6153" y="62926"/>
                    <a:pt x="4102" y="64390"/>
                    <a:pt x="2051" y="64390"/>
                  </a:cubicBezTo>
                  <a:cubicBezTo>
                    <a:pt x="0" y="64390"/>
                    <a:pt x="5128" y="74634"/>
                    <a:pt x="5128" y="74634"/>
                  </a:cubicBezTo>
                  <a:cubicBezTo>
                    <a:pt x="6153" y="79024"/>
                    <a:pt x="7179" y="81951"/>
                    <a:pt x="10256" y="83414"/>
                  </a:cubicBezTo>
                  <a:cubicBezTo>
                    <a:pt x="10256" y="83414"/>
                    <a:pt x="11282" y="81951"/>
                    <a:pt x="11282" y="81951"/>
                  </a:cubicBezTo>
                  <a:cubicBezTo>
                    <a:pt x="12307" y="83414"/>
                    <a:pt x="12307" y="87804"/>
                    <a:pt x="14358" y="84878"/>
                  </a:cubicBezTo>
                  <a:cubicBezTo>
                    <a:pt x="16410" y="81951"/>
                    <a:pt x="18461" y="89268"/>
                    <a:pt x="19487" y="90731"/>
                  </a:cubicBezTo>
                  <a:cubicBezTo>
                    <a:pt x="19487" y="89268"/>
                    <a:pt x="20512" y="86341"/>
                    <a:pt x="20512" y="84878"/>
                  </a:cubicBezTo>
                  <a:cubicBezTo>
                    <a:pt x="20512" y="83414"/>
                    <a:pt x="21538" y="81951"/>
                    <a:pt x="21538" y="80487"/>
                  </a:cubicBezTo>
                  <a:cubicBezTo>
                    <a:pt x="22564" y="76097"/>
                    <a:pt x="22564" y="76097"/>
                    <a:pt x="25641" y="74634"/>
                  </a:cubicBezTo>
                  <a:cubicBezTo>
                    <a:pt x="26666" y="73170"/>
                    <a:pt x="27692" y="73170"/>
                    <a:pt x="28717" y="73170"/>
                  </a:cubicBezTo>
                  <a:cubicBezTo>
                    <a:pt x="29743" y="71707"/>
                    <a:pt x="30769" y="74634"/>
                    <a:pt x="31794" y="74634"/>
                  </a:cubicBezTo>
                  <a:cubicBezTo>
                    <a:pt x="33846" y="74634"/>
                    <a:pt x="34871" y="76097"/>
                    <a:pt x="35897" y="77560"/>
                  </a:cubicBezTo>
                  <a:cubicBezTo>
                    <a:pt x="36923" y="79024"/>
                    <a:pt x="37948" y="79024"/>
                    <a:pt x="40000" y="79024"/>
                  </a:cubicBezTo>
                  <a:cubicBezTo>
                    <a:pt x="43076" y="76097"/>
                    <a:pt x="44102" y="80487"/>
                    <a:pt x="47179" y="80487"/>
                  </a:cubicBezTo>
                  <a:cubicBezTo>
                    <a:pt x="50256" y="80487"/>
                    <a:pt x="53333" y="77560"/>
                    <a:pt x="56410" y="77560"/>
                  </a:cubicBezTo>
                  <a:cubicBezTo>
                    <a:pt x="58461" y="77560"/>
                    <a:pt x="62564" y="79024"/>
                    <a:pt x="65641" y="77560"/>
                  </a:cubicBezTo>
                  <a:cubicBezTo>
                    <a:pt x="66666" y="77560"/>
                    <a:pt x="67692" y="76097"/>
                    <a:pt x="68717" y="74634"/>
                  </a:cubicBezTo>
                  <a:cubicBezTo>
                    <a:pt x="70769" y="73170"/>
                    <a:pt x="69743" y="71707"/>
                    <a:pt x="69743" y="68780"/>
                  </a:cubicBezTo>
                  <a:cubicBezTo>
                    <a:pt x="69743" y="61463"/>
                    <a:pt x="74871" y="57073"/>
                    <a:pt x="78974" y="51219"/>
                  </a:cubicBezTo>
                  <a:cubicBezTo>
                    <a:pt x="80000" y="49756"/>
                    <a:pt x="78974" y="46829"/>
                    <a:pt x="78974" y="45365"/>
                  </a:cubicBezTo>
                  <a:cubicBezTo>
                    <a:pt x="78974" y="40975"/>
                    <a:pt x="78974" y="38048"/>
                    <a:pt x="78974" y="33658"/>
                  </a:cubicBezTo>
                  <a:cubicBezTo>
                    <a:pt x="80000" y="30731"/>
                    <a:pt x="81025" y="26341"/>
                    <a:pt x="81025" y="23414"/>
                  </a:cubicBezTo>
                  <a:cubicBezTo>
                    <a:pt x="80000" y="20487"/>
                    <a:pt x="78974" y="17560"/>
                    <a:pt x="77948" y="16097"/>
                  </a:cubicBezTo>
                  <a:cubicBezTo>
                    <a:pt x="75897" y="11707"/>
                    <a:pt x="76923" y="7317"/>
                    <a:pt x="76923" y="2926"/>
                  </a:cubicBezTo>
                  <a:cubicBezTo>
                    <a:pt x="76923" y="7317"/>
                    <a:pt x="76923" y="10243"/>
                    <a:pt x="76923" y="13170"/>
                  </a:cubicBezTo>
                  <a:cubicBezTo>
                    <a:pt x="76923" y="16097"/>
                    <a:pt x="80000" y="20487"/>
                    <a:pt x="80000" y="23414"/>
                  </a:cubicBezTo>
                  <a:cubicBezTo>
                    <a:pt x="81025" y="27804"/>
                    <a:pt x="78974" y="33658"/>
                    <a:pt x="78974" y="38048"/>
                  </a:cubicBezTo>
                  <a:cubicBezTo>
                    <a:pt x="78974" y="40975"/>
                    <a:pt x="80000" y="46829"/>
                    <a:pt x="78974" y="51219"/>
                  </a:cubicBezTo>
                  <a:cubicBezTo>
                    <a:pt x="77948" y="54146"/>
                    <a:pt x="73846" y="57073"/>
                    <a:pt x="72820" y="60000"/>
                  </a:cubicBezTo>
                  <a:cubicBezTo>
                    <a:pt x="70769" y="61463"/>
                    <a:pt x="69743" y="64390"/>
                    <a:pt x="69743" y="67317"/>
                  </a:cubicBezTo>
                  <a:cubicBezTo>
                    <a:pt x="68717" y="71707"/>
                    <a:pt x="70769" y="73170"/>
                    <a:pt x="71794" y="77560"/>
                  </a:cubicBezTo>
                  <a:cubicBezTo>
                    <a:pt x="71794" y="79024"/>
                    <a:pt x="72820" y="79024"/>
                    <a:pt x="73846" y="80487"/>
                  </a:cubicBezTo>
                  <a:cubicBezTo>
                    <a:pt x="75897" y="81951"/>
                    <a:pt x="76923" y="83414"/>
                    <a:pt x="76923" y="86341"/>
                  </a:cubicBezTo>
                  <a:cubicBezTo>
                    <a:pt x="76923" y="89268"/>
                    <a:pt x="76923" y="92195"/>
                    <a:pt x="76923" y="95121"/>
                  </a:cubicBezTo>
                  <a:cubicBezTo>
                    <a:pt x="76923" y="96585"/>
                    <a:pt x="77948" y="99512"/>
                    <a:pt x="78974" y="102439"/>
                  </a:cubicBezTo>
                  <a:cubicBezTo>
                    <a:pt x="75897" y="102439"/>
                    <a:pt x="68717" y="102439"/>
                    <a:pt x="73846" y="108292"/>
                  </a:cubicBezTo>
                  <a:cubicBezTo>
                    <a:pt x="75897" y="109756"/>
                    <a:pt x="76923" y="111219"/>
                    <a:pt x="77948" y="114146"/>
                  </a:cubicBezTo>
                  <a:cubicBezTo>
                    <a:pt x="77948" y="115609"/>
                    <a:pt x="78974" y="117073"/>
                    <a:pt x="78974" y="118536"/>
                  </a:cubicBezTo>
                  <a:cubicBezTo>
                    <a:pt x="78974" y="120000"/>
                    <a:pt x="82051" y="118536"/>
                    <a:pt x="82051" y="118536"/>
                  </a:cubicBezTo>
                  <a:cubicBezTo>
                    <a:pt x="84102" y="117073"/>
                    <a:pt x="82051" y="118536"/>
                    <a:pt x="82051" y="118536"/>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47" name="Shape 2621">
              <a:extLst>
                <a:ext uri="{FF2B5EF4-FFF2-40B4-BE49-F238E27FC236}">
                  <a16:creationId xmlns:a16="http://schemas.microsoft.com/office/drawing/2014/main" id="{A8797083-1987-D142-80D3-E8667DE88087}"/>
                </a:ext>
              </a:extLst>
            </p:cNvPr>
            <p:cNvSpPr/>
            <p:nvPr/>
          </p:nvSpPr>
          <p:spPr>
            <a:xfrm>
              <a:off x="12684246" y="7940424"/>
              <a:ext cx="767515" cy="946106"/>
            </a:xfrm>
            <a:custGeom>
              <a:avLst/>
              <a:gdLst/>
              <a:ahLst/>
              <a:cxnLst/>
              <a:rect l="0" t="0" r="0" b="0"/>
              <a:pathLst>
                <a:path w="120000" h="120000" extrusionOk="0">
                  <a:moveTo>
                    <a:pt x="8780" y="46336"/>
                  </a:moveTo>
                  <a:cubicBezTo>
                    <a:pt x="8780" y="46336"/>
                    <a:pt x="8780" y="47524"/>
                    <a:pt x="8780" y="48712"/>
                  </a:cubicBezTo>
                  <a:cubicBezTo>
                    <a:pt x="7317" y="49900"/>
                    <a:pt x="5853" y="49900"/>
                    <a:pt x="5853" y="51089"/>
                  </a:cubicBezTo>
                  <a:cubicBezTo>
                    <a:pt x="5853" y="53465"/>
                    <a:pt x="2926" y="55841"/>
                    <a:pt x="2926" y="58217"/>
                  </a:cubicBezTo>
                  <a:cubicBezTo>
                    <a:pt x="2926" y="59405"/>
                    <a:pt x="4390" y="60594"/>
                    <a:pt x="2926" y="60594"/>
                  </a:cubicBezTo>
                  <a:cubicBezTo>
                    <a:pt x="2926" y="61782"/>
                    <a:pt x="0" y="62970"/>
                    <a:pt x="1463" y="62970"/>
                  </a:cubicBezTo>
                  <a:cubicBezTo>
                    <a:pt x="5853" y="62970"/>
                    <a:pt x="4390" y="67722"/>
                    <a:pt x="5853" y="68910"/>
                  </a:cubicBezTo>
                  <a:cubicBezTo>
                    <a:pt x="5853" y="70099"/>
                    <a:pt x="7317" y="70099"/>
                    <a:pt x="8780" y="71287"/>
                  </a:cubicBezTo>
                  <a:cubicBezTo>
                    <a:pt x="8780" y="72475"/>
                    <a:pt x="8780" y="73663"/>
                    <a:pt x="8780" y="74851"/>
                  </a:cubicBezTo>
                  <a:cubicBezTo>
                    <a:pt x="10243" y="77227"/>
                    <a:pt x="13170" y="78415"/>
                    <a:pt x="13170" y="80792"/>
                  </a:cubicBezTo>
                  <a:cubicBezTo>
                    <a:pt x="13170" y="81980"/>
                    <a:pt x="11707" y="87920"/>
                    <a:pt x="13170" y="87920"/>
                  </a:cubicBezTo>
                  <a:cubicBezTo>
                    <a:pt x="17560" y="87920"/>
                    <a:pt x="19024" y="89108"/>
                    <a:pt x="21951" y="90297"/>
                  </a:cubicBezTo>
                  <a:cubicBezTo>
                    <a:pt x="24878" y="91485"/>
                    <a:pt x="23414" y="95049"/>
                    <a:pt x="26341" y="96237"/>
                  </a:cubicBezTo>
                  <a:cubicBezTo>
                    <a:pt x="27804" y="97425"/>
                    <a:pt x="32195" y="97425"/>
                    <a:pt x="32195" y="99801"/>
                  </a:cubicBezTo>
                  <a:cubicBezTo>
                    <a:pt x="32195" y="102178"/>
                    <a:pt x="36585" y="103366"/>
                    <a:pt x="38048" y="104554"/>
                  </a:cubicBezTo>
                  <a:cubicBezTo>
                    <a:pt x="38048" y="105742"/>
                    <a:pt x="38048" y="106930"/>
                    <a:pt x="38048" y="108118"/>
                  </a:cubicBezTo>
                  <a:cubicBezTo>
                    <a:pt x="39512" y="108118"/>
                    <a:pt x="40975" y="109306"/>
                    <a:pt x="40975" y="109306"/>
                  </a:cubicBezTo>
                  <a:cubicBezTo>
                    <a:pt x="42439" y="110495"/>
                    <a:pt x="43902" y="112871"/>
                    <a:pt x="46829" y="114059"/>
                  </a:cubicBezTo>
                  <a:cubicBezTo>
                    <a:pt x="48292" y="115247"/>
                    <a:pt x="48292" y="110495"/>
                    <a:pt x="51219" y="112871"/>
                  </a:cubicBezTo>
                  <a:cubicBezTo>
                    <a:pt x="54146" y="114059"/>
                    <a:pt x="54146" y="111683"/>
                    <a:pt x="57073" y="111683"/>
                  </a:cubicBezTo>
                  <a:cubicBezTo>
                    <a:pt x="60000" y="112871"/>
                    <a:pt x="61463" y="116435"/>
                    <a:pt x="64390" y="118811"/>
                  </a:cubicBezTo>
                  <a:cubicBezTo>
                    <a:pt x="67317" y="112871"/>
                    <a:pt x="71707" y="120000"/>
                    <a:pt x="74634" y="118811"/>
                  </a:cubicBezTo>
                  <a:cubicBezTo>
                    <a:pt x="76097" y="117623"/>
                    <a:pt x="77560" y="116435"/>
                    <a:pt x="80487" y="116435"/>
                  </a:cubicBezTo>
                  <a:cubicBezTo>
                    <a:pt x="81951" y="116435"/>
                    <a:pt x="84878" y="116435"/>
                    <a:pt x="86341" y="115247"/>
                  </a:cubicBezTo>
                  <a:cubicBezTo>
                    <a:pt x="89268" y="110495"/>
                    <a:pt x="95121" y="108118"/>
                    <a:pt x="100975" y="111683"/>
                  </a:cubicBezTo>
                  <a:cubicBezTo>
                    <a:pt x="100975" y="110495"/>
                    <a:pt x="100975" y="109306"/>
                    <a:pt x="100975" y="108118"/>
                  </a:cubicBezTo>
                  <a:cubicBezTo>
                    <a:pt x="100975" y="106930"/>
                    <a:pt x="96585" y="106930"/>
                    <a:pt x="96585" y="106930"/>
                  </a:cubicBezTo>
                  <a:cubicBezTo>
                    <a:pt x="93658" y="104554"/>
                    <a:pt x="92195" y="100990"/>
                    <a:pt x="89268" y="98613"/>
                  </a:cubicBezTo>
                  <a:cubicBezTo>
                    <a:pt x="87804" y="97425"/>
                    <a:pt x="87804" y="96237"/>
                    <a:pt x="86341" y="95049"/>
                  </a:cubicBezTo>
                  <a:cubicBezTo>
                    <a:pt x="84878" y="93861"/>
                    <a:pt x="83414" y="93861"/>
                    <a:pt x="81951" y="92673"/>
                  </a:cubicBezTo>
                  <a:cubicBezTo>
                    <a:pt x="77560" y="89108"/>
                    <a:pt x="86341" y="89108"/>
                    <a:pt x="86341" y="89108"/>
                  </a:cubicBezTo>
                  <a:cubicBezTo>
                    <a:pt x="89268" y="87920"/>
                    <a:pt x="87804" y="81980"/>
                    <a:pt x="89268" y="79603"/>
                  </a:cubicBezTo>
                  <a:cubicBezTo>
                    <a:pt x="89268" y="78415"/>
                    <a:pt x="89268" y="76039"/>
                    <a:pt x="90731" y="76039"/>
                  </a:cubicBezTo>
                  <a:cubicBezTo>
                    <a:pt x="92195" y="74851"/>
                    <a:pt x="95121" y="74851"/>
                    <a:pt x="95121" y="73663"/>
                  </a:cubicBezTo>
                  <a:cubicBezTo>
                    <a:pt x="95121" y="72475"/>
                    <a:pt x="95121" y="71287"/>
                    <a:pt x="95121" y="68910"/>
                  </a:cubicBezTo>
                  <a:cubicBezTo>
                    <a:pt x="95121" y="67722"/>
                    <a:pt x="96585" y="66534"/>
                    <a:pt x="98048" y="65346"/>
                  </a:cubicBezTo>
                  <a:cubicBezTo>
                    <a:pt x="99512" y="62970"/>
                    <a:pt x="102439" y="64158"/>
                    <a:pt x="103902" y="61782"/>
                  </a:cubicBezTo>
                  <a:cubicBezTo>
                    <a:pt x="103902" y="59405"/>
                    <a:pt x="105365" y="57029"/>
                    <a:pt x="105365" y="53465"/>
                  </a:cubicBezTo>
                  <a:cubicBezTo>
                    <a:pt x="105365" y="52277"/>
                    <a:pt x="105365" y="51089"/>
                    <a:pt x="105365" y="49900"/>
                  </a:cubicBezTo>
                  <a:cubicBezTo>
                    <a:pt x="105365" y="47524"/>
                    <a:pt x="108292" y="45148"/>
                    <a:pt x="108292" y="43960"/>
                  </a:cubicBezTo>
                  <a:cubicBezTo>
                    <a:pt x="108292" y="39207"/>
                    <a:pt x="109756" y="35643"/>
                    <a:pt x="115609" y="34455"/>
                  </a:cubicBezTo>
                  <a:cubicBezTo>
                    <a:pt x="117073" y="34455"/>
                    <a:pt x="118536" y="34455"/>
                    <a:pt x="120000" y="32079"/>
                  </a:cubicBezTo>
                  <a:cubicBezTo>
                    <a:pt x="120000" y="30891"/>
                    <a:pt x="117073" y="28514"/>
                    <a:pt x="115609" y="27326"/>
                  </a:cubicBezTo>
                  <a:cubicBezTo>
                    <a:pt x="112682" y="24950"/>
                    <a:pt x="111219" y="22574"/>
                    <a:pt x="111219" y="20198"/>
                  </a:cubicBezTo>
                  <a:cubicBezTo>
                    <a:pt x="111219" y="19009"/>
                    <a:pt x="109756" y="13069"/>
                    <a:pt x="111219" y="13069"/>
                  </a:cubicBezTo>
                  <a:cubicBezTo>
                    <a:pt x="112682" y="11881"/>
                    <a:pt x="111219" y="11881"/>
                    <a:pt x="109756" y="10693"/>
                  </a:cubicBezTo>
                  <a:cubicBezTo>
                    <a:pt x="108292" y="9504"/>
                    <a:pt x="108292" y="8316"/>
                    <a:pt x="108292" y="5940"/>
                  </a:cubicBezTo>
                  <a:cubicBezTo>
                    <a:pt x="105365" y="3564"/>
                    <a:pt x="100975" y="2376"/>
                    <a:pt x="99512" y="0"/>
                  </a:cubicBezTo>
                  <a:cubicBezTo>
                    <a:pt x="98048" y="0"/>
                    <a:pt x="95121" y="1188"/>
                    <a:pt x="93658" y="2376"/>
                  </a:cubicBezTo>
                  <a:cubicBezTo>
                    <a:pt x="92195" y="5940"/>
                    <a:pt x="89268" y="3564"/>
                    <a:pt x="87804" y="5940"/>
                  </a:cubicBezTo>
                  <a:cubicBezTo>
                    <a:pt x="86341" y="10693"/>
                    <a:pt x="84878" y="5940"/>
                    <a:pt x="81951" y="5940"/>
                  </a:cubicBezTo>
                  <a:cubicBezTo>
                    <a:pt x="76097" y="5940"/>
                    <a:pt x="71707" y="5940"/>
                    <a:pt x="67317" y="5940"/>
                  </a:cubicBezTo>
                  <a:cubicBezTo>
                    <a:pt x="54146" y="5940"/>
                    <a:pt x="39512" y="5940"/>
                    <a:pt x="24878" y="5940"/>
                  </a:cubicBezTo>
                  <a:cubicBezTo>
                    <a:pt x="21951" y="5940"/>
                    <a:pt x="23414" y="14257"/>
                    <a:pt x="23414" y="16633"/>
                  </a:cubicBezTo>
                  <a:cubicBezTo>
                    <a:pt x="23414" y="19009"/>
                    <a:pt x="21951" y="19009"/>
                    <a:pt x="19024" y="19009"/>
                  </a:cubicBezTo>
                  <a:cubicBezTo>
                    <a:pt x="14634" y="19009"/>
                    <a:pt x="16097" y="19009"/>
                    <a:pt x="16097" y="21386"/>
                  </a:cubicBezTo>
                  <a:cubicBezTo>
                    <a:pt x="16097" y="27326"/>
                    <a:pt x="16097" y="32079"/>
                    <a:pt x="16097" y="38019"/>
                  </a:cubicBezTo>
                  <a:cubicBezTo>
                    <a:pt x="16097" y="40396"/>
                    <a:pt x="16097" y="42772"/>
                    <a:pt x="16097" y="43960"/>
                  </a:cubicBezTo>
                  <a:cubicBezTo>
                    <a:pt x="16097" y="46336"/>
                    <a:pt x="10243" y="45148"/>
                    <a:pt x="8780" y="46336"/>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48" name="Shape 2622">
              <a:extLst>
                <a:ext uri="{FF2B5EF4-FFF2-40B4-BE49-F238E27FC236}">
                  <a16:creationId xmlns:a16="http://schemas.microsoft.com/office/drawing/2014/main" id="{9B9778EC-2A69-DF47-A007-65A6446447AA}"/>
                </a:ext>
              </a:extLst>
            </p:cNvPr>
            <p:cNvSpPr/>
            <p:nvPr/>
          </p:nvSpPr>
          <p:spPr>
            <a:xfrm>
              <a:off x="13356227" y="8182525"/>
              <a:ext cx="299363" cy="270773"/>
            </a:xfrm>
            <a:custGeom>
              <a:avLst/>
              <a:gdLst/>
              <a:ahLst/>
              <a:cxnLst/>
              <a:rect l="0" t="0" r="0" b="0"/>
              <a:pathLst>
                <a:path w="120000" h="120000" extrusionOk="0">
                  <a:moveTo>
                    <a:pt x="11250" y="78620"/>
                  </a:moveTo>
                  <a:cubicBezTo>
                    <a:pt x="15000" y="78620"/>
                    <a:pt x="22500" y="86896"/>
                    <a:pt x="26250" y="82758"/>
                  </a:cubicBezTo>
                  <a:cubicBezTo>
                    <a:pt x="26250" y="78620"/>
                    <a:pt x="22500" y="70344"/>
                    <a:pt x="26250" y="70344"/>
                  </a:cubicBezTo>
                  <a:cubicBezTo>
                    <a:pt x="33750" y="70344"/>
                    <a:pt x="33750" y="78620"/>
                    <a:pt x="37500" y="78620"/>
                  </a:cubicBezTo>
                  <a:cubicBezTo>
                    <a:pt x="41250" y="78620"/>
                    <a:pt x="45000" y="74482"/>
                    <a:pt x="45000" y="74482"/>
                  </a:cubicBezTo>
                  <a:cubicBezTo>
                    <a:pt x="48750" y="70344"/>
                    <a:pt x="52500" y="74482"/>
                    <a:pt x="52500" y="74482"/>
                  </a:cubicBezTo>
                  <a:cubicBezTo>
                    <a:pt x="82500" y="74482"/>
                    <a:pt x="93750" y="99310"/>
                    <a:pt x="108750" y="120000"/>
                  </a:cubicBezTo>
                  <a:cubicBezTo>
                    <a:pt x="112500" y="120000"/>
                    <a:pt x="116250" y="115862"/>
                    <a:pt x="120000" y="111724"/>
                  </a:cubicBezTo>
                  <a:cubicBezTo>
                    <a:pt x="108750" y="103448"/>
                    <a:pt x="97500" y="91034"/>
                    <a:pt x="90000" y="78620"/>
                  </a:cubicBezTo>
                  <a:cubicBezTo>
                    <a:pt x="86250" y="70344"/>
                    <a:pt x="78750" y="70344"/>
                    <a:pt x="71250" y="66206"/>
                  </a:cubicBezTo>
                  <a:cubicBezTo>
                    <a:pt x="67500" y="66206"/>
                    <a:pt x="67500" y="57931"/>
                    <a:pt x="63750" y="57931"/>
                  </a:cubicBezTo>
                  <a:cubicBezTo>
                    <a:pt x="60000" y="57931"/>
                    <a:pt x="63750" y="62068"/>
                    <a:pt x="63750" y="66206"/>
                  </a:cubicBezTo>
                  <a:cubicBezTo>
                    <a:pt x="63750" y="66206"/>
                    <a:pt x="60000" y="57931"/>
                    <a:pt x="60000" y="57931"/>
                  </a:cubicBezTo>
                  <a:cubicBezTo>
                    <a:pt x="56250" y="49655"/>
                    <a:pt x="52500" y="45517"/>
                    <a:pt x="52500" y="37241"/>
                  </a:cubicBezTo>
                  <a:cubicBezTo>
                    <a:pt x="48750" y="24827"/>
                    <a:pt x="48750" y="12413"/>
                    <a:pt x="37500" y="0"/>
                  </a:cubicBezTo>
                  <a:cubicBezTo>
                    <a:pt x="33750" y="16551"/>
                    <a:pt x="15000" y="16551"/>
                    <a:pt x="7500" y="28965"/>
                  </a:cubicBezTo>
                  <a:cubicBezTo>
                    <a:pt x="3750" y="37241"/>
                    <a:pt x="7500" y="45517"/>
                    <a:pt x="3750" y="53793"/>
                  </a:cubicBezTo>
                  <a:cubicBezTo>
                    <a:pt x="0" y="62068"/>
                    <a:pt x="0" y="70344"/>
                    <a:pt x="0" y="82758"/>
                  </a:cubicBezTo>
                  <a:cubicBezTo>
                    <a:pt x="3750" y="78620"/>
                    <a:pt x="7500" y="78620"/>
                    <a:pt x="11250" y="7862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49" name="Shape 2623">
              <a:extLst>
                <a:ext uri="{FF2B5EF4-FFF2-40B4-BE49-F238E27FC236}">
                  <a16:creationId xmlns:a16="http://schemas.microsoft.com/office/drawing/2014/main" id="{BC2537FE-907F-D14D-BCAE-F68924F2A8E9}"/>
                </a:ext>
              </a:extLst>
            </p:cNvPr>
            <p:cNvSpPr/>
            <p:nvPr/>
          </p:nvSpPr>
          <p:spPr>
            <a:xfrm>
              <a:off x="13200172" y="8313135"/>
              <a:ext cx="691081" cy="573396"/>
            </a:xfrm>
            <a:custGeom>
              <a:avLst/>
              <a:gdLst/>
              <a:ahLst/>
              <a:cxnLst/>
              <a:rect l="0" t="0" r="0" b="0"/>
              <a:pathLst>
                <a:path w="120000" h="120000" extrusionOk="0">
                  <a:moveTo>
                    <a:pt x="113513" y="74754"/>
                  </a:moveTo>
                  <a:cubicBezTo>
                    <a:pt x="105405" y="70819"/>
                    <a:pt x="98918" y="68852"/>
                    <a:pt x="92432" y="64918"/>
                  </a:cubicBezTo>
                  <a:cubicBezTo>
                    <a:pt x="87567" y="62950"/>
                    <a:pt x="85945" y="60983"/>
                    <a:pt x="82702" y="57049"/>
                  </a:cubicBezTo>
                  <a:cubicBezTo>
                    <a:pt x="81081" y="55081"/>
                    <a:pt x="79459" y="51147"/>
                    <a:pt x="77837" y="47213"/>
                  </a:cubicBezTo>
                  <a:cubicBezTo>
                    <a:pt x="77837" y="45245"/>
                    <a:pt x="82702" y="41311"/>
                    <a:pt x="82702" y="39344"/>
                  </a:cubicBezTo>
                  <a:cubicBezTo>
                    <a:pt x="79459" y="41311"/>
                    <a:pt x="76216" y="43278"/>
                    <a:pt x="72972" y="45245"/>
                  </a:cubicBezTo>
                  <a:cubicBezTo>
                    <a:pt x="69729" y="45245"/>
                    <a:pt x="69729" y="37377"/>
                    <a:pt x="71351" y="35409"/>
                  </a:cubicBezTo>
                  <a:cubicBezTo>
                    <a:pt x="76216" y="29508"/>
                    <a:pt x="74594" y="29508"/>
                    <a:pt x="71351" y="23606"/>
                  </a:cubicBezTo>
                  <a:cubicBezTo>
                    <a:pt x="68108" y="19672"/>
                    <a:pt x="64864" y="11803"/>
                    <a:pt x="60000" y="9836"/>
                  </a:cubicBezTo>
                  <a:cubicBezTo>
                    <a:pt x="56756" y="9836"/>
                    <a:pt x="48648" y="5901"/>
                    <a:pt x="45405" y="7868"/>
                  </a:cubicBezTo>
                  <a:cubicBezTo>
                    <a:pt x="42162" y="13770"/>
                    <a:pt x="38918" y="0"/>
                    <a:pt x="38918" y="9836"/>
                  </a:cubicBezTo>
                  <a:cubicBezTo>
                    <a:pt x="38918" y="13770"/>
                    <a:pt x="35675" y="11803"/>
                    <a:pt x="34054" y="9836"/>
                  </a:cubicBezTo>
                  <a:cubicBezTo>
                    <a:pt x="32432" y="9836"/>
                    <a:pt x="30810" y="9836"/>
                    <a:pt x="29189" y="9836"/>
                  </a:cubicBezTo>
                  <a:cubicBezTo>
                    <a:pt x="25945" y="11803"/>
                    <a:pt x="27567" y="11803"/>
                    <a:pt x="27567" y="15737"/>
                  </a:cubicBezTo>
                  <a:cubicBezTo>
                    <a:pt x="27567" y="17704"/>
                    <a:pt x="25945" y="23606"/>
                    <a:pt x="24324" y="25573"/>
                  </a:cubicBezTo>
                  <a:cubicBezTo>
                    <a:pt x="24324" y="27540"/>
                    <a:pt x="19459" y="25573"/>
                    <a:pt x="19459" y="27540"/>
                  </a:cubicBezTo>
                  <a:cubicBezTo>
                    <a:pt x="19459" y="31475"/>
                    <a:pt x="16216" y="33442"/>
                    <a:pt x="16216" y="35409"/>
                  </a:cubicBezTo>
                  <a:cubicBezTo>
                    <a:pt x="16216" y="37377"/>
                    <a:pt x="17837" y="43278"/>
                    <a:pt x="16216" y="45245"/>
                  </a:cubicBezTo>
                  <a:cubicBezTo>
                    <a:pt x="6486" y="47213"/>
                    <a:pt x="9729" y="59016"/>
                    <a:pt x="8108" y="66885"/>
                  </a:cubicBezTo>
                  <a:cubicBezTo>
                    <a:pt x="6486" y="68852"/>
                    <a:pt x="4864" y="68852"/>
                    <a:pt x="1621" y="68852"/>
                  </a:cubicBezTo>
                  <a:cubicBezTo>
                    <a:pt x="0" y="70819"/>
                    <a:pt x="0" y="74754"/>
                    <a:pt x="3243" y="74754"/>
                  </a:cubicBezTo>
                  <a:cubicBezTo>
                    <a:pt x="8108" y="76721"/>
                    <a:pt x="12972" y="88524"/>
                    <a:pt x="14594" y="92459"/>
                  </a:cubicBezTo>
                  <a:cubicBezTo>
                    <a:pt x="16216" y="96393"/>
                    <a:pt x="17837" y="96393"/>
                    <a:pt x="21081" y="98360"/>
                  </a:cubicBezTo>
                  <a:cubicBezTo>
                    <a:pt x="22702" y="100327"/>
                    <a:pt x="21081" y="104262"/>
                    <a:pt x="22702" y="106229"/>
                  </a:cubicBezTo>
                  <a:cubicBezTo>
                    <a:pt x="25945" y="110163"/>
                    <a:pt x="29189" y="106229"/>
                    <a:pt x="32432" y="108196"/>
                  </a:cubicBezTo>
                  <a:cubicBezTo>
                    <a:pt x="34054" y="110163"/>
                    <a:pt x="37297" y="114098"/>
                    <a:pt x="40540" y="116065"/>
                  </a:cubicBezTo>
                  <a:cubicBezTo>
                    <a:pt x="43783" y="116065"/>
                    <a:pt x="50270" y="120000"/>
                    <a:pt x="53513" y="118032"/>
                  </a:cubicBezTo>
                  <a:cubicBezTo>
                    <a:pt x="56756" y="114098"/>
                    <a:pt x="58378" y="110163"/>
                    <a:pt x="63243" y="112131"/>
                  </a:cubicBezTo>
                  <a:cubicBezTo>
                    <a:pt x="68108" y="114098"/>
                    <a:pt x="72972" y="112131"/>
                    <a:pt x="76216" y="110163"/>
                  </a:cubicBezTo>
                  <a:cubicBezTo>
                    <a:pt x="79459" y="106229"/>
                    <a:pt x="82702" y="104262"/>
                    <a:pt x="87567" y="104262"/>
                  </a:cubicBezTo>
                  <a:cubicBezTo>
                    <a:pt x="89189" y="104262"/>
                    <a:pt x="95675" y="104262"/>
                    <a:pt x="95675" y="104262"/>
                  </a:cubicBezTo>
                  <a:cubicBezTo>
                    <a:pt x="103783" y="94426"/>
                    <a:pt x="111891" y="84590"/>
                    <a:pt x="120000" y="74754"/>
                  </a:cubicBezTo>
                  <a:cubicBezTo>
                    <a:pt x="118378" y="74754"/>
                    <a:pt x="115135" y="74754"/>
                    <a:pt x="113513" y="74754"/>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50" name="Shape 2624">
              <a:extLst>
                <a:ext uri="{FF2B5EF4-FFF2-40B4-BE49-F238E27FC236}">
                  <a16:creationId xmlns:a16="http://schemas.microsoft.com/office/drawing/2014/main" id="{598AC4D9-831B-F041-A861-F8FD5A35F7AF}"/>
                </a:ext>
              </a:extLst>
            </p:cNvPr>
            <p:cNvSpPr/>
            <p:nvPr/>
          </p:nvSpPr>
          <p:spPr>
            <a:xfrm>
              <a:off x="13235204" y="8481967"/>
              <a:ext cx="812101" cy="777271"/>
            </a:xfrm>
            <a:custGeom>
              <a:avLst/>
              <a:gdLst/>
              <a:ahLst/>
              <a:cxnLst/>
              <a:rect l="0" t="0" r="0" b="0"/>
              <a:pathLst>
                <a:path w="120000" h="120000" extrusionOk="0">
                  <a:moveTo>
                    <a:pt x="118620" y="1445"/>
                  </a:moveTo>
                  <a:cubicBezTo>
                    <a:pt x="120000" y="0"/>
                    <a:pt x="115862" y="0"/>
                    <a:pt x="114482" y="0"/>
                  </a:cubicBezTo>
                  <a:cubicBezTo>
                    <a:pt x="113103" y="1445"/>
                    <a:pt x="111724" y="2891"/>
                    <a:pt x="108965" y="4337"/>
                  </a:cubicBezTo>
                  <a:cubicBezTo>
                    <a:pt x="106206" y="4337"/>
                    <a:pt x="102068" y="4337"/>
                    <a:pt x="97931" y="4337"/>
                  </a:cubicBezTo>
                  <a:cubicBezTo>
                    <a:pt x="97931" y="5783"/>
                    <a:pt x="96551" y="5783"/>
                    <a:pt x="95172" y="5783"/>
                  </a:cubicBezTo>
                  <a:cubicBezTo>
                    <a:pt x="93793" y="5783"/>
                    <a:pt x="93793" y="4337"/>
                    <a:pt x="93793" y="4337"/>
                  </a:cubicBezTo>
                  <a:cubicBezTo>
                    <a:pt x="91034" y="5783"/>
                    <a:pt x="89655" y="8674"/>
                    <a:pt x="86896" y="8674"/>
                  </a:cubicBezTo>
                  <a:cubicBezTo>
                    <a:pt x="84137" y="8674"/>
                    <a:pt x="84137" y="7228"/>
                    <a:pt x="80000" y="7228"/>
                  </a:cubicBezTo>
                  <a:cubicBezTo>
                    <a:pt x="78620" y="8674"/>
                    <a:pt x="75862" y="11566"/>
                    <a:pt x="73103" y="10120"/>
                  </a:cubicBezTo>
                  <a:cubicBezTo>
                    <a:pt x="68965" y="8674"/>
                    <a:pt x="67586" y="7228"/>
                    <a:pt x="64827" y="2891"/>
                  </a:cubicBezTo>
                  <a:cubicBezTo>
                    <a:pt x="64827" y="4337"/>
                    <a:pt x="60689" y="7228"/>
                    <a:pt x="60689" y="8674"/>
                  </a:cubicBezTo>
                  <a:cubicBezTo>
                    <a:pt x="62068" y="11566"/>
                    <a:pt x="63448" y="14457"/>
                    <a:pt x="66206" y="17349"/>
                  </a:cubicBezTo>
                  <a:cubicBezTo>
                    <a:pt x="68965" y="20240"/>
                    <a:pt x="73103" y="21686"/>
                    <a:pt x="77241" y="23132"/>
                  </a:cubicBezTo>
                  <a:cubicBezTo>
                    <a:pt x="84137" y="26024"/>
                    <a:pt x="89655" y="28915"/>
                    <a:pt x="96551" y="28915"/>
                  </a:cubicBezTo>
                  <a:cubicBezTo>
                    <a:pt x="93793" y="31807"/>
                    <a:pt x="89655" y="36144"/>
                    <a:pt x="86896" y="39036"/>
                  </a:cubicBezTo>
                  <a:cubicBezTo>
                    <a:pt x="84137" y="41927"/>
                    <a:pt x="81379" y="44819"/>
                    <a:pt x="80000" y="47710"/>
                  </a:cubicBezTo>
                  <a:cubicBezTo>
                    <a:pt x="78620" y="47710"/>
                    <a:pt x="77241" y="50602"/>
                    <a:pt x="75862" y="50602"/>
                  </a:cubicBezTo>
                  <a:cubicBezTo>
                    <a:pt x="73103" y="52048"/>
                    <a:pt x="68965" y="49156"/>
                    <a:pt x="66206" y="50602"/>
                  </a:cubicBezTo>
                  <a:cubicBezTo>
                    <a:pt x="63448" y="50602"/>
                    <a:pt x="60689" y="53493"/>
                    <a:pt x="57931" y="54939"/>
                  </a:cubicBezTo>
                  <a:cubicBezTo>
                    <a:pt x="55172" y="56385"/>
                    <a:pt x="52413" y="57831"/>
                    <a:pt x="49655" y="56385"/>
                  </a:cubicBezTo>
                  <a:cubicBezTo>
                    <a:pt x="48275" y="56385"/>
                    <a:pt x="45517" y="54939"/>
                    <a:pt x="44137" y="56385"/>
                  </a:cubicBezTo>
                  <a:cubicBezTo>
                    <a:pt x="40000" y="59277"/>
                    <a:pt x="40000" y="62168"/>
                    <a:pt x="35862" y="60722"/>
                  </a:cubicBezTo>
                  <a:cubicBezTo>
                    <a:pt x="33103" y="59277"/>
                    <a:pt x="30344" y="59277"/>
                    <a:pt x="28965" y="59277"/>
                  </a:cubicBezTo>
                  <a:cubicBezTo>
                    <a:pt x="26206" y="57831"/>
                    <a:pt x="23448" y="54939"/>
                    <a:pt x="22068" y="53493"/>
                  </a:cubicBezTo>
                  <a:cubicBezTo>
                    <a:pt x="20689" y="53493"/>
                    <a:pt x="16551" y="54939"/>
                    <a:pt x="15172" y="53493"/>
                  </a:cubicBezTo>
                  <a:cubicBezTo>
                    <a:pt x="13793" y="52048"/>
                    <a:pt x="11034" y="49156"/>
                    <a:pt x="9655" y="49156"/>
                  </a:cubicBezTo>
                  <a:cubicBezTo>
                    <a:pt x="4137" y="50602"/>
                    <a:pt x="2758" y="52048"/>
                    <a:pt x="0" y="56385"/>
                  </a:cubicBezTo>
                  <a:cubicBezTo>
                    <a:pt x="0" y="57831"/>
                    <a:pt x="4137" y="57831"/>
                    <a:pt x="4137" y="59277"/>
                  </a:cubicBezTo>
                  <a:cubicBezTo>
                    <a:pt x="4137" y="62168"/>
                    <a:pt x="4137" y="63614"/>
                    <a:pt x="5517" y="65060"/>
                  </a:cubicBezTo>
                  <a:cubicBezTo>
                    <a:pt x="8275" y="67951"/>
                    <a:pt x="6896" y="75180"/>
                    <a:pt x="4137" y="78072"/>
                  </a:cubicBezTo>
                  <a:cubicBezTo>
                    <a:pt x="2758" y="79518"/>
                    <a:pt x="1379" y="80963"/>
                    <a:pt x="0" y="83855"/>
                  </a:cubicBezTo>
                  <a:cubicBezTo>
                    <a:pt x="0" y="88192"/>
                    <a:pt x="2758" y="85301"/>
                    <a:pt x="4137" y="86746"/>
                  </a:cubicBezTo>
                  <a:cubicBezTo>
                    <a:pt x="4137" y="86746"/>
                    <a:pt x="0" y="92530"/>
                    <a:pt x="1379" y="93975"/>
                  </a:cubicBezTo>
                  <a:cubicBezTo>
                    <a:pt x="2758" y="93975"/>
                    <a:pt x="4137" y="95421"/>
                    <a:pt x="5517" y="95421"/>
                  </a:cubicBezTo>
                  <a:cubicBezTo>
                    <a:pt x="11034" y="99759"/>
                    <a:pt x="16551" y="102650"/>
                    <a:pt x="20689" y="105542"/>
                  </a:cubicBezTo>
                  <a:cubicBezTo>
                    <a:pt x="24827" y="106987"/>
                    <a:pt x="26206" y="106987"/>
                    <a:pt x="26206" y="111325"/>
                  </a:cubicBezTo>
                  <a:cubicBezTo>
                    <a:pt x="26206" y="114216"/>
                    <a:pt x="34482" y="118554"/>
                    <a:pt x="35862" y="119999"/>
                  </a:cubicBezTo>
                  <a:cubicBezTo>
                    <a:pt x="38620" y="115662"/>
                    <a:pt x="40000" y="112771"/>
                    <a:pt x="41379" y="109879"/>
                  </a:cubicBezTo>
                  <a:cubicBezTo>
                    <a:pt x="41379" y="106987"/>
                    <a:pt x="42758" y="104096"/>
                    <a:pt x="45517" y="104096"/>
                  </a:cubicBezTo>
                  <a:cubicBezTo>
                    <a:pt x="46896" y="102650"/>
                    <a:pt x="46896" y="101204"/>
                    <a:pt x="48275" y="99759"/>
                  </a:cubicBezTo>
                  <a:cubicBezTo>
                    <a:pt x="51034" y="98313"/>
                    <a:pt x="52413" y="96867"/>
                    <a:pt x="55172" y="93975"/>
                  </a:cubicBezTo>
                  <a:cubicBezTo>
                    <a:pt x="62068" y="82409"/>
                    <a:pt x="71724" y="76626"/>
                    <a:pt x="81379" y="69397"/>
                  </a:cubicBezTo>
                  <a:cubicBezTo>
                    <a:pt x="93793" y="60722"/>
                    <a:pt x="100689" y="47710"/>
                    <a:pt x="106206" y="34698"/>
                  </a:cubicBezTo>
                  <a:cubicBezTo>
                    <a:pt x="108965" y="28915"/>
                    <a:pt x="113103" y="26024"/>
                    <a:pt x="115862" y="20240"/>
                  </a:cubicBezTo>
                  <a:cubicBezTo>
                    <a:pt x="117241" y="17349"/>
                    <a:pt x="117241" y="13012"/>
                    <a:pt x="118620" y="10120"/>
                  </a:cubicBezTo>
                  <a:cubicBezTo>
                    <a:pt x="118620" y="8674"/>
                    <a:pt x="117241" y="2891"/>
                    <a:pt x="118620" y="1445"/>
                  </a:cubicBezTo>
                  <a:cubicBezTo>
                    <a:pt x="118620" y="1445"/>
                    <a:pt x="118620" y="1445"/>
                    <a:pt x="118620" y="1445"/>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51" name="Shape 2625">
              <a:extLst>
                <a:ext uri="{FF2B5EF4-FFF2-40B4-BE49-F238E27FC236}">
                  <a16:creationId xmlns:a16="http://schemas.microsoft.com/office/drawing/2014/main" id="{8890CE1A-D2F1-2B45-85F5-06424E8780EF}"/>
                </a:ext>
              </a:extLst>
            </p:cNvPr>
            <p:cNvSpPr/>
            <p:nvPr/>
          </p:nvSpPr>
          <p:spPr>
            <a:xfrm>
              <a:off x="13601448" y="8437371"/>
              <a:ext cx="82802" cy="101936"/>
            </a:xfrm>
            <a:custGeom>
              <a:avLst/>
              <a:gdLst/>
              <a:ahLst/>
              <a:cxnLst/>
              <a:rect l="0" t="0" r="0" b="0"/>
              <a:pathLst>
                <a:path w="120000" h="120000" extrusionOk="0">
                  <a:moveTo>
                    <a:pt x="40000" y="21818"/>
                  </a:moveTo>
                  <a:cubicBezTo>
                    <a:pt x="26666" y="32727"/>
                    <a:pt x="13333" y="43636"/>
                    <a:pt x="13333" y="54545"/>
                  </a:cubicBezTo>
                  <a:cubicBezTo>
                    <a:pt x="0" y="54545"/>
                    <a:pt x="0" y="98181"/>
                    <a:pt x="0" y="109090"/>
                  </a:cubicBezTo>
                  <a:cubicBezTo>
                    <a:pt x="26666" y="120000"/>
                    <a:pt x="93333" y="76363"/>
                    <a:pt x="106666" y="76363"/>
                  </a:cubicBezTo>
                  <a:cubicBezTo>
                    <a:pt x="106666" y="65454"/>
                    <a:pt x="66666" y="54545"/>
                    <a:pt x="53333" y="65454"/>
                  </a:cubicBezTo>
                  <a:cubicBezTo>
                    <a:pt x="66666" y="54545"/>
                    <a:pt x="120000" y="43636"/>
                    <a:pt x="106666" y="32727"/>
                  </a:cubicBezTo>
                  <a:cubicBezTo>
                    <a:pt x="93333" y="0"/>
                    <a:pt x="66666" y="0"/>
                    <a:pt x="40000" y="21818"/>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52" name="Shape 2626">
              <a:extLst>
                <a:ext uri="{FF2B5EF4-FFF2-40B4-BE49-F238E27FC236}">
                  <a16:creationId xmlns:a16="http://schemas.microsoft.com/office/drawing/2014/main" id="{1CEC2168-C54E-B946-9031-F95A5968E89A}"/>
                </a:ext>
              </a:extLst>
            </p:cNvPr>
            <p:cNvSpPr/>
            <p:nvPr/>
          </p:nvSpPr>
          <p:spPr>
            <a:xfrm>
              <a:off x="13040939" y="8848306"/>
              <a:ext cx="242034" cy="261214"/>
            </a:xfrm>
            <a:custGeom>
              <a:avLst/>
              <a:gdLst/>
              <a:ahLst/>
              <a:cxnLst/>
              <a:rect l="0" t="0" r="0" b="0"/>
              <a:pathLst>
                <a:path w="120000" h="120000" extrusionOk="0">
                  <a:moveTo>
                    <a:pt x="101538" y="77142"/>
                  </a:moveTo>
                  <a:cubicBezTo>
                    <a:pt x="101538" y="68571"/>
                    <a:pt x="110769" y="64285"/>
                    <a:pt x="115384" y="59999"/>
                  </a:cubicBezTo>
                  <a:cubicBezTo>
                    <a:pt x="120000" y="55714"/>
                    <a:pt x="120000" y="42857"/>
                    <a:pt x="120000" y="34285"/>
                  </a:cubicBezTo>
                  <a:cubicBezTo>
                    <a:pt x="120000" y="25714"/>
                    <a:pt x="110769" y="21428"/>
                    <a:pt x="110769" y="12857"/>
                  </a:cubicBezTo>
                  <a:cubicBezTo>
                    <a:pt x="110769" y="4285"/>
                    <a:pt x="101538" y="4285"/>
                    <a:pt x="96923" y="0"/>
                  </a:cubicBezTo>
                  <a:cubicBezTo>
                    <a:pt x="92307" y="4285"/>
                    <a:pt x="83076" y="0"/>
                    <a:pt x="73846" y="4285"/>
                  </a:cubicBezTo>
                  <a:cubicBezTo>
                    <a:pt x="69230" y="8571"/>
                    <a:pt x="60000" y="17142"/>
                    <a:pt x="55384" y="12857"/>
                  </a:cubicBezTo>
                  <a:cubicBezTo>
                    <a:pt x="46153" y="4285"/>
                    <a:pt x="32307" y="0"/>
                    <a:pt x="27692" y="8571"/>
                  </a:cubicBezTo>
                  <a:cubicBezTo>
                    <a:pt x="23076" y="17142"/>
                    <a:pt x="27692" y="29999"/>
                    <a:pt x="32307" y="34285"/>
                  </a:cubicBezTo>
                  <a:cubicBezTo>
                    <a:pt x="36923" y="42857"/>
                    <a:pt x="32307" y="42857"/>
                    <a:pt x="27692" y="51428"/>
                  </a:cubicBezTo>
                  <a:cubicBezTo>
                    <a:pt x="23076" y="59999"/>
                    <a:pt x="13846" y="64285"/>
                    <a:pt x="9230" y="68571"/>
                  </a:cubicBezTo>
                  <a:cubicBezTo>
                    <a:pt x="4615" y="77142"/>
                    <a:pt x="0" y="81428"/>
                    <a:pt x="0" y="94285"/>
                  </a:cubicBezTo>
                  <a:cubicBezTo>
                    <a:pt x="0" y="98571"/>
                    <a:pt x="4615" y="107142"/>
                    <a:pt x="0" y="115714"/>
                  </a:cubicBezTo>
                  <a:cubicBezTo>
                    <a:pt x="9230" y="119999"/>
                    <a:pt x="9230" y="115714"/>
                    <a:pt x="18461" y="111428"/>
                  </a:cubicBezTo>
                  <a:cubicBezTo>
                    <a:pt x="27692" y="107142"/>
                    <a:pt x="41538" y="107142"/>
                    <a:pt x="50769" y="107142"/>
                  </a:cubicBezTo>
                  <a:cubicBezTo>
                    <a:pt x="46153" y="94285"/>
                    <a:pt x="55384" y="89999"/>
                    <a:pt x="64615" y="85714"/>
                  </a:cubicBezTo>
                  <a:cubicBezTo>
                    <a:pt x="73846" y="81428"/>
                    <a:pt x="92307" y="72857"/>
                    <a:pt x="96923" y="85714"/>
                  </a:cubicBezTo>
                  <a:cubicBezTo>
                    <a:pt x="96923" y="81428"/>
                    <a:pt x="96923" y="77142"/>
                    <a:pt x="101538" y="77142"/>
                  </a:cubicBezTo>
                  <a:cubicBezTo>
                    <a:pt x="101538" y="68571"/>
                    <a:pt x="96923" y="77142"/>
                    <a:pt x="101538" y="77142"/>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53" name="Shape 2627">
              <a:extLst>
                <a:ext uri="{FF2B5EF4-FFF2-40B4-BE49-F238E27FC236}">
                  <a16:creationId xmlns:a16="http://schemas.microsoft.com/office/drawing/2014/main" id="{01F85D29-D221-C146-B225-4DB03E7FE0F8}"/>
                </a:ext>
              </a:extLst>
            </p:cNvPr>
            <p:cNvSpPr/>
            <p:nvPr/>
          </p:nvSpPr>
          <p:spPr>
            <a:xfrm>
              <a:off x="13012274" y="9147745"/>
              <a:ext cx="92356" cy="92380"/>
            </a:xfrm>
            <a:custGeom>
              <a:avLst/>
              <a:gdLst/>
              <a:ahLst/>
              <a:cxnLst/>
              <a:rect l="0" t="0" r="0" b="0"/>
              <a:pathLst>
                <a:path w="120000" h="120000" extrusionOk="0">
                  <a:moveTo>
                    <a:pt x="12000" y="72000"/>
                  </a:moveTo>
                  <a:cubicBezTo>
                    <a:pt x="24000" y="84000"/>
                    <a:pt x="24000" y="108000"/>
                    <a:pt x="36000" y="120000"/>
                  </a:cubicBezTo>
                  <a:cubicBezTo>
                    <a:pt x="60000" y="108000"/>
                    <a:pt x="84000" y="84000"/>
                    <a:pt x="108000" y="60000"/>
                  </a:cubicBezTo>
                  <a:cubicBezTo>
                    <a:pt x="120000" y="36000"/>
                    <a:pt x="60000" y="48000"/>
                    <a:pt x="96000" y="0"/>
                  </a:cubicBezTo>
                  <a:cubicBezTo>
                    <a:pt x="84000" y="0"/>
                    <a:pt x="36000" y="0"/>
                    <a:pt x="48000" y="12000"/>
                  </a:cubicBezTo>
                  <a:cubicBezTo>
                    <a:pt x="60000" y="36000"/>
                    <a:pt x="12000" y="24000"/>
                    <a:pt x="0" y="12000"/>
                  </a:cubicBezTo>
                  <a:cubicBezTo>
                    <a:pt x="0" y="36000"/>
                    <a:pt x="12000" y="48000"/>
                    <a:pt x="12000" y="72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54" name="Shape 2628">
              <a:extLst>
                <a:ext uri="{FF2B5EF4-FFF2-40B4-BE49-F238E27FC236}">
                  <a16:creationId xmlns:a16="http://schemas.microsoft.com/office/drawing/2014/main" id="{E42A3047-7117-D34F-8F7E-AD1E1027E188}"/>
                </a:ext>
              </a:extLst>
            </p:cNvPr>
            <p:cNvSpPr/>
            <p:nvPr/>
          </p:nvSpPr>
          <p:spPr>
            <a:xfrm>
              <a:off x="13012274" y="9090408"/>
              <a:ext cx="101909" cy="86009"/>
            </a:xfrm>
            <a:custGeom>
              <a:avLst/>
              <a:gdLst/>
              <a:ahLst/>
              <a:cxnLst/>
              <a:rect l="0" t="0" r="0" b="0"/>
              <a:pathLst>
                <a:path w="120000" h="120000" extrusionOk="0">
                  <a:moveTo>
                    <a:pt x="32727" y="13333"/>
                  </a:moveTo>
                  <a:cubicBezTo>
                    <a:pt x="10909" y="26666"/>
                    <a:pt x="0" y="66666"/>
                    <a:pt x="0" y="93333"/>
                  </a:cubicBezTo>
                  <a:cubicBezTo>
                    <a:pt x="10909" y="106666"/>
                    <a:pt x="54545" y="120000"/>
                    <a:pt x="43636" y="93333"/>
                  </a:cubicBezTo>
                  <a:cubicBezTo>
                    <a:pt x="32727" y="80000"/>
                    <a:pt x="76363" y="80000"/>
                    <a:pt x="87272" y="80000"/>
                  </a:cubicBezTo>
                  <a:cubicBezTo>
                    <a:pt x="120000" y="66666"/>
                    <a:pt x="87272" y="13333"/>
                    <a:pt x="76363" y="0"/>
                  </a:cubicBezTo>
                  <a:cubicBezTo>
                    <a:pt x="54545" y="13333"/>
                    <a:pt x="54545" y="26666"/>
                    <a:pt x="32727" y="13333"/>
                  </a:cubicBezTo>
                  <a:cubicBezTo>
                    <a:pt x="21818" y="13333"/>
                    <a:pt x="43636" y="13333"/>
                    <a:pt x="32727" y="13333"/>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55" name="Shape 2629">
              <a:extLst>
                <a:ext uri="{FF2B5EF4-FFF2-40B4-BE49-F238E27FC236}">
                  <a16:creationId xmlns:a16="http://schemas.microsoft.com/office/drawing/2014/main" id="{65B15373-DA94-594B-B1B1-86306F3FA94C}"/>
                </a:ext>
              </a:extLst>
            </p:cNvPr>
            <p:cNvSpPr/>
            <p:nvPr/>
          </p:nvSpPr>
          <p:spPr>
            <a:xfrm>
              <a:off x="13031384" y="9061736"/>
              <a:ext cx="503184" cy="544727"/>
            </a:xfrm>
            <a:custGeom>
              <a:avLst/>
              <a:gdLst/>
              <a:ahLst/>
              <a:cxnLst/>
              <a:rect l="0" t="0" r="0" b="0"/>
              <a:pathLst>
                <a:path w="120000" h="120000" extrusionOk="0">
                  <a:moveTo>
                    <a:pt x="91111" y="26896"/>
                  </a:moveTo>
                  <a:cubicBezTo>
                    <a:pt x="77777" y="18620"/>
                    <a:pt x="64444" y="12413"/>
                    <a:pt x="51111" y="6206"/>
                  </a:cubicBezTo>
                  <a:cubicBezTo>
                    <a:pt x="48888" y="10344"/>
                    <a:pt x="42222" y="14482"/>
                    <a:pt x="37777" y="14482"/>
                  </a:cubicBezTo>
                  <a:cubicBezTo>
                    <a:pt x="37777" y="14482"/>
                    <a:pt x="46666" y="16551"/>
                    <a:pt x="46666" y="18620"/>
                  </a:cubicBezTo>
                  <a:cubicBezTo>
                    <a:pt x="44444" y="20689"/>
                    <a:pt x="40000" y="18620"/>
                    <a:pt x="37777" y="18620"/>
                  </a:cubicBezTo>
                  <a:cubicBezTo>
                    <a:pt x="33333" y="16551"/>
                    <a:pt x="33333" y="18620"/>
                    <a:pt x="28888" y="20689"/>
                  </a:cubicBezTo>
                  <a:cubicBezTo>
                    <a:pt x="28888" y="20689"/>
                    <a:pt x="24444" y="18620"/>
                    <a:pt x="24444" y="16551"/>
                  </a:cubicBezTo>
                  <a:cubicBezTo>
                    <a:pt x="22222" y="14482"/>
                    <a:pt x="24444" y="10344"/>
                    <a:pt x="26666" y="8275"/>
                  </a:cubicBezTo>
                  <a:cubicBezTo>
                    <a:pt x="28888" y="0"/>
                    <a:pt x="15555" y="4137"/>
                    <a:pt x="11111" y="6206"/>
                  </a:cubicBezTo>
                  <a:cubicBezTo>
                    <a:pt x="13333" y="8275"/>
                    <a:pt x="17777" y="14482"/>
                    <a:pt x="15555" y="16551"/>
                  </a:cubicBezTo>
                  <a:cubicBezTo>
                    <a:pt x="15555" y="18620"/>
                    <a:pt x="6666" y="24827"/>
                    <a:pt x="11111" y="24827"/>
                  </a:cubicBezTo>
                  <a:cubicBezTo>
                    <a:pt x="17777" y="26896"/>
                    <a:pt x="15555" y="28965"/>
                    <a:pt x="13333" y="33103"/>
                  </a:cubicBezTo>
                  <a:cubicBezTo>
                    <a:pt x="11111" y="33103"/>
                    <a:pt x="6666" y="35172"/>
                    <a:pt x="4444" y="37241"/>
                  </a:cubicBezTo>
                  <a:cubicBezTo>
                    <a:pt x="0" y="39310"/>
                    <a:pt x="2222" y="39310"/>
                    <a:pt x="2222" y="43448"/>
                  </a:cubicBezTo>
                  <a:cubicBezTo>
                    <a:pt x="4444" y="53793"/>
                    <a:pt x="8888" y="60000"/>
                    <a:pt x="11111" y="68275"/>
                  </a:cubicBezTo>
                  <a:cubicBezTo>
                    <a:pt x="11111" y="78620"/>
                    <a:pt x="20000" y="82758"/>
                    <a:pt x="26666" y="86896"/>
                  </a:cubicBezTo>
                  <a:cubicBezTo>
                    <a:pt x="28888" y="88965"/>
                    <a:pt x="31111" y="88965"/>
                    <a:pt x="33333" y="88965"/>
                  </a:cubicBezTo>
                  <a:cubicBezTo>
                    <a:pt x="35555" y="88965"/>
                    <a:pt x="35555" y="91034"/>
                    <a:pt x="37777" y="93103"/>
                  </a:cubicBezTo>
                  <a:cubicBezTo>
                    <a:pt x="42222" y="93103"/>
                    <a:pt x="48888" y="93103"/>
                    <a:pt x="53333" y="97241"/>
                  </a:cubicBezTo>
                  <a:cubicBezTo>
                    <a:pt x="55555" y="99310"/>
                    <a:pt x="55555" y="105517"/>
                    <a:pt x="55555" y="109655"/>
                  </a:cubicBezTo>
                  <a:cubicBezTo>
                    <a:pt x="57777" y="111724"/>
                    <a:pt x="55555" y="113793"/>
                    <a:pt x="60000" y="113793"/>
                  </a:cubicBezTo>
                  <a:cubicBezTo>
                    <a:pt x="62222" y="113793"/>
                    <a:pt x="64444" y="113793"/>
                    <a:pt x="66666" y="113793"/>
                  </a:cubicBezTo>
                  <a:cubicBezTo>
                    <a:pt x="68888" y="113793"/>
                    <a:pt x="71111" y="113793"/>
                    <a:pt x="73333" y="115862"/>
                  </a:cubicBezTo>
                  <a:cubicBezTo>
                    <a:pt x="75555" y="117931"/>
                    <a:pt x="77777" y="115862"/>
                    <a:pt x="80000" y="113793"/>
                  </a:cubicBezTo>
                  <a:cubicBezTo>
                    <a:pt x="84444" y="111724"/>
                    <a:pt x="88888" y="120000"/>
                    <a:pt x="93333" y="113793"/>
                  </a:cubicBezTo>
                  <a:cubicBezTo>
                    <a:pt x="93333" y="109655"/>
                    <a:pt x="100000" y="111724"/>
                    <a:pt x="102222" y="111724"/>
                  </a:cubicBezTo>
                  <a:cubicBezTo>
                    <a:pt x="108888" y="109655"/>
                    <a:pt x="113333" y="105517"/>
                    <a:pt x="120000" y="101379"/>
                  </a:cubicBezTo>
                  <a:cubicBezTo>
                    <a:pt x="108888" y="95172"/>
                    <a:pt x="108888" y="86896"/>
                    <a:pt x="108888" y="74482"/>
                  </a:cubicBezTo>
                  <a:cubicBezTo>
                    <a:pt x="106666" y="72413"/>
                    <a:pt x="111111" y="68275"/>
                    <a:pt x="108888" y="66206"/>
                  </a:cubicBezTo>
                  <a:cubicBezTo>
                    <a:pt x="106666" y="64137"/>
                    <a:pt x="102222" y="62068"/>
                    <a:pt x="102222" y="57931"/>
                  </a:cubicBezTo>
                  <a:cubicBezTo>
                    <a:pt x="102222" y="55862"/>
                    <a:pt x="106666" y="41379"/>
                    <a:pt x="106666" y="41379"/>
                  </a:cubicBezTo>
                  <a:cubicBezTo>
                    <a:pt x="104444" y="41379"/>
                    <a:pt x="102222" y="39310"/>
                    <a:pt x="100000" y="37241"/>
                  </a:cubicBezTo>
                  <a:cubicBezTo>
                    <a:pt x="97777" y="35172"/>
                    <a:pt x="95555" y="35172"/>
                    <a:pt x="91111" y="33103"/>
                  </a:cubicBezTo>
                  <a:cubicBezTo>
                    <a:pt x="91111" y="31034"/>
                    <a:pt x="91111" y="28965"/>
                    <a:pt x="91111" y="26896"/>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56" name="Shape 2630">
              <a:extLst>
                <a:ext uri="{FF2B5EF4-FFF2-40B4-BE49-F238E27FC236}">
                  <a16:creationId xmlns:a16="http://schemas.microsoft.com/office/drawing/2014/main" id="{E9D8F85A-A95F-CB4B-894F-0E42A5D9AECD}"/>
                </a:ext>
              </a:extLst>
            </p:cNvPr>
            <p:cNvSpPr/>
            <p:nvPr/>
          </p:nvSpPr>
          <p:spPr>
            <a:xfrm>
              <a:off x="12117371" y="8931129"/>
              <a:ext cx="251592" cy="289887"/>
            </a:xfrm>
            <a:custGeom>
              <a:avLst/>
              <a:gdLst/>
              <a:ahLst/>
              <a:cxnLst/>
              <a:rect l="0" t="0" r="0" b="0"/>
              <a:pathLst>
                <a:path w="120000" h="120000" extrusionOk="0">
                  <a:moveTo>
                    <a:pt x="66666" y="112258"/>
                  </a:moveTo>
                  <a:cubicBezTo>
                    <a:pt x="66666" y="108387"/>
                    <a:pt x="57777" y="92903"/>
                    <a:pt x="66666" y="92903"/>
                  </a:cubicBezTo>
                  <a:cubicBezTo>
                    <a:pt x="66666" y="92903"/>
                    <a:pt x="75555" y="92903"/>
                    <a:pt x="75555" y="92903"/>
                  </a:cubicBezTo>
                  <a:cubicBezTo>
                    <a:pt x="80000" y="89032"/>
                    <a:pt x="80000" y="81290"/>
                    <a:pt x="84444" y="81290"/>
                  </a:cubicBezTo>
                  <a:cubicBezTo>
                    <a:pt x="88888" y="85161"/>
                    <a:pt x="93333" y="89032"/>
                    <a:pt x="93333" y="92903"/>
                  </a:cubicBezTo>
                  <a:cubicBezTo>
                    <a:pt x="97777" y="96774"/>
                    <a:pt x="97777" y="89032"/>
                    <a:pt x="106666" y="89032"/>
                  </a:cubicBezTo>
                  <a:cubicBezTo>
                    <a:pt x="106666" y="89032"/>
                    <a:pt x="115555" y="96774"/>
                    <a:pt x="115555" y="92903"/>
                  </a:cubicBezTo>
                  <a:cubicBezTo>
                    <a:pt x="115555" y="89032"/>
                    <a:pt x="115555" y="85161"/>
                    <a:pt x="115555" y="81290"/>
                  </a:cubicBezTo>
                  <a:cubicBezTo>
                    <a:pt x="120000" y="73548"/>
                    <a:pt x="120000" y="61935"/>
                    <a:pt x="115555" y="54193"/>
                  </a:cubicBezTo>
                  <a:cubicBezTo>
                    <a:pt x="111111" y="50322"/>
                    <a:pt x="111111" y="46451"/>
                    <a:pt x="111111" y="42580"/>
                  </a:cubicBezTo>
                  <a:cubicBezTo>
                    <a:pt x="111111" y="34838"/>
                    <a:pt x="120000" y="30967"/>
                    <a:pt x="115555" y="23225"/>
                  </a:cubicBezTo>
                  <a:cubicBezTo>
                    <a:pt x="111111" y="11612"/>
                    <a:pt x="93333" y="27096"/>
                    <a:pt x="93333" y="15483"/>
                  </a:cubicBezTo>
                  <a:cubicBezTo>
                    <a:pt x="93333" y="7741"/>
                    <a:pt x="97777" y="0"/>
                    <a:pt x="84444" y="0"/>
                  </a:cubicBezTo>
                  <a:cubicBezTo>
                    <a:pt x="80000" y="0"/>
                    <a:pt x="71111" y="0"/>
                    <a:pt x="62222" y="0"/>
                  </a:cubicBezTo>
                  <a:cubicBezTo>
                    <a:pt x="44444" y="0"/>
                    <a:pt x="66666" y="27096"/>
                    <a:pt x="48888" y="27096"/>
                  </a:cubicBezTo>
                  <a:cubicBezTo>
                    <a:pt x="40000" y="27096"/>
                    <a:pt x="31111" y="27096"/>
                    <a:pt x="22222" y="27096"/>
                  </a:cubicBezTo>
                  <a:cubicBezTo>
                    <a:pt x="17777" y="27096"/>
                    <a:pt x="17777" y="27096"/>
                    <a:pt x="17777" y="27096"/>
                  </a:cubicBezTo>
                  <a:cubicBezTo>
                    <a:pt x="8888" y="34838"/>
                    <a:pt x="17777" y="34838"/>
                    <a:pt x="17777" y="38709"/>
                  </a:cubicBezTo>
                  <a:cubicBezTo>
                    <a:pt x="17777" y="46451"/>
                    <a:pt x="0" y="54193"/>
                    <a:pt x="0" y="61935"/>
                  </a:cubicBezTo>
                  <a:cubicBezTo>
                    <a:pt x="4444" y="69677"/>
                    <a:pt x="13333" y="81290"/>
                    <a:pt x="17777" y="89032"/>
                  </a:cubicBezTo>
                  <a:cubicBezTo>
                    <a:pt x="26666" y="92903"/>
                    <a:pt x="31111" y="100645"/>
                    <a:pt x="40000" y="108387"/>
                  </a:cubicBezTo>
                  <a:cubicBezTo>
                    <a:pt x="44444" y="112258"/>
                    <a:pt x="48888" y="116129"/>
                    <a:pt x="48888" y="120000"/>
                  </a:cubicBezTo>
                  <a:cubicBezTo>
                    <a:pt x="53333" y="116129"/>
                    <a:pt x="62222" y="116129"/>
                    <a:pt x="66666" y="112258"/>
                  </a:cubicBezTo>
                  <a:cubicBezTo>
                    <a:pt x="66666" y="112258"/>
                    <a:pt x="62222" y="116129"/>
                    <a:pt x="66666" y="112258"/>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57" name="Shape 2631">
              <a:extLst>
                <a:ext uri="{FF2B5EF4-FFF2-40B4-BE49-F238E27FC236}">
                  <a16:creationId xmlns:a16="http://schemas.microsoft.com/office/drawing/2014/main" id="{A7E481A3-E82A-3142-B20E-0DA9513295E3}"/>
                </a:ext>
              </a:extLst>
            </p:cNvPr>
            <p:cNvSpPr/>
            <p:nvPr/>
          </p:nvSpPr>
          <p:spPr>
            <a:xfrm>
              <a:off x="12133293" y="8931129"/>
              <a:ext cx="105096" cy="66896"/>
            </a:xfrm>
            <a:custGeom>
              <a:avLst/>
              <a:gdLst/>
              <a:ahLst/>
              <a:cxnLst/>
              <a:rect l="0" t="0" r="0" b="0"/>
              <a:pathLst>
                <a:path w="120000" h="120000" extrusionOk="0">
                  <a:moveTo>
                    <a:pt x="120000" y="119999"/>
                  </a:moveTo>
                  <a:cubicBezTo>
                    <a:pt x="120000" y="85714"/>
                    <a:pt x="120000" y="34285"/>
                    <a:pt x="120000" y="0"/>
                  </a:cubicBezTo>
                  <a:cubicBezTo>
                    <a:pt x="87272" y="0"/>
                    <a:pt x="65454" y="17142"/>
                    <a:pt x="32727" y="17142"/>
                  </a:cubicBezTo>
                  <a:cubicBezTo>
                    <a:pt x="43636" y="34285"/>
                    <a:pt x="10909" y="51428"/>
                    <a:pt x="0" y="68571"/>
                  </a:cubicBezTo>
                  <a:cubicBezTo>
                    <a:pt x="0" y="85714"/>
                    <a:pt x="21818" y="102857"/>
                    <a:pt x="21818" y="119999"/>
                  </a:cubicBezTo>
                  <a:lnTo>
                    <a:pt x="120000" y="119999"/>
                  </a:ln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58" name="Shape 2632">
              <a:extLst>
                <a:ext uri="{FF2B5EF4-FFF2-40B4-BE49-F238E27FC236}">
                  <a16:creationId xmlns:a16="http://schemas.microsoft.com/office/drawing/2014/main" id="{1F27702C-8BD7-2349-B347-D2F352CABAC1}"/>
                </a:ext>
              </a:extLst>
            </p:cNvPr>
            <p:cNvSpPr/>
            <p:nvPr/>
          </p:nvSpPr>
          <p:spPr>
            <a:xfrm>
              <a:off x="12098261" y="8427813"/>
              <a:ext cx="343950" cy="531985"/>
            </a:xfrm>
            <a:custGeom>
              <a:avLst/>
              <a:gdLst/>
              <a:ahLst/>
              <a:cxnLst/>
              <a:rect l="0" t="0" r="0" b="0"/>
              <a:pathLst>
                <a:path w="120000" h="120000" extrusionOk="0">
                  <a:moveTo>
                    <a:pt x="94054" y="115789"/>
                  </a:moveTo>
                  <a:cubicBezTo>
                    <a:pt x="103783" y="115789"/>
                    <a:pt x="113513" y="119999"/>
                    <a:pt x="120000" y="115789"/>
                  </a:cubicBezTo>
                  <a:cubicBezTo>
                    <a:pt x="120000" y="107368"/>
                    <a:pt x="113513" y="105263"/>
                    <a:pt x="107027" y="101052"/>
                  </a:cubicBezTo>
                  <a:cubicBezTo>
                    <a:pt x="103783" y="98947"/>
                    <a:pt x="103783" y="96842"/>
                    <a:pt x="103783" y="92631"/>
                  </a:cubicBezTo>
                  <a:cubicBezTo>
                    <a:pt x="100540" y="90526"/>
                    <a:pt x="97297" y="88421"/>
                    <a:pt x="97297" y="84210"/>
                  </a:cubicBezTo>
                  <a:cubicBezTo>
                    <a:pt x="94054" y="75789"/>
                    <a:pt x="100540" y="73684"/>
                    <a:pt x="103783" y="67368"/>
                  </a:cubicBezTo>
                  <a:cubicBezTo>
                    <a:pt x="107027" y="63157"/>
                    <a:pt x="110270" y="61052"/>
                    <a:pt x="110270" y="56842"/>
                  </a:cubicBezTo>
                  <a:cubicBezTo>
                    <a:pt x="107027" y="52631"/>
                    <a:pt x="107027" y="48421"/>
                    <a:pt x="100540" y="44210"/>
                  </a:cubicBezTo>
                  <a:cubicBezTo>
                    <a:pt x="100540" y="44210"/>
                    <a:pt x="84324" y="37894"/>
                    <a:pt x="90810" y="33684"/>
                  </a:cubicBezTo>
                  <a:cubicBezTo>
                    <a:pt x="94054" y="31578"/>
                    <a:pt x="103783" y="33684"/>
                    <a:pt x="110270" y="33684"/>
                  </a:cubicBezTo>
                  <a:cubicBezTo>
                    <a:pt x="103783" y="25263"/>
                    <a:pt x="103783" y="21052"/>
                    <a:pt x="103783" y="12631"/>
                  </a:cubicBezTo>
                  <a:cubicBezTo>
                    <a:pt x="103783" y="10526"/>
                    <a:pt x="103783" y="6315"/>
                    <a:pt x="97297" y="4210"/>
                  </a:cubicBezTo>
                  <a:cubicBezTo>
                    <a:pt x="97297" y="2105"/>
                    <a:pt x="87567" y="0"/>
                    <a:pt x="87567" y="0"/>
                  </a:cubicBezTo>
                  <a:cubicBezTo>
                    <a:pt x="87567" y="4210"/>
                    <a:pt x="107027" y="14736"/>
                    <a:pt x="90810" y="18947"/>
                  </a:cubicBezTo>
                  <a:cubicBezTo>
                    <a:pt x="81081" y="23157"/>
                    <a:pt x="77837" y="29473"/>
                    <a:pt x="74594" y="37894"/>
                  </a:cubicBezTo>
                  <a:cubicBezTo>
                    <a:pt x="71351" y="40000"/>
                    <a:pt x="71351" y="46315"/>
                    <a:pt x="68108" y="46315"/>
                  </a:cubicBezTo>
                  <a:cubicBezTo>
                    <a:pt x="61621" y="48421"/>
                    <a:pt x="61621" y="52631"/>
                    <a:pt x="58378" y="56842"/>
                  </a:cubicBezTo>
                  <a:cubicBezTo>
                    <a:pt x="55135" y="61052"/>
                    <a:pt x="51891" y="65263"/>
                    <a:pt x="48648" y="69473"/>
                  </a:cubicBezTo>
                  <a:cubicBezTo>
                    <a:pt x="42162" y="73684"/>
                    <a:pt x="38918" y="65263"/>
                    <a:pt x="35675" y="65263"/>
                  </a:cubicBezTo>
                  <a:cubicBezTo>
                    <a:pt x="19459" y="65263"/>
                    <a:pt x="9729" y="73684"/>
                    <a:pt x="6486" y="82105"/>
                  </a:cubicBezTo>
                  <a:cubicBezTo>
                    <a:pt x="6486" y="84210"/>
                    <a:pt x="0" y="86315"/>
                    <a:pt x="3243" y="88421"/>
                  </a:cubicBezTo>
                  <a:cubicBezTo>
                    <a:pt x="6486" y="90526"/>
                    <a:pt x="9729" y="92631"/>
                    <a:pt x="12972" y="94736"/>
                  </a:cubicBezTo>
                  <a:cubicBezTo>
                    <a:pt x="12972" y="96842"/>
                    <a:pt x="16216" y="92631"/>
                    <a:pt x="16216" y="94736"/>
                  </a:cubicBezTo>
                  <a:cubicBezTo>
                    <a:pt x="19459" y="96842"/>
                    <a:pt x="22702" y="98947"/>
                    <a:pt x="22702" y="101052"/>
                  </a:cubicBezTo>
                  <a:cubicBezTo>
                    <a:pt x="25945" y="105263"/>
                    <a:pt x="22702" y="111578"/>
                    <a:pt x="22702" y="115789"/>
                  </a:cubicBezTo>
                  <a:cubicBezTo>
                    <a:pt x="32432" y="113684"/>
                    <a:pt x="42162" y="113684"/>
                    <a:pt x="51891" y="113684"/>
                  </a:cubicBezTo>
                  <a:cubicBezTo>
                    <a:pt x="64864" y="113684"/>
                    <a:pt x="81081" y="115789"/>
                    <a:pt x="94054" y="115789"/>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59" name="Shape 2633">
              <a:extLst>
                <a:ext uri="{FF2B5EF4-FFF2-40B4-BE49-F238E27FC236}">
                  <a16:creationId xmlns:a16="http://schemas.microsoft.com/office/drawing/2014/main" id="{92339C99-661A-434E-8882-8006C22CE5B2}"/>
                </a:ext>
              </a:extLst>
            </p:cNvPr>
            <p:cNvSpPr/>
            <p:nvPr/>
          </p:nvSpPr>
          <p:spPr>
            <a:xfrm>
              <a:off x="11732022" y="8453298"/>
              <a:ext cx="140126" cy="289887"/>
            </a:xfrm>
            <a:custGeom>
              <a:avLst/>
              <a:gdLst/>
              <a:ahLst/>
              <a:cxnLst/>
              <a:rect l="0" t="0" r="0" b="0"/>
              <a:pathLst>
                <a:path w="120000" h="120000" extrusionOk="0">
                  <a:moveTo>
                    <a:pt x="88000" y="0"/>
                  </a:moveTo>
                  <a:cubicBezTo>
                    <a:pt x="72000" y="7741"/>
                    <a:pt x="80000" y="7741"/>
                    <a:pt x="72000" y="15483"/>
                  </a:cubicBezTo>
                  <a:cubicBezTo>
                    <a:pt x="64000" y="23225"/>
                    <a:pt x="48000" y="19354"/>
                    <a:pt x="32000" y="19354"/>
                  </a:cubicBezTo>
                  <a:cubicBezTo>
                    <a:pt x="32000" y="19354"/>
                    <a:pt x="16000" y="27096"/>
                    <a:pt x="8000" y="30967"/>
                  </a:cubicBezTo>
                  <a:cubicBezTo>
                    <a:pt x="0" y="34838"/>
                    <a:pt x="16000" y="42580"/>
                    <a:pt x="24000" y="50322"/>
                  </a:cubicBezTo>
                  <a:cubicBezTo>
                    <a:pt x="56000" y="69677"/>
                    <a:pt x="32000" y="96774"/>
                    <a:pt x="48000" y="120000"/>
                  </a:cubicBezTo>
                  <a:cubicBezTo>
                    <a:pt x="56000" y="120000"/>
                    <a:pt x="72000" y="120000"/>
                    <a:pt x="88000" y="116129"/>
                  </a:cubicBezTo>
                  <a:cubicBezTo>
                    <a:pt x="96000" y="116129"/>
                    <a:pt x="96000" y="112258"/>
                    <a:pt x="88000" y="104516"/>
                  </a:cubicBezTo>
                  <a:cubicBezTo>
                    <a:pt x="88000" y="92903"/>
                    <a:pt x="88000" y="81290"/>
                    <a:pt x="88000" y="69677"/>
                  </a:cubicBezTo>
                  <a:cubicBezTo>
                    <a:pt x="88000" y="54193"/>
                    <a:pt x="112000" y="46451"/>
                    <a:pt x="120000" y="34838"/>
                  </a:cubicBezTo>
                  <a:cubicBezTo>
                    <a:pt x="120000" y="23225"/>
                    <a:pt x="120000" y="19354"/>
                    <a:pt x="112000" y="11612"/>
                  </a:cubicBezTo>
                  <a:cubicBezTo>
                    <a:pt x="112000" y="11612"/>
                    <a:pt x="88000" y="0"/>
                    <a:pt x="88000" y="0"/>
                  </a:cubicBezTo>
                  <a:cubicBezTo>
                    <a:pt x="80000" y="3870"/>
                    <a:pt x="88000" y="0"/>
                    <a:pt x="88000" y="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60" name="Shape 2634">
              <a:extLst>
                <a:ext uri="{FF2B5EF4-FFF2-40B4-BE49-F238E27FC236}">
                  <a16:creationId xmlns:a16="http://schemas.microsoft.com/office/drawing/2014/main" id="{B93226A9-20F9-A843-A108-22C1591D2E94}"/>
                </a:ext>
              </a:extLst>
            </p:cNvPr>
            <p:cNvSpPr/>
            <p:nvPr/>
          </p:nvSpPr>
          <p:spPr>
            <a:xfrm>
              <a:off x="11827563" y="8380028"/>
              <a:ext cx="550954" cy="477832"/>
            </a:xfrm>
            <a:custGeom>
              <a:avLst/>
              <a:gdLst/>
              <a:ahLst/>
              <a:cxnLst/>
              <a:rect l="0" t="0" r="0" b="0"/>
              <a:pathLst>
                <a:path w="120000" h="120000" extrusionOk="0">
                  <a:moveTo>
                    <a:pt x="63050" y="98823"/>
                  </a:moveTo>
                  <a:cubicBezTo>
                    <a:pt x="65084" y="94117"/>
                    <a:pt x="71186" y="87058"/>
                    <a:pt x="75254" y="87058"/>
                  </a:cubicBezTo>
                  <a:cubicBezTo>
                    <a:pt x="77288" y="84705"/>
                    <a:pt x="81355" y="84705"/>
                    <a:pt x="81355" y="84705"/>
                  </a:cubicBezTo>
                  <a:cubicBezTo>
                    <a:pt x="83389" y="87058"/>
                    <a:pt x="85423" y="91764"/>
                    <a:pt x="87457" y="89411"/>
                  </a:cubicBezTo>
                  <a:cubicBezTo>
                    <a:pt x="91525" y="87058"/>
                    <a:pt x="93559" y="80000"/>
                    <a:pt x="95593" y="75294"/>
                  </a:cubicBezTo>
                  <a:cubicBezTo>
                    <a:pt x="95593" y="72941"/>
                    <a:pt x="97627" y="68235"/>
                    <a:pt x="97627" y="65882"/>
                  </a:cubicBezTo>
                  <a:cubicBezTo>
                    <a:pt x="99661" y="63529"/>
                    <a:pt x="101694" y="65882"/>
                    <a:pt x="103728" y="63529"/>
                  </a:cubicBezTo>
                  <a:cubicBezTo>
                    <a:pt x="103728" y="58823"/>
                    <a:pt x="107796" y="32941"/>
                    <a:pt x="113898" y="32941"/>
                  </a:cubicBezTo>
                  <a:cubicBezTo>
                    <a:pt x="117966" y="32941"/>
                    <a:pt x="120000" y="28235"/>
                    <a:pt x="120000" y="25882"/>
                  </a:cubicBezTo>
                  <a:cubicBezTo>
                    <a:pt x="120000" y="21176"/>
                    <a:pt x="115932" y="21176"/>
                    <a:pt x="115932" y="18823"/>
                  </a:cubicBezTo>
                  <a:cubicBezTo>
                    <a:pt x="115932" y="16470"/>
                    <a:pt x="113898" y="16470"/>
                    <a:pt x="113898" y="14117"/>
                  </a:cubicBezTo>
                  <a:cubicBezTo>
                    <a:pt x="111864" y="9411"/>
                    <a:pt x="111864" y="7058"/>
                    <a:pt x="109830" y="2352"/>
                  </a:cubicBezTo>
                  <a:cubicBezTo>
                    <a:pt x="107796" y="4705"/>
                    <a:pt x="101694" y="11764"/>
                    <a:pt x="97627" y="11764"/>
                  </a:cubicBezTo>
                  <a:cubicBezTo>
                    <a:pt x="91525" y="9411"/>
                    <a:pt x="87457" y="9411"/>
                    <a:pt x="81355" y="9411"/>
                  </a:cubicBezTo>
                  <a:cubicBezTo>
                    <a:pt x="75254" y="9411"/>
                    <a:pt x="71186" y="14117"/>
                    <a:pt x="65084" y="14117"/>
                  </a:cubicBezTo>
                  <a:cubicBezTo>
                    <a:pt x="61016" y="14117"/>
                    <a:pt x="56949" y="7058"/>
                    <a:pt x="52881" y="9411"/>
                  </a:cubicBezTo>
                  <a:cubicBezTo>
                    <a:pt x="44745" y="14117"/>
                    <a:pt x="42711" y="11764"/>
                    <a:pt x="38644" y="7058"/>
                  </a:cubicBezTo>
                  <a:cubicBezTo>
                    <a:pt x="36610" y="4705"/>
                    <a:pt x="30508" y="0"/>
                    <a:pt x="26440" y="2352"/>
                  </a:cubicBezTo>
                  <a:cubicBezTo>
                    <a:pt x="24406" y="2352"/>
                    <a:pt x="18305" y="4705"/>
                    <a:pt x="16271" y="7058"/>
                  </a:cubicBezTo>
                  <a:cubicBezTo>
                    <a:pt x="14237" y="9411"/>
                    <a:pt x="16271" y="11764"/>
                    <a:pt x="14237" y="14117"/>
                  </a:cubicBezTo>
                  <a:cubicBezTo>
                    <a:pt x="14237" y="16470"/>
                    <a:pt x="12203" y="21176"/>
                    <a:pt x="12203" y="23529"/>
                  </a:cubicBezTo>
                  <a:cubicBezTo>
                    <a:pt x="10169" y="28235"/>
                    <a:pt x="10169" y="32941"/>
                    <a:pt x="10169" y="37647"/>
                  </a:cubicBezTo>
                  <a:cubicBezTo>
                    <a:pt x="10169" y="44705"/>
                    <a:pt x="4067" y="49411"/>
                    <a:pt x="2033" y="56470"/>
                  </a:cubicBezTo>
                  <a:cubicBezTo>
                    <a:pt x="0" y="63529"/>
                    <a:pt x="2033" y="80000"/>
                    <a:pt x="4067" y="89411"/>
                  </a:cubicBezTo>
                  <a:cubicBezTo>
                    <a:pt x="4067" y="91764"/>
                    <a:pt x="8135" y="89411"/>
                    <a:pt x="10169" y="89411"/>
                  </a:cubicBezTo>
                  <a:cubicBezTo>
                    <a:pt x="12203" y="89411"/>
                    <a:pt x="16271" y="91764"/>
                    <a:pt x="18305" y="91764"/>
                  </a:cubicBezTo>
                  <a:cubicBezTo>
                    <a:pt x="20338" y="94117"/>
                    <a:pt x="28474" y="98823"/>
                    <a:pt x="28474" y="101176"/>
                  </a:cubicBezTo>
                  <a:cubicBezTo>
                    <a:pt x="28474" y="103529"/>
                    <a:pt x="28474" y="103529"/>
                    <a:pt x="28474" y="105882"/>
                  </a:cubicBezTo>
                  <a:cubicBezTo>
                    <a:pt x="28474" y="108235"/>
                    <a:pt x="30508" y="110588"/>
                    <a:pt x="32542" y="112941"/>
                  </a:cubicBezTo>
                  <a:cubicBezTo>
                    <a:pt x="36610" y="120000"/>
                    <a:pt x="42711" y="108235"/>
                    <a:pt x="46779" y="110588"/>
                  </a:cubicBezTo>
                  <a:cubicBezTo>
                    <a:pt x="46779" y="110588"/>
                    <a:pt x="44745" y="112941"/>
                    <a:pt x="44745" y="112941"/>
                  </a:cubicBezTo>
                  <a:cubicBezTo>
                    <a:pt x="44745" y="110588"/>
                    <a:pt x="54915" y="110588"/>
                    <a:pt x="54915" y="110588"/>
                  </a:cubicBezTo>
                  <a:cubicBezTo>
                    <a:pt x="58983" y="110588"/>
                    <a:pt x="58983" y="105882"/>
                    <a:pt x="61016" y="110588"/>
                  </a:cubicBezTo>
                  <a:cubicBezTo>
                    <a:pt x="63050" y="105882"/>
                    <a:pt x="63050" y="103529"/>
                    <a:pt x="63050" y="98823"/>
                  </a:cubicBezTo>
                  <a:cubicBezTo>
                    <a:pt x="65084" y="96470"/>
                    <a:pt x="63050" y="101176"/>
                    <a:pt x="63050" y="98823"/>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61" name="Shape 2635">
              <a:extLst>
                <a:ext uri="{FF2B5EF4-FFF2-40B4-BE49-F238E27FC236}">
                  <a16:creationId xmlns:a16="http://schemas.microsoft.com/office/drawing/2014/main" id="{875DA21F-DEAA-F144-BEBB-AC4A95044B96}"/>
                </a:ext>
              </a:extLst>
            </p:cNvPr>
            <p:cNvSpPr/>
            <p:nvPr/>
          </p:nvSpPr>
          <p:spPr>
            <a:xfrm>
              <a:off x="11432658" y="8322686"/>
              <a:ext cx="394903" cy="280327"/>
            </a:xfrm>
            <a:custGeom>
              <a:avLst/>
              <a:gdLst/>
              <a:ahLst/>
              <a:cxnLst/>
              <a:rect l="0" t="0" r="0" b="0"/>
              <a:pathLst>
                <a:path w="120000" h="120000" extrusionOk="0">
                  <a:moveTo>
                    <a:pt x="100000" y="80000"/>
                  </a:moveTo>
                  <a:cubicBezTo>
                    <a:pt x="105714" y="68000"/>
                    <a:pt x="114285" y="80000"/>
                    <a:pt x="117142" y="68000"/>
                  </a:cubicBezTo>
                  <a:cubicBezTo>
                    <a:pt x="120000" y="64000"/>
                    <a:pt x="111428" y="52000"/>
                    <a:pt x="108571" y="52000"/>
                  </a:cubicBezTo>
                  <a:cubicBezTo>
                    <a:pt x="105714" y="60000"/>
                    <a:pt x="97142" y="44000"/>
                    <a:pt x="94285" y="40000"/>
                  </a:cubicBezTo>
                  <a:cubicBezTo>
                    <a:pt x="94285" y="36000"/>
                    <a:pt x="94285" y="32000"/>
                    <a:pt x="91428" y="28000"/>
                  </a:cubicBezTo>
                  <a:cubicBezTo>
                    <a:pt x="85714" y="20000"/>
                    <a:pt x="85714" y="16000"/>
                    <a:pt x="85714" y="4000"/>
                  </a:cubicBezTo>
                  <a:cubicBezTo>
                    <a:pt x="82857" y="4000"/>
                    <a:pt x="77142" y="0"/>
                    <a:pt x="74285" y="0"/>
                  </a:cubicBezTo>
                  <a:cubicBezTo>
                    <a:pt x="68571" y="4000"/>
                    <a:pt x="65714" y="8000"/>
                    <a:pt x="62857" y="8000"/>
                  </a:cubicBezTo>
                  <a:cubicBezTo>
                    <a:pt x="60000" y="12000"/>
                    <a:pt x="57142" y="16000"/>
                    <a:pt x="54285" y="16000"/>
                  </a:cubicBezTo>
                  <a:cubicBezTo>
                    <a:pt x="51428" y="24000"/>
                    <a:pt x="51428" y="16000"/>
                    <a:pt x="48571" y="20000"/>
                  </a:cubicBezTo>
                  <a:cubicBezTo>
                    <a:pt x="42857" y="24000"/>
                    <a:pt x="37142" y="44000"/>
                    <a:pt x="31428" y="40000"/>
                  </a:cubicBezTo>
                  <a:cubicBezTo>
                    <a:pt x="28571" y="40000"/>
                    <a:pt x="25714" y="32000"/>
                    <a:pt x="25714" y="40000"/>
                  </a:cubicBezTo>
                  <a:cubicBezTo>
                    <a:pt x="22857" y="44000"/>
                    <a:pt x="22857" y="52000"/>
                    <a:pt x="20000" y="56000"/>
                  </a:cubicBezTo>
                  <a:cubicBezTo>
                    <a:pt x="20000" y="60000"/>
                    <a:pt x="20000" y="64000"/>
                    <a:pt x="14285" y="64000"/>
                  </a:cubicBezTo>
                  <a:cubicBezTo>
                    <a:pt x="14285" y="64000"/>
                    <a:pt x="2857" y="68000"/>
                    <a:pt x="5714" y="72000"/>
                  </a:cubicBezTo>
                  <a:cubicBezTo>
                    <a:pt x="14285" y="80000"/>
                    <a:pt x="0" y="92000"/>
                    <a:pt x="2857" y="96000"/>
                  </a:cubicBezTo>
                  <a:cubicBezTo>
                    <a:pt x="8571" y="100000"/>
                    <a:pt x="14285" y="120000"/>
                    <a:pt x="22857" y="112000"/>
                  </a:cubicBezTo>
                  <a:cubicBezTo>
                    <a:pt x="31428" y="104000"/>
                    <a:pt x="37142" y="108000"/>
                    <a:pt x="45714" y="120000"/>
                  </a:cubicBezTo>
                  <a:cubicBezTo>
                    <a:pt x="42857" y="108000"/>
                    <a:pt x="42857" y="96000"/>
                    <a:pt x="42857" y="88000"/>
                  </a:cubicBezTo>
                  <a:cubicBezTo>
                    <a:pt x="54285" y="88000"/>
                    <a:pt x="62857" y="88000"/>
                    <a:pt x="74285" y="88000"/>
                  </a:cubicBezTo>
                  <a:cubicBezTo>
                    <a:pt x="82857" y="88000"/>
                    <a:pt x="97142" y="92000"/>
                    <a:pt x="100000" y="80000"/>
                  </a:cubicBezTo>
                  <a:cubicBezTo>
                    <a:pt x="102857" y="72000"/>
                    <a:pt x="100000" y="80000"/>
                    <a:pt x="100000" y="8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62" name="Shape 2636">
              <a:extLst>
                <a:ext uri="{FF2B5EF4-FFF2-40B4-BE49-F238E27FC236}">
                  <a16:creationId xmlns:a16="http://schemas.microsoft.com/office/drawing/2014/main" id="{BB834277-F8C9-3248-B30C-32BB0D50F714}"/>
                </a:ext>
              </a:extLst>
            </p:cNvPr>
            <p:cNvSpPr/>
            <p:nvPr/>
          </p:nvSpPr>
          <p:spPr>
            <a:xfrm>
              <a:off x="11696990" y="8529749"/>
              <a:ext cx="92356" cy="222989"/>
            </a:xfrm>
            <a:custGeom>
              <a:avLst/>
              <a:gdLst/>
              <a:ahLst/>
              <a:cxnLst/>
              <a:rect l="0" t="0" r="0" b="0"/>
              <a:pathLst>
                <a:path w="120000" h="120000" extrusionOk="0">
                  <a:moveTo>
                    <a:pt x="108000" y="50000"/>
                  </a:moveTo>
                  <a:cubicBezTo>
                    <a:pt x="108000" y="45000"/>
                    <a:pt x="108000" y="35000"/>
                    <a:pt x="96000" y="30000"/>
                  </a:cubicBezTo>
                  <a:cubicBezTo>
                    <a:pt x="84000" y="25000"/>
                    <a:pt x="48000" y="5000"/>
                    <a:pt x="60000" y="0"/>
                  </a:cubicBezTo>
                  <a:cubicBezTo>
                    <a:pt x="48000" y="0"/>
                    <a:pt x="36000" y="0"/>
                    <a:pt x="24000" y="0"/>
                  </a:cubicBezTo>
                  <a:cubicBezTo>
                    <a:pt x="0" y="0"/>
                    <a:pt x="24000" y="10000"/>
                    <a:pt x="24000" y="15000"/>
                  </a:cubicBezTo>
                  <a:cubicBezTo>
                    <a:pt x="36000" y="25000"/>
                    <a:pt x="24000" y="35000"/>
                    <a:pt x="24000" y="45000"/>
                  </a:cubicBezTo>
                  <a:cubicBezTo>
                    <a:pt x="12000" y="60000"/>
                    <a:pt x="36000" y="60000"/>
                    <a:pt x="48000" y="75000"/>
                  </a:cubicBezTo>
                  <a:cubicBezTo>
                    <a:pt x="48000" y="85000"/>
                    <a:pt x="36000" y="95000"/>
                    <a:pt x="48000" y="105000"/>
                  </a:cubicBezTo>
                  <a:cubicBezTo>
                    <a:pt x="48000" y="110000"/>
                    <a:pt x="60000" y="115000"/>
                    <a:pt x="72000" y="115000"/>
                  </a:cubicBezTo>
                  <a:cubicBezTo>
                    <a:pt x="84000" y="120000"/>
                    <a:pt x="120000" y="120000"/>
                    <a:pt x="108000" y="115000"/>
                  </a:cubicBezTo>
                  <a:cubicBezTo>
                    <a:pt x="108000" y="95000"/>
                    <a:pt x="108000" y="75000"/>
                    <a:pt x="108000" y="50000"/>
                  </a:cubicBezTo>
                  <a:cubicBezTo>
                    <a:pt x="108000" y="35000"/>
                    <a:pt x="108000" y="65000"/>
                    <a:pt x="108000" y="5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63" name="Shape 2637">
              <a:extLst>
                <a:ext uri="{FF2B5EF4-FFF2-40B4-BE49-F238E27FC236}">
                  <a16:creationId xmlns:a16="http://schemas.microsoft.com/office/drawing/2014/main" id="{68BAA4FB-F2E6-9F42-8910-6F9B38968997}"/>
                </a:ext>
              </a:extLst>
            </p:cNvPr>
            <p:cNvSpPr/>
            <p:nvPr/>
          </p:nvSpPr>
          <p:spPr>
            <a:xfrm>
              <a:off x="11295714" y="8539305"/>
              <a:ext cx="296177" cy="289887"/>
            </a:xfrm>
            <a:custGeom>
              <a:avLst/>
              <a:gdLst/>
              <a:ahLst/>
              <a:cxnLst/>
              <a:rect l="0" t="0" r="0" b="0"/>
              <a:pathLst>
                <a:path w="120000" h="120000" extrusionOk="0">
                  <a:moveTo>
                    <a:pt x="97500" y="15483"/>
                  </a:moveTo>
                  <a:cubicBezTo>
                    <a:pt x="90000" y="15483"/>
                    <a:pt x="86250" y="23225"/>
                    <a:pt x="78750" y="19354"/>
                  </a:cubicBezTo>
                  <a:cubicBezTo>
                    <a:pt x="71250" y="19354"/>
                    <a:pt x="63750" y="0"/>
                    <a:pt x="56250" y="3870"/>
                  </a:cubicBezTo>
                  <a:cubicBezTo>
                    <a:pt x="52500" y="7741"/>
                    <a:pt x="48750" y="7741"/>
                    <a:pt x="48750" y="3870"/>
                  </a:cubicBezTo>
                  <a:cubicBezTo>
                    <a:pt x="45000" y="0"/>
                    <a:pt x="41250" y="7741"/>
                    <a:pt x="37500" y="7741"/>
                  </a:cubicBezTo>
                  <a:cubicBezTo>
                    <a:pt x="30000" y="11612"/>
                    <a:pt x="26250" y="7741"/>
                    <a:pt x="22500" y="7741"/>
                  </a:cubicBezTo>
                  <a:cubicBezTo>
                    <a:pt x="18750" y="3870"/>
                    <a:pt x="18750" y="11612"/>
                    <a:pt x="15000" y="11612"/>
                  </a:cubicBezTo>
                  <a:cubicBezTo>
                    <a:pt x="11250" y="11612"/>
                    <a:pt x="7500" y="19354"/>
                    <a:pt x="11250" y="23225"/>
                  </a:cubicBezTo>
                  <a:cubicBezTo>
                    <a:pt x="11250" y="27096"/>
                    <a:pt x="18750" y="27096"/>
                    <a:pt x="18750" y="27096"/>
                  </a:cubicBezTo>
                  <a:cubicBezTo>
                    <a:pt x="18750" y="30967"/>
                    <a:pt x="11250" y="34838"/>
                    <a:pt x="11250" y="34838"/>
                  </a:cubicBezTo>
                  <a:cubicBezTo>
                    <a:pt x="11250" y="38709"/>
                    <a:pt x="18750" y="42580"/>
                    <a:pt x="18750" y="46451"/>
                  </a:cubicBezTo>
                  <a:cubicBezTo>
                    <a:pt x="18750" y="46451"/>
                    <a:pt x="11250" y="42580"/>
                    <a:pt x="11250" y="50322"/>
                  </a:cubicBezTo>
                  <a:cubicBezTo>
                    <a:pt x="11250" y="54193"/>
                    <a:pt x="15000" y="61935"/>
                    <a:pt x="7500" y="61935"/>
                  </a:cubicBezTo>
                  <a:cubicBezTo>
                    <a:pt x="11250" y="65806"/>
                    <a:pt x="11250" y="69677"/>
                    <a:pt x="7500" y="73548"/>
                  </a:cubicBezTo>
                  <a:cubicBezTo>
                    <a:pt x="7500" y="81290"/>
                    <a:pt x="0" y="81290"/>
                    <a:pt x="11250" y="89032"/>
                  </a:cubicBezTo>
                  <a:cubicBezTo>
                    <a:pt x="15000" y="89032"/>
                    <a:pt x="22500" y="92903"/>
                    <a:pt x="26250" y="100645"/>
                  </a:cubicBezTo>
                  <a:cubicBezTo>
                    <a:pt x="30000" y="104516"/>
                    <a:pt x="26250" y="112258"/>
                    <a:pt x="26250" y="120000"/>
                  </a:cubicBezTo>
                  <a:cubicBezTo>
                    <a:pt x="41250" y="116129"/>
                    <a:pt x="52500" y="108387"/>
                    <a:pt x="71250" y="108387"/>
                  </a:cubicBezTo>
                  <a:cubicBezTo>
                    <a:pt x="78750" y="104516"/>
                    <a:pt x="90000" y="108387"/>
                    <a:pt x="97500" y="108387"/>
                  </a:cubicBezTo>
                  <a:cubicBezTo>
                    <a:pt x="105000" y="108387"/>
                    <a:pt x="116250" y="112258"/>
                    <a:pt x="112500" y="100645"/>
                  </a:cubicBezTo>
                  <a:cubicBezTo>
                    <a:pt x="112500" y="92903"/>
                    <a:pt x="108750" y="89032"/>
                    <a:pt x="105000" y="81290"/>
                  </a:cubicBezTo>
                  <a:cubicBezTo>
                    <a:pt x="105000" y="73548"/>
                    <a:pt x="108750" y="65806"/>
                    <a:pt x="112500" y="58064"/>
                  </a:cubicBezTo>
                  <a:cubicBezTo>
                    <a:pt x="116250" y="42580"/>
                    <a:pt x="120000" y="15483"/>
                    <a:pt x="97500" y="15483"/>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64" name="Shape 2638">
              <a:extLst>
                <a:ext uri="{FF2B5EF4-FFF2-40B4-BE49-F238E27FC236}">
                  <a16:creationId xmlns:a16="http://schemas.microsoft.com/office/drawing/2014/main" id="{BDA8EA7A-E8F1-7D48-A999-0B3ED77DF5F5}"/>
                </a:ext>
              </a:extLst>
            </p:cNvPr>
            <p:cNvSpPr/>
            <p:nvPr/>
          </p:nvSpPr>
          <p:spPr>
            <a:xfrm>
              <a:off x="11547308" y="8529749"/>
              <a:ext cx="213379" cy="280327"/>
            </a:xfrm>
            <a:custGeom>
              <a:avLst/>
              <a:gdLst/>
              <a:ahLst/>
              <a:cxnLst/>
              <a:rect l="0" t="0" r="0" b="0"/>
              <a:pathLst>
                <a:path w="120000" h="120000" extrusionOk="0">
                  <a:moveTo>
                    <a:pt x="99130" y="52000"/>
                  </a:moveTo>
                  <a:cubicBezTo>
                    <a:pt x="88695" y="44000"/>
                    <a:pt x="93913" y="32000"/>
                    <a:pt x="93913" y="24000"/>
                  </a:cubicBezTo>
                  <a:cubicBezTo>
                    <a:pt x="99130" y="16000"/>
                    <a:pt x="83478" y="8000"/>
                    <a:pt x="88695" y="0"/>
                  </a:cubicBezTo>
                  <a:cubicBezTo>
                    <a:pt x="62608" y="0"/>
                    <a:pt x="41739" y="0"/>
                    <a:pt x="15652" y="0"/>
                  </a:cubicBezTo>
                  <a:cubicBezTo>
                    <a:pt x="15652" y="12000"/>
                    <a:pt x="20869" y="28000"/>
                    <a:pt x="20869" y="44000"/>
                  </a:cubicBezTo>
                  <a:cubicBezTo>
                    <a:pt x="20869" y="60000"/>
                    <a:pt x="0" y="72000"/>
                    <a:pt x="5217" y="88000"/>
                  </a:cubicBezTo>
                  <a:cubicBezTo>
                    <a:pt x="10434" y="100000"/>
                    <a:pt x="20869" y="104000"/>
                    <a:pt x="15652" y="120000"/>
                  </a:cubicBezTo>
                  <a:cubicBezTo>
                    <a:pt x="31304" y="120000"/>
                    <a:pt x="36521" y="120000"/>
                    <a:pt x="52173" y="116000"/>
                  </a:cubicBezTo>
                  <a:cubicBezTo>
                    <a:pt x="78260" y="112000"/>
                    <a:pt x="99130" y="104000"/>
                    <a:pt x="120000" y="96000"/>
                  </a:cubicBezTo>
                  <a:cubicBezTo>
                    <a:pt x="109565" y="92000"/>
                    <a:pt x="104347" y="84000"/>
                    <a:pt x="104347" y="76000"/>
                  </a:cubicBezTo>
                  <a:cubicBezTo>
                    <a:pt x="104347" y="68000"/>
                    <a:pt x="104347" y="60000"/>
                    <a:pt x="99130" y="52000"/>
                  </a:cubicBezTo>
                  <a:cubicBezTo>
                    <a:pt x="88695" y="44000"/>
                    <a:pt x="104347" y="60000"/>
                    <a:pt x="99130" y="52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65" name="Shape 2639">
              <a:extLst>
                <a:ext uri="{FF2B5EF4-FFF2-40B4-BE49-F238E27FC236}">
                  <a16:creationId xmlns:a16="http://schemas.microsoft.com/office/drawing/2014/main" id="{5D4BEDBB-24CA-EA4B-8445-2DB8C47B17C8}"/>
                </a:ext>
              </a:extLst>
            </p:cNvPr>
            <p:cNvSpPr/>
            <p:nvPr/>
          </p:nvSpPr>
          <p:spPr>
            <a:xfrm>
              <a:off x="11079156" y="8558417"/>
              <a:ext cx="140126" cy="168834"/>
            </a:xfrm>
            <a:custGeom>
              <a:avLst/>
              <a:gdLst/>
              <a:ahLst/>
              <a:cxnLst/>
              <a:rect l="0" t="0" r="0" b="0"/>
              <a:pathLst>
                <a:path w="120000" h="120000" extrusionOk="0">
                  <a:moveTo>
                    <a:pt x="96000" y="93333"/>
                  </a:moveTo>
                  <a:cubicBezTo>
                    <a:pt x="120000" y="86666"/>
                    <a:pt x="120000" y="53333"/>
                    <a:pt x="112000" y="40000"/>
                  </a:cubicBezTo>
                  <a:cubicBezTo>
                    <a:pt x="96000" y="13333"/>
                    <a:pt x="64000" y="0"/>
                    <a:pt x="40000" y="20000"/>
                  </a:cubicBezTo>
                  <a:cubicBezTo>
                    <a:pt x="24000" y="26666"/>
                    <a:pt x="0" y="40000"/>
                    <a:pt x="8000" y="53333"/>
                  </a:cubicBezTo>
                  <a:cubicBezTo>
                    <a:pt x="16000" y="66666"/>
                    <a:pt x="16000" y="73333"/>
                    <a:pt x="32000" y="80000"/>
                  </a:cubicBezTo>
                  <a:cubicBezTo>
                    <a:pt x="40000" y="93333"/>
                    <a:pt x="40000" y="100000"/>
                    <a:pt x="56000" y="106666"/>
                  </a:cubicBezTo>
                  <a:cubicBezTo>
                    <a:pt x="64000" y="113333"/>
                    <a:pt x="72000" y="120000"/>
                    <a:pt x="80000" y="106666"/>
                  </a:cubicBezTo>
                  <a:cubicBezTo>
                    <a:pt x="80000" y="100000"/>
                    <a:pt x="88000" y="100000"/>
                    <a:pt x="96000" y="93333"/>
                  </a:cubicBezTo>
                  <a:cubicBezTo>
                    <a:pt x="112000" y="86666"/>
                    <a:pt x="88000" y="100000"/>
                    <a:pt x="96000" y="93333"/>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66" name="Shape 2640">
              <a:extLst>
                <a:ext uri="{FF2B5EF4-FFF2-40B4-BE49-F238E27FC236}">
                  <a16:creationId xmlns:a16="http://schemas.microsoft.com/office/drawing/2014/main" id="{C203380B-C203-C64A-BE42-B4FF0D1A9254}"/>
                </a:ext>
              </a:extLst>
            </p:cNvPr>
            <p:cNvSpPr/>
            <p:nvPr/>
          </p:nvSpPr>
          <p:spPr>
            <a:xfrm>
              <a:off x="11161956" y="8631686"/>
              <a:ext cx="207006" cy="197506"/>
            </a:xfrm>
            <a:custGeom>
              <a:avLst/>
              <a:gdLst/>
              <a:ahLst/>
              <a:cxnLst/>
              <a:rect l="0" t="0" r="0" b="0"/>
              <a:pathLst>
                <a:path w="120000" h="120000" extrusionOk="0">
                  <a:moveTo>
                    <a:pt x="114545" y="97142"/>
                  </a:moveTo>
                  <a:cubicBezTo>
                    <a:pt x="120000" y="85714"/>
                    <a:pt x="109090" y="80000"/>
                    <a:pt x="103636" y="74285"/>
                  </a:cubicBezTo>
                  <a:cubicBezTo>
                    <a:pt x="98181" y="74285"/>
                    <a:pt x="76363" y="68571"/>
                    <a:pt x="87272" y="62857"/>
                  </a:cubicBezTo>
                  <a:cubicBezTo>
                    <a:pt x="92727" y="57142"/>
                    <a:pt x="92727" y="40000"/>
                    <a:pt x="87272" y="34285"/>
                  </a:cubicBezTo>
                  <a:cubicBezTo>
                    <a:pt x="81818" y="22857"/>
                    <a:pt x="76363" y="45714"/>
                    <a:pt x="70909" y="45714"/>
                  </a:cubicBezTo>
                  <a:cubicBezTo>
                    <a:pt x="54545" y="45714"/>
                    <a:pt x="60000" y="0"/>
                    <a:pt x="49090" y="5714"/>
                  </a:cubicBezTo>
                  <a:cubicBezTo>
                    <a:pt x="43636" y="11428"/>
                    <a:pt x="32727" y="17142"/>
                    <a:pt x="27272" y="22857"/>
                  </a:cubicBezTo>
                  <a:cubicBezTo>
                    <a:pt x="21818" y="34285"/>
                    <a:pt x="10909" y="40000"/>
                    <a:pt x="0" y="51428"/>
                  </a:cubicBezTo>
                  <a:cubicBezTo>
                    <a:pt x="27272" y="68571"/>
                    <a:pt x="43636" y="85714"/>
                    <a:pt x="65454" y="102857"/>
                  </a:cubicBezTo>
                  <a:cubicBezTo>
                    <a:pt x="76363" y="114285"/>
                    <a:pt x="87272" y="120000"/>
                    <a:pt x="103636" y="120000"/>
                  </a:cubicBezTo>
                  <a:cubicBezTo>
                    <a:pt x="120000" y="120000"/>
                    <a:pt x="109090" y="108571"/>
                    <a:pt x="114545" y="97142"/>
                  </a:cubicBezTo>
                  <a:cubicBezTo>
                    <a:pt x="120000" y="85714"/>
                    <a:pt x="114545" y="108571"/>
                    <a:pt x="114545" y="97142"/>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67" name="Shape 2641">
              <a:extLst>
                <a:ext uri="{FF2B5EF4-FFF2-40B4-BE49-F238E27FC236}">
                  <a16:creationId xmlns:a16="http://schemas.microsoft.com/office/drawing/2014/main" id="{67D2D135-A70D-B044-8C47-F2D0726FCD8D}"/>
                </a:ext>
              </a:extLst>
            </p:cNvPr>
            <p:cNvSpPr/>
            <p:nvPr/>
          </p:nvSpPr>
          <p:spPr>
            <a:xfrm>
              <a:off x="11015459" y="8443740"/>
              <a:ext cx="324840" cy="273957"/>
            </a:xfrm>
            <a:custGeom>
              <a:avLst/>
              <a:gdLst/>
              <a:ahLst/>
              <a:cxnLst/>
              <a:rect l="0" t="0" r="0" b="0"/>
              <a:pathLst>
                <a:path w="120000" h="120000" extrusionOk="0">
                  <a:moveTo>
                    <a:pt x="34285" y="66206"/>
                  </a:moveTo>
                  <a:cubicBezTo>
                    <a:pt x="48000" y="57931"/>
                    <a:pt x="61714" y="49655"/>
                    <a:pt x="68571" y="70344"/>
                  </a:cubicBezTo>
                  <a:cubicBezTo>
                    <a:pt x="75428" y="78620"/>
                    <a:pt x="72000" y="82758"/>
                    <a:pt x="72000" y="95172"/>
                  </a:cubicBezTo>
                  <a:cubicBezTo>
                    <a:pt x="75428" y="99310"/>
                    <a:pt x="82285" y="86896"/>
                    <a:pt x="85714" y="86896"/>
                  </a:cubicBezTo>
                  <a:cubicBezTo>
                    <a:pt x="92571" y="82758"/>
                    <a:pt x="92571" y="120000"/>
                    <a:pt x="99428" y="111724"/>
                  </a:cubicBezTo>
                  <a:cubicBezTo>
                    <a:pt x="102857" y="111724"/>
                    <a:pt x="102857" y="107586"/>
                    <a:pt x="106285" y="107586"/>
                  </a:cubicBezTo>
                  <a:cubicBezTo>
                    <a:pt x="106285" y="103448"/>
                    <a:pt x="113142" y="107586"/>
                    <a:pt x="113142" y="103448"/>
                  </a:cubicBezTo>
                  <a:cubicBezTo>
                    <a:pt x="116571" y="99310"/>
                    <a:pt x="113142" y="95172"/>
                    <a:pt x="113142" y="95172"/>
                  </a:cubicBezTo>
                  <a:cubicBezTo>
                    <a:pt x="113142" y="86896"/>
                    <a:pt x="120000" y="91034"/>
                    <a:pt x="120000" y="91034"/>
                  </a:cubicBezTo>
                  <a:cubicBezTo>
                    <a:pt x="120000" y="86896"/>
                    <a:pt x="109714" y="82758"/>
                    <a:pt x="116571" y="78620"/>
                  </a:cubicBezTo>
                  <a:cubicBezTo>
                    <a:pt x="120000" y="74482"/>
                    <a:pt x="120000" y="70344"/>
                    <a:pt x="113142" y="66206"/>
                  </a:cubicBezTo>
                  <a:cubicBezTo>
                    <a:pt x="109714" y="62068"/>
                    <a:pt x="116571" y="53793"/>
                    <a:pt x="113142" y="49655"/>
                  </a:cubicBezTo>
                  <a:cubicBezTo>
                    <a:pt x="109714" y="45517"/>
                    <a:pt x="113142" y="41379"/>
                    <a:pt x="109714" y="33103"/>
                  </a:cubicBezTo>
                  <a:cubicBezTo>
                    <a:pt x="106285" y="28965"/>
                    <a:pt x="99428" y="0"/>
                    <a:pt x="89142" y="8275"/>
                  </a:cubicBezTo>
                  <a:cubicBezTo>
                    <a:pt x="89142" y="8275"/>
                    <a:pt x="85714" y="12413"/>
                    <a:pt x="82285" y="12413"/>
                  </a:cubicBezTo>
                  <a:cubicBezTo>
                    <a:pt x="78857" y="12413"/>
                    <a:pt x="78857" y="12413"/>
                    <a:pt x="75428" y="12413"/>
                  </a:cubicBezTo>
                  <a:cubicBezTo>
                    <a:pt x="72000" y="16551"/>
                    <a:pt x="68571" y="12413"/>
                    <a:pt x="65142" y="12413"/>
                  </a:cubicBezTo>
                  <a:cubicBezTo>
                    <a:pt x="61714" y="12413"/>
                    <a:pt x="61714" y="16551"/>
                    <a:pt x="61714" y="12413"/>
                  </a:cubicBezTo>
                  <a:cubicBezTo>
                    <a:pt x="54857" y="8275"/>
                    <a:pt x="58285" y="8275"/>
                    <a:pt x="51428" y="8275"/>
                  </a:cubicBezTo>
                  <a:cubicBezTo>
                    <a:pt x="41142" y="12413"/>
                    <a:pt x="41142" y="4137"/>
                    <a:pt x="34285" y="4137"/>
                  </a:cubicBezTo>
                  <a:cubicBezTo>
                    <a:pt x="27428" y="0"/>
                    <a:pt x="20571" y="0"/>
                    <a:pt x="17142" y="4137"/>
                  </a:cubicBezTo>
                  <a:cubicBezTo>
                    <a:pt x="17142" y="8275"/>
                    <a:pt x="10285" y="12413"/>
                    <a:pt x="17142" y="16551"/>
                  </a:cubicBezTo>
                  <a:cubicBezTo>
                    <a:pt x="20571" y="20689"/>
                    <a:pt x="17142" y="24827"/>
                    <a:pt x="10285" y="24827"/>
                  </a:cubicBezTo>
                  <a:cubicBezTo>
                    <a:pt x="3428" y="24827"/>
                    <a:pt x="0" y="24827"/>
                    <a:pt x="0" y="33103"/>
                  </a:cubicBezTo>
                  <a:cubicBezTo>
                    <a:pt x="3428" y="41379"/>
                    <a:pt x="6857" y="45517"/>
                    <a:pt x="10285" y="53793"/>
                  </a:cubicBezTo>
                  <a:cubicBezTo>
                    <a:pt x="17142" y="62068"/>
                    <a:pt x="20571" y="66206"/>
                    <a:pt x="27428" y="78620"/>
                  </a:cubicBezTo>
                  <a:cubicBezTo>
                    <a:pt x="30857" y="74482"/>
                    <a:pt x="30857" y="70344"/>
                    <a:pt x="34285" y="66206"/>
                  </a:cubicBezTo>
                  <a:cubicBezTo>
                    <a:pt x="37714" y="66206"/>
                    <a:pt x="34285" y="70344"/>
                    <a:pt x="34285" y="66206"/>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68" name="Shape 2642">
              <a:extLst>
                <a:ext uri="{FF2B5EF4-FFF2-40B4-BE49-F238E27FC236}">
                  <a16:creationId xmlns:a16="http://schemas.microsoft.com/office/drawing/2014/main" id="{CFE559E1-0F85-C34F-9355-31768D1D25BC}"/>
                </a:ext>
              </a:extLst>
            </p:cNvPr>
            <p:cNvSpPr/>
            <p:nvPr/>
          </p:nvSpPr>
          <p:spPr>
            <a:xfrm>
              <a:off x="10929474" y="8453298"/>
              <a:ext cx="149682" cy="66896"/>
            </a:xfrm>
            <a:custGeom>
              <a:avLst/>
              <a:gdLst/>
              <a:ahLst/>
              <a:cxnLst/>
              <a:rect l="0" t="0" r="0" b="0"/>
              <a:pathLst>
                <a:path w="120000" h="120000" extrusionOk="0">
                  <a:moveTo>
                    <a:pt x="75000" y="85714"/>
                  </a:moveTo>
                  <a:cubicBezTo>
                    <a:pt x="82500" y="85714"/>
                    <a:pt x="120000" y="85714"/>
                    <a:pt x="105000" y="51428"/>
                  </a:cubicBezTo>
                  <a:cubicBezTo>
                    <a:pt x="90000" y="34285"/>
                    <a:pt x="105000" y="17142"/>
                    <a:pt x="105000" y="0"/>
                  </a:cubicBezTo>
                  <a:cubicBezTo>
                    <a:pt x="90000" y="0"/>
                    <a:pt x="67500" y="0"/>
                    <a:pt x="52500" y="0"/>
                  </a:cubicBezTo>
                  <a:cubicBezTo>
                    <a:pt x="37500" y="0"/>
                    <a:pt x="37500" y="17142"/>
                    <a:pt x="30000" y="0"/>
                  </a:cubicBezTo>
                  <a:cubicBezTo>
                    <a:pt x="15000" y="0"/>
                    <a:pt x="15000" y="0"/>
                    <a:pt x="0" y="17142"/>
                  </a:cubicBezTo>
                  <a:cubicBezTo>
                    <a:pt x="7500" y="34285"/>
                    <a:pt x="7500" y="51428"/>
                    <a:pt x="22500" y="51428"/>
                  </a:cubicBezTo>
                  <a:cubicBezTo>
                    <a:pt x="30000" y="51428"/>
                    <a:pt x="52500" y="51428"/>
                    <a:pt x="52500" y="51428"/>
                  </a:cubicBezTo>
                  <a:cubicBezTo>
                    <a:pt x="37500" y="85714"/>
                    <a:pt x="52500" y="102857"/>
                    <a:pt x="67500" y="119999"/>
                  </a:cubicBezTo>
                  <a:cubicBezTo>
                    <a:pt x="67500" y="119999"/>
                    <a:pt x="67500" y="85714"/>
                    <a:pt x="75000" y="85714"/>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69" name="Shape 2643">
              <a:extLst>
                <a:ext uri="{FF2B5EF4-FFF2-40B4-BE49-F238E27FC236}">
                  <a16:creationId xmlns:a16="http://schemas.microsoft.com/office/drawing/2014/main" id="{7F07D98E-7992-384E-A325-9F71F87E2D09}"/>
                </a:ext>
              </a:extLst>
            </p:cNvPr>
            <p:cNvSpPr/>
            <p:nvPr/>
          </p:nvSpPr>
          <p:spPr>
            <a:xfrm>
              <a:off x="10919917" y="8389584"/>
              <a:ext cx="140126" cy="38226"/>
            </a:xfrm>
            <a:custGeom>
              <a:avLst/>
              <a:gdLst/>
              <a:ahLst/>
              <a:cxnLst/>
              <a:rect l="0" t="0" r="0" b="0"/>
              <a:pathLst>
                <a:path w="120000" h="120000" extrusionOk="0">
                  <a:moveTo>
                    <a:pt x="32000" y="120000"/>
                  </a:moveTo>
                  <a:cubicBezTo>
                    <a:pt x="48000" y="90000"/>
                    <a:pt x="56000" y="60000"/>
                    <a:pt x="72000" y="90000"/>
                  </a:cubicBezTo>
                  <a:cubicBezTo>
                    <a:pt x="80000" y="90000"/>
                    <a:pt x="112000" y="120000"/>
                    <a:pt x="120000" y="60000"/>
                  </a:cubicBezTo>
                  <a:cubicBezTo>
                    <a:pt x="120000" y="90000"/>
                    <a:pt x="72000" y="0"/>
                    <a:pt x="64000" y="30000"/>
                  </a:cubicBezTo>
                  <a:cubicBezTo>
                    <a:pt x="40000" y="60000"/>
                    <a:pt x="8000" y="0"/>
                    <a:pt x="0" y="120000"/>
                  </a:cubicBezTo>
                  <a:cubicBezTo>
                    <a:pt x="16000" y="120000"/>
                    <a:pt x="24000" y="120000"/>
                    <a:pt x="32000" y="120000"/>
                  </a:cubicBezTo>
                  <a:cubicBezTo>
                    <a:pt x="40000" y="120000"/>
                    <a:pt x="32000" y="120000"/>
                    <a:pt x="32000" y="12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70" name="Shape 2644">
              <a:extLst>
                <a:ext uri="{FF2B5EF4-FFF2-40B4-BE49-F238E27FC236}">
                  <a16:creationId xmlns:a16="http://schemas.microsoft.com/office/drawing/2014/main" id="{6B9F9202-DEAB-B447-9597-3C0708C6788C}"/>
                </a:ext>
              </a:extLst>
            </p:cNvPr>
            <p:cNvSpPr/>
            <p:nvPr/>
          </p:nvSpPr>
          <p:spPr>
            <a:xfrm>
              <a:off x="10900809" y="7733364"/>
              <a:ext cx="560507" cy="637105"/>
            </a:xfrm>
            <a:custGeom>
              <a:avLst/>
              <a:gdLst/>
              <a:ahLst/>
              <a:cxnLst/>
              <a:rect l="0" t="0" r="0" b="0"/>
              <a:pathLst>
                <a:path w="120000" h="120000" extrusionOk="0">
                  <a:moveTo>
                    <a:pt x="10000" y="100588"/>
                  </a:moveTo>
                  <a:cubicBezTo>
                    <a:pt x="14000" y="100588"/>
                    <a:pt x="26000" y="97058"/>
                    <a:pt x="30000" y="100588"/>
                  </a:cubicBezTo>
                  <a:cubicBezTo>
                    <a:pt x="32000" y="102352"/>
                    <a:pt x="34000" y="102352"/>
                    <a:pt x="36000" y="104117"/>
                  </a:cubicBezTo>
                  <a:cubicBezTo>
                    <a:pt x="38000" y="107647"/>
                    <a:pt x="40000" y="109411"/>
                    <a:pt x="42000" y="111176"/>
                  </a:cubicBezTo>
                  <a:cubicBezTo>
                    <a:pt x="44000" y="112941"/>
                    <a:pt x="52000" y="120000"/>
                    <a:pt x="54000" y="112941"/>
                  </a:cubicBezTo>
                  <a:cubicBezTo>
                    <a:pt x="56000" y="102352"/>
                    <a:pt x="60000" y="114705"/>
                    <a:pt x="64000" y="112941"/>
                  </a:cubicBezTo>
                  <a:cubicBezTo>
                    <a:pt x="66000" y="109411"/>
                    <a:pt x="66000" y="109411"/>
                    <a:pt x="70000" y="109411"/>
                  </a:cubicBezTo>
                  <a:cubicBezTo>
                    <a:pt x="74000" y="109411"/>
                    <a:pt x="76000" y="109411"/>
                    <a:pt x="78000" y="109411"/>
                  </a:cubicBezTo>
                  <a:cubicBezTo>
                    <a:pt x="82000" y="107647"/>
                    <a:pt x="86000" y="107647"/>
                    <a:pt x="88000" y="107647"/>
                  </a:cubicBezTo>
                  <a:cubicBezTo>
                    <a:pt x="94000" y="107647"/>
                    <a:pt x="100000" y="107647"/>
                    <a:pt x="106000" y="107647"/>
                  </a:cubicBezTo>
                  <a:cubicBezTo>
                    <a:pt x="108000" y="107647"/>
                    <a:pt x="114000" y="109411"/>
                    <a:pt x="116000" y="107647"/>
                  </a:cubicBezTo>
                  <a:cubicBezTo>
                    <a:pt x="118000" y="107647"/>
                    <a:pt x="116000" y="97058"/>
                    <a:pt x="116000" y="95294"/>
                  </a:cubicBezTo>
                  <a:cubicBezTo>
                    <a:pt x="114000" y="84705"/>
                    <a:pt x="112000" y="75882"/>
                    <a:pt x="112000" y="67058"/>
                  </a:cubicBezTo>
                  <a:cubicBezTo>
                    <a:pt x="110000" y="51176"/>
                    <a:pt x="106000" y="37058"/>
                    <a:pt x="104000" y="21176"/>
                  </a:cubicBezTo>
                  <a:cubicBezTo>
                    <a:pt x="110000" y="21176"/>
                    <a:pt x="116000" y="21176"/>
                    <a:pt x="120000" y="21176"/>
                  </a:cubicBezTo>
                  <a:cubicBezTo>
                    <a:pt x="108000" y="14117"/>
                    <a:pt x="96000" y="7058"/>
                    <a:pt x="86000" y="0"/>
                  </a:cubicBezTo>
                  <a:cubicBezTo>
                    <a:pt x="86000" y="1764"/>
                    <a:pt x="86000" y="12352"/>
                    <a:pt x="84000" y="12352"/>
                  </a:cubicBezTo>
                  <a:cubicBezTo>
                    <a:pt x="82000" y="12352"/>
                    <a:pt x="78000" y="12352"/>
                    <a:pt x="74000" y="12352"/>
                  </a:cubicBezTo>
                  <a:cubicBezTo>
                    <a:pt x="70000" y="12352"/>
                    <a:pt x="64000" y="12352"/>
                    <a:pt x="58000" y="12352"/>
                  </a:cubicBezTo>
                  <a:cubicBezTo>
                    <a:pt x="58000" y="12352"/>
                    <a:pt x="52000" y="12352"/>
                    <a:pt x="52000" y="12352"/>
                  </a:cubicBezTo>
                  <a:cubicBezTo>
                    <a:pt x="50000" y="14117"/>
                    <a:pt x="52000" y="19411"/>
                    <a:pt x="52000" y="21176"/>
                  </a:cubicBezTo>
                  <a:cubicBezTo>
                    <a:pt x="52000" y="24705"/>
                    <a:pt x="52000" y="30000"/>
                    <a:pt x="52000" y="33529"/>
                  </a:cubicBezTo>
                  <a:cubicBezTo>
                    <a:pt x="52000" y="38823"/>
                    <a:pt x="40000" y="37058"/>
                    <a:pt x="40000" y="44117"/>
                  </a:cubicBezTo>
                  <a:cubicBezTo>
                    <a:pt x="40000" y="45882"/>
                    <a:pt x="42000" y="54705"/>
                    <a:pt x="40000" y="56470"/>
                  </a:cubicBezTo>
                  <a:cubicBezTo>
                    <a:pt x="40000" y="56470"/>
                    <a:pt x="34000" y="56470"/>
                    <a:pt x="32000" y="56470"/>
                  </a:cubicBezTo>
                  <a:cubicBezTo>
                    <a:pt x="24000" y="56470"/>
                    <a:pt x="14000" y="56470"/>
                    <a:pt x="6000" y="56470"/>
                  </a:cubicBezTo>
                  <a:cubicBezTo>
                    <a:pt x="4000" y="56470"/>
                    <a:pt x="0" y="54705"/>
                    <a:pt x="2000" y="58235"/>
                  </a:cubicBezTo>
                  <a:cubicBezTo>
                    <a:pt x="4000" y="60000"/>
                    <a:pt x="6000" y="61764"/>
                    <a:pt x="8000" y="63529"/>
                  </a:cubicBezTo>
                  <a:cubicBezTo>
                    <a:pt x="10000" y="67058"/>
                    <a:pt x="8000" y="70588"/>
                    <a:pt x="6000" y="72352"/>
                  </a:cubicBezTo>
                  <a:cubicBezTo>
                    <a:pt x="6000" y="77647"/>
                    <a:pt x="12000" y="79411"/>
                    <a:pt x="12000" y="84705"/>
                  </a:cubicBezTo>
                  <a:cubicBezTo>
                    <a:pt x="14000" y="90000"/>
                    <a:pt x="8000" y="97058"/>
                    <a:pt x="6000" y="102352"/>
                  </a:cubicBezTo>
                  <a:cubicBezTo>
                    <a:pt x="8000" y="102352"/>
                    <a:pt x="8000" y="100588"/>
                    <a:pt x="10000" y="100588"/>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71" name="Shape 2645">
              <a:extLst>
                <a:ext uri="{FF2B5EF4-FFF2-40B4-BE49-F238E27FC236}">
                  <a16:creationId xmlns:a16="http://schemas.microsoft.com/office/drawing/2014/main" id="{4ACDCE5B-7E4B-9F47-8E2F-3AAF5790C60F}"/>
                </a:ext>
              </a:extLst>
            </p:cNvPr>
            <p:cNvSpPr/>
            <p:nvPr/>
          </p:nvSpPr>
          <p:spPr>
            <a:xfrm>
              <a:off x="10900809" y="8258977"/>
              <a:ext cx="270700" cy="213434"/>
            </a:xfrm>
            <a:custGeom>
              <a:avLst/>
              <a:gdLst/>
              <a:ahLst/>
              <a:cxnLst/>
              <a:rect l="0" t="0" r="0" b="0"/>
              <a:pathLst>
                <a:path w="120000" h="120000" extrusionOk="0">
                  <a:moveTo>
                    <a:pt x="33103" y="114782"/>
                  </a:moveTo>
                  <a:cubicBezTo>
                    <a:pt x="37241" y="114782"/>
                    <a:pt x="37241" y="109565"/>
                    <a:pt x="41379" y="109565"/>
                  </a:cubicBezTo>
                  <a:cubicBezTo>
                    <a:pt x="49655" y="109565"/>
                    <a:pt x="53793" y="109565"/>
                    <a:pt x="62068" y="109565"/>
                  </a:cubicBezTo>
                  <a:cubicBezTo>
                    <a:pt x="70344" y="109565"/>
                    <a:pt x="82758" y="104347"/>
                    <a:pt x="95172" y="109565"/>
                  </a:cubicBezTo>
                  <a:cubicBezTo>
                    <a:pt x="99310" y="114782"/>
                    <a:pt x="103448" y="120000"/>
                    <a:pt x="111724" y="114782"/>
                  </a:cubicBezTo>
                  <a:cubicBezTo>
                    <a:pt x="120000" y="114782"/>
                    <a:pt x="120000" y="109565"/>
                    <a:pt x="120000" y="99130"/>
                  </a:cubicBezTo>
                  <a:cubicBezTo>
                    <a:pt x="120000" y="88695"/>
                    <a:pt x="103448" y="83478"/>
                    <a:pt x="103448" y="73043"/>
                  </a:cubicBezTo>
                  <a:cubicBezTo>
                    <a:pt x="103448" y="73043"/>
                    <a:pt x="103448" y="52173"/>
                    <a:pt x="103448" y="52173"/>
                  </a:cubicBezTo>
                  <a:cubicBezTo>
                    <a:pt x="99310" y="52173"/>
                    <a:pt x="82758" y="26086"/>
                    <a:pt x="78620" y="20869"/>
                  </a:cubicBezTo>
                  <a:cubicBezTo>
                    <a:pt x="66206" y="5217"/>
                    <a:pt x="53793" y="0"/>
                    <a:pt x="37241" y="5217"/>
                  </a:cubicBezTo>
                  <a:cubicBezTo>
                    <a:pt x="33103" y="5217"/>
                    <a:pt x="20689" y="0"/>
                    <a:pt x="20689" y="5217"/>
                  </a:cubicBezTo>
                  <a:cubicBezTo>
                    <a:pt x="16551" y="10434"/>
                    <a:pt x="8275" y="20869"/>
                    <a:pt x="8275" y="31304"/>
                  </a:cubicBezTo>
                  <a:cubicBezTo>
                    <a:pt x="12413" y="41739"/>
                    <a:pt x="12413" y="46956"/>
                    <a:pt x="4137" y="52173"/>
                  </a:cubicBezTo>
                  <a:cubicBezTo>
                    <a:pt x="0" y="52173"/>
                    <a:pt x="12413" y="62608"/>
                    <a:pt x="8275" y="62608"/>
                  </a:cubicBezTo>
                  <a:cubicBezTo>
                    <a:pt x="16551" y="67826"/>
                    <a:pt x="8275" y="67826"/>
                    <a:pt x="8275" y="73043"/>
                  </a:cubicBezTo>
                  <a:cubicBezTo>
                    <a:pt x="8275" y="73043"/>
                    <a:pt x="12413" y="78260"/>
                    <a:pt x="16551" y="78260"/>
                  </a:cubicBezTo>
                  <a:cubicBezTo>
                    <a:pt x="16551" y="83478"/>
                    <a:pt x="33103" y="78260"/>
                    <a:pt x="37241" y="78260"/>
                  </a:cubicBezTo>
                  <a:cubicBezTo>
                    <a:pt x="41379" y="78260"/>
                    <a:pt x="41379" y="73043"/>
                    <a:pt x="41379" y="73043"/>
                  </a:cubicBezTo>
                  <a:cubicBezTo>
                    <a:pt x="45517" y="73043"/>
                    <a:pt x="70344" y="88695"/>
                    <a:pt x="70344" y="83478"/>
                  </a:cubicBezTo>
                  <a:cubicBezTo>
                    <a:pt x="66206" y="93913"/>
                    <a:pt x="49655" y="88695"/>
                    <a:pt x="45517" y="88695"/>
                  </a:cubicBezTo>
                  <a:cubicBezTo>
                    <a:pt x="37241" y="83478"/>
                    <a:pt x="33103" y="93913"/>
                    <a:pt x="24827" y="93913"/>
                  </a:cubicBezTo>
                  <a:cubicBezTo>
                    <a:pt x="12413" y="93913"/>
                    <a:pt x="4137" y="93913"/>
                    <a:pt x="12413" y="109565"/>
                  </a:cubicBezTo>
                  <a:cubicBezTo>
                    <a:pt x="12413" y="114782"/>
                    <a:pt x="16551" y="109565"/>
                    <a:pt x="20689" y="109565"/>
                  </a:cubicBezTo>
                  <a:cubicBezTo>
                    <a:pt x="24827" y="109565"/>
                    <a:pt x="28965" y="114782"/>
                    <a:pt x="33103" y="114782"/>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72" name="Shape 2646">
              <a:extLst>
                <a:ext uri="{FF2B5EF4-FFF2-40B4-BE49-F238E27FC236}">
                  <a16:creationId xmlns:a16="http://schemas.microsoft.com/office/drawing/2014/main" id="{775C40C2-B91A-BA45-8BBA-0B9FFFCC9999}"/>
                </a:ext>
              </a:extLst>
            </p:cNvPr>
            <p:cNvSpPr/>
            <p:nvPr/>
          </p:nvSpPr>
          <p:spPr>
            <a:xfrm>
              <a:off x="11136480" y="7838485"/>
              <a:ext cx="783437" cy="729491"/>
            </a:xfrm>
            <a:custGeom>
              <a:avLst/>
              <a:gdLst/>
              <a:ahLst/>
              <a:cxnLst/>
              <a:rect l="0" t="0" r="0" b="0"/>
              <a:pathLst>
                <a:path w="120000" h="120000" extrusionOk="0">
                  <a:moveTo>
                    <a:pt x="38571" y="1538"/>
                  </a:moveTo>
                  <a:cubicBezTo>
                    <a:pt x="41428" y="24615"/>
                    <a:pt x="44285" y="47692"/>
                    <a:pt x="47142" y="69230"/>
                  </a:cubicBezTo>
                  <a:cubicBezTo>
                    <a:pt x="47142" y="72307"/>
                    <a:pt x="50000" y="76923"/>
                    <a:pt x="45714" y="76923"/>
                  </a:cubicBezTo>
                  <a:cubicBezTo>
                    <a:pt x="40000" y="76923"/>
                    <a:pt x="32857" y="76923"/>
                    <a:pt x="27142" y="76923"/>
                  </a:cubicBezTo>
                  <a:cubicBezTo>
                    <a:pt x="24285" y="76923"/>
                    <a:pt x="22857" y="76923"/>
                    <a:pt x="21428" y="76923"/>
                  </a:cubicBezTo>
                  <a:cubicBezTo>
                    <a:pt x="20000" y="76923"/>
                    <a:pt x="18571" y="78461"/>
                    <a:pt x="17142" y="78461"/>
                  </a:cubicBezTo>
                  <a:cubicBezTo>
                    <a:pt x="15714" y="80000"/>
                    <a:pt x="14285" y="78461"/>
                    <a:pt x="11428" y="78461"/>
                  </a:cubicBezTo>
                  <a:cubicBezTo>
                    <a:pt x="10000" y="78461"/>
                    <a:pt x="10000" y="81538"/>
                    <a:pt x="8571" y="80000"/>
                  </a:cubicBezTo>
                  <a:cubicBezTo>
                    <a:pt x="7142" y="80000"/>
                    <a:pt x="5714" y="76923"/>
                    <a:pt x="4285" y="76923"/>
                  </a:cubicBezTo>
                  <a:cubicBezTo>
                    <a:pt x="2857" y="76923"/>
                    <a:pt x="2857" y="86153"/>
                    <a:pt x="0" y="84615"/>
                  </a:cubicBezTo>
                  <a:cubicBezTo>
                    <a:pt x="0" y="86153"/>
                    <a:pt x="0" y="89230"/>
                    <a:pt x="0" y="90769"/>
                  </a:cubicBezTo>
                  <a:cubicBezTo>
                    <a:pt x="0" y="93846"/>
                    <a:pt x="2857" y="93846"/>
                    <a:pt x="4285" y="96923"/>
                  </a:cubicBezTo>
                  <a:cubicBezTo>
                    <a:pt x="5714" y="98461"/>
                    <a:pt x="4285" y="101538"/>
                    <a:pt x="5714" y="103076"/>
                  </a:cubicBezTo>
                  <a:cubicBezTo>
                    <a:pt x="7142" y="106153"/>
                    <a:pt x="8571" y="103076"/>
                    <a:pt x="10000" y="104615"/>
                  </a:cubicBezTo>
                  <a:cubicBezTo>
                    <a:pt x="10000" y="106153"/>
                    <a:pt x="14285" y="104615"/>
                    <a:pt x="15714" y="104615"/>
                  </a:cubicBezTo>
                  <a:cubicBezTo>
                    <a:pt x="17142" y="104615"/>
                    <a:pt x="20000" y="101538"/>
                    <a:pt x="21428" y="101538"/>
                  </a:cubicBezTo>
                  <a:cubicBezTo>
                    <a:pt x="24285" y="104615"/>
                    <a:pt x="25714" y="112307"/>
                    <a:pt x="28571" y="115384"/>
                  </a:cubicBezTo>
                  <a:cubicBezTo>
                    <a:pt x="28571" y="115384"/>
                    <a:pt x="27142" y="118461"/>
                    <a:pt x="28571" y="118461"/>
                  </a:cubicBezTo>
                  <a:cubicBezTo>
                    <a:pt x="30000" y="120000"/>
                    <a:pt x="31428" y="116923"/>
                    <a:pt x="32857" y="118461"/>
                  </a:cubicBezTo>
                  <a:cubicBezTo>
                    <a:pt x="34285" y="120000"/>
                    <a:pt x="37142" y="120000"/>
                    <a:pt x="38571" y="118461"/>
                  </a:cubicBezTo>
                  <a:cubicBezTo>
                    <a:pt x="41428" y="115384"/>
                    <a:pt x="41428" y="118461"/>
                    <a:pt x="42857" y="118461"/>
                  </a:cubicBezTo>
                  <a:cubicBezTo>
                    <a:pt x="47142" y="118461"/>
                    <a:pt x="50000" y="112307"/>
                    <a:pt x="50000" y="109230"/>
                  </a:cubicBezTo>
                  <a:cubicBezTo>
                    <a:pt x="50000" y="107692"/>
                    <a:pt x="47142" y="107692"/>
                    <a:pt x="50000" y="106153"/>
                  </a:cubicBezTo>
                  <a:cubicBezTo>
                    <a:pt x="51428" y="104615"/>
                    <a:pt x="54285" y="106153"/>
                    <a:pt x="55714" y="103076"/>
                  </a:cubicBezTo>
                  <a:cubicBezTo>
                    <a:pt x="55714" y="101538"/>
                    <a:pt x="57142" y="98461"/>
                    <a:pt x="57142" y="96923"/>
                  </a:cubicBezTo>
                  <a:cubicBezTo>
                    <a:pt x="58571" y="93846"/>
                    <a:pt x="58571" y="92307"/>
                    <a:pt x="60000" y="95384"/>
                  </a:cubicBezTo>
                  <a:cubicBezTo>
                    <a:pt x="64285" y="98461"/>
                    <a:pt x="67142" y="86153"/>
                    <a:pt x="70000" y="87692"/>
                  </a:cubicBezTo>
                  <a:cubicBezTo>
                    <a:pt x="71428" y="87692"/>
                    <a:pt x="71428" y="87692"/>
                    <a:pt x="72857" y="87692"/>
                  </a:cubicBezTo>
                  <a:cubicBezTo>
                    <a:pt x="72857" y="87692"/>
                    <a:pt x="74285" y="86153"/>
                    <a:pt x="74285" y="86153"/>
                  </a:cubicBezTo>
                  <a:cubicBezTo>
                    <a:pt x="75714" y="84615"/>
                    <a:pt x="77142" y="84615"/>
                    <a:pt x="78571" y="83076"/>
                  </a:cubicBezTo>
                  <a:cubicBezTo>
                    <a:pt x="82857" y="78461"/>
                    <a:pt x="87142" y="83076"/>
                    <a:pt x="92857" y="81538"/>
                  </a:cubicBezTo>
                  <a:cubicBezTo>
                    <a:pt x="95714" y="81538"/>
                    <a:pt x="97142" y="80000"/>
                    <a:pt x="100000" y="80000"/>
                  </a:cubicBezTo>
                  <a:cubicBezTo>
                    <a:pt x="104285" y="80000"/>
                    <a:pt x="108571" y="80000"/>
                    <a:pt x="111428" y="78461"/>
                  </a:cubicBezTo>
                  <a:cubicBezTo>
                    <a:pt x="120000" y="75384"/>
                    <a:pt x="117142" y="55384"/>
                    <a:pt x="117142" y="47692"/>
                  </a:cubicBezTo>
                  <a:cubicBezTo>
                    <a:pt x="115714" y="49230"/>
                    <a:pt x="111428" y="52307"/>
                    <a:pt x="110000" y="49230"/>
                  </a:cubicBezTo>
                  <a:cubicBezTo>
                    <a:pt x="108571" y="47692"/>
                    <a:pt x="111428" y="44615"/>
                    <a:pt x="110000" y="43076"/>
                  </a:cubicBezTo>
                  <a:cubicBezTo>
                    <a:pt x="108571" y="40000"/>
                    <a:pt x="102857" y="41538"/>
                    <a:pt x="100000" y="40000"/>
                  </a:cubicBezTo>
                  <a:cubicBezTo>
                    <a:pt x="97142" y="40000"/>
                    <a:pt x="95714" y="35384"/>
                    <a:pt x="94285" y="33846"/>
                  </a:cubicBezTo>
                  <a:cubicBezTo>
                    <a:pt x="94285" y="32307"/>
                    <a:pt x="92857" y="30769"/>
                    <a:pt x="90000" y="30769"/>
                  </a:cubicBezTo>
                  <a:cubicBezTo>
                    <a:pt x="87142" y="27692"/>
                    <a:pt x="82857" y="24615"/>
                    <a:pt x="80000" y="21538"/>
                  </a:cubicBezTo>
                  <a:cubicBezTo>
                    <a:pt x="71428" y="16923"/>
                    <a:pt x="62857" y="10769"/>
                    <a:pt x="55714" y="4615"/>
                  </a:cubicBezTo>
                  <a:cubicBezTo>
                    <a:pt x="54285" y="4615"/>
                    <a:pt x="51428" y="1538"/>
                    <a:pt x="50000" y="1538"/>
                  </a:cubicBezTo>
                  <a:cubicBezTo>
                    <a:pt x="47142" y="0"/>
                    <a:pt x="42857" y="1538"/>
                    <a:pt x="38571" y="1538"/>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73" name="Shape 2647">
              <a:extLst>
                <a:ext uri="{FF2B5EF4-FFF2-40B4-BE49-F238E27FC236}">
                  <a16:creationId xmlns:a16="http://schemas.microsoft.com/office/drawing/2014/main" id="{42343EE9-9AF1-1A42-95AC-3D6155B7425B}"/>
                </a:ext>
              </a:extLst>
            </p:cNvPr>
            <p:cNvSpPr/>
            <p:nvPr/>
          </p:nvSpPr>
          <p:spPr>
            <a:xfrm>
              <a:off x="12814822" y="7500817"/>
              <a:ext cx="515921" cy="503317"/>
            </a:xfrm>
            <a:custGeom>
              <a:avLst/>
              <a:gdLst/>
              <a:ahLst/>
              <a:cxnLst/>
              <a:rect l="0" t="0" r="0" b="0"/>
              <a:pathLst>
                <a:path w="120000" h="120000" extrusionOk="0">
                  <a:moveTo>
                    <a:pt x="98181" y="120000"/>
                  </a:moveTo>
                  <a:cubicBezTo>
                    <a:pt x="100363" y="120000"/>
                    <a:pt x="100363" y="113333"/>
                    <a:pt x="104727" y="113333"/>
                  </a:cubicBezTo>
                  <a:cubicBezTo>
                    <a:pt x="111272" y="113333"/>
                    <a:pt x="106909" y="108888"/>
                    <a:pt x="111272" y="106666"/>
                  </a:cubicBezTo>
                  <a:cubicBezTo>
                    <a:pt x="117818" y="104444"/>
                    <a:pt x="117818" y="104444"/>
                    <a:pt x="117818" y="97777"/>
                  </a:cubicBezTo>
                  <a:cubicBezTo>
                    <a:pt x="115636" y="93333"/>
                    <a:pt x="115636" y="93333"/>
                    <a:pt x="120000" y="93333"/>
                  </a:cubicBezTo>
                  <a:cubicBezTo>
                    <a:pt x="117818" y="93333"/>
                    <a:pt x="111272" y="82222"/>
                    <a:pt x="109090" y="80000"/>
                  </a:cubicBezTo>
                  <a:cubicBezTo>
                    <a:pt x="106909" y="71111"/>
                    <a:pt x="102545" y="62222"/>
                    <a:pt x="98181" y="55555"/>
                  </a:cubicBezTo>
                  <a:cubicBezTo>
                    <a:pt x="93818" y="48888"/>
                    <a:pt x="91636" y="40000"/>
                    <a:pt x="87272" y="35555"/>
                  </a:cubicBezTo>
                  <a:cubicBezTo>
                    <a:pt x="85090" y="33333"/>
                    <a:pt x="80727" y="20000"/>
                    <a:pt x="82909" y="17777"/>
                  </a:cubicBezTo>
                  <a:cubicBezTo>
                    <a:pt x="82909" y="17777"/>
                    <a:pt x="100363" y="48888"/>
                    <a:pt x="102545" y="48888"/>
                  </a:cubicBezTo>
                  <a:cubicBezTo>
                    <a:pt x="104727" y="48888"/>
                    <a:pt x="106909" y="42222"/>
                    <a:pt x="106909" y="42222"/>
                  </a:cubicBezTo>
                  <a:cubicBezTo>
                    <a:pt x="106909" y="37777"/>
                    <a:pt x="106909" y="33333"/>
                    <a:pt x="104727" y="31111"/>
                  </a:cubicBezTo>
                  <a:cubicBezTo>
                    <a:pt x="104727" y="22222"/>
                    <a:pt x="102545" y="13333"/>
                    <a:pt x="102545" y="4444"/>
                  </a:cubicBezTo>
                  <a:cubicBezTo>
                    <a:pt x="98181" y="8888"/>
                    <a:pt x="87272" y="8888"/>
                    <a:pt x="82909" y="4444"/>
                  </a:cubicBezTo>
                  <a:cubicBezTo>
                    <a:pt x="74181" y="0"/>
                    <a:pt x="63272" y="2222"/>
                    <a:pt x="54545" y="6666"/>
                  </a:cubicBezTo>
                  <a:cubicBezTo>
                    <a:pt x="48000" y="11111"/>
                    <a:pt x="41454" y="8888"/>
                    <a:pt x="34909" y="6666"/>
                  </a:cubicBezTo>
                  <a:cubicBezTo>
                    <a:pt x="26181" y="4444"/>
                    <a:pt x="17454" y="4444"/>
                    <a:pt x="8727" y="2222"/>
                  </a:cubicBezTo>
                  <a:cubicBezTo>
                    <a:pt x="8727" y="2222"/>
                    <a:pt x="6545" y="0"/>
                    <a:pt x="6545" y="0"/>
                  </a:cubicBezTo>
                  <a:cubicBezTo>
                    <a:pt x="4363" y="2222"/>
                    <a:pt x="4363" y="4444"/>
                    <a:pt x="2181" y="6666"/>
                  </a:cubicBezTo>
                  <a:cubicBezTo>
                    <a:pt x="0" y="8888"/>
                    <a:pt x="6545" y="11111"/>
                    <a:pt x="4363" y="15555"/>
                  </a:cubicBezTo>
                  <a:cubicBezTo>
                    <a:pt x="2181" y="17777"/>
                    <a:pt x="2181" y="20000"/>
                    <a:pt x="2181" y="24444"/>
                  </a:cubicBezTo>
                  <a:cubicBezTo>
                    <a:pt x="4363" y="24444"/>
                    <a:pt x="4363" y="26666"/>
                    <a:pt x="4363" y="28888"/>
                  </a:cubicBezTo>
                  <a:cubicBezTo>
                    <a:pt x="4363" y="37777"/>
                    <a:pt x="4363" y="46666"/>
                    <a:pt x="4363" y="55555"/>
                  </a:cubicBezTo>
                  <a:cubicBezTo>
                    <a:pt x="4363" y="62222"/>
                    <a:pt x="4363" y="115555"/>
                    <a:pt x="4363" y="115555"/>
                  </a:cubicBezTo>
                  <a:cubicBezTo>
                    <a:pt x="28363" y="115555"/>
                    <a:pt x="50181" y="115555"/>
                    <a:pt x="74181" y="115555"/>
                  </a:cubicBezTo>
                  <a:cubicBezTo>
                    <a:pt x="78545" y="115555"/>
                    <a:pt x="82909" y="115555"/>
                    <a:pt x="87272" y="115555"/>
                  </a:cubicBezTo>
                  <a:cubicBezTo>
                    <a:pt x="91636" y="115555"/>
                    <a:pt x="93818" y="120000"/>
                    <a:pt x="98181" y="12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74" name="Shape 2648">
              <a:extLst>
                <a:ext uri="{FF2B5EF4-FFF2-40B4-BE49-F238E27FC236}">
                  <a16:creationId xmlns:a16="http://schemas.microsoft.com/office/drawing/2014/main" id="{4B1CF7B1-4F6C-4C41-82B4-B20D54A891E0}"/>
                </a:ext>
              </a:extLst>
            </p:cNvPr>
            <p:cNvSpPr/>
            <p:nvPr/>
          </p:nvSpPr>
          <p:spPr>
            <a:xfrm>
              <a:off x="12050489" y="7210934"/>
              <a:ext cx="187900" cy="363151"/>
            </a:xfrm>
            <a:custGeom>
              <a:avLst/>
              <a:gdLst/>
              <a:ahLst/>
              <a:cxnLst/>
              <a:rect l="0" t="0" r="0" b="0"/>
              <a:pathLst>
                <a:path w="120000" h="120000" extrusionOk="0">
                  <a:moveTo>
                    <a:pt x="84000" y="104615"/>
                  </a:moveTo>
                  <a:cubicBezTo>
                    <a:pt x="72000" y="98461"/>
                    <a:pt x="96000" y="92307"/>
                    <a:pt x="102000" y="92307"/>
                  </a:cubicBezTo>
                  <a:cubicBezTo>
                    <a:pt x="114000" y="89230"/>
                    <a:pt x="120000" y="86153"/>
                    <a:pt x="120000" y="83076"/>
                  </a:cubicBezTo>
                  <a:cubicBezTo>
                    <a:pt x="120000" y="80000"/>
                    <a:pt x="120000" y="76923"/>
                    <a:pt x="120000" y="73846"/>
                  </a:cubicBezTo>
                  <a:cubicBezTo>
                    <a:pt x="120000" y="70769"/>
                    <a:pt x="114000" y="70769"/>
                    <a:pt x="114000" y="70769"/>
                  </a:cubicBezTo>
                  <a:cubicBezTo>
                    <a:pt x="108000" y="67692"/>
                    <a:pt x="108000" y="64615"/>
                    <a:pt x="102000" y="61538"/>
                  </a:cubicBezTo>
                  <a:cubicBezTo>
                    <a:pt x="96000" y="61538"/>
                    <a:pt x="90000" y="64615"/>
                    <a:pt x="84000" y="61538"/>
                  </a:cubicBezTo>
                  <a:cubicBezTo>
                    <a:pt x="66000" y="55384"/>
                    <a:pt x="84000" y="52307"/>
                    <a:pt x="96000" y="49230"/>
                  </a:cubicBezTo>
                  <a:cubicBezTo>
                    <a:pt x="108000" y="46153"/>
                    <a:pt x="114000" y="36923"/>
                    <a:pt x="102000" y="30769"/>
                  </a:cubicBezTo>
                  <a:cubicBezTo>
                    <a:pt x="102000" y="27692"/>
                    <a:pt x="84000" y="21538"/>
                    <a:pt x="90000" y="18461"/>
                  </a:cubicBezTo>
                  <a:cubicBezTo>
                    <a:pt x="96000" y="15384"/>
                    <a:pt x="102000" y="15384"/>
                    <a:pt x="108000" y="12307"/>
                  </a:cubicBezTo>
                  <a:cubicBezTo>
                    <a:pt x="108000" y="12307"/>
                    <a:pt x="108000" y="3076"/>
                    <a:pt x="108000" y="3076"/>
                  </a:cubicBezTo>
                  <a:cubicBezTo>
                    <a:pt x="102000" y="3076"/>
                    <a:pt x="96000" y="12307"/>
                    <a:pt x="90000" y="9230"/>
                  </a:cubicBezTo>
                  <a:cubicBezTo>
                    <a:pt x="90000" y="9230"/>
                    <a:pt x="84000" y="6153"/>
                    <a:pt x="84000" y="6153"/>
                  </a:cubicBezTo>
                  <a:cubicBezTo>
                    <a:pt x="78000" y="3076"/>
                    <a:pt x="72000" y="0"/>
                    <a:pt x="66000" y="0"/>
                  </a:cubicBezTo>
                  <a:cubicBezTo>
                    <a:pt x="54000" y="3076"/>
                    <a:pt x="36000" y="6153"/>
                    <a:pt x="30000" y="12307"/>
                  </a:cubicBezTo>
                  <a:cubicBezTo>
                    <a:pt x="18000" y="24615"/>
                    <a:pt x="30000" y="43076"/>
                    <a:pt x="12000" y="52307"/>
                  </a:cubicBezTo>
                  <a:cubicBezTo>
                    <a:pt x="0" y="58461"/>
                    <a:pt x="0" y="58461"/>
                    <a:pt x="6000" y="64615"/>
                  </a:cubicBezTo>
                  <a:cubicBezTo>
                    <a:pt x="6000" y="70769"/>
                    <a:pt x="24000" y="73846"/>
                    <a:pt x="24000" y="80000"/>
                  </a:cubicBezTo>
                  <a:cubicBezTo>
                    <a:pt x="30000" y="86153"/>
                    <a:pt x="48000" y="89230"/>
                    <a:pt x="48000" y="92307"/>
                  </a:cubicBezTo>
                  <a:cubicBezTo>
                    <a:pt x="54000" y="101538"/>
                    <a:pt x="60000" y="113846"/>
                    <a:pt x="60000" y="120000"/>
                  </a:cubicBezTo>
                  <a:cubicBezTo>
                    <a:pt x="72000" y="120000"/>
                    <a:pt x="96000" y="113846"/>
                    <a:pt x="84000" y="104615"/>
                  </a:cubicBezTo>
                  <a:cubicBezTo>
                    <a:pt x="78000" y="101538"/>
                    <a:pt x="90000" y="107692"/>
                    <a:pt x="84000" y="104615"/>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75" name="Shape 2649">
              <a:extLst>
                <a:ext uri="{FF2B5EF4-FFF2-40B4-BE49-F238E27FC236}">
                  <a16:creationId xmlns:a16="http://schemas.microsoft.com/office/drawing/2014/main" id="{FC5CEFA6-DE13-6B49-81DF-B30E70141956}"/>
                </a:ext>
              </a:extLst>
            </p:cNvPr>
            <p:cNvSpPr/>
            <p:nvPr/>
          </p:nvSpPr>
          <p:spPr>
            <a:xfrm>
              <a:off x="12133296" y="7424364"/>
              <a:ext cx="710193" cy="684895"/>
            </a:xfrm>
            <a:custGeom>
              <a:avLst/>
              <a:gdLst/>
              <a:ahLst/>
              <a:cxnLst/>
              <a:rect l="0" t="0" r="0" b="0"/>
              <a:pathLst>
                <a:path w="120000" h="120000" extrusionOk="0">
                  <a:moveTo>
                    <a:pt x="33157" y="90410"/>
                  </a:moveTo>
                  <a:cubicBezTo>
                    <a:pt x="33157" y="92054"/>
                    <a:pt x="37894" y="95342"/>
                    <a:pt x="39473" y="93698"/>
                  </a:cubicBezTo>
                  <a:cubicBezTo>
                    <a:pt x="41052" y="92054"/>
                    <a:pt x="42631" y="92054"/>
                    <a:pt x="44210" y="90410"/>
                  </a:cubicBezTo>
                  <a:cubicBezTo>
                    <a:pt x="45789" y="90410"/>
                    <a:pt x="50526" y="87123"/>
                    <a:pt x="52105" y="87123"/>
                  </a:cubicBezTo>
                  <a:cubicBezTo>
                    <a:pt x="58421" y="90410"/>
                    <a:pt x="63157" y="93698"/>
                    <a:pt x="69473" y="96986"/>
                  </a:cubicBezTo>
                  <a:cubicBezTo>
                    <a:pt x="83684" y="105205"/>
                    <a:pt x="96315" y="113424"/>
                    <a:pt x="110526" y="119999"/>
                  </a:cubicBezTo>
                  <a:cubicBezTo>
                    <a:pt x="110526" y="116712"/>
                    <a:pt x="108947" y="116712"/>
                    <a:pt x="112105" y="116712"/>
                  </a:cubicBezTo>
                  <a:cubicBezTo>
                    <a:pt x="112105" y="116712"/>
                    <a:pt x="118421" y="116712"/>
                    <a:pt x="118421" y="116712"/>
                  </a:cubicBezTo>
                  <a:cubicBezTo>
                    <a:pt x="118421" y="113424"/>
                    <a:pt x="118421" y="111780"/>
                    <a:pt x="118421" y="108493"/>
                  </a:cubicBezTo>
                  <a:cubicBezTo>
                    <a:pt x="118421" y="96986"/>
                    <a:pt x="118421" y="85479"/>
                    <a:pt x="118421" y="72328"/>
                  </a:cubicBezTo>
                  <a:cubicBezTo>
                    <a:pt x="118421" y="60821"/>
                    <a:pt x="118421" y="49315"/>
                    <a:pt x="118421" y="39452"/>
                  </a:cubicBezTo>
                  <a:cubicBezTo>
                    <a:pt x="118421" y="36164"/>
                    <a:pt x="118421" y="34520"/>
                    <a:pt x="118421" y="32876"/>
                  </a:cubicBezTo>
                  <a:cubicBezTo>
                    <a:pt x="116842" y="31232"/>
                    <a:pt x="116842" y="29589"/>
                    <a:pt x="116842" y="27945"/>
                  </a:cubicBezTo>
                  <a:cubicBezTo>
                    <a:pt x="116842" y="26301"/>
                    <a:pt x="120000" y="24657"/>
                    <a:pt x="120000" y="23013"/>
                  </a:cubicBezTo>
                  <a:cubicBezTo>
                    <a:pt x="120000" y="21369"/>
                    <a:pt x="116842" y="19726"/>
                    <a:pt x="116842" y="18082"/>
                  </a:cubicBezTo>
                  <a:cubicBezTo>
                    <a:pt x="116842" y="16438"/>
                    <a:pt x="118421" y="14794"/>
                    <a:pt x="120000" y="13150"/>
                  </a:cubicBezTo>
                  <a:cubicBezTo>
                    <a:pt x="115263" y="9863"/>
                    <a:pt x="110526" y="11506"/>
                    <a:pt x="105789" y="8219"/>
                  </a:cubicBezTo>
                  <a:cubicBezTo>
                    <a:pt x="102631" y="6575"/>
                    <a:pt x="101052" y="3287"/>
                    <a:pt x="96315" y="3287"/>
                  </a:cubicBezTo>
                  <a:cubicBezTo>
                    <a:pt x="90000" y="3287"/>
                    <a:pt x="83684" y="4931"/>
                    <a:pt x="80526" y="9863"/>
                  </a:cubicBezTo>
                  <a:cubicBezTo>
                    <a:pt x="78947" y="11506"/>
                    <a:pt x="78947" y="13150"/>
                    <a:pt x="80526" y="14794"/>
                  </a:cubicBezTo>
                  <a:cubicBezTo>
                    <a:pt x="82105" y="18082"/>
                    <a:pt x="80526" y="19726"/>
                    <a:pt x="78947" y="23013"/>
                  </a:cubicBezTo>
                  <a:cubicBezTo>
                    <a:pt x="75789" y="27945"/>
                    <a:pt x="69473" y="24657"/>
                    <a:pt x="64736" y="21369"/>
                  </a:cubicBezTo>
                  <a:cubicBezTo>
                    <a:pt x="61578" y="21369"/>
                    <a:pt x="60000" y="19726"/>
                    <a:pt x="56842" y="19726"/>
                  </a:cubicBezTo>
                  <a:cubicBezTo>
                    <a:pt x="53684" y="18082"/>
                    <a:pt x="50526" y="19726"/>
                    <a:pt x="48947" y="16438"/>
                  </a:cubicBezTo>
                  <a:cubicBezTo>
                    <a:pt x="47368" y="14794"/>
                    <a:pt x="47368" y="11506"/>
                    <a:pt x="45789" y="9863"/>
                  </a:cubicBezTo>
                  <a:cubicBezTo>
                    <a:pt x="44210" y="6575"/>
                    <a:pt x="39473" y="6575"/>
                    <a:pt x="36315" y="4931"/>
                  </a:cubicBezTo>
                  <a:cubicBezTo>
                    <a:pt x="33157" y="3287"/>
                    <a:pt x="30000" y="3287"/>
                    <a:pt x="26842" y="3287"/>
                  </a:cubicBezTo>
                  <a:cubicBezTo>
                    <a:pt x="23684" y="3287"/>
                    <a:pt x="22105" y="1643"/>
                    <a:pt x="17368" y="0"/>
                  </a:cubicBezTo>
                  <a:cubicBezTo>
                    <a:pt x="17368" y="1643"/>
                    <a:pt x="17368" y="3287"/>
                    <a:pt x="17368" y="6575"/>
                  </a:cubicBezTo>
                  <a:cubicBezTo>
                    <a:pt x="17368" y="8219"/>
                    <a:pt x="17368" y="6575"/>
                    <a:pt x="14210" y="9863"/>
                  </a:cubicBezTo>
                  <a:cubicBezTo>
                    <a:pt x="12631" y="11506"/>
                    <a:pt x="11052" y="11506"/>
                    <a:pt x="7894" y="13150"/>
                  </a:cubicBezTo>
                  <a:cubicBezTo>
                    <a:pt x="4736" y="16438"/>
                    <a:pt x="9473" y="19726"/>
                    <a:pt x="7894" y="23013"/>
                  </a:cubicBezTo>
                  <a:cubicBezTo>
                    <a:pt x="6315" y="26301"/>
                    <a:pt x="1578" y="26301"/>
                    <a:pt x="1578" y="27945"/>
                  </a:cubicBezTo>
                  <a:cubicBezTo>
                    <a:pt x="1578" y="31232"/>
                    <a:pt x="3157" y="32876"/>
                    <a:pt x="4736" y="34520"/>
                  </a:cubicBezTo>
                  <a:cubicBezTo>
                    <a:pt x="4736" y="37808"/>
                    <a:pt x="4736" y="41095"/>
                    <a:pt x="4736" y="42739"/>
                  </a:cubicBezTo>
                  <a:cubicBezTo>
                    <a:pt x="4736" y="46027"/>
                    <a:pt x="6315" y="47671"/>
                    <a:pt x="4736" y="50958"/>
                  </a:cubicBezTo>
                  <a:cubicBezTo>
                    <a:pt x="4736" y="52602"/>
                    <a:pt x="4736" y="54246"/>
                    <a:pt x="4736" y="55890"/>
                  </a:cubicBezTo>
                  <a:cubicBezTo>
                    <a:pt x="4736" y="57534"/>
                    <a:pt x="6315" y="59178"/>
                    <a:pt x="4736" y="60821"/>
                  </a:cubicBezTo>
                  <a:cubicBezTo>
                    <a:pt x="4736" y="62465"/>
                    <a:pt x="0" y="62465"/>
                    <a:pt x="1578" y="65753"/>
                  </a:cubicBezTo>
                  <a:cubicBezTo>
                    <a:pt x="4736" y="69041"/>
                    <a:pt x="6315" y="70684"/>
                    <a:pt x="6315" y="75616"/>
                  </a:cubicBezTo>
                  <a:cubicBezTo>
                    <a:pt x="6315" y="78904"/>
                    <a:pt x="9473" y="77260"/>
                    <a:pt x="11052" y="78904"/>
                  </a:cubicBezTo>
                  <a:cubicBezTo>
                    <a:pt x="14210" y="78904"/>
                    <a:pt x="15789" y="78904"/>
                    <a:pt x="17368" y="80547"/>
                  </a:cubicBezTo>
                  <a:cubicBezTo>
                    <a:pt x="18947" y="82191"/>
                    <a:pt x="20526" y="85479"/>
                    <a:pt x="22105" y="87123"/>
                  </a:cubicBezTo>
                  <a:cubicBezTo>
                    <a:pt x="25263" y="88767"/>
                    <a:pt x="30000" y="87123"/>
                    <a:pt x="33157" y="90410"/>
                  </a:cubicBezTo>
                  <a:cubicBezTo>
                    <a:pt x="34736" y="92054"/>
                    <a:pt x="31578" y="88767"/>
                    <a:pt x="33157" y="9041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76" name="Shape 2650">
              <a:extLst>
                <a:ext uri="{FF2B5EF4-FFF2-40B4-BE49-F238E27FC236}">
                  <a16:creationId xmlns:a16="http://schemas.microsoft.com/office/drawing/2014/main" id="{8F834D90-072F-BF45-859F-244CE41E8E05}"/>
                </a:ext>
              </a:extLst>
            </p:cNvPr>
            <p:cNvSpPr/>
            <p:nvPr/>
          </p:nvSpPr>
          <p:spPr>
            <a:xfrm>
              <a:off x="10910365" y="7714251"/>
              <a:ext cx="391719" cy="318555"/>
            </a:xfrm>
            <a:custGeom>
              <a:avLst/>
              <a:gdLst/>
              <a:ahLst/>
              <a:cxnLst/>
              <a:rect l="0" t="0" r="0" b="0"/>
              <a:pathLst>
                <a:path w="120000" h="120000" extrusionOk="0">
                  <a:moveTo>
                    <a:pt x="54285" y="120000"/>
                  </a:moveTo>
                  <a:cubicBezTo>
                    <a:pt x="54285" y="109411"/>
                    <a:pt x="51428" y="91764"/>
                    <a:pt x="57142" y="88235"/>
                  </a:cubicBezTo>
                  <a:cubicBezTo>
                    <a:pt x="60000" y="84705"/>
                    <a:pt x="65714" y="81176"/>
                    <a:pt x="68571" y="77647"/>
                  </a:cubicBezTo>
                  <a:cubicBezTo>
                    <a:pt x="71428" y="77647"/>
                    <a:pt x="71428" y="70588"/>
                    <a:pt x="71428" y="70588"/>
                  </a:cubicBezTo>
                  <a:cubicBezTo>
                    <a:pt x="71428" y="56470"/>
                    <a:pt x="71428" y="45882"/>
                    <a:pt x="71428" y="31764"/>
                  </a:cubicBezTo>
                  <a:cubicBezTo>
                    <a:pt x="71428" y="31764"/>
                    <a:pt x="88571" y="31764"/>
                    <a:pt x="91428" y="31764"/>
                  </a:cubicBezTo>
                  <a:cubicBezTo>
                    <a:pt x="100000" y="31764"/>
                    <a:pt x="108571" y="31764"/>
                    <a:pt x="117142" y="31764"/>
                  </a:cubicBezTo>
                  <a:cubicBezTo>
                    <a:pt x="120000" y="31764"/>
                    <a:pt x="120000" y="10588"/>
                    <a:pt x="120000" y="7058"/>
                  </a:cubicBezTo>
                  <a:cubicBezTo>
                    <a:pt x="120000" y="0"/>
                    <a:pt x="120000" y="0"/>
                    <a:pt x="114285" y="0"/>
                  </a:cubicBezTo>
                  <a:cubicBezTo>
                    <a:pt x="94285" y="0"/>
                    <a:pt x="77142" y="0"/>
                    <a:pt x="57142" y="0"/>
                  </a:cubicBezTo>
                  <a:cubicBezTo>
                    <a:pt x="51428" y="7058"/>
                    <a:pt x="48571" y="14117"/>
                    <a:pt x="42857" y="21176"/>
                  </a:cubicBezTo>
                  <a:cubicBezTo>
                    <a:pt x="31428" y="31764"/>
                    <a:pt x="31428" y="42352"/>
                    <a:pt x="28571" y="60000"/>
                  </a:cubicBezTo>
                  <a:cubicBezTo>
                    <a:pt x="28571" y="60000"/>
                    <a:pt x="25714" y="63529"/>
                    <a:pt x="22857" y="63529"/>
                  </a:cubicBezTo>
                  <a:cubicBezTo>
                    <a:pt x="17142" y="70588"/>
                    <a:pt x="14285" y="77647"/>
                    <a:pt x="11428" y="88235"/>
                  </a:cubicBezTo>
                  <a:cubicBezTo>
                    <a:pt x="5714" y="98823"/>
                    <a:pt x="0" y="105882"/>
                    <a:pt x="0" y="120000"/>
                  </a:cubicBezTo>
                  <a:cubicBezTo>
                    <a:pt x="17142" y="120000"/>
                    <a:pt x="37142" y="120000"/>
                    <a:pt x="54285" y="12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77" name="Shape 2651">
              <a:extLst>
                <a:ext uri="{FF2B5EF4-FFF2-40B4-BE49-F238E27FC236}">
                  <a16:creationId xmlns:a16="http://schemas.microsoft.com/office/drawing/2014/main" id="{CFBA5AC9-8972-7446-AE5C-B8AF0BD228FB}"/>
                </a:ext>
              </a:extLst>
            </p:cNvPr>
            <p:cNvSpPr/>
            <p:nvPr/>
          </p:nvSpPr>
          <p:spPr>
            <a:xfrm>
              <a:off x="11098262" y="7265087"/>
              <a:ext cx="560507" cy="449162"/>
            </a:xfrm>
            <a:custGeom>
              <a:avLst/>
              <a:gdLst/>
              <a:ahLst/>
              <a:cxnLst/>
              <a:rect l="0" t="0" r="0" b="0"/>
              <a:pathLst>
                <a:path w="120000" h="120000" extrusionOk="0">
                  <a:moveTo>
                    <a:pt x="44000" y="120000"/>
                  </a:moveTo>
                  <a:cubicBezTo>
                    <a:pt x="44000" y="112500"/>
                    <a:pt x="42000" y="107500"/>
                    <a:pt x="46000" y="102500"/>
                  </a:cubicBezTo>
                  <a:cubicBezTo>
                    <a:pt x="50000" y="100000"/>
                    <a:pt x="56000" y="97500"/>
                    <a:pt x="58000" y="92500"/>
                  </a:cubicBezTo>
                  <a:cubicBezTo>
                    <a:pt x="60000" y="92500"/>
                    <a:pt x="64000" y="92500"/>
                    <a:pt x="66000" y="92500"/>
                  </a:cubicBezTo>
                  <a:cubicBezTo>
                    <a:pt x="68000" y="90000"/>
                    <a:pt x="72000" y="90000"/>
                    <a:pt x="76000" y="87500"/>
                  </a:cubicBezTo>
                  <a:cubicBezTo>
                    <a:pt x="78000" y="85000"/>
                    <a:pt x="78000" y="82500"/>
                    <a:pt x="80000" y="80000"/>
                  </a:cubicBezTo>
                  <a:cubicBezTo>
                    <a:pt x="82000" y="77500"/>
                    <a:pt x="88000" y="80000"/>
                    <a:pt x="90000" y="77500"/>
                  </a:cubicBezTo>
                  <a:cubicBezTo>
                    <a:pt x="92000" y="75000"/>
                    <a:pt x="92000" y="72500"/>
                    <a:pt x="92000" y="70000"/>
                  </a:cubicBezTo>
                  <a:cubicBezTo>
                    <a:pt x="92000" y="65000"/>
                    <a:pt x="98000" y="65000"/>
                    <a:pt x="100000" y="62500"/>
                  </a:cubicBezTo>
                  <a:cubicBezTo>
                    <a:pt x="102000" y="60000"/>
                    <a:pt x="102000" y="57500"/>
                    <a:pt x="106000" y="57500"/>
                  </a:cubicBezTo>
                  <a:cubicBezTo>
                    <a:pt x="108000" y="57500"/>
                    <a:pt x="114000" y="60000"/>
                    <a:pt x="116000" y="60000"/>
                  </a:cubicBezTo>
                  <a:cubicBezTo>
                    <a:pt x="120000" y="57500"/>
                    <a:pt x="112000" y="42500"/>
                    <a:pt x="112000" y="40000"/>
                  </a:cubicBezTo>
                  <a:cubicBezTo>
                    <a:pt x="112000" y="35000"/>
                    <a:pt x="112000" y="30000"/>
                    <a:pt x="112000" y="25000"/>
                  </a:cubicBezTo>
                  <a:cubicBezTo>
                    <a:pt x="110000" y="22500"/>
                    <a:pt x="110000" y="20000"/>
                    <a:pt x="110000" y="17500"/>
                  </a:cubicBezTo>
                  <a:cubicBezTo>
                    <a:pt x="106000" y="17500"/>
                    <a:pt x="104000" y="15000"/>
                    <a:pt x="102000" y="15000"/>
                  </a:cubicBezTo>
                  <a:cubicBezTo>
                    <a:pt x="100000" y="12500"/>
                    <a:pt x="96000" y="15000"/>
                    <a:pt x="94000" y="15000"/>
                  </a:cubicBezTo>
                  <a:cubicBezTo>
                    <a:pt x="92000" y="12500"/>
                    <a:pt x="88000" y="15000"/>
                    <a:pt x="84000" y="15000"/>
                  </a:cubicBezTo>
                  <a:cubicBezTo>
                    <a:pt x="80000" y="15000"/>
                    <a:pt x="72000" y="0"/>
                    <a:pt x="70000" y="10000"/>
                  </a:cubicBezTo>
                  <a:cubicBezTo>
                    <a:pt x="68000" y="17500"/>
                    <a:pt x="66000" y="25000"/>
                    <a:pt x="60000" y="32500"/>
                  </a:cubicBezTo>
                  <a:cubicBezTo>
                    <a:pt x="54000" y="40000"/>
                    <a:pt x="46000" y="40000"/>
                    <a:pt x="40000" y="47500"/>
                  </a:cubicBezTo>
                  <a:cubicBezTo>
                    <a:pt x="36000" y="52500"/>
                    <a:pt x="34000" y="60000"/>
                    <a:pt x="32000" y="67500"/>
                  </a:cubicBezTo>
                  <a:cubicBezTo>
                    <a:pt x="32000" y="72500"/>
                    <a:pt x="34000" y="80000"/>
                    <a:pt x="32000" y="87500"/>
                  </a:cubicBezTo>
                  <a:cubicBezTo>
                    <a:pt x="30000" y="90000"/>
                    <a:pt x="28000" y="95000"/>
                    <a:pt x="28000" y="97500"/>
                  </a:cubicBezTo>
                  <a:cubicBezTo>
                    <a:pt x="26000" y="102500"/>
                    <a:pt x="22000" y="102500"/>
                    <a:pt x="18000" y="105000"/>
                  </a:cubicBezTo>
                  <a:cubicBezTo>
                    <a:pt x="16000" y="107500"/>
                    <a:pt x="14000" y="110000"/>
                    <a:pt x="10000" y="112500"/>
                  </a:cubicBezTo>
                  <a:cubicBezTo>
                    <a:pt x="8000" y="115000"/>
                    <a:pt x="4000" y="115000"/>
                    <a:pt x="0" y="120000"/>
                  </a:cubicBezTo>
                  <a:lnTo>
                    <a:pt x="44000" y="120000"/>
                  </a:ln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78" name="Shape 2652">
              <a:extLst>
                <a:ext uri="{FF2B5EF4-FFF2-40B4-BE49-F238E27FC236}">
                  <a16:creationId xmlns:a16="http://schemas.microsoft.com/office/drawing/2014/main" id="{4862BB1E-C16A-3B41-86D5-4C016E4BFF76}"/>
                </a:ext>
              </a:extLst>
            </p:cNvPr>
            <p:cNvSpPr/>
            <p:nvPr/>
          </p:nvSpPr>
          <p:spPr>
            <a:xfrm>
              <a:off x="11295714" y="7220491"/>
              <a:ext cx="968151" cy="923807"/>
            </a:xfrm>
            <a:custGeom>
              <a:avLst/>
              <a:gdLst/>
              <a:ahLst/>
              <a:cxnLst/>
              <a:rect l="0" t="0" r="0" b="0"/>
              <a:pathLst>
                <a:path w="120000" h="120000" extrusionOk="0">
                  <a:moveTo>
                    <a:pt x="40384" y="26666"/>
                  </a:moveTo>
                  <a:cubicBezTo>
                    <a:pt x="41538" y="27878"/>
                    <a:pt x="46153" y="35151"/>
                    <a:pt x="41538" y="35151"/>
                  </a:cubicBezTo>
                  <a:cubicBezTo>
                    <a:pt x="40384" y="33939"/>
                    <a:pt x="36923" y="32727"/>
                    <a:pt x="35769" y="33939"/>
                  </a:cubicBezTo>
                  <a:cubicBezTo>
                    <a:pt x="34615" y="35151"/>
                    <a:pt x="34615" y="35151"/>
                    <a:pt x="33461" y="36363"/>
                  </a:cubicBezTo>
                  <a:cubicBezTo>
                    <a:pt x="32307" y="37575"/>
                    <a:pt x="31153" y="37575"/>
                    <a:pt x="30000" y="37575"/>
                  </a:cubicBezTo>
                  <a:cubicBezTo>
                    <a:pt x="27692" y="38787"/>
                    <a:pt x="28846" y="41212"/>
                    <a:pt x="27692" y="42424"/>
                  </a:cubicBezTo>
                  <a:cubicBezTo>
                    <a:pt x="27692" y="44848"/>
                    <a:pt x="24230" y="43636"/>
                    <a:pt x="23076" y="44848"/>
                  </a:cubicBezTo>
                  <a:cubicBezTo>
                    <a:pt x="20769" y="44848"/>
                    <a:pt x="20769" y="47272"/>
                    <a:pt x="19615" y="48484"/>
                  </a:cubicBezTo>
                  <a:cubicBezTo>
                    <a:pt x="17307" y="50909"/>
                    <a:pt x="15000" y="49696"/>
                    <a:pt x="12692" y="50909"/>
                  </a:cubicBezTo>
                  <a:cubicBezTo>
                    <a:pt x="11538" y="50909"/>
                    <a:pt x="10384" y="50909"/>
                    <a:pt x="9230" y="52121"/>
                  </a:cubicBezTo>
                  <a:cubicBezTo>
                    <a:pt x="8076" y="52121"/>
                    <a:pt x="5769" y="53333"/>
                    <a:pt x="4615" y="54545"/>
                  </a:cubicBezTo>
                  <a:cubicBezTo>
                    <a:pt x="0" y="56969"/>
                    <a:pt x="1153" y="58181"/>
                    <a:pt x="1153" y="63030"/>
                  </a:cubicBezTo>
                  <a:cubicBezTo>
                    <a:pt x="1153" y="66666"/>
                    <a:pt x="0" y="66666"/>
                    <a:pt x="2307" y="67878"/>
                  </a:cubicBezTo>
                  <a:cubicBezTo>
                    <a:pt x="3461" y="69090"/>
                    <a:pt x="5769" y="70303"/>
                    <a:pt x="6923" y="71515"/>
                  </a:cubicBezTo>
                  <a:cubicBezTo>
                    <a:pt x="18461" y="80000"/>
                    <a:pt x="30000" y="87272"/>
                    <a:pt x="42692" y="95757"/>
                  </a:cubicBezTo>
                  <a:cubicBezTo>
                    <a:pt x="46153" y="98181"/>
                    <a:pt x="50769" y="101818"/>
                    <a:pt x="55384" y="104242"/>
                  </a:cubicBezTo>
                  <a:cubicBezTo>
                    <a:pt x="55384" y="105454"/>
                    <a:pt x="56538" y="105454"/>
                    <a:pt x="56538" y="105454"/>
                  </a:cubicBezTo>
                  <a:cubicBezTo>
                    <a:pt x="60000" y="111515"/>
                    <a:pt x="62307" y="111515"/>
                    <a:pt x="66923" y="112727"/>
                  </a:cubicBezTo>
                  <a:cubicBezTo>
                    <a:pt x="70384" y="113939"/>
                    <a:pt x="66923" y="118787"/>
                    <a:pt x="70384" y="119999"/>
                  </a:cubicBezTo>
                  <a:cubicBezTo>
                    <a:pt x="71538" y="119999"/>
                    <a:pt x="75000" y="118787"/>
                    <a:pt x="77307" y="117575"/>
                  </a:cubicBezTo>
                  <a:cubicBezTo>
                    <a:pt x="78461" y="117575"/>
                    <a:pt x="81923" y="117575"/>
                    <a:pt x="83076" y="116363"/>
                  </a:cubicBezTo>
                  <a:cubicBezTo>
                    <a:pt x="87692" y="112727"/>
                    <a:pt x="92307" y="109090"/>
                    <a:pt x="98076" y="105454"/>
                  </a:cubicBezTo>
                  <a:cubicBezTo>
                    <a:pt x="103846" y="101818"/>
                    <a:pt x="109615" y="96969"/>
                    <a:pt x="115384" y="93333"/>
                  </a:cubicBezTo>
                  <a:cubicBezTo>
                    <a:pt x="116538" y="93333"/>
                    <a:pt x="117692" y="92121"/>
                    <a:pt x="120000" y="90909"/>
                  </a:cubicBezTo>
                  <a:cubicBezTo>
                    <a:pt x="117692" y="86060"/>
                    <a:pt x="116538" y="84848"/>
                    <a:pt x="111923" y="83636"/>
                  </a:cubicBezTo>
                  <a:cubicBezTo>
                    <a:pt x="110769" y="83636"/>
                    <a:pt x="108461" y="83636"/>
                    <a:pt x="108461" y="83636"/>
                  </a:cubicBezTo>
                  <a:cubicBezTo>
                    <a:pt x="108461" y="80000"/>
                    <a:pt x="108461" y="78787"/>
                    <a:pt x="106153" y="76363"/>
                  </a:cubicBezTo>
                  <a:cubicBezTo>
                    <a:pt x="105000" y="73939"/>
                    <a:pt x="105000" y="73939"/>
                    <a:pt x="106153" y="72727"/>
                  </a:cubicBezTo>
                  <a:cubicBezTo>
                    <a:pt x="108461" y="70303"/>
                    <a:pt x="107307" y="69090"/>
                    <a:pt x="107307" y="66666"/>
                  </a:cubicBezTo>
                  <a:cubicBezTo>
                    <a:pt x="107307" y="64242"/>
                    <a:pt x="108461" y="63030"/>
                    <a:pt x="107307" y="60606"/>
                  </a:cubicBezTo>
                  <a:cubicBezTo>
                    <a:pt x="107307" y="59393"/>
                    <a:pt x="107307" y="58181"/>
                    <a:pt x="107307" y="55757"/>
                  </a:cubicBezTo>
                  <a:cubicBezTo>
                    <a:pt x="107307" y="54545"/>
                    <a:pt x="107307" y="52121"/>
                    <a:pt x="106153" y="50909"/>
                  </a:cubicBezTo>
                  <a:cubicBezTo>
                    <a:pt x="105000" y="49696"/>
                    <a:pt x="105000" y="47272"/>
                    <a:pt x="105000" y="44848"/>
                  </a:cubicBezTo>
                  <a:cubicBezTo>
                    <a:pt x="105000" y="41212"/>
                    <a:pt x="103846" y="36363"/>
                    <a:pt x="100384" y="32727"/>
                  </a:cubicBezTo>
                  <a:cubicBezTo>
                    <a:pt x="98076" y="30303"/>
                    <a:pt x="95769" y="27878"/>
                    <a:pt x="94615" y="24242"/>
                  </a:cubicBezTo>
                  <a:cubicBezTo>
                    <a:pt x="92307" y="19393"/>
                    <a:pt x="96923" y="20606"/>
                    <a:pt x="98076" y="15757"/>
                  </a:cubicBezTo>
                  <a:cubicBezTo>
                    <a:pt x="98076" y="10909"/>
                    <a:pt x="98076" y="7272"/>
                    <a:pt x="99230" y="2424"/>
                  </a:cubicBezTo>
                  <a:cubicBezTo>
                    <a:pt x="98076" y="2424"/>
                    <a:pt x="98076" y="1212"/>
                    <a:pt x="96923" y="1212"/>
                  </a:cubicBezTo>
                  <a:cubicBezTo>
                    <a:pt x="94615" y="2424"/>
                    <a:pt x="94615" y="0"/>
                    <a:pt x="93461" y="0"/>
                  </a:cubicBezTo>
                  <a:cubicBezTo>
                    <a:pt x="92307" y="0"/>
                    <a:pt x="92307" y="1212"/>
                    <a:pt x="91153" y="1212"/>
                  </a:cubicBezTo>
                  <a:cubicBezTo>
                    <a:pt x="88846" y="1212"/>
                    <a:pt x="88846" y="0"/>
                    <a:pt x="86538" y="0"/>
                  </a:cubicBezTo>
                  <a:cubicBezTo>
                    <a:pt x="85384" y="1212"/>
                    <a:pt x="84230" y="1212"/>
                    <a:pt x="83076" y="2424"/>
                  </a:cubicBezTo>
                  <a:cubicBezTo>
                    <a:pt x="80769" y="3636"/>
                    <a:pt x="80769" y="2424"/>
                    <a:pt x="78461" y="1212"/>
                  </a:cubicBezTo>
                  <a:cubicBezTo>
                    <a:pt x="76153" y="1212"/>
                    <a:pt x="72692" y="1212"/>
                    <a:pt x="70384" y="2424"/>
                  </a:cubicBezTo>
                  <a:cubicBezTo>
                    <a:pt x="64615" y="3636"/>
                    <a:pt x="58846" y="3636"/>
                    <a:pt x="53076" y="6060"/>
                  </a:cubicBezTo>
                  <a:cubicBezTo>
                    <a:pt x="51923" y="7272"/>
                    <a:pt x="50769" y="8484"/>
                    <a:pt x="49615" y="8484"/>
                  </a:cubicBezTo>
                  <a:cubicBezTo>
                    <a:pt x="48461" y="9696"/>
                    <a:pt x="46153" y="9696"/>
                    <a:pt x="45000" y="9696"/>
                  </a:cubicBezTo>
                  <a:cubicBezTo>
                    <a:pt x="42692" y="10909"/>
                    <a:pt x="42692" y="14545"/>
                    <a:pt x="39230" y="14545"/>
                  </a:cubicBezTo>
                  <a:cubicBezTo>
                    <a:pt x="40384" y="18181"/>
                    <a:pt x="40384" y="21818"/>
                    <a:pt x="40384" y="26666"/>
                  </a:cubicBezTo>
                  <a:cubicBezTo>
                    <a:pt x="41538" y="27878"/>
                    <a:pt x="40384" y="24242"/>
                    <a:pt x="40384" y="26666"/>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79" name="Shape 2653">
              <a:extLst>
                <a:ext uri="{FF2B5EF4-FFF2-40B4-BE49-F238E27FC236}">
                  <a16:creationId xmlns:a16="http://schemas.microsoft.com/office/drawing/2014/main" id="{110C9275-3B43-7D42-BDED-6DF3E86A7615}"/>
                </a:ext>
              </a:extLst>
            </p:cNvPr>
            <p:cNvSpPr/>
            <p:nvPr/>
          </p:nvSpPr>
          <p:spPr>
            <a:xfrm>
              <a:off x="8295717" y="3719579"/>
              <a:ext cx="2850317" cy="2124757"/>
            </a:xfrm>
            <a:custGeom>
              <a:avLst/>
              <a:gdLst/>
              <a:ahLst/>
              <a:cxnLst/>
              <a:rect l="0" t="0" r="0" b="0"/>
              <a:pathLst>
                <a:path w="120000" h="120000" extrusionOk="0">
                  <a:moveTo>
                    <a:pt x="12590" y="19559"/>
                  </a:moveTo>
                  <a:cubicBezTo>
                    <a:pt x="12196" y="20088"/>
                    <a:pt x="10229" y="21145"/>
                    <a:pt x="10622" y="21674"/>
                  </a:cubicBezTo>
                  <a:cubicBezTo>
                    <a:pt x="11016" y="22202"/>
                    <a:pt x="11803" y="22202"/>
                    <a:pt x="12590" y="22731"/>
                  </a:cubicBezTo>
                  <a:cubicBezTo>
                    <a:pt x="13377" y="22731"/>
                    <a:pt x="14163" y="22731"/>
                    <a:pt x="15344" y="22731"/>
                  </a:cubicBezTo>
                  <a:cubicBezTo>
                    <a:pt x="15344" y="22731"/>
                    <a:pt x="17311" y="22202"/>
                    <a:pt x="17704" y="22202"/>
                  </a:cubicBezTo>
                  <a:cubicBezTo>
                    <a:pt x="17311" y="22202"/>
                    <a:pt x="16524" y="22731"/>
                    <a:pt x="16131" y="23259"/>
                  </a:cubicBezTo>
                  <a:cubicBezTo>
                    <a:pt x="15737" y="23788"/>
                    <a:pt x="15344" y="24317"/>
                    <a:pt x="15737" y="25374"/>
                  </a:cubicBezTo>
                  <a:cubicBezTo>
                    <a:pt x="16524" y="26431"/>
                    <a:pt x="14163" y="29074"/>
                    <a:pt x="12983" y="28546"/>
                  </a:cubicBezTo>
                  <a:cubicBezTo>
                    <a:pt x="12590" y="28017"/>
                    <a:pt x="11803" y="28546"/>
                    <a:pt x="11016" y="28546"/>
                  </a:cubicBezTo>
                  <a:cubicBezTo>
                    <a:pt x="10622" y="28017"/>
                    <a:pt x="9836" y="28546"/>
                    <a:pt x="9442" y="28546"/>
                  </a:cubicBezTo>
                  <a:cubicBezTo>
                    <a:pt x="9049" y="28546"/>
                    <a:pt x="8262" y="28546"/>
                    <a:pt x="7868" y="29603"/>
                  </a:cubicBezTo>
                  <a:cubicBezTo>
                    <a:pt x="7475" y="30132"/>
                    <a:pt x="7081" y="30132"/>
                    <a:pt x="6295" y="30132"/>
                  </a:cubicBezTo>
                  <a:cubicBezTo>
                    <a:pt x="5114" y="30660"/>
                    <a:pt x="3934" y="31189"/>
                    <a:pt x="2754" y="31189"/>
                  </a:cubicBezTo>
                  <a:cubicBezTo>
                    <a:pt x="2360" y="31189"/>
                    <a:pt x="1573" y="30660"/>
                    <a:pt x="1573" y="31189"/>
                  </a:cubicBezTo>
                  <a:cubicBezTo>
                    <a:pt x="1180" y="31718"/>
                    <a:pt x="0" y="31718"/>
                    <a:pt x="0" y="32775"/>
                  </a:cubicBezTo>
                  <a:cubicBezTo>
                    <a:pt x="0" y="33303"/>
                    <a:pt x="393" y="32775"/>
                    <a:pt x="393" y="33303"/>
                  </a:cubicBezTo>
                  <a:cubicBezTo>
                    <a:pt x="393" y="33303"/>
                    <a:pt x="0" y="33832"/>
                    <a:pt x="0" y="33832"/>
                  </a:cubicBezTo>
                  <a:cubicBezTo>
                    <a:pt x="0" y="34361"/>
                    <a:pt x="786" y="35418"/>
                    <a:pt x="1180" y="35947"/>
                  </a:cubicBezTo>
                  <a:cubicBezTo>
                    <a:pt x="1180" y="35947"/>
                    <a:pt x="1573" y="35418"/>
                    <a:pt x="1573" y="35418"/>
                  </a:cubicBezTo>
                  <a:cubicBezTo>
                    <a:pt x="1967" y="34889"/>
                    <a:pt x="2360" y="35418"/>
                    <a:pt x="2754" y="35947"/>
                  </a:cubicBezTo>
                  <a:cubicBezTo>
                    <a:pt x="3147" y="35947"/>
                    <a:pt x="5114" y="36475"/>
                    <a:pt x="5114" y="35418"/>
                  </a:cubicBezTo>
                  <a:cubicBezTo>
                    <a:pt x="5114" y="35947"/>
                    <a:pt x="4721" y="35947"/>
                    <a:pt x="5114" y="36475"/>
                  </a:cubicBezTo>
                  <a:cubicBezTo>
                    <a:pt x="5114" y="37004"/>
                    <a:pt x="5901" y="37533"/>
                    <a:pt x="6295" y="37533"/>
                  </a:cubicBezTo>
                  <a:cubicBezTo>
                    <a:pt x="6688" y="38061"/>
                    <a:pt x="7081" y="38061"/>
                    <a:pt x="7475" y="38061"/>
                  </a:cubicBezTo>
                  <a:cubicBezTo>
                    <a:pt x="8262" y="38061"/>
                    <a:pt x="8262" y="37004"/>
                    <a:pt x="8655" y="37533"/>
                  </a:cubicBezTo>
                  <a:cubicBezTo>
                    <a:pt x="9442" y="37533"/>
                    <a:pt x="10622" y="37533"/>
                    <a:pt x="11016" y="37533"/>
                  </a:cubicBezTo>
                  <a:cubicBezTo>
                    <a:pt x="11409" y="37533"/>
                    <a:pt x="11409" y="37004"/>
                    <a:pt x="11803" y="36475"/>
                  </a:cubicBezTo>
                  <a:cubicBezTo>
                    <a:pt x="12196" y="36475"/>
                    <a:pt x="13377" y="37533"/>
                    <a:pt x="13377" y="38061"/>
                  </a:cubicBezTo>
                  <a:cubicBezTo>
                    <a:pt x="13377" y="38590"/>
                    <a:pt x="9442" y="38061"/>
                    <a:pt x="8655" y="38590"/>
                  </a:cubicBezTo>
                  <a:cubicBezTo>
                    <a:pt x="7868" y="38590"/>
                    <a:pt x="9049" y="39118"/>
                    <a:pt x="9442" y="39118"/>
                  </a:cubicBezTo>
                  <a:cubicBezTo>
                    <a:pt x="10229" y="39647"/>
                    <a:pt x="10622" y="39118"/>
                    <a:pt x="11409" y="39647"/>
                  </a:cubicBezTo>
                  <a:cubicBezTo>
                    <a:pt x="11016" y="39118"/>
                    <a:pt x="10229" y="39647"/>
                    <a:pt x="9442" y="39647"/>
                  </a:cubicBezTo>
                  <a:cubicBezTo>
                    <a:pt x="8262" y="39647"/>
                    <a:pt x="7081" y="39118"/>
                    <a:pt x="5901" y="39118"/>
                  </a:cubicBezTo>
                  <a:cubicBezTo>
                    <a:pt x="5114" y="39118"/>
                    <a:pt x="3540" y="39118"/>
                    <a:pt x="3540" y="40176"/>
                  </a:cubicBezTo>
                  <a:cubicBezTo>
                    <a:pt x="3147" y="40704"/>
                    <a:pt x="4327" y="41233"/>
                    <a:pt x="4721" y="41233"/>
                  </a:cubicBezTo>
                  <a:cubicBezTo>
                    <a:pt x="5114" y="41233"/>
                    <a:pt x="5901" y="40704"/>
                    <a:pt x="5901" y="40704"/>
                  </a:cubicBezTo>
                  <a:cubicBezTo>
                    <a:pt x="6295" y="41233"/>
                    <a:pt x="5901" y="41233"/>
                    <a:pt x="5901" y="41762"/>
                  </a:cubicBezTo>
                  <a:cubicBezTo>
                    <a:pt x="6295" y="42290"/>
                    <a:pt x="7081" y="42290"/>
                    <a:pt x="7475" y="42290"/>
                  </a:cubicBezTo>
                  <a:cubicBezTo>
                    <a:pt x="8262" y="42290"/>
                    <a:pt x="9049" y="42290"/>
                    <a:pt x="9836" y="42290"/>
                  </a:cubicBezTo>
                  <a:cubicBezTo>
                    <a:pt x="9836" y="42290"/>
                    <a:pt x="8262" y="42819"/>
                    <a:pt x="7868" y="42819"/>
                  </a:cubicBezTo>
                  <a:cubicBezTo>
                    <a:pt x="6295" y="43348"/>
                    <a:pt x="7475" y="44405"/>
                    <a:pt x="8262" y="44933"/>
                  </a:cubicBezTo>
                  <a:cubicBezTo>
                    <a:pt x="9049" y="45462"/>
                    <a:pt x="9836" y="45462"/>
                    <a:pt x="10622" y="45991"/>
                  </a:cubicBezTo>
                  <a:cubicBezTo>
                    <a:pt x="10622" y="45991"/>
                    <a:pt x="12196" y="45991"/>
                    <a:pt x="12196" y="45991"/>
                  </a:cubicBezTo>
                  <a:cubicBezTo>
                    <a:pt x="12196" y="45991"/>
                    <a:pt x="11409" y="45462"/>
                    <a:pt x="11409" y="44933"/>
                  </a:cubicBezTo>
                  <a:cubicBezTo>
                    <a:pt x="11409" y="44405"/>
                    <a:pt x="12196" y="44933"/>
                    <a:pt x="12196" y="44933"/>
                  </a:cubicBezTo>
                  <a:cubicBezTo>
                    <a:pt x="12590" y="45462"/>
                    <a:pt x="12983" y="44933"/>
                    <a:pt x="13377" y="44405"/>
                  </a:cubicBezTo>
                  <a:cubicBezTo>
                    <a:pt x="13377" y="44405"/>
                    <a:pt x="13770" y="43876"/>
                    <a:pt x="14163" y="43876"/>
                  </a:cubicBezTo>
                  <a:cubicBezTo>
                    <a:pt x="14557" y="44405"/>
                    <a:pt x="14163" y="45462"/>
                    <a:pt x="14163" y="45462"/>
                  </a:cubicBezTo>
                  <a:cubicBezTo>
                    <a:pt x="14557" y="45991"/>
                    <a:pt x="15737" y="44933"/>
                    <a:pt x="16131" y="44933"/>
                  </a:cubicBezTo>
                  <a:cubicBezTo>
                    <a:pt x="16918" y="44405"/>
                    <a:pt x="16918" y="44405"/>
                    <a:pt x="17311" y="44933"/>
                  </a:cubicBezTo>
                  <a:cubicBezTo>
                    <a:pt x="17704" y="45462"/>
                    <a:pt x="18098" y="44405"/>
                    <a:pt x="18491" y="44405"/>
                  </a:cubicBezTo>
                  <a:cubicBezTo>
                    <a:pt x="18885" y="43876"/>
                    <a:pt x="19672" y="44405"/>
                    <a:pt x="20065" y="44405"/>
                  </a:cubicBezTo>
                  <a:cubicBezTo>
                    <a:pt x="21245" y="44405"/>
                    <a:pt x="22819" y="44933"/>
                    <a:pt x="24000" y="45462"/>
                  </a:cubicBezTo>
                  <a:cubicBezTo>
                    <a:pt x="24786" y="45462"/>
                    <a:pt x="25573" y="46519"/>
                    <a:pt x="26360" y="46519"/>
                  </a:cubicBezTo>
                  <a:cubicBezTo>
                    <a:pt x="27147" y="46519"/>
                    <a:pt x="27934" y="47048"/>
                    <a:pt x="28327" y="47577"/>
                  </a:cubicBezTo>
                  <a:cubicBezTo>
                    <a:pt x="29114" y="48105"/>
                    <a:pt x="28721" y="48634"/>
                    <a:pt x="28721" y="49162"/>
                  </a:cubicBezTo>
                  <a:cubicBezTo>
                    <a:pt x="28721" y="49691"/>
                    <a:pt x="29508" y="50748"/>
                    <a:pt x="29901" y="50748"/>
                  </a:cubicBezTo>
                  <a:cubicBezTo>
                    <a:pt x="30295" y="51277"/>
                    <a:pt x="31081" y="50748"/>
                    <a:pt x="31475" y="51277"/>
                  </a:cubicBezTo>
                  <a:cubicBezTo>
                    <a:pt x="31475" y="52334"/>
                    <a:pt x="32262" y="52863"/>
                    <a:pt x="32655" y="53392"/>
                  </a:cubicBezTo>
                  <a:cubicBezTo>
                    <a:pt x="33049" y="53920"/>
                    <a:pt x="32655" y="54977"/>
                    <a:pt x="33049" y="55506"/>
                  </a:cubicBezTo>
                  <a:cubicBezTo>
                    <a:pt x="33049" y="56035"/>
                    <a:pt x="33836" y="56563"/>
                    <a:pt x="33836" y="57621"/>
                  </a:cubicBezTo>
                  <a:cubicBezTo>
                    <a:pt x="33836" y="58149"/>
                    <a:pt x="33442" y="58149"/>
                    <a:pt x="33836" y="58678"/>
                  </a:cubicBezTo>
                  <a:cubicBezTo>
                    <a:pt x="33836" y="58678"/>
                    <a:pt x="34229" y="59207"/>
                    <a:pt x="34229" y="59207"/>
                  </a:cubicBezTo>
                  <a:cubicBezTo>
                    <a:pt x="34229" y="59207"/>
                    <a:pt x="34229" y="59207"/>
                    <a:pt x="34229" y="59207"/>
                  </a:cubicBezTo>
                  <a:cubicBezTo>
                    <a:pt x="34622" y="58678"/>
                    <a:pt x="35409" y="59735"/>
                    <a:pt x="35016" y="60264"/>
                  </a:cubicBezTo>
                  <a:cubicBezTo>
                    <a:pt x="34622" y="60792"/>
                    <a:pt x="34622" y="60792"/>
                    <a:pt x="34622" y="61850"/>
                  </a:cubicBezTo>
                  <a:cubicBezTo>
                    <a:pt x="34622" y="61321"/>
                    <a:pt x="35409" y="60792"/>
                    <a:pt x="35803" y="61850"/>
                  </a:cubicBezTo>
                  <a:cubicBezTo>
                    <a:pt x="35803" y="62378"/>
                    <a:pt x="35803" y="62378"/>
                    <a:pt x="35803" y="62907"/>
                  </a:cubicBezTo>
                  <a:cubicBezTo>
                    <a:pt x="35803" y="62907"/>
                    <a:pt x="35803" y="63964"/>
                    <a:pt x="35803" y="63436"/>
                  </a:cubicBezTo>
                  <a:cubicBezTo>
                    <a:pt x="35803" y="63964"/>
                    <a:pt x="36590" y="63964"/>
                    <a:pt x="36590" y="63964"/>
                  </a:cubicBezTo>
                  <a:cubicBezTo>
                    <a:pt x="36196" y="63436"/>
                    <a:pt x="35016" y="66607"/>
                    <a:pt x="35409" y="64493"/>
                  </a:cubicBezTo>
                  <a:cubicBezTo>
                    <a:pt x="35409" y="64493"/>
                    <a:pt x="34622" y="63964"/>
                    <a:pt x="34622" y="64493"/>
                  </a:cubicBezTo>
                  <a:cubicBezTo>
                    <a:pt x="34622" y="64493"/>
                    <a:pt x="35016" y="64493"/>
                    <a:pt x="35016" y="64493"/>
                  </a:cubicBezTo>
                  <a:cubicBezTo>
                    <a:pt x="35016" y="65022"/>
                    <a:pt x="33836" y="65022"/>
                    <a:pt x="34229" y="65550"/>
                  </a:cubicBezTo>
                  <a:cubicBezTo>
                    <a:pt x="34229" y="65550"/>
                    <a:pt x="35409" y="66079"/>
                    <a:pt x="35016" y="66079"/>
                  </a:cubicBezTo>
                  <a:cubicBezTo>
                    <a:pt x="34229" y="67136"/>
                    <a:pt x="35803" y="67136"/>
                    <a:pt x="36196" y="66607"/>
                  </a:cubicBezTo>
                  <a:cubicBezTo>
                    <a:pt x="35803" y="67136"/>
                    <a:pt x="35409" y="67136"/>
                    <a:pt x="34622" y="67136"/>
                  </a:cubicBezTo>
                  <a:cubicBezTo>
                    <a:pt x="34622" y="67136"/>
                    <a:pt x="33836" y="68193"/>
                    <a:pt x="33836" y="68193"/>
                  </a:cubicBezTo>
                  <a:cubicBezTo>
                    <a:pt x="33836" y="68193"/>
                    <a:pt x="34229" y="68722"/>
                    <a:pt x="34229" y="68722"/>
                  </a:cubicBezTo>
                  <a:cubicBezTo>
                    <a:pt x="35016" y="69251"/>
                    <a:pt x="34622" y="69251"/>
                    <a:pt x="35016" y="69251"/>
                  </a:cubicBezTo>
                  <a:cubicBezTo>
                    <a:pt x="35409" y="69251"/>
                    <a:pt x="36983" y="70308"/>
                    <a:pt x="37377" y="69251"/>
                  </a:cubicBezTo>
                  <a:cubicBezTo>
                    <a:pt x="37377" y="67665"/>
                    <a:pt x="38163" y="68193"/>
                    <a:pt x="38557" y="67665"/>
                  </a:cubicBezTo>
                  <a:cubicBezTo>
                    <a:pt x="38557" y="67665"/>
                    <a:pt x="37770" y="64493"/>
                    <a:pt x="37770" y="64493"/>
                  </a:cubicBezTo>
                  <a:cubicBezTo>
                    <a:pt x="37770" y="65022"/>
                    <a:pt x="38557" y="66607"/>
                    <a:pt x="38557" y="66607"/>
                  </a:cubicBezTo>
                  <a:cubicBezTo>
                    <a:pt x="38950" y="67665"/>
                    <a:pt x="39344" y="66607"/>
                    <a:pt x="39737" y="66607"/>
                  </a:cubicBezTo>
                  <a:cubicBezTo>
                    <a:pt x="39737" y="66607"/>
                    <a:pt x="38557" y="68722"/>
                    <a:pt x="38557" y="68722"/>
                  </a:cubicBezTo>
                  <a:cubicBezTo>
                    <a:pt x="38557" y="68722"/>
                    <a:pt x="40131" y="68193"/>
                    <a:pt x="40131" y="68193"/>
                  </a:cubicBezTo>
                  <a:cubicBezTo>
                    <a:pt x="40524" y="68193"/>
                    <a:pt x="40918" y="68193"/>
                    <a:pt x="40918" y="68193"/>
                  </a:cubicBezTo>
                  <a:cubicBezTo>
                    <a:pt x="41311" y="68193"/>
                    <a:pt x="41704" y="67665"/>
                    <a:pt x="42098" y="67665"/>
                  </a:cubicBezTo>
                  <a:cubicBezTo>
                    <a:pt x="42098" y="68193"/>
                    <a:pt x="41704" y="68722"/>
                    <a:pt x="41311" y="68722"/>
                  </a:cubicBezTo>
                  <a:cubicBezTo>
                    <a:pt x="40918" y="68722"/>
                    <a:pt x="40131" y="68722"/>
                    <a:pt x="39737" y="69251"/>
                  </a:cubicBezTo>
                  <a:cubicBezTo>
                    <a:pt x="39344" y="69779"/>
                    <a:pt x="40524" y="69251"/>
                    <a:pt x="40524" y="69251"/>
                  </a:cubicBezTo>
                  <a:cubicBezTo>
                    <a:pt x="41311" y="69251"/>
                    <a:pt x="42098" y="69251"/>
                    <a:pt x="42885" y="69251"/>
                  </a:cubicBezTo>
                  <a:cubicBezTo>
                    <a:pt x="42491" y="69251"/>
                    <a:pt x="40918" y="69251"/>
                    <a:pt x="40918" y="69779"/>
                  </a:cubicBezTo>
                  <a:cubicBezTo>
                    <a:pt x="40918" y="69779"/>
                    <a:pt x="41704" y="70308"/>
                    <a:pt x="41704" y="70837"/>
                  </a:cubicBezTo>
                  <a:cubicBezTo>
                    <a:pt x="41704" y="70837"/>
                    <a:pt x="41704" y="71365"/>
                    <a:pt x="41704" y="71365"/>
                  </a:cubicBezTo>
                  <a:cubicBezTo>
                    <a:pt x="41704" y="71894"/>
                    <a:pt x="41311" y="71894"/>
                    <a:pt x="41704" y="72422"/>
                  </a:cubicBezTo>
                  <a:cubicBezTo>
                    <a:pt x="41704" y="72422"/>
                    <a:pt x="42491" y="71894"/>
                    <a:pt x="42885" y="71894"/>
                  </a:cubicBezTo>
                  <a:cubicBezTo>
                    <a:pt x="43278" y="71894"/>
                    <a:pt x="42885" y="71894"/>
                    <a:pt x="43278" y="72422"/>
                  </a:cubicBezTo>
                  <a:cubicBezTo>
                    <a:pt x="43672" y="72951"/>
                    <a:pt x="43672" y="73480"/>
                    <a:pt x="44065" y="74008"/>
                  </a:cubicBezTo>
                  <a:cubicBezTo>
                    <a:pt x="44065" y="74537"/>
                    <a:pt x="42885" y="74537"/>
                    <a:pt x="42885" y="74537"/>
                  </a:cubicBezTo>
                  <a:cubicBezTo>
                    <a:pt x="41311" y="72951"/>
                    <a:pt x="38950" y="71894"/>
                    <a:pt x="37377" y="72422"/>
                  </a:cubicBezTo>
                  <a:cubicBezTo>
                    <a:pt x="35803" y="72422"/>
                    <a:pt x="37770" y="74008"/>
                    <a:pt x="38557" y="74008"/>
                  </a:cubicBezTo>
                  <a:cubicBezTo>
                    <a:pt x="39737" y="74537"/>
                    <a:pt x="40524" y="76123"/>
                    <a:pt x="41704" y="76123"/>
                  </a:cubicBezTo>
                  <a:cubicBezTo>
                    <a:pt x="42098" y="76123"/>
                    <a:pt x="42491" y="75594"/>
                    <a:pt x="43278" y="75594"/>
                  </a:cubicBezTo>
                  <a:cubicBezTo>
                    <a:pt x="43278" y="76123"/>
                    <a:pt x="44459" y="76123"/>
                    <a:pt x="44459" y="76123"/>
                  </a:cubicBezTo>
                  <a:cubicBezTo>
                    <a:pt x="44852" y="76651"/>
                    <a:pt x="44459" y="77180"/>
                    <a:pt x="44459" y="77180"/>
                  </a:cubicBezTo>
                  <a:cubicBezTo>
                    <a:pt x="43278" y="77709"/>
                    <a:pt x="44852" y="78237"/>
                    <a:pt x="44459" y="78766"/>
                  </a:cubicBezTo>
                  <a:cubicBezTo>
                    <a:pt x="44459" y="79295"/>
                    <a:pt x="43672" y="78766"/>
                    <a:pt x="43672" y="79823"/>
                  </a:cubicBezTo>
                  <a:cubicBezTo>
                    <a:pt x="43672" y="80352"/>
                    <a:pt x="44459" y="80352"/>
                    <a:pt x="44459" y="80352"/>
                  </a:cubicBezTo>
                  <a:cubicBezTo>
                    <a:pt x="44065" y="80881"/>
                    <a:pt x="43278" y="79823"/>
                    <a:pt x="43278" y="80352"/>
                  </a:cubicBezTo>
                  <a:cubicBezTo>
                    <a:pt x="42885" y="80881"/>
                    <a:pt x="42885" y="81409"/>
                    <a:pt x="42885" y="81938"/>
                  </a:cubicBezTo>
                  <a:cubicBezTo>
                    <a:pt x="42885" y="81938"/>
                    <a:pt x="43672" y="81938"/>
                    <a:pt x="43672" y="81938"/>
                  </a:cubicBezTo>
                  <a:cubicBezTo>
                    <a:pt x="43672" y="82466"/>
                    <a:pt x="42885" y="82995"/>
                    <a:pt x="42491" y="82995"/>
                  </a:cubicBezTo>
                  <a:cubicBezTo>
                    <a:pt x="42098" y="82995"/>
                    <a:pt x="41704" y="82995"/>
                    <a:pt x="41311" y="82995"/>
                  </a:cubicBezTo>
                  <a:cubicBezTo>
                    <a:pt x="40918" y="82466"/>
                    <a:pt x="40524" y="82466"/>
                    <a:pt x="40131" y="82995"/>
                  </a:cubicBezTo>
                  <a:cubicBezTo>
                    <a:pt x="39737" y="83524"/>
                    <a:pt x="39737" y="82995"/>
                    <a:pt x="39344" y="83524"/>
                  </a:cubicBezTo>
                  <a:cubicBezTo>
                    <a:pt x="39344" y="83524"/>
                    <a:pt x="40524" y="85110"/>
                    <a:pt x="40918" y="85110"/>
                  </a:cubicBezTo>
                  <a:cubicBezTo>
                    <a:pt x="40918" y="84581"/>
                    <a:pt x="40918" y="84581"/>
                    <a:pt x="40524" y="84581"/>
                  </a:cubicBezTo>
                  <a:cubicBezTo>
                    <a:pt x="40524" y="84581"/>
                    <a:pt x="41704" y="84581"/>
                    <a:pt x="41704" y="84581"/>
                  </a:cubicBezTo>
                  <a:cubicBezTo>
                    <a:pt x="41704" y="84581"/>
                    <a:pt x="43672" y="83524"/>
                    <a:pt x="43672" y="84052"/>
                  </a:cubicBezTo>
                  <a:cubicBezTo>
                    <a:pt x="43278" y="84052"/>
                    <a:pt x="42885" y="84052"/>
                    <a:pt x="42491" y="84581"/>
                  </a:cubicBezTo>
                  <a:cubicBezTo>
                    <a:pt x="42885" y="84052"/>
                    <a:pt x="43672" y="85110"/>
                    <a:pt x="43278" y="85110"/>
                  </a:cubicBezTo>
                  <a:cubicBezTo>
                    <a:pt x="43672" y="85110"/>
                    <a:pt x="44852" y="85638"/>
                    <a:pt x="45245" y="85638"/>
                  </a:cubicBezTo>
                  <a:cubicBezTo>
                    <a:pt x="44852" y="85638"/>
                    <a:pt x="44065" y="85638"/>
                    <a:pt x="44065" y="85638"/>
                  </a:cubicBezTo>
                  <a:cubicBezTo>
                    <a:pt x="44065" y="85638"/>
                    <a:pt x="45639" y="87224"/>
                    <a:pt x="45639" y="87224"/>
                  </a:cubicBezTo>
                  <a:cubicBezTo>
                    <a:pt x="44459" y="87224"/>
                    <a:pt x="43672" y="85110"/>
                    <a:pt x="42491" y="85110"/>
                  </a:cubicBezTo>
                  <a:cubicBezTo>
                    <a:pt x="41704" y="85110"/>
                    <a:pt x="39737" y="84581"/>
                    <a:pt x="39344" y="85638"/>
                  </a:cubicBezTo>
                  <a:cubicBezTo>
                    <a:pt x="39344" y="86167"/>
                    <a:pt x="38950" y="86167"/>
                    <a:pt x="38557" y="86696"/>
                  </a:cubicBezTo>
                  <a:cubicBezTo>
                    <a:pt x="38163" y="86696"/>
                    <a:pt x="38163" y="87753"/>
                    <a:pt x="38557" y="87224"/>
                  </a:cubicBezTo>
                  <a:cubicBezTo>
                    <a:pt x="39344" y="87224"/>
                    <a:pt x="40131" y="86696"/>
                    <a:pt x="40524" y="85638"/>
                  </a:cubicBezTo>
                  <a:cubicBezTo>
                    <a:pt x="40524" y="86167"/>
                    <a:pt x="41311" y="86167"/>
                    <a:pt x="41311" y="86167"/>
                  </a:cubicBezTo>
                  <a:cubicBezTo>
                    <a:pt x="41704" y="86167"/>
                    <a:pt x="42491" y="87753"/>
                    <a:pt x="42491" y="86167"/>
                  </a:cubicBezTo>
                  <a:cubicBezTo>
                    <a:pt x="42491" y="85638"/>
                    <a:pt x="43278" y="86696"/>
                    <a:pt x="43278" y="86696"/>
                  </a:cubicBezTo>
                  <a:cubicBezTo>
                    <a:pt x="43278" y="86696"/>
                    <a:pt x="44852" y="86696"/>
                    <a:pt x="44459" y="87224"/>
                  </a:cubicBezTo>
                  <a:cubicBezTo>
                    <a:pt x="44459" y="87224"/>
                    <a:pt x="44065" y="87224"/>
                    <a:pt x="44065" y="87224"/>
                  </a:cubicBezTo>
                  <a:cubicBezTo>
                    <a:pt x="44065" y="87224"/>
                    <a:pt x="44852" y="87753"/>
                    <a:pt x="44852" y="87753"/>
                  </a:cubicBezTo>
                  <a:cubicBezTo>
                    <a:pt x="44459" y="87753"/>
                    <a:pt x="43672" y="87753"/>
                    <a:pt x="43278" y="87224"/>
                  </a:cubicBezTo>
                  <a:cubicBezTo>
                    <a:pt x="42885" y="86696"/>
                    <a:pt x="42885" y="87224"/>
                    <a:pt x="42885" y="87753"/>
                  </a:cubicBezTo>
                  <a:cubicBezTo>
                    <a:pt x="42885" y="87224"/>
                    <a:pt x="40524" y="86696"/>
                    <a:pt x="40131" y="86696"/>
                  </a:cubicBezTo>
                  <a:cubicBezTo>
                    <a:pt x="39737" y="86696"/>
                    <a:pt x="37377" y="87753"/>
                    <a:pt x="37770" y="88810"/>
                  </a:cubicBezTo>
                  <a:cubicBezTo>
                    <a:pt x="38163" y="89339"/>
                    <a:pt x="40524" y="88281"/>
                    <a:pt x="40918" y="88281"/>
                  </a:cubicBezTo>
                  <a:cubicBezTo>
                    <a:pt x="41311" y="88281"/>
                    <a:pt x="42098" y="88281"/>
                    <a:pt x="42491" y="88810"/>
                  </a:cubicBezTo>
                  <a:cubicBezTo>
                    <a:pt x="42491" y="88810"/>
                    <a:pt x="44065" y="89339"/>
                    <a:pt x="44065" y="89339"/>
                  </a:cubicBezTo>
                  <a:cubicBezTo>
                    <a:pt x="44065" y="89867"/>
                    <a:pt x="42098" y="88810"/>
                    <a:pt x="42098" y="88810"/>
                  </a:cubicBezTo>
                  <a:cubicBezTo>
                    <a:pt x="41311" y="88281"/>
                    <a:pt x="40131" y="88810"/>
                    <a:pt x="39344" y="88810"/>
                  </a:cubicBezTo>
                  <a:cubicBezTo>
                    <a:pt x="36590" y="89867"/>
                    <a:pt x="39737" y="90925"/>
                    <a:pt x="40524" y="90396"/>
                  </a:cubicBezTo>
                  <a:cubicBezTo>
                    <a:pt x="40131" y="90925"/>
                    <a:pt x="39737" y="91453"/>
                    <a:pt x="38950" y="91453"/>
                  </a:cubicBezTo>
                  <a:cubicBezTo>
                    <a:pt x="37770" y="91982"/>
                    <a:pt x="39737" y="92511"/>
                    <a:pt x="39737" y="92511"/>
                  </a:cubicBezTo>
                  <a:cubicBezTo>
                    <a:pt x="39737" y="92511"/>
                    <a:pt x="38163" y="91982"/>
                    <a:pt x="38163" y="93039"/>
                  </a:cubicBezTo>
                  <a:cubicBezTo>
                    <a:pt x="38163" y="94625"/>
                    <a:pt x="38950" y="93568"/>
                    <a:pt x="39737" y="93039"/>
                  </a:cubicBezTo>
                  <a:cubicBezTo>
                    <a:pt x="40524" y="92511"/>
                    <a:pt x="41311" y="91453"/>
                    <a:pt x="42098" y="90925"/>
                  </a:cubicBezTo>
                  <a:cubicBezTo>
                    <a:pt x="42491" y="90925"/>
                    <a:pt x="44852" y="89339"/>
                    <a:pt x="44852" y="90396"/>
                  </a:cubicBezTo>
                  <a:cubicBezTo>
                    <a:pt x="44852" y="90396"/>
                    <a:pt x="43672" y="90396"/>
                    <a:pt x="43672" y="90396"/>
                  </a:cubicBezTo>
                  <a:cubicBezTo>
                    <a:pt x="43672" y="90396"/>
                    <a:pt x="44459" y="90396"/>
                    <a:pt x="44852" y="90925"/>
                  </a:cubicBezTo>
                  <a:cubicBezTo>
                    <a:pt x="43672" y="89867"/>
                    <a:pt x="38557" y="94096"/>
                    <a:pt x="38950" y="94625"/>
                  </a:cubicBezTo>
                  <a:cubicBezTo>
                    <a:pt x="38950" y="95154"/>
                    <a:pt x="41311" y="94096"/>
                    <a:pt x="41704" y="94096"/>
                  </a:cubicBezTo>
                  <a:cubicBezTo>
                    <a:pt x="41704" y="94096"/>
                    <a:pt x="40131" y="94625"/>
                    <a:pt x="39737" y="95154"/>
                  </a:cubicBezTo>
                  <a:cubicBezTo>
                    <a:pt x="39737" y="95154"/>
                    <a:pt x="40524" y="97268"/>
                    <a:pt x="40918" y="96740"/>
                  </a:cubicBezTo>
                  <a:cubicBezTo>
                    <a:pt x="41311" y="96211"/>
                    <a:pt x="41704" y="95154"/>
                    <a:pt x="42098" y="95154"/>
                  </a:cubicBezTo>
                  <a:cubicBezTo>
                    <a:pt x="42491" y="95154"/>
                    <a:pt x="44065" y="95682"/>
                    <a:pt x="44065" y="95682"/>
                  </a:cubicBezTo>
                  <a:cubicBezTo>
                    <a:pt x="44065" y="95682"/>
                    <a:pt x="42491" y="95682"/>
                    <a:pt x="42491" y="95682"/>
                  </a:cubicBezTo>
                  <a:cubicBezTo>
                    <a:pt x="41704" y="95682"/>
                    <a:pt x="41311" y="96211"/>
                    <a:pt x="40918" y="96740"/>
                  </a:cubicBezTo>
                  <a:cubicBezTo>
                    <a:pt x="40918" y="97268"/>
                    <a:pt x="40918" y="97797"/>
                    <a:pt x="40918" y="98325"/>
                  </a:cubicBezTo>
                  <a:cubicBezTo>
                    <a:pt x="41311" y="99911"/>
                    <a:pt x="41311" y="99383"/>
                    <a:pt x="42098" y="98854"/>
                  </a:cubicBezTo>
                  <a:cubicBezTo>
                    <a:pt x="41704" y="99383"/>
                    <a:pt x="41311" y="101497"/>
                    <a:pt x="41704" y="102026"/>
                  </a:cubicBezTo>
                  <a:cubicBezTo>
                    <a:pt x="41704" y="102026"/>
                    <a:pt x="42885" y="99911"/>
                    <a:pt x="43278" y="99911"/>
                  </a:cubicBezTo>
                  <a:cubicBezTo>
                    <a:pt x="43278" y="100440"/>
                    <a:pt x="42885" y="100969"/>
                    <a:pt x="43278" y="101497"/>
                  </a:cubicBezTo>
                  <a:cubicBezTo>
                    <a:pt x="43278" y="102026"/>
                    <a:pt x="43672" y="100969"/>
                    <a:pt x="44065" y="100969"/>
                  </a:cubicBezTo>
                  <a:cubicBezTo>
                    <a:pt x="44852" y="99911"/>
                    <a:pt x="43278" y="98854"/>
                    <a:pt x="43278" y="98325"/>
                  </a:cubicBezTo>
                  <a:cubicBezTo>
                    <a:pt x="43278" y="98325"/>
                    <a:pt x="44065" y="99911"/>
                    <a:pt x="44459" y="99911"/>
                  </a:cubicBezTo>
                  <a:cubicBezTo>
                    <a:pt x="44852" y="100440"/>
                    <a:pt x="44852" y="99911"/>
                    <a:pt x="45245" y="99383"/>
                  </a:cubicBezTo>
                  <a:cubicBezTo>
                    <a:pt x="44852" y="99383"/>
                    <a:pt x="46032" y="100969"/>
                    <a:pt x="45639" y="101497"/>
                  </a:cubicBezTo>
                  <a:cubicBezTo>
                    <a:pt x="46032" y="100969"/>
                    <a:pt x="44852" y="99911"/>
                    <a:pt x="44852" y="100969"/>
                  </a:cubicBezTo>
                  <a:cubicBezTo>
                    <a:pt x="44852" y="102026"/>
                    <a:pt x="45639" y="103083"/>
                    <a:pt x="44852" y="103612"/>
                  </a:cubicBezTo>
                  <a:cubicBezTo>
                    <a:pt x="44852" y="103612"/>
                    <a:pt x="44852" y="102026"/>
                    <a:pt x="44852" y="102026"/>
                  </a:cubicBezTo>
                  <a:cubicBezTo>
                    <a:pt x="44852" y="101497"/>
                    <a:pt x="44065" y="102555"/>
                    <a:pt x="43672" y="102555"/>
                  </a:cubicBezTo>
                  <a:cubicBezTo>
                    <a:pt x="43278" y="102555"/>
                    <a:pt x="42885" y="103612"/>
                    <a:pt x="42885" y="104140"/>
                  </a:cubicBezTo>
                  <a:cubicBezTo>
                    <a:pt x="42491" y="105198"/>
                    <a:pt x="43672" y="104140"/>
                    <a:pt x="43672" y="104669"/>
                  </a:cubicBezTo>
                  <a:cubicBezTo>
                    <a:pt x="44065" y="105198"/>
                    <a:pt x="43278" y="105726"/>
                    <a:pt x="43278" y="105726"/>
                  </a:cubicBezTo>
                  <a:cubicBezTo>
                    <a:pt x="43278" y="105726"/>
                    <a:pt x="44065" y="105198"/>
                    <a:pt x="44459" y="106255"/>
                  </a:cubicBezTo>
                  <a:cubicBezTo>
                    <a:pt x="44459" y="107312"/>
                    <a:pt x="45245" y="107841"/>
                    <a:pt x="45245" y="108370"/>
                  </a:cubicBezTo>
                  <a:cubicBezTo>
                    <a:pt x="44852" y="109427"/>
                    <a:pt x="45245" y="109427"/>
                    <a:pt x="46032" y="110484"/>
                  </a:cubicBezTo>
                  <a:cubicBezTo>
                    <a:pt x="46426" y="111013"/>
                    <a:pt x="46819" y="112070"/>
                    <a:pt x="47213" y="111013"/>
                  </a:cubicBezTo>
                  <a:cubicBezTo>
                    <a:pt x="47213" y="111013"/>
                    <a:pt x="47606" y="113656"/>
                    <a:pt x="48000" y="113656"/>
                  </a:cubicBezTo>
                  <a:cubicBezTo>
                    <a:pt x="48393" y="114185"/>
                    <a:pt x="48000" y="113656"/>
                    <a:pt x="48393" y="113656"/>
                  </a:cubicBezTo>
                  <a:cubicBezTo>
                    <a:pt x="48786" y="114185"/>
                    <a:pt x="49180" y="114713"/>
                    <a:pt x="49573" y="115242"/>
                  </a:cubicBezTo>
                  <a:cubicBezTo>
                    <a:pt x="50360" y="115770"/>
                    <a:pt x="51147" y="116299"/>
                    <a:pt x="51934" y="115770"/>
                  </a:cubicBezTo>
                  <a:cubicBezTo>
                    <a:pt x="52327" y="115770"/>
                    <a:pt x="53508" y="115770"/>
                    <a:pt x="53508" y="115242"/>
                  </a:cubicBezTo>
                  <a:cubicBezTo>
                    <a:pt x="53508" y="115242"/>
                    <a:pt x="53508" y="116828"/>
                    <a:pt x="53508" y="116828"/>
                  </a:cubicBezTo>
                  <a:cubicBezTo>
                    <a:pt x="53508" y="116828"/>
                    <a:pt x="54295" y="114713"/>
                    <a:pt x="54295" y="115242"/>
                  </a:cubicBezTo>
                  <a:cubicBezTo>
                    <a:pt x="54688" y="115242"/>
                    <a:pt x="54295" y="115770"/>
                    <a:pt x="54295" y="115770"/>
                  </a:cubicBezTo>
                  <a:cubicBezTo>
                    <a:pt x="54295" y="116299"/>
                    <a:pt x="54688" y="116299"/>
                    <a:pt x="54688" y="116299"/>
                  </a:cubicBezTo>
                  <a:cubicBezTo>
                    <a:pt x="54688" y="116299"/>
                    <a:pt x="53508" y="116828"/>
                    <a:pt x="53901" y="117356"/>
                  </a:cubicBezTo>
                  <a:cubicBezTo>
                    <a:pt x="54295" y="117356"/>
                    <a:pt x="54295" y="117356"/>
                    <a:pt x="54688" y="116828"/>
                  </a:cubicBezTo>
                  <a:cubicBezTo>
                    <a:pt x="55081" y="117356"/>
                    <a:pt x="54688" y="117885"/>
                    <a:pt x="54688" y="117885"/>
                  </a:cubicBezTo>
                  <a:cubicBezTo>
                    <a:pt x="54688" y="118414"/>
                    <a:pt x="55868" y="116828"/>
                    <a:pt x="55868" y="117356"/>
                  </a:cubicBezTo>
                  <a:cubicBezTo>
                    <a:pt x="55868" y="117885"/>
                    <a:pt x="55081" y="118414"/>
                    <a:pt x="55081" y="118942"/>
                  </a:cubicBezTo>
                  <a:cubicBezTo>
                    <a:pt x="55081" y="118414"/>
                    <a:pt x="56262" y="117885"/>
                    <a:pt x="55868" y="118942"/>
                  </a:cubicBezTo>
                  <a:cubicBezTo>
                    <a:pt x="55868" y="118942"/>
                    <a:pt x="55868" y="118942"/>
                    <a:pt x="55868" y="118414"/>
                  </a:cubicBezTo>
                  <a:cubicBezTo>
                    <a:pt x="55868" y="119471"/>
                    <a:pt x="57049" y="117885"/>
                    <a:pt x="57049" y="117885"/>
                  </a:cubicBezTo>
                  <a:cubicBezTo>
                    <a:pt x="57442" y="118414"/>
                    <a:pt x="57049" y="119471"/>
                    <a:pt x="57049" y="120000"/>
                  </a:cubicBezTo>
                  <a:cubicBezTo>
                    <a:pt x="56655" y="118942"/>
                    <a:pt x="60196" y="118942"/>
                    <a:pt x="57836" y="117356"/>
                  </a:cubicBezTo>
                  <a:cubicBezTo>
                    <a:pt x="58229" y="117356"/>
                    <a:pt x="60196" y="117356"/>
                    <a:pt x="59016" y="116828"/>
                  </a:cubicBezTo>
                  <a:cubicBezTo>
                    <a:pt x="57836" y="115770"/>
                    <a:pt x="59409" y="116299"/>
                    <a:pt x="59803" y="115242"/>
                  </a:cubicBezTo>
                  <a:cubicBezTo>
                    <a:pt x="59803" y="115242"/>
                    <a:pt x="58622" y="115242"/>
                    <a:pt x="58622" y="115242"/>
                  </a:cubicBezTo>
                  <a:cubicBezTo>
                    <a:pt x="59016" y="114713"/>
                    <a:pt x="59409" y="114185"/>
                    <a:pt x="59803" y="114185"/>
                  </a:cubicBezTo>
                  <a:cubicBezTo>
                    <a:pt x="60590" y="113127"/>
                    <a:pt x="59409" y="113656"/>
                    <a:pt x="59409" y="113127"/>
                  </a:cubicBezTo>
                  <a:cubicBezTo>
                    <a:pt x="59409" y="113127"/>
                    <a:pt x="60590" y="112599"/>
                    <a:pt x="60590" y="112070"/>
                  </a:cubicBezTo>
                  <a:cubicBezTo>
                    <a:pt x="60590" y="111541"/>
                    <a:pt x="60590" y="110484"/>
                    <a:pt x="60196" y="109955"/>
                  </a:cubicBezTo>
                  <a:cubicBezTo>
                    <a:pt x="59803" y="109955"/>
                    <a:pt x="60590" y="109427"/>
                    <a:pt x="60196" y="108898"/>
                  </a:cubicBezTo>
                  <a:cubicBezTo>
                    <a:pt x="60196" y="108898"/>
                    <a:pt x="59409" y="108370"/>
                    <a:pt x="59409" y="108370"/>
                  </a:cubicBezTo>
                  <a:cubicBezTo>
                    <a:pt x="59409" y="108370"/>
                    <a:pt x="60983" y="107841"/>
                    <a:pt x="61377" y="107841"/>
                  </a:cubicBezTo>
                  <a:cubicBezTo>
                    <a:pt x="62557" y="107841"/>
                    <a:pt x="61377" y="107312"/>
                    <a:pt x="60983" y="106784"/>
                  </a:cubicBezTo>
                  <a:cubicBezTo>
                    <a:pt x="60983" y="106784"/>
                    <a:pt x="62950" y="106784"/>
                    <a:pt x="62950" y="106784"/>
                  </a:cubicBezTo>
                  <a:cubicBezTo>
                    <a:pt x="62557" y="106255"/>
                    <a:pt x="61770" y="106255"/>
                    <a:pt x="61377" y="105726"/>
                  </a:cubicBezTo>
                  <a:cubicBezTo>
                    <a:pt x="61377" y="105726"/>
                    <a:pt x="62950" y="106255"/>
                    <a:pt x="62950" y="105726"/>
                  </a:cubicBezTo>
                  <a:cubicBezTo>
                    <a:pt x="63344" y="105726"/>
                    <a:pt x="62950" y="105726"/>
                    <a:pt x="62950" y="105198"/>
                  </a:cubicBezTo>
                  <a:cubicBezTo>
                    <a:pt x="63344" y="105198"/>
                    <a:pt x="63344" y="105198"/>
                    <a:pt x="63344" y="105198"/>
                  </a:cubicBezTo>
                  <a:cubicBezTo>
                    <a:pt x="63737" y="104669"/>
                    <a:pt x="62163" y="104140"/>
                    <a:pt x="62163" y="104140"/>
                  </a:cubicBezTo>
                  <a:cubicBezTo>
                    <a:pt x="62163" y="104140"/>
                    <a:pt x="64131" y="104140"/>
                    <a:pt x="63737" y="103612"/>
                  </a:cubicBezTo>
                  <a:cubicBezTo>
                    <a:pt x="63737" y="103083"/>
                    <a:pt x="64131" y="103083"/>
                    <a:pt x="63344" y="102555"/>
                  </a:cubicBezTo>
                  <a:cubicBezTo>
                    <a:pt x="63344" y="102555"/>
                    <a:pt x="62163" y="102555"/>
                    <a:pt x="62163" y="102026"/>
                  </a:cubicBezTo>
                  <a:cubicBezTo>
                    <a:pt x="62163" y="102026"/>
                    <a:pt x="64131" y="101497"/>
                    <a:pt x="64131" y="101497"/>
                  </a:cubicBezTo>
                  <a:cubicBezTo>
                    <a:pt x="64918" y="101497"/>
                    <a:pt x="64524" y="99911"/>
                    <a:pt x="63737" y="99911"/>
                  </a:cubicBezTo>
                  <a:cubicBezTo>
                    <a:pt x="63344" y="99383"/>
                    <a:pt x="62163" y="98854"/>
                    <a:pt x="63344" y="98325"/>
                  </a:cubicBezTo>
                  <a:cubicBezTo>
                    <a:pt x="64131" y="98325"/>
                    <a:pt x="65311" y="98854"/>
                    <a:pt x="65704" y="97797"/>
                  </a:cubicBezTo>
                  <a:cubicBezTo>
                    <a:pt x="65704" y="97797"/>
                    <a:pt x="64918" y="96740"/>
                    <a:pt x="64918" y="96740"/>
                  </a:cubicBezTo>
                  <a:cubicBezTo>
                    <a:pt x="64918" y="96211"/>
                    <a:pt x="65704" y="96211"/>
                    <a:pt x="65704" y="96211"/>
                  </a:cubicBezTo>
                  <a:cubicBezTo>
                    <a:pt x="66098" y="95682"/>
                    <a:pt x="66885" y="95682"/>
                    <a:pt x="67672" y="96211"/>
                  </a:cubicBezTo>
                  <a:cubicBezTo>
                    <a:pt x="67672" y="96211"/>
                    <a:pt x="68459" y="96211"/>
                    <a:pt x="68459" y="96211"/>
                  </a:cubicBezTo>
                  <a:cubicBezTo>
                    <a:pt x="68852" y="95682"/>
                    <a:pt x="68065" y="95154"/>
                    <a:pt x="68065" y="94625"/>
                  </a:cubicBezTo>
                  <a:cubicBezTo>
                    <a:pt x="68459" y="94096"/>
                    <a:pt x="69639" y="91982"/>
                    <a:pt x="70426" y="93039"/>
                  </a:cubicBezTo>
                  <a:cubicBezTo>
                    <a:pt x="70032" y="92511"/>
                    <a:pt x="68852" y="95682"/>
                    <a:pt x="69245" y="95682"/>
                  </a:cubicBezTo>
                  <a:cubicBezTo>
                    <a:pt x="69639" y="96211"/>
                    <a:pt x="70426" y="94625"/>
                    <a:pt x="71213" y="94625"/>
                  </a:cubicBezTo>
                  <a:cubicBezTo>
                    <a:pt x="71213" y="94625"/>
                    <a:pt x="72000" y="95154"/>
                    <a:pt x="72000" y="95154"/>
                  </a:cubicBezTo>
                  <a:cubicBezTo>
                    <a:pt x="72000" y="95154"/>
                    <a:pt x="72000" y="94096"/>
                    <a:pt x="72000" y="94096"/>
                  </a:cubicBezTo>
                  <a:cubicBezTo>
                    <a:pt x="73180" y="94625"/>
                    <a:pt x="73180" y="94096"/>
                    <a:pt x="73573" y="93568"/>
                  </a:cubicBezTo>
                  <a:cubicBezTo>
                    <a:pt x="73967" y="93039"/>
                    <a:pt x="74360" y="93039"/>
                    <a:pt x="74754" y="93039"/>
                  </a:cubicBezTo>
                  <a:cubicBezTo>
                    <a:pt x="75540" y="92511"/>
                    <a:pt x="75540" y="91982"/>
                    <a:pt x="75934" y="91453"/>
                  </a:cubicBezTo>
                  <a:cubicBezTo>
                    <a:pt x="76327" y="90925"/>
                    <a:pt x="77114" y="89867"/>
                    <a:pt x="77508" y="88810"/>
                  </a:cubicBezTo>
                  <a:cubicBezTo>
                    <a:pt x="78295" y="87753"/>
                    <a:pt x="78295" y="87224"/>
                    <a:pt x="79081" y="87224"/>
                  </a:cubicBezTo>
                  <a:cubicBezTo>
                    <a:pt x="79475" y="86696"/>
                    <a:pt x="80655" y="86696"/>
                    <a:pt x="80655" y="85638"/>
                  </a:cubicBezTo>
                  <a:cubicBezTo>
                    <a:pt x="80262" y="85638"/>
                    <a:pt x="79868" y="82995"/>
                    <a:pt x="79868" y="82995"/>
                  </a:cubicBezTo>
                  <a:cubicBezTo>
                    <a:pt x="80262" y="82995"/>
                    <a:pt x="81442" y="84581"/>
                    <a:pt x="81836" y="84581"/>
                  </a:cubicBezTo>
                  <a:cubicBezTo>
                    <a:pt x="82229" y="85110"/>
                    <a:pt x="82622" y="85110"/>
                    <a:pt x="83016" y="85110"/>
                  </a:cubicBezTo>
                  <a:cubicBezTo>
                    <a:pt x="83016" y="85110"/>
                    <a:pt x="83803" y="84581"/>
                    <a:pt x="83803" y="84581"/>
                  </a:cubicBezTo>
                  <a:cubicBezTo>
                    <a:pt x="84196" y="84581"/>
                    <a:pt x="84590" y="85110"/>
                    <a:pt x="84983" y="84581"/>
                  </a:cubicBezTo>
                  <a:cubicBezTo>
                    <a:pt x="84983" y="84581"/>
                    <a:pt x="84196" y="83524"/>
                    <a:pt x="85377" y="84052"/>
                  </a:cubicBezTo>
                  <a:cubicBezTo>
                    <a:pt x="86163" y="84052"/>
                    <a:pt x="86950" y="84052"/>
                    <a:pt x="87737" y="83524"/>
                  </a:cubicBezTo>
                  <a:cubicBezTo>
                    <a:pt x="89704" y="82995"/>
                    <a:pt x="91278" y="82466"/>
                    <a:pt x="93245" y="81409"/>
                  </a:cubicBezTo>
                  <a:cubicBezTo>
                    <a:pt x="93639" y="80881"/>
                    <a:pt x="99934" y="75594"/>
                    <a:pt x="100327" y="75594"/>
                  </a:cubicBezTo>
                  <a:cubicBezTo>
                    <a:pt x="99934" y="75594"/>
                    <a:pt x="97180" y="75594"/>
                    <a:pt x="96786" y="75594"/>
                  </a:cubicBezTo>
                  <a:cubicBezTo>
                    <a:pt x="96000" y="75066"/>
                    <a:pt x="95213" y="74537"/>
                    <a:pt x="94426" y="74537"/>
                  </a:cubicBezTo>
                  <a:cubicBezTo>
                    <a:pt x="93639" y="74537"/>
                    <a:pt x="92852" y="75066"/>
                    <a:pt x="92459" y="75066"/>
                  </a:cubicBezTo>
                  <a:cubicBezTo>
                    <a:pt x="91672" y="75594"/>
                    <a:pt x="91672" y="74537"/>
                    <a:pt x="91278" y="75066"/>
                  </a:cubicBezTo>
                  <a:cubicBezTo>
                    <a:pt x="90885" y="75066"/>
                    <a:pt x="90491" y="76123"/>
                    <a:pt x="90098" y="76123"/>
                  </a:cubicBezTo>
                  <a:cubicBezTo>
                    <a:pt x="88524" y="76123"/>
                    <a:pt x="91278" y="74008"/>
                    <a:pt x="91672" y="74537"/>
                  </a:cubicBezTo>
                  <a:cubicBezTo>
                    <a:pt x="91278" y="74008"/>
                    <a:pt x="90098" y="74537"/>
                    <a:pt x="89704" y="74537"/>
                  </a:cubicBezTo>
                  <a:cubicBezTo>
                    <a:pt x="88524" y="74537"/>
                    <a:pt x="87737" y="74008"/>
                    <a:pt x="86950" y="74008"/>
                  </a:cubicBezTo>
                  <a:cubicBezTo>
                    <a:pt x="87344" y="74008"/>
                    <a:pt x="88524" y="72951"/>
                    <a:pt x="88918" y="72422"/>
                  </a:cubicBezTo>
                  <a:cubicBezTo>
                    <a:pt x="88918" y="70837"/>
                    <a:pt x="89704" y="71365"/>
                    <a:pt x="90098" y="71894"/>
                  </a:cubicBezTo>
                  <a:cubicBezTo>
                    <a:pt x="90885" y="71894"/>
                    <a:pt x="94032" y="70837"/>
                    <a:pt x="94426" y="70308"/>
                  </a:cubicBezTo>
                  <a:cubicBezTo>
                    <a:pt x="94426" y="69779"/>
                    <a:pt x="92459" y="69251"/>
                    <a:pt x="92065" y="68722"/>
                  </a:cubicBezTo>
                  <a:cubicBezTo>
                    <a:pt x="92459" y="69251"/>
                    <a:pt x="94032" y="69779"/>
                    <a:pt x="94426" y="69779"/>
                  </a:cubicBezTo>
                  <a:cubicBezTo>
                    <a:pt x="94819" y="70308"/>
                    <a:pt x="96393" y="70308"/>
                    <a:pt x="96393" y="71365"/>
                  </a:cubicBezTo>
                  <a:cubicBezTo>
                    <a:pt x="96000" y="72951"/>
                    <a:pt x="96786" y="73480"/>
                    <a:pt x="97573" y="73480"/>
                  </a:cubicBezTo>
                  <a:cubicBezTo>
                    <a:pt x="97573" y="73480"/>
                    <a:pt x="99934" y="73480"/>
                    <a:pt x="99540" y="72951"/>
                  </a:cubicBezTo>
                  <a:cubicBezTo>
                    <a:pt x="99540" y="72951"/>
                    <a:pt x="99540" y="74008"/>
                    <a:pt x="99934" y="74008"/>
                  </a:cubicBezTo>
                  <a:cubicBezTo>
                    <a:pt x="100721" y="73480"/>
                    <a:pt x="101114" y="71894"/>
                    <a:pt x="101114" y="70837"/>
                  </a:cubicBezTo>
                  <a:cubicBezTo>
                    <a:pt x="101114" y="70308"/>
                    <a:pt x="101114" y="68193"/>
                    <a:pt x="100327" y="68722"/>
                  </a:cubicBezTo>
                  <a:cubicBezTo>
                    <a:pt x="99540" y="69779"/>
                    <a:pt x="99934" y="68722"/>
                    <a:pt x="99540" y="68193"/>
                  </a:cubicBezTo>
                  <a:cubicBezTo>
                    <a:pt x="98754" y="67136"/>
                    <a:pt x="97573" y="66607"/>
                    <a:pt x="96393" y="65550"/>
                  </a:cubicBezTo>
                  <a:cubicBezTo>
                    <a:pt x="96000" y="65022"/>
                    <a:pt x="95606" y="65022"/>
                    <a:pt x="95213" y="64493"/>
                  </a:cubicBezTo>
                  <a:cubicBezTo>
                    <a:pt x="95213" y="64493"/>
                    <a:pt x="93639" y="65022"/>
                    <a:pt x="93639" y="65550"/>
                  </a:cubicBezTo>
                  <a:cubicBezTo>
                    <a:pt x="93639" y="65550"/>
                    <a:pt x="94032" y="65022"/>
                    <a:pt x="93639" y="65022"/>
                  </a:cubicBezTo>
                  <a:cubicBezTo>
                    <a:pt x="93639" y="65022"/>
                    <a:pt x="93245" y="64493"/>
                    <a:pt x="93245" y="64493"/>
                  </a:cubicBezTo>
                  <a:cubicBezTo>
                    <a:pt x="93245" y="63964"/>
                    <a:pt x="94819" y="64493"/>
                    <a:pt x="94819" y="63964"/>
                  </a:cubicBezTo>
                  <a:cubicBezTo>
                    <a:pt x="94819" y="62907"/>
                    <a:pt x="94819" y="62378"/>
                    <a:pt x="93639" y="62378"/>
                  </a:cubicBezTo>
                  <a:cubicBezTo>
                    <a:pt x="92852" y="62907"/>
                    <a:pt x="92459" y="63964"/>
                    <a:pt x="91672" y="62907"/>
                  </a:cubicBezTo>
                  <a:cubicBezTo>
                    <a:pt x="91672" y="62907"/>
                    <a:pt x="90098" y="62907"/>
                    <a:pt x="90098" y="62378"/>
                  </a:cubicBezTo>
                  <a:cubicBezTo>
                    <a:pt x="90098" y="61321"/>
                    <a:pt x="92065" y="62907"/>
                    <a:pt x="92065" y="62907"/>
                  </a:cubicBezTo>
                  <a:cubicBezTo>
                    <a:pt x="92459" y="62907"/>
                    <a:pt x="94426" y="62378"/>
                    <a:pt x="94426" y="61850"/>
                  </a:cubicBezTo>
                  <a:cubicBezTo>
                    <a:pt x="94819" y="61850"/>
                    <a:pt x="92852" y="60792"/>
                    <a:pt x="92459" y="60792"/>
                  </a:cubicBezTo>
                  <a:cubicBezTo>
                    <a:pt x="91672" y="60792"/>
                    <a:pt x="90491" y="60792"/>
                    <a:pt x="89704" y="61321"/>
                  </a:cubicBezTo>
                  <a:cubicBezTo>
                    <a:pt x="90098" y="61321"/>
                    <a:pt x="91672" y="59735"/>
                    <a:pt x="91672" y="60264"/>
                  </a:cubicBezTo>
                  <a:cubicBezTo>
                    <a:pt x="91672" y="59735"/>
                    <a:pt x="90098" y="59735"/>
                    <a:pt x="90098" y="59207"/>
                  </a:cubicBezTo>
                  <a:cubicBezTo>
                    <a:pt x="91278" y="59735"/>
                    <a:pt x="92459" y="60792"/>
                    <a:pt x="93639" y="59735"/>
                  </a:cubicBezTo>
                  <a:cubicBezTo>
                    <a:pt x="93639" y="59735"/>
                    <a:pt x="94819" y="59207"/>
                    <a:pt x="94819" y="58678"/>
                  </a:cubicBezTo>
                  <a:cubicBezTo>
                    <a:pt x="94426" y="58149"/>
                    <a:pt x="93639" y="57621"/>
                    <a:pt x="93639" y="57092"/>
                  </a:cubicBezTo>
                  <a:cubicBezTo>
                    <a:pt x="93639" y="57621"/>
                    <a:pt x="94819" y="58149"/>
                    <a:pt x="95213" y="58149"/>
                  </a:cubicBezTo>
                  <a:cubicBezTo>
                    <a:pt x="96000" y="58678"/>
                    <a:pt x="95606" y="57621"/>
                    <a:pt x="96393" y="57621"/>
                  </a:cubicBezTo>
                  <a:cubicBezTo>
                    <a:pt x="96786" y="57621"/>
                    <a:pt x="99934" y="58678"/>
                    <a:pt x="99934" y="58678"/>
                  </a:cubicBezTo>
                  <a:cubicBezTo>
                    <a:pt x="99540" y="58678"/>
                    <a:pt x="96786" y="58149"/>
                    <a:pt x="96786" y="58149"/>
                  </a:cubicBezTo>
                  <a:cubicBezTo>
                    <a:pt x="97573" y="60264"/>
                    <a:pt x="99934" y="59735"/>
                    <a:pt x="101114" y="59735"/>
                  </a:cubicBezTo>
                  <a:cubicBezTo>
                    <a:pt x="101508" y="59207"/>
                    <a:pt x="102688" y="59735"/>
                    <a:pt x="103081" y="59207"/>
                  </a:cubicBezTo>
                  <a:cubicBezTo>
                    <a:pt x="104262" y="58678"/>
                    <a:pt x="103868" y="57621"/>
                    <a:pt x="103081" y="57092"/>
                  </a:cubicBezTo>
                  <a:cubicBezTo>
                    <a:pt x="102688" y="56563"/>
                    <a:pt x="101508" y="56035"/>
                    <a:pt x="101114" y="56035"/>
                  </a:cubicBezTo>
                  <a:cubicBezTo>
                    <a:pt x="100721" y="56035"/>
                    <a:pt x="101114" y="57621"/>
                    <a:pt x="101114" y="58149"/>
                  </a:cubicBezTo>
                  <a:cubicBezTo>
                    <a:pt x="100721" y="57621"/>
                    <a:pt x="100721" y="57092"/>
                    <a:pt x="100327" y="56563"/>
                  </a:cubicBezTo>
                  <a:cubicBezTo>
                    <a:pt x="100327" y="56035"/>
                    <a:pt x="99934" y="56563"/>
                    <a:pt x="99540" y="56035"/>
                  </a:cubicBezTo>
                  <a:cubicBezTo>
                    <a:pt x="99934" y="56563"/>
                    <a:pt x="100721" y="53392"/>
                    <a:pt x="100721" y="52863"/>
                  </a:cubicBezTo>
                  <a:cubicBezTo>
                    <a:pt x="100721" y="52863"/>
                    <a:pt x="101114" y="54449"/>
                    <a:pt x="101114" y="54449"/>
                  </a:cubicBezTo>
                  <a:cubicBezTo>
                    <a:pt x="101114" y="55506"/>
                    <a:pt x="101114" y="56035"/>
                    <a:pt x="101508" y="56035"/>
                  </a:cubicBezTo>
                  <a:cubicBezTo>
                    <a:pt x="102688" y="56035"/>
                    <a:pt x="103475" y="55506"/>
                    <a:pt x="104262" y="55506"/>
                  </a:cubicBezTo>
                  <a:cubicBezTo>
                    <a:pt x="104655" y="55506"/>
                    <a:pt x="107016" y="54449"/>
                    <a:pt x="106229" y="53392"/>
                  </a:cubicBezTo>
                  <a:cubicBezTo>
                    <a:pt x="105442" y="52863"/>
                    <a:pt x="105049" y="53920"/>
                    <a:pt x="104655" y="53392"/>
                  </a:cubicBezTo>
                  <a:cubicBezTo>
                    <a:pt x="104655" y="52863"/>
                    <a:pt x="104655" y="52863"/>
                    <a:pt x="104655" y="52334"/>
                  </a:cubicBezTo>
                  <a:cubicBezTo>
                    <a:pt x="105049" y="51806"/>
                    <a:pt x="104655" y="51277"/>
                    <a:pt x="104262" y="51277"/>
                  </a:cubicBezTo>
                  <a:cubicBezTo>
                    <a:pt x="104262" y="50748"/>
                    <a:pt x="103081" y="50748"/>
                    <a:pt x="102688" y="50748"/>
                  </a:cubicBezTo>
                  <a:cubicBezTo>
                    <a:pt x="101901" y="50748"/>
                    <a:pt x="101508" y="51806"/>
                    <a:pt x="100721" y="50748"/>
                  </a:cubicBezTo>
                  <a:cubicBezTo>
                    <a:pt x="102295" y="52334"/>
                    <a:pt x="103081" y="48105"/>
                    <a:pt x="104655" y="50220"/>
                  </a:cubicBezTo>
                  <a:cubicBezTo>
                    <a:pt x="105049" y="51277"/>
                    <a:pt x="105836" y="49691"/>
                    <a:pt x="105836" y="48634"/>
                  </a:cubicBezTo>
                  <a:cubicBezTo>
                    <a:pt x="105836" y="48105"/>
                    <a:pt x="104655" y="46519"/>
                    <a:pt x="104655" y="46519"/>
                  </a:cubicBezTo>
                  <a:cubicBezTo>
                    <a:pt x="104655" y="45991"/>
                    <a:pt x="105836" y="47577"/>
                    <a:pt x="105836" y="48105"/>
                  </a:cubicBezTo>
                  <a:cubicBezTo>
                    <a:pt x="105836" y="48634"/>
                    <a:pt x="106622" y="47577"/>
                    <a:pt x="106229" y="46519"/>
                  </a:cubicBezTo>
                  <a:cubicBezTo>
                    <a:pt x="105836" y="45991"/>
                    <a:pt x="105049" y="44933"/>
                    <a:pt x="104655" y="44405"/>
                  </a:cubicBezTo>
                  <a:cubicBezTo>
                    <a:pt x="103868" y="44405"/>
                    <a:pt x="102688" y="44933"/>
                    <a:pt x="101901" y="44405"/>
                  </a:cubicBezTo>
                  <a:cubicBezTo>
                    <a:pt x="101508" y="43876"/>
                    <a:pt x="101508" y="42819"/>
                    <a:pt x="100721" y="42819"/>
                  </a:cubicBezTo>
                  <a:cubicBezTo>
                    <a:pt x="100721" y="42290"/>
                    <a:pt x="99147" y="42819"/>
                    <a:pt x="99540" y="42290"/>
                  </a:cubicBezTo>
                  <a:cubicBezTo>
                    <a:pt x="99934" y="41233"/>
                    <a:pt x="99934" y="40704"/>
                    <a:pt x="100721" y="41762"/>
                  </a:cubicBezTo>
                  <a:cubicBezTo>
                    <a:pt x="101508" y="42819"/>
                    <a:pt x="102295" y="41233"/>
                    <a:pt x="103081" y="40704"/>
                  </a:cubicBezTo>
                  <a:cubicBezTo>
                    <a:pt x="104262" y="39647"/>
                    <a:pt x="106622" y="42819"/>
                    <a:pt x="107803" y="41233"/>
                  </a:cubicBezTo>
                  <a:cubicBezTo>
                    <a:pt x="108196" y="40704"/>
                    <a:pt x="108196" y="38061"/>
                    <a:pt x="107016" y="38590"/>
                  </a:cubicBezTo>
                  <a:cubicBezTo>
                    <a:pt x="106622" y="38590"/>
                    <a:pt x="106229" y="39118"/>
                    <a:pt x="105836" y="38590"/>
                  </a:cubicBezTo>
                  <a:cubicBezTo>
                    <a:pt x="105049" y="38590"/>
                    <a:pt x="104262" y="38061"/>
                    <a:pt x="103475" y="37004"/>
                  </a:cubicBezTo>
                  <a:cubicBezTo>
                    <a:pt x="102295" y="35947"/>
                    <a:pt x="106622" y="37533"/>
                    <a:pt x="106622" y="37004"/>
                  </a:cubicBezTo>
                  <a:cubicBezTo>
                    <a:pt x="106229" y="35947"/>
                    <a:pt x="104262" y="35418"/>
                    <a:pt x="103475" y="34889"/>
                  </a:cubicBezTo>
                  <a:cubicBezTo>
                    <a:pt x="102295" y="34361"/>
                    <a:pt x="102295" y="34889"/>
                    <a:pt x="101901" y="35947"/>
                  </a:cubicBezTo>
                  <a:cubicBezTo>
                    <a:pt x="101901" y="36475"/>
                    <a:pt x="101114" y="37004"/>
                    <a:pt x="100721" y="36475"/>
                  </a:cubicBezTo>
                  <a:cubicBezTo>
                    <a:pt x="100327" y="36475"/>
                    <a:pt x="101508" y="34361"/>
                    <a:pt x="101508" y="33832"/>
                  </a:cubicBezTo>
                  <a:cubicBezTo>
                    <a:pt x="101508" y="33303"/>
                    <a:pt x="101901" y="32246"/>
                    <a:pt x="102295" y="31718"/>
                  </a:cubicBezTo>
                  <a:cubicBezTo>
                    <a:pt x="102295" y="31189"/>
                    <a:pt x="102295" y="30132"/>
                    <a:pt x="102688" y="30132"/>
                  </a:cubicBezTo>
                  <a:cubicBezTo>
                    <a:pt x="103081" y="30132"/>
                    <a:pt x="103868" y="30132"/>
                    <a:pt x="104262" y="29603"/>
                  </a:cubicBezTo>
                  <a:cubicBezTo>
                    <a:pt x="104262" y="29603"/>
                    <a:pt x="106229" y="26960"/>
                    <a:pt x="106229" y="27488"/>
                  </a:cubicBezTo>
                  <a:cubicBezTo>
                    <a:pt x="106229" y="27488"/>
                    <a:pt x="105442" y="26960"/>
                    <a:pt x="105442" y="26960"/>
                  </a:cubicBezTo>
                  <a:cubicBezTo>
                    <a:pt x="105442" y="26431"/>
                    <a:pt x="105442" y="25903"/>
                    <a:pt x="105442" y="25374"/>
                  </a:cubicBezTo>
                  <a:cubicBezTo>
                    <a:pt x="105442" y="24317"/>
                    <a:pt x="105836" y="24317"/>
                    <a:pt x="106622" y="24317"/>
                  </a:cubicBezTo>
                  <a:cubicBezTo>
                    <a:pt x="107409" y="24317"/>
                    <a:pt x="110557" y="22731"/>
                    <a:pt x="108590" y="22731"/>
                  </a:cubicBezTo>
                  <a:cubicBezTo>
                    <a:pt x="107409" y="22731"/>
                    <a:pt x="105442" y="22202"/>
                    <a:pt x="104655" y="23259"/>
                  </a:cubicBezTo>
                  <a:cubicBezTo>
                    <a:pt x="104262" y="23788"/>
                    <a:pt x="104262" y="24845"/>
                    <a:pt x="103475" y="24317"/>
                  </a:cubicBezTo>
                  <a:cubicBezTo>
                    <a:pt x="102688" y="23788"/>
                    <a:pt x="103475" y="22731"/>
                    <a:pt x="103868" y="22202"/>
                  </a:cubicBezTo>
                  <a:cubicBezTo>
                    <a:pt x="104655" y="20616"/>
                    <a:pt x="106229" y="21674"/>
                    <a:pt x="107409" y="21674"/>
                  </a:cubicBezTo>
                  <a:cubicBezTo>
                    <a:pt x="108983" y="21674"/>
                    <a:pt x="110557" y="22202"/>
                    <a:pt x="111344" y="20088"/>
                  </a:cubicBezTo>
                  <a:cubicBezTo>
                    <a:pt x="111737" y="20088"/>
                    <a:pt x="110163" y="19559"/>
                    <a:pt x="110163" y="19559"/>
                  </a:cubicBezTo>
                  <a:cubicBezTo>
                    <a:pt x="109377" y="19030"/>
                    <a:pt x="108590" y="19559"/>
                    <a:pt x="107803" y="19559"/>
                  </a:cubicBezTo>
                  <a:cubicBezTo>
                    <a:pt x="107016" y="19559"/>
                    <a:pt x="106622" y="19030"/>
                    <a:pt x="105836" y="19030"/>
                  </a:cubicBezTo>
                  <a:cubicBezTo>
                    <a:pt x="105442" y="19030"/>
                    <a:pt x="104655" y="19030"/>
                    <a:pt x="104262" y="19030"/>
                  </a:cubicBezTo>
                  <a:cubicBezTo>
                    <a:pt x="104655" y="19559"/>
                    <a:pt x="105836" y="19030"/>
                    <a:pt x="106622" y="19030"/>
                  </a:cubicBezTo>
                  <a:cubicBezTo>
                    <a:pt x="107803" y="19030"/>
                    <a:pt x="108590" y="18502"/>
                    <a:pt x="109770" y="18502"/>
                  </a:cubicBezTo>
                  <a:cubicBezTo>
                    <a:pt x="111344" y="19030"/>
                    <a:pt x="112131" y="17973"/>
                    <a:pt x="113311" y="17973"/>
                  </a:cubicBezTo>
                  <a:cubicBezTo>
                    <a:pt x="113704" y="17973"/>
                    <a:pt x="114491" y="17973"/>
                    <a:pt x="114491" y="17444"/>
                  </a:cubicBezTo>
                  <a:cubicBezTo>
                    <a:pt x="114491" y="17444"/>
                    <a:pt x="113704" y="16387"/>
                    <a:pt x="114098" y="16387"/>
                  </a:cubicBezTo>
                  <a:cubicBezTo>
                    <a:pt x="116065" y="15859"/>
                    <a:pt x="118032" y="15330"/>
                    <a:pt x="119606" y="13744"/>
                  </a:cubicBezTo>
                  <a:cubicBezTo>
                    <a:pt x="120000" y="13215"/>
                    <a:pt x="118426" y="12687"/>
                    <a:pt x="118426" y="12687"/>
                  </a:cubicBezTo>
                  <a:cubicBezTo>
                    <a:pt x="117245" y="12158"/>
                    <a:pt x="116065" y="11629"/>
                    <a:pt x="115278" y="11629"/>
                  </a:cubicBezTo>
                  <a:cubicBezTo>
                    <a:pt x="112918" y="11101"/>
                    <a:pt x="110950" y="10572"/>
                    <a:pt x="108983" y="13215"/>
                  </a:cubicBezTo>
                  <a:cubicBezTo>
                    <a:pt x="108196" y="14801"/>
                    <a:pt x="107409" y="13744"/>
                    <a:pt x="105836" y="13744"/>
                  </a:cubicBezTo>
                  <a:cubicBezTo>
                    <a:pt x="105442" y="13744"/>
                    <a:pt x="103868" y="15330"/>
                    <a:pt x="104262" y="13744"/>
                  </a:cubicBezTo>
                  <a:cubicBezTo>
                    <a:pt x="104262" y="12687"/>
                    <a:pt x="102295" y="14273"/>
                    <a:pt x="101901" y="14801"/>
                  </a:cubicBezTo>
                  <a:cubicBezTo>
                    <a:pt x="101114" y="15330"/>
                    <a:pt x="100327" y="15859"/>
                    <a:pt x="99540" y="16387"/>
                  </a:cubicBezTo>
                  <a:cubicBezTo>
                    <a:pt x="99147" y="16387"/>
                    <a:pt x="96000" y="19559"/>
                    <a:pt x="96000" y="19559"/>
                  </a:cubicBezTo>
                  <a:cubicBezTo>
                    <a:pt x="95213" y="18502"/>
                    <a:pt x="103868" y="11629"/>
                    <a:pt x="98754" y="10044"/>
                  </a:cubicBezTo>
                  <a:cubicBezTo>
                    <a:pt x="96786" y="10044"/>
                    <a:pt x="97180" y="11629"/>
                    <a:pt x="95606" y="12687"/>
                  </a:cubicBezTo>
                  <a:cubicBezTo>
                    <a:pt x="94426" y="13215"/>
                    <a:pt x="93639" y="13215"/>
                    <a:pt x="92459" y="13744"/>
                  </a:cubicBezTo>
                  <a:cubicBezTo>
                    <a:pt x="92065" y="13744"/>
                    <a:pt x="90098" y="14801"/>
                    <a:pt x="89704" y="14801"/>
                  </a:cubicBezTo>
                  <a:cubicBezTo>
                    <a:pt x="88918" y="13215"/>
                    <a:pt x="91672" y="12687"/>
                    <a:pt x="92459" y="12687"/>
                  </a:cubicBezTo>
                  <a:cubicBezTo>
                    <a:pt x="92459" y="12158"/>
                    <a:pt x="94819" y="11629"/>
                    <a:pt x="93639" y="11101"/>
                  </a:cubicBezTo>
                  <a:cubicBezTo>
                    <a:pt x="92459" y="10572"/>
                    <a:pt x="91278" y="10572"/>
                    <a:pt x="90098" y="10572"/>
                  </a:cubicBezTo>
                  <a:cubicBezTo>
                    <a:pt x="86950" y="10572"/>
                    <a:pt x="83803" y="11101"/>
                    <a:pt x="80655" y="12158"/>
                  </a:cubicBezTo>
                  <a:cubicBezTo>
                    <a:pt x="80655" y="12158"/>
                    <a:pt x="79475" y="13215"/>
                    <a:pt x="79081" y="12687"/>
                  </a:cubicBezTo>
                  <a:cubicBezTo>
                    <a:pt x="79081" y="11629"/>
                    <a:pt x="78688" y="11629"/>
                    <a:pt x="79475" y="11629"/>
                  </a:cubicBezTo>
                  <a:cubicBezTo>
                    <a:pt x="81049" y="10572"/>
                    <a:pt x="82622" y="10044"/>
                    <a:pt x="84196" y="9515"/>
                  </a:cubicBezTo>
                  <a:cubicBezTo>
                    <a:pt x="86950" y="8986"/>
                    <a:pt x="90098" y="9515"/>
                    <a:pt x="93245" y="9515"/>
                  </a:cubicBezTo>
                  <a:cubicBezTo>
                    <a:pt x="94032" y="9515"/>
                    <a:pt x="94819" y="9515"/>
                    <a:pt x="95606" y="9515"/>
                  </a:cubicBezTo>
                  <a:cubicBezTo>
                    <a:pt x="97180" y="8458"/>
                    <a:pt x="99147" y="8458"/>
                    <a:pt x="100721" y="7400"/>
                  </a:cubicBezTo>
                  <a:cubicBezTo>
                    <a:pt x="101508" y="7400"/>
                    <a:pt x="101901" y="6872"/>
                    <a:pt x="100721" y="6343"/>
                  </a:cubicBezTo>
                  <a:cubicBezTo>
                    <a:pt x="99934" y="5814"/>
                    <a:pt x="98360" y="5286"/>
                    <a:pt x="97573" y="5814"/>
                  </a:cubicBezTo>
                  <a:cubicBezTo>
                    <a:pt x="96786" y="5814"/>
                    <a:pt x="96786" y="5286"/>
                    <a:pt x="96000" y="4757"/>
                  </a:cubicBezTo>
                  <a:cubicBezTo>
                    <a:pt x="95213" y="4757"/>
                    <a:pt x="94426" y="5814"/>
                    <a:pt x="93639" y="5814"/>
                  </a:cubicBezTo>
                  <a:cubicBezTo>
                    <a:pt x="93639" y="5814"/>
                    <a:pt x="94426" y="4229"/>
                    <a:pt x="94819" y="4229"/>
                  </a:cubicBezTo>
                  <a:cubicBezTo>
                    <a:pt x="95213" y="3171"/>
                    <a:pt x="93639" y="3171"/>
                    <a:pt x="93245" y="3171"/>
                  </a:cubicBezTo>
                  <a:cubicBezTo>
                    <a:pt x="90885" y="3700"/>
                    <a:pt x="88918" y="3700"/>
                    <a:pt x="86557" y="3171"/>
                  </a:cubicBezTo>
                  <a:cubicBezTo>
                    <a:pt x="84590" y="3171"/>
                    <a:pt x="83016" y="4229"/>
                    <a:pt x="81049" y="4229"/>
                  </a:cubicBezTo>
                  <a:cubicBezTo>
                    <a:pt x="80262" y="4229"/>
                    <a:pt x="79081" y="4229"/>
                    <a:pt x="78295" y="4229"/>
                  </a:cubicBezTo>
                  <a:cubicBezTo>
                    <a:pt x="77508" y="4757"/>
                    <a:pt x="76327" y="4229"/>
                    <a:pt x="75934" y="4757"/>
                  </a:cubicBezTo>
                  <a:cubicBezTo>
                    <a:pt x="77114" y="4229"/>
                    <a:pt x="78295" y="4229"/>
                    <a:pt x="79475" y="3700"/>
                  </a:cubicBezTo>
                  <a:cubicBezTo>
                    <a:pt x="81442" y="3700"/>
                    <a:pt x="83016" y="3171"/>
                    <a:pt x="84590" y="3171"/>
                  </a:cubicBezTo>
                  <a:cubicBezTo>
                    <a:pt x="85377" y="3171"/>
                    <a:pt x="93245" y="3171"/>
                    <a:pt x="93245" y="2114"/>
                  </a:cubicBezTo>
                  <a:cubicBezTo>
                    <a:pt x="92852" y="2114"/>
                    <a:pt x="91672" y="1585"/>
                    <a:pt x="91278" y="1057"/>
                  </a:cubicBezTo>
                  <a:cubicBezTo>
                    <a:pt x="90098" y="1057"/>
                    <a:pt x="89311" y="1057"/>
                    <a:pt x="88131" y="1057"/>
                  </a:cubicBezTo>
                  <a:cubicBezTo>
                    <a:pt x="86557" y="1057"/>
                    <a:pt x="84983" y="528"/>
                    <a:pt x="83803" y="0"/>
                  </a:cubicBezTo>
                  <a:cubicBezTo>
                    <a:pt x="81049" y="0"/>
                    <a:pt x="78688" y="0"/>
                    <a:pt x="76327" y="0"/>
                  </a:cubicBezTo>
                  <a:cubicBezTo>
                    <a:pt x="75147" y="528"/>
                    <a:pt x="73967" y="528"/>
                    <a:pt x="72786" y="528"/>
                  </a:cubicBezTo>
                  <a:cubicBezTo>
                    <a:pt x="72393" y="528"/>
                    <a:pt x="72000" y="1585"/>
                    <a:pt x="72000" y="1585"/>
                  </a:cubicBezTo>
                  <a:cubicBezTo>
                    <a:pt x="71213" y="1585"/>
                    <a:pt x="70426" y="1057"/>
                    <a:pt x="69639" y="1057"/>
                  </a:cubicBezTo>
                  <a:cubicBezTo>
                    <a:pt x="69245" y="1057"/>
                    <a:pt x="68852" y="1585"/>
                    <a:pt x="68065" y="1585"/>
                  </a:cubicBezTo>
                  <a:cubicBezTo>
                    <a:pt x="67278" y="1585"/>
                    <a:pt x="67278" y="2114"/>
                    <a:pt x="68065" y="2114"/>
                  </a:cubicBezTo>
                  <a:cubicBezTo>
                    <a:pt x="69245" y="2643"/>
                    <a:pt x="70426" y="2643"/>
                    <a:pt x="71213" y="3171"/>
                  </a:cubicBezTo>
                  <a:cubicBezTo>
                    <a:pt x="70819" y="2643"/>
                    <a:pt x="68459" y="3700"/>
                    <a:pt x="68065" y="4229"/>
                  </a:cubicBezTo>
                  <a:cubicBezTo>
                    <a:pt x="68065" y="4229"/>
                    <a:pt x="66885" y="4229"/>
                    <a:pt x="66885" y="4229"/>
                  </a:cubicBezTo>
                  <a:cubicBezTo>
                    <a:pt x="66885" y="4229"/>
                    <a:pt x="67672" y="5286"/>
                    <a:pt x="67672" y="5286"/>
                  </a:cubicBezTo>
                  <a:cubicBezTo>
                    <a:pt x="67278" y="5286"/>
                    <a:pt x="66491" y="4757"/>
                    <a:pt x="66098" y="4229"/>
                  </a:cubicBezTo>
                  <a:cubicBezTo>
                    <a:pt x="65704" y="3700"/>
                    <a:pt x="64524" y="4229"/>
                    <a:pt x="64131" y="4229"/>
                  </a:cubicBezTo>
                  <a:cubicBezTo>
                    <a:pt x="62950" y="3700"/>
                    <a:pt x="61770" y="3171"/>
                    <a:pt x="60590" y="2643"/>
                  </a:cubicBezTo>
                  <a:cubicBezTo>
                    <a:pt x="59803" y="2114"/>
                    <a:pt x="59016" y="3171"/>
                    <a:pt x="57836" y="3171"/>
                  </a:cubicBezTo>
                  <a:cubicBezTo>
                    <a:pt x="57442" y="3171"/>
                    <a:pt x="55081" y="2643"/>
                    <a:pt x="55081" y="3700"/>
                  </a:cubicBezTo>
                  <a:cubicBezTo>
                    <a:pt x="54688" y="3700"/>
                    <a:pt x="60196" y="4757"/>
                    <a:pt x="60983" y="5286"/>
                  </a:cubicBezTo>
                  <a:cubicBezTo>
                    <a:pt x="62163" y="5286"/>
                    <a:pt x="63344" y="5286"/>
                    <a:pt x="64131" y="5814"/>
                  </a:cubicBezTo>
                  <a:cubicBezTo>
                    <a:pt x="64524" y="5814"/>
                    <a:pt x="64918" y="5814"/>
                    <a:pt x="65311" y="6343"/>
                  </a:cubicBezTo>
                  <a:cubicBezTo>
                    <a:pt x="65311" y="6343"/>
                    <a:pt x="65311" y="7929"/>
                    <a:pt x="65311" y="7929"/>
                  </a:cubicBezTo>
                  <a:cubicBezTo>
                    <a:pt x="65311" y="8458"/>
                    <a:pt x="64918" y="7400"/>
                    <a:pt x="64918" y="6872"/>
                  </a:cubicBezTo>
                  <a:cubicBezTo>
                    <a:pt x="64524" y="6343"/>
                    <a:pt x="63344" y="6343"/>
                    <a:pt x="62950" y="5814"/>
                  </a:cubicBezTo>
                  <a:cubicBezTo>
                    <a:pt x="62950" y="5814"/>
                    <a:pt x="61770" y="5814"/>
                    <a:pt x="61770" y="5814"/>
                  </a:cubicBezTo>
                  <a:cubicBezTo>
                    <a:pt x="61770" y="6343"/>
                    <a:pt x="62163" y="7400"/>
                    <a:pt x="62163" y="7400"/>
                  </a:cubicBezTo>
                  <a:cubicBezTo>
                    <a:pt x="61377" y="7400"/>
                    <a:pt x="60983" y="5814"/>
                    <a:pt x="60590" y="5814"/>
                  </a:cubicBezTo>
                  <a:cubicBezTo>
                    <a:pt x="59803" y="5814"/>
                    <a:pt x="59016" y="5814"/>
                    <a:pt x="58229" y="5286"/>
                  </a:cubicBezTo>
                  <a:cubicBezTo>
                    <a:pt x="57836" y="5286"/>
                    <a:pt x="54688" y="5286"/>
                    <a:pt x="54688" y="5286"/>
                  </a:cubicBezTo>
                  <a:cubicBezTo>
                    <a:pt x="54295" y="6343"/>
                    <a:pt x="59409" y="8986"/>
                    <a:pt x="59409" y="8986"/>
                  </a:cubicBezTo>
                  <a:cubicBezTo>
                    <a:pt x="59409" y="9515"/>
                    <a:pt x="57442" y="8986"/>
                    <a:pt x="57442" y="8986"/>
                  </a:cubicBezTo>
                  <a:cubicBezTo>
                    <a:pt x="56262" y="8986"/>
                    <a:pt x="55868" y="8458"/>
                    <a:pt x="56262" y="10044"/>
                  </a:cubicBezTo>
                  <a:cubicBezTo>
                    <a:pt x="55868" y="10044"/>
                    <a:pt x="55475" y="9515"/>
                    <a:pt x="55081" y="8986"/>
                  </a:cubicBezTo>
                  <a:cubicBezTo>
                    <a:pt x="55081" y="8458"/>
                    <a:pt x="55868" y="8986"/>
                    <a:pt x="56262" y="8458"/>
                  </a:cubicBezTo>
                  <a:cubicBezTo>
                    <a:pt x="56262" y="8458"/>
                    <a:pt x="55475" y="7400"/>
                    <a:pt x="55081" y="7400"/>
                  </a:cubicBezTo>
                  <a:cubicBezTo>
                    <a:pt x="54295" y="6872"/>
                    <a:pt x="53508" y="6343"/>
                    <a:pt x="52327" y="6343"/>
                  </a:cubicBezTo>
                  <a:cubicBezTo>
                    <a:pt x="51934" y="6343"/>
                    <a:pt x="51147" y="5814"/>
                    <a:pt x="50754" y="6343"/>
                  </a:cubicBezTo>
                  <a:cubicBezTo>
                    <a:pt x="50360" y="6343"/>
                    <a:pt x="51540" y="7929"/>
                    <a:pt x="51540" y="7929"/>
                  </a:cubicBezTo>
                  <a:cubicBezTo>
                    <a:pt x="52721" y="8986"/>
                    <a:pt x="54295" y="8986"/>
                    <a:pt x="55868" y="10572"/>
                  </a:cubicBezTo>
                  <a:cubicBezTo>
                    <a:pt x="56262" y="10572"/>
                    <a:pt x="56655" y="11101"/>
                    <a:pt x="56262" y="11629"/>
                  </a:cubicBezTo>
                  <a:cubicBezTo>
                    <a:pt x="55475" y="12687"/>
                    <a:pt x="54688" y="11629"/>
                    <a:pt x="53901" y="11101"/>
                  </a:cubicBezTo>
                  <a:cubicBezTo>
                    <a:pt x="51934" y="9515"/>
                    <a:pt x="49573" y="8458"/>
                    <a:pt x="47213" y="7929"/>
                  </a:cubicBezTo>
                  <a:cubicBezTo>
                    <a:pt x="46032" y="7400"/>
                    <a:pt x="44852" y="6872"/>
                    <a:pt x="43672" y="7400"/>
                  </a:cubicBezTo>
                  <a:cubicBezTo>
                    <a:pt x="43278" y="7400"/>
                    <a:pt x="44459" y="8986"/>
                    <a:pt x="44459" y="9515"/>
                  </a:cubicBezTo>
                  <a:cubicBezTo>
                    <a:pt x="44459" y="9515"/>
                    <a:pt x="46032" y="11101"/>
                    <a:pt x="46032" y="11101"/>
                  </a:cubicBezTo>
                  <a:cubicBezTo>
                    <a:pt x="46032" y="11629"/>
                    <a:pt x="43672" y="11101"/>
                    <a:pt x="43672" y="11101"/>
                  </a:cubicBezTo>
                  <a:cubicBezTo>
                    <a:pt x="43672" y="12158"/>
                    <a:pt x="45245" y="11629"/>
                    <a:pt x="45245" y="12687"/>
                  </a:cubicBezTo>
                  <a:cubicBezTo>
                    <a:pt x="45245" y="12687"/>
                    <a:pt x="43672" y="12158"/>
                    <a:pt x="43278" y="11629"/>
                  </a:cubicBezTo>
                  <a:cubicBezTo>
                    <a:pt x="42491" y="11101"/>
                    <a:pt x="41704" y="11101"/>
                    <a:pt x="40524" y="10572"/>
                  </a:cubicBezTo>
                  <a:cubicBezTo>
                    <a:pt x="39737" y="10044"/>
                    <a:pt x="39737" y="10572"/>
                    <a:pt x="39737" y="11629"/>
                  </a:cubicBezTo>
                  <a:cubicBezTo>
                    <a:pt x="39344" y="12158"/>
                    <a:pt x="38950" y="12158"/>
                    <a:pt x="38557" y="12158"/>
                  </a:cubicBezTo>
                  <a:cubicBezTo>
                    <a:pt x="38557" y="12687"/>
                    <a:pt x="38557" y="13744"/>
                    <a:pt x="38163" y="13744"/>
                  </a:cubicBezTo>
                  <a:cubicBezTo>
                    <a:pt x="38163" y="14273"/>
                    <a:pt x="38163" y="12687"/>
                    <a:pt x="38163" y="12158"/>
                  </a:cubicBezTo>
                  <a:cubicBezTo>
                    <a:pt x="38163" y="11629"/>
                    <a:pt x="38557" y="11101"/>
                    <a:pt x="38557" y="10572"/>
                  </a:cubicBezTo>
                  <a:cubicBezTo>
                    <a:pt x="38163" y="8458"/>
                    <a:pt x="36590" y="8458"/>
                    <a:pt x="35409" y="8458"/>
                  </a:cubicBezTo>
                  <a:cubicBezTo>
                    <a:pt x="33836" y="8986"/>
                    <a:pt x="32262" y="9515"/>
                    <a:pt x="30688" y="9515"/>
                  </a:cubicBezTo>
                  <a:cubicBezTo>
                    <a:pt x="30295" y="10044"/>
                    <a:pt x="29508" y="10044"/>
                    <a:pt x="29114" y="10044"/>
                  </a:cubicBezTo>
                  <a:cubicBezTo>
                    <a:pt x="29114" y="10044"/>
                    <a:pt x="27147" y="10572"/>
                    <a:pt x="27147" y="10572"/>
                  </a:cubicBezTo>
                  <a:cubicBezTo>
                    <a:pt x="27540" y="11101"/>
                    <a:pt x="28327" y="11101"/>
                    <a:pt x="28721" y="11101"/>
                  </a:cubicBezTo>
                  <a:cubicBezTo>
                    <a:pt x="29114" y="11629"/>
                    <a:pt x="29508" y="12158"/>
                    <a:pt x="30295" y="12687"/>
                  </a:cubicBezTo>
                  <a:cubicBezTo>
                    <a:pt x="30295" y="12687"/>
                    <a:pt x="31868" y="14273"/>
                    <a:pt x="31868" y="14273"/>
                  </a:cubicBezTo>
                  <a:cubicBezTo>
                    <a:pt x="31475" y="14273"/>
                    <a:pt x="29901" y="13215"/>
                    <a:pt x="29508" y="13215"/>
                  </a:cubicBezTo>
                  <a:cubicBezTo>
                    <a:pt x="28721" y="12687"/>
                    <a:pt x="28327" y="11629"/>
                    <a:pt x="27540" y="11629"/>
                  </a:cubicBezTo>
                  <a:cubicBezTo>
                    <a:pt x="26360" y="11101"/>
                    <a:pt x="25180" y="11629"/>
                    <a:pt x="24000" y="11629"/>
                  </a:cubicBezTo>
                  <a:cubicBezTo>
                    <a:pt x="22819" y="12158"/>
                    <a:pt x="22819" y="11629"/>
                    <a:pt x="23606" y="13215"/>
                  </a:cubicBezTo>
                  <a:cubicBezTo>
                    <a:pt x="23606" y="13744"/>
                    <a:pt x="23606" y="15330"/>
                    <a:pt x="23606" y="15859"/>
                  </a:cubicBezTo>
                  <a:cubicBezTo>
                    <a:pt x="23606" y="16916"/>
                    <a:pt x="22032" y="15859"/>
                    <a:pt x="21639" y="15859"/>
                  </a:cubicBezTo>
                  <a:cubicBezTo>
                    <a:pt x="21245" y="15859"/>
                    <a:pt x="20065" y="14801"/>
                    <a:pt x="19672" y="15859"/>
                  </a:cubicBezTo>
                  <a:cubicBezTo>
                    <a:pt x="19278" y="16387"/>
                    <a:pt x="19672" y="17973"/>
                    <a:pt x="19672" y="17973"/>
                  </a:cubicBezTo>
                  <a:cubicBezTo>
                    <a:pt x="19278" y="18502"/>
                    <a:pt x="18885" y="17444"/>
                    <a:pt x="18491" y="16916"/>
                  </a:cubicBezTo>
                  <a:cubicBezTo>
                    <a:pt x="17704" y="16387"/>
                    <a:pt x="16918" y="16387"/>
                    <a:pt x="16524" y="16916"/>
                  </a:cubicBezTo>
                  <a:cubicBezTo>
                    <a:pt x="15344" y="17973"/>
                    <a:pt x="14163" y="19030"/>
                    <a:pt x="12590" y="19559"/>
                  </a:cubicBezTo>
                  <a:cubicBezTo>
                    <a:pt x="12196" y="20088"/>
                    <a:pt x="13377" y="19559"/>
                    <a:pt x="12590" y="19559"/>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80" name="Shape 2654">
              <a:extLst>
                <a:ext uri="{FF2B5EF4-FFF2-40B4-BE49-F238E27FC236}">
                  <a16:creationId xmlns:a16="http://schemas.microsoft.com/office/drawing/2014/main" id="{C3E4F4B8-3C97-3644-B3CF-06151E16E448}"/>
                </a:ext>
              </a:extLst>
            </p:cNvPr>
            <p:cNvSpPr/>
            <p:nvPr/>
          </p:nvSpPr>
          <p:spPr>
            <a:xfrm>
              <a:off x="9136479" y="5038394"/>
              <a:ext cx="149682" cy="105123"/>
            </a:xfrm>
            <a:custGeom>
              <a:avLst/>
              <a:gdLst/>
              <a:ahLst/>
              <a:cxnLst/>
              <a:rect l="0" t="0" r="0" b="0"/>
              <a:pathLst>
                <a:path w="120000" h="120000" extrusionOk="0">
                  <a:moveTo>
                    <a:pt x="120000" y="65454"/>
                  </a:moveTo>
                  <a:cubicBezTo>
                    <a:pt x="112500" y="54545"/>
                    <a:pt x="82500" y="32727"/>
                    <a:pt x="82500" y="32727"/>
                  </a:cubicBezTo>
                  <a:cubicBezTo>
                    <a:pt x="67500" y="21818"/>
                    <a:pt x="52500" y="10909"/>
                    <a:pt x="37500" y="10909"/>
                  </a:cubicBezTo>
                  <a:cubicBezTo>
                    <a:pt x="30000" y="10909"/>
                    <a:pt x="15000" y="0"/>
                    <a:pt x="7500" y="10909"/>
                  </a:cubicBezTo>
                  <a:cubicBezTo>
                    <a:pt x="0" y="21818"/>
                    <a:pt x="22500" y="32727"/>
                    <a:pt x="22500" y="32727"/>
                  </a:cubicBezTo>
                  <a:cubicBezTo>
                    <a:pt x="15000" y="32727"/>
                    <a:pt x="0" y="65454"/>
                    <a:pt x="7500" y="76363"/>
                  </a:cubicBezTo>
                  <a:cubicBezTo>
                    <a:pt x="15000" y="76363"/>
                    <a:pt x="30000" y="65454"/>
                    <a:pt x="37500" y="76363"/>
                  </a:cubicBezTo>
                  <a:cubicBezTo>
                    <a:pt x="52500" y="87272"/>
                    <a:pt x="37500" y="87272"/>
                    <a:pt x="37500" y="98181"/>
                  </a:cubicBezTo>
                  <a:cubicBezTo>
                    <a:pt x="37500" y="120000"/>
                    <a:pt x="120000" y="87272"/>
                    <a:pt x="120000" y="65454"/>
                  </a:cubicBezTo>
                  <a:cubicBezTo>
                    <a:pt x="112500" y="54545"/>
                    <a:pt x="120000" y="76363"/>
                    <a:pt x="120000" y="65454"/>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81" name="Shape 2655">
              <a:extLst>
                <a:ext uri="{FF2B5EF4-FFF2-40B4-BE49-F238E27FC236}">
                  <a16:creationId xmlns:a16="http://schemas.microsoft.com/office/drawing/2014/main" id="{0D491ABD-0C9C-6A4E-90DA-8925E8F92D85}"/>
                </a:ext>
              </a:extLst>
            </p:cNvPr>
            <p:cNvSpPr/>
            <p:nvPr/>
          </p:nvSpPr>
          <p:spPr>
            <a:xfrm>
              <a:off x="9184253" y="4965124"/>
              <a:ext cx="38216" cy="19113"/>
            </a:xfrm>
            <a:custGeom>
              <a:avLst/>
              <a:gdLst/>
              <a:ahLst/>
              <a:cxnLst/>
              <a:rect l="0" t="0" r="0" b="0"/>
              <a:pathLst>
                <a:path w="120000" h="120000" extrusionOk="0">
                  <a:moveTo>
                    <a:pt x="60000" y="120000"/>
                  </a:moveTo>
                  <a:cubicBezTo>
                    <a:pt x="0" y="120000"/>
                    <a:pt x="30000" y="0"/>
                    <a:pt x="60000" y="0"/>
                  </a:cubicBezTo>
                  <a:cubicBezTo>
                    <a:pt x="90000" y="0"/>
                    <a:pt x="120000" y="120000"/>
                    <a:pt x="60000" y="12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82" name="Shape 2656">
              <a:extLst>
                <a:ext uri="{FF2B5EF4-FFF2-40B4-BE49-F238E27FC236}">
                  <a16:creationId xmlns:a16="http://schemas.microsoft.com/office/drawing/2014/main" id="{D30BB324-9B71-E24F-95FC-0FEA5B5A765C}"/>
                </a:ext>
              </a:extLst>
            </p:cNvPr>
            <p:cNvSpPr/>
            <p:nvPr/>
          </p:nvSpPr>
          <p:spPr>
            <a:xfrm>
              <a:off x="9212915" y="3859741"/>
              <a:ext cx="101909" cy="57338"/>
            </a:xfrm>
            <a:custGeom>
              <a:avLst/>
              <a:gdLst/>
              <a:ahLst/>
              <a:cxnLst/>
              <a:rect l="0" t="0" r="0" b="0"/>
              <a:pathLst>
                <a:path w="120000" h="120000" extrusionOk="0">
                  <a:moveTo>
                    <a:pt x="98181" y="80000"/>
                  </a:moveTo>
                  <a:cubicBezTo>
                    <a:pt x="120000" y="100000"/>
                    <a:pt x="120000" y="120000"/>
                    <a:pt x="98181" y="100000"/>
                  </a:cubicBezTo>
                  <a:cubicBezTo>
                    <a:pt x="76363" y="100000"/>
                    <a:pt x="43636" y="80000"/>
                    <a:pt x="32727" y="80000"/>
                  </a:cubicBezTo>
                  <a:cubicBezTo>
                    <a:pt x="21818" y="60000"/>
                    <a:pt x="0" y="0"/>
                    <a:pt x="21818" y="20000"/>
                  </a:cubicBezTo>
                  <a:cubicBezTo>
                    <a:pt x="43636" y="40000"/>
                    <a:pt x="76363" y="60000"/>
                    <a:pt x="98181" y="80000"/>
                  </a:cubicBezTo>
                  <a:cubicBezTo>
                    <a:pt x="120000" y="100000"/>
                    <a:pt x="76363" y="60000"/>
                    <a:pt x="98181" y="8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83" name="Shape 2657">
              <a:extLst>
                <a:ext uri="{FF2B5EF4-FFF2-40B4-BE49-F238E27FC236}">
                  <a16:creationId xmlns:a16="http://schemas.microsoft.com/office/drawing/2014/main" id="{C215BD34-AB34-E143-AFEE-08B9AB46E78A}"/>
                </a:ext>
              </a:extLst>
            </p:cNvPr>
            <p:cNvSpPr/>
            <p:nvPr/>
          </p:nvSpPr>
          <p:spPr>
            <a:xfrm>
              <a:off x="9528200" y="3776913"/>
              <a:ext cx="76431" cy="44598"/>
            </a:xfrm>
            <a:custGeom>
              <a:avLst/>
              <a:gdLst/>
              <a:ahLst/>
              <a:cxnLst/>
              <a:rect l="0" t="0" r="0" b="0"/>
              <a:pathLst>
                <a:path w="120000" h="120000" extrusionOk="0">
                  <a:moveTo>
                    <a:pt x="120000" y="72000"/>
                  </a:moveTo>
                  <a:cubicBezTo>
                    <a:pt x="120000" y="120000"/>
                    <a:pt x="0" y="96000"/>
                    <a:pt x="0" y="48000"/>
                  </a:cubicBezTo>
                  <a:cubicBezTo>
                    <a:pt x="0" y="0"/>
                    <a:pt x="120000" y="24000"/>
                    <a:pt x="120000" y="72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84" name="Shape 2658">
              <a:extLst>
                <a:ext uri="{FF2B5EF4-FFF2-40B4-BE49-F238E27FC236}">
                  <a16:creationId xmlns:a16="http://schemas.microsoft.com/office/drawing/2014/main" id="{16299431-276F-5F44-8C55-B7BB45EB8EF0}"/>
                </a:ext>
              </a:extLst>
            </p:cNvPr>
            <p:cNvSpPr/>
            <p:nvPr/>
          </p:nvSpPr>
          <p:spPr>
            <a:xfrm>
              <a:off x="10735205" y="3897967"/>
              <a:ext cx="54141" cy="38226"/>
            </a:xfrm>
            <a:custGeom>
              <a:avLst/>
              <a:gdLst/>
              <a:ahLst/>
              <a:cxnLst/>
              <a:rect l="0" t="0" r="0" b="0"/>
              <a:pathLst>
                <a:path w="120000" h="120000" extrusionOk="0">
                  <a:moveTo>
                    <a:pt x="100000" y="90000"/>
                  </a:moveTo>
                  <a:cubicBezTo>
                    <a:pt x="80000" y="120000"/>
                    <a:pt x="0" y="0"/>
                    <a:pt x="20000" y="0"/>
                  </a:cubicBezTo>
                  <a:cubicBezTo>
                    <a:pt x="40000" y="0"/>
                    <a:pt x="120000" y="60000"/>
                    <a:pt x="100000" y="9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85" name="Shape 2659">
              <a:extLst>
                <a:ext uri="{FF2B5EF4-FFF2-40B4-BE49-F238E27FC236}">
                  <a16:creationId xmlns:a16="http://schemas.microsoft.com/office/drawing/2014/main" id="{2F397EE9-80F8-F040-9991-86062F4F2378}"/>
                </a:ext>
              </a:extLst>
            </p:cNvPr>
            <p:cNvSpPr/>
            <p:nvPr/>
          </p:nvSpPr>
          <p:spPr>
            <a:xfrm>
              <a:off x="10808455" y="3936192"/>
              <a:ext cx="47769" cy="9559"/>
            </a:xfrm>
            <a:custGeom>
              <a:avLst/>
              <a:gdLst/>
              <a:ahLst/>
              <a:cxnLst/>
              <a:rect l="0" t="0" r="0" b="0"/>
              <a:pathLst>
                <a:path w="120000" h="120000" extrusionOk="0">
                  <a:moveTo>
                    <a:pt x="96000" y="120000"/>
                  </a:moveTo>
                  <a:cubicBezTo>
                    <a:pt x="48000" y="120000"/>
                    <a:pt x="0" y="0"/>
                    <a:pt x="48000" y="0"/>
                  </a:cubicBezTo>
                  <a:cubicBezTo>
                    <a:pt x="72000" y="0"/>
                    <a:pt x="120000" y="120000"/>
                    <a:pt x="96000" y="12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86" name="Shape 2660">
              <a:extLst>
                <a:ext uri="{FF2B5EF4-FFF2-40B4-BE49-F238E27FC236}">
                  <a16:creationId xmlns:a16="http://schemas.microsoft.com/office/drawing/2014/main" id="{BB83D668-D016-1A4F-BA10-5B3BF4878DFF}"/>
                </a:ext>
              </a:extLst>
            </p:cNvPr>
            <p:cNvSpPr/>
            <p:nvPr/>
          </p:nvSpPr>
          <p:spPr>
            <a:xfrm>
              <a:off x="10808455" y="4468178"/>
              <a:ext cx="38216" cy="66896"/>
            </a:xfrm>
            <a:custGeom>
              <a:avLst/>
              <a:gdLst/>
              <a:ahLst/>
              <a:cxnLst/>
              <a:rect l="0" t="0" r="0" b="0"/>
              <a:pathLst>
                <a:path w="120000" h="120000" extrusionOk="0">
                  <a:moveTo>
                    <a:pt x="60000" y="0"/>
                  </a:moveTo>
                  <a:cubicBezTo>
                    <a:pt x="0" y="0"/>
                    <a:pt x="90000" y="119999"/>
                    <a:pt x="120000" y="119999"/>
                  </a:cubicBezTo>
                  <a:cubicBezTo>
                    <a:pt x="120000" y="119999"/>
                    <a:pt x="90000" y="0"/>
                    <a:pt x="60000" y="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87" name="Shape 2661">
              <a:extLst>
                <a:ext uri="{FF2B5EF4-FFF2-40B4-BE49-F238E27FC236}">
                  <a16:creationId xmlns:a16="http://schemas.microsoft.com/office/drawing/2014/main" id="{148F68CC-97EF-2E41-87D4-5B2DF9C18302}"/>
                </a:ext>
              </a:extLst>
            </p:cNvPr>
            <p:cNvSpPr/>
            <p:nvPr/>
          </p:nvSpPr>
          <p:spPr>
            <a:xfrm>
              <a:off x="10827563" y="4589228"/>
              <a:ext cx="63694" cy="38226"/>
            </a:xfrm>
            <a:custGeom>
              <a:avLst/>
              <a:gdLst/>
              <a:ahLst/>
              <a:cxnLst/>
              <a:rect l="0" t="0" r="0" b="0"/>
              <a:pathLst>
                <a:path w="120000" h="120000" extrusionOk="0">
                  <a:moveTo>
                    <a:pt x="17142" y="0"/>
                  </a:moveTo>
                  <a:cubicBezTo>
                    <a:pt x="0" y="30000"/>
                    <a:pt x="0" y="90000"/>
                    <a:pt x="17142" y="120000"/>
                  </a:cubicBezTo>
                  <a:cubicBezTo>
                    <a:pt x="34285" y="120000"/>
                    <a:pt x="51428" y="120000"/>
                    <a:pt x="85714" y="120000"/>
                  </a:cubicBezTo>
                  <a:cubicBezTo>
                    <a:pt x="119999" y="120000"/>
                    <a:pt x="17142" y="0"/>
                    <a:pt x="17142" y="0"/>
                  </a:cubicBezTo>
                  <a:cubicBezTo>
                    <a:pt x="0" y="30000"/>
                    <a:pt x="17142" y="0"/>
                    <a:pt x="17142" y="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88" name="Shape 2662">
              <a:extLst>
                <a:ext uri="{FF2B5EF4-FFF2-40B4-BE49-F238E27FC236}">
                  <a16:creationId xmlns:a16="http://schemas.microsoft.com/office/drawing/2014/main" id="{568A466B-089F-F543-8492-A7A6AFA7DDFC}"/>
                </a:ext>
              </a:extLst>
            </p:cNvPr>
            <p:cNvSpPr/>
            <p:nvPr/>
          </p:nvSpPr>
          <p:spPr>
            <a:xfrm>
              <a:off x="10566415" y="4796290"/>
              <a:ext cx="159235" cy="92380"/>
            </a:xfrm>
            <a:custGeom>
              <a:avLst/>
              <a:gdLst/>
              <a:ahLst/>
              <a:cxnLst/>
              <a:rect l="0" t="0" r="0" b="0"/>
              <a:pathLst>
                <a:path w="120000" h="120000" extrusionOk="0">
                  <a:moveTo>
                    <a:pt x="0" y="48000"/>
                  </a:moveTo>
                  <a:cubicBezTo>
                    <a:pt x="7058" y="0"/>
                    <a:pt x="49411" y="24000"/>
                    <a:pt x="70588" y="24000"/>
                  </a:cubicBezTo>
                  <a:cubicBezTo>
                    <a:pt x="120000" y="36000"/>
                    <a:pt x="56470" y="48000"/>
                    <a:pt x="56470" y="48000"/>
                  </a:cubicBezTo>
                  <a:cubicBezTo>
                    <a:pt x="56470" y="72000"/>
                    <a:pt x="84705" y="60000"/>
                    <a:pt x="84705" y="84000"/>
                  </a:cubicBezTo>
                  <a:cubicBezTo>
                    <a:pt x="84705" y="84000"/>
                    <a:pt x="70588" y="72000"/>
                    <a:pt x="63529" y="84000"/>
                  </a:cubicBezTo>
                  <a:cubicBezTo>
                    <a:pt x="63529" y="84000"/>
                    <a:pt x="84705" y="120000"/>
                    <a:pt x="77647" y="120000"/>
                  </a:cubicBezTo>
                  <a:cubicBezTo>
                    <a:pt x="70588" y="120000"/>
                    <a:pt x="63529" y="108000"/>
                    <a:pt x="56470" y="108000"/>
                  </a:cubicBezTo>
                  <a:cubicBezTo>
                    <a:pt x="42352" y="96000"/>
                    <a:pt x="0" y="84000"/>
                    <a:pt x="0" y="48000"/>
                  </a:cubicBezTo>
                  <a:cubicBezTo>
                    <a:pt x="0" y="36000"/>
                    <a:pt x="0" y="84000"/>
                    <a:pt x="0" y="48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89" name="Shape 2663">
              <a:extLst>
                <a:ext uri="{FF2B5EF4-FFF2-40B4-BE49-F238E27FC236}">
                  <a16:creationId xmlns:a16="http://schemas.microsoft.com/office/drawing/2014/main" id="{B99EDD7B-EB25-AF4D-A77A-5B8E8E7C4729}"/>
                </a:ext>
              </a:extLst>
            </p:cNvPr>
            <p:cNvSpPr/>
            <p:nvPr/>
          </p:nvSpPr>
          <p:spPr>
            <a:xfrm>
              <a:off x="10537755" y="4777177"/>
              <a:ext cx="82802" cy="28672"/>
            </a:xfrm>
            <a:custGeom>
              <a:avLst/>
              <a:gdLst/>
              <a:ahLst/>
              <a:cxnLst/>
              <a:rect l="0" t="0" r="0" b="0"/>
              <a:pathLst>
                <a:path w="120000" h="120000" extrusionOk="0">
                  <a:moveTo>
                    <a:pt x="106666" y="40000"/>
                  </a:moveTo>
                  <a:cubicBezTo>
                    <a:pt x="120000" y="40000"/>
                    <a:pt x="66666" y="0"/>
                    <a:pt x="66666" y="0"/>
                  </a:cubicBezTo>
                  <a:cubicBezTo>
                    <a:pt x="40000" y="0"/>
                    <a:pt x="13333" y="0"/>
                    <a:pt x="0" y="0"/>
                  </a:cubicBezTo>
                  <a:cubicBezTo>
                    <a:pt x="26666" y="0"/>
                    <a:pt x="80000" y="120000"/>
                    <a:pt x="106666" y="40000"/>
                  </a:cubicBezTo>
                  <a:cubicBezTo>
                    <a:pt x="120000" y="40000"/>
                    <a:pt x="93333" y="80000"/>
                    <a:pt x="106666" y="4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90" name="Shape 2664">
              <a:extLst>
                <a:ext uri="{FF2B5EF4-FFF2-40B4-BE49-F238E27FC236}">
                  <a16:creationId xmlns:a16="http://schemas.microsoft.com/office/drawing/2014/main" id="{D38D6862-5390-9E4C-BAC4-127B07086D8D}"/>
                </a:ext>
              </a:extLst>
            </p:cNvPr>
            <p:cNvSpPr/>
            <p:nvPr/>
          </p:nvSpPr>
          <p:spPr>
            <a:xfrm>
              <a:off x="10407181" y="4974681"/>
              <a:ext cx="121017" cy="63711"/>
            </a:xfrm>
            <a:custGeom>
              <a:avLst/>
              <a:gdLst/>
              <a:ahLst/>
              <a:cxnLst/>
              <a:rect l="0" t="0" r="0" b="0"/>
              <a:pathLst>
                <a:path w="120000" h="120000" extrusionOk="0">
                  <a:moveTo>
                    <a:pt x="110769" y="68571"/>
                  </a:moveTo>
                  <a:cubicBezTo>
                    <a:pt x="120000" y="51428"/>
                    <a:pt x="120000" y="34285"/>
                    <a:pt x="110769" y="17142"/>
                  </a:cubicBezTo>
                  <a:cubicBezTo>
                    <a:pt x="101538" y="0"/>
                    <a:pt x="73846" y="17142"/>
                    <a:pt x="64615" y="34285"/>
                  </a:cubicBezTo>
                  <a:cubicBezTo>
                    <a:pt x="55384" y="34285"/>
                    <a:pt x="36923" y="34285"/>
                    <a:pt x="27692" y="51428"/>
                  </a:cubicBezTo>
                  <a:cubicBezTo>
                    <a:pt x="27692" y="51428"/>
                    <a:pt x="0" y="85714"/>
                    <a:pt x="0" y="85714"/>
                  </a:cubicBezTo>
                  <a:cubicBezTo>
                    <a:pt x="27692" y="119999"/>
                    <a:pt x="92307" y="102857"/>
                    <a:pt x="110769" y="68571"/>
                  </a:cubicBezTo>
                  <a:cubicBezTo>
                    <a:pt x="120000" y="51428"/>
                    <a:pt x="83076" y="102857"/>
                    <a:pt x="110769" y="68571"/>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91" name="Shape 2665">
              <a:extLst>
                <a:ext uri="{FF2B5EF4-FFF2-40B4-BE49-F238E27FC236}">
                  <a16:creationId xmlns:a16="http://schemas.microsoft.com/office/drawing/2014/main" id="{498732FB-66CB-DF4B-A768-6DFD4A291738}"/>
                </a:ext>
              </a:extLst>
            </p:cNvPr>
            <p:cNvSpPr/>
            <p:nvPr/>
          </p:nvSpPr>
          <p:spPr>
            <a:xfrm>
              <a:off x="9305272" y="5067062"/>
              <a:ext cx="38216" cy="57338"/>
            </a:xfrm>
            <a:custGeom>
              <a:avLst/>
              <a:gdLst/>
              <a:ahLst/>
              <a:cxnLst/>
              <a:rect l="0" t="0" r="0" b="0"/>
              <a:pathLst>
                <a:path w="120000" h="120000" extrusionOk="0">
                  <a:moveTo>
                    <a:pt x="90000" y="40000"/>
                  </a:moveTo>
                  <a:cubicBezTo>
                    <a:pt x="60000" y="0"/>
                    <a:pt x="30000" y="20000"/>
                    <a:pt x="30000" y="60000"/>
                  </a:cubicBezTo>
                  <a:cubicBezTo>
                    <a:pt x="0" y="120000"/>
                    <a:pt x="120000" y="80000"/>
                    <a:pt x="90000" y="40000"/>
                  </a:cubicBezTo>
                  <a:cubicBezTo>
                    <a:pt x="90000" y="40000"/>
                    <a:pt x="120000" y="60000"/>
                    <a:pt x="90000" y="4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92" name="Shape 2666">
              <a:extLst>
                <a:ext uri="{FF2B5EF4-FFF2-40B4-BE49-F238E27FC236}">
                  <a16:creationId xmlns:a16="http://schemas.microsoft.com/office/drawing/2014/main" id="{58390999-B68E-D34B-B855-E47AC7E8F54D}"/>
                </a:ext>
              </a:extLst>
            </p:cNvPr>
            <p:cNvSpPr/>
            <p:nvPr/>
          </p:nvSpPr>
          <p:spPr>
            <a:xfrm>
              <a:off x="9222469" y="4946012"/>
              <a:ext cx="35032" cy="38226"/>
            </a:xfrm>
            <a:custGeom>
              <a:avLst/>
              <a:gdLst/>
              <a:ahLst/>
              <a:cxnLst/>
              <a:rect l="0" t="0" r="0" b="0"/>
              <a:pathLst>
                <a:path w="120000" h="120000" extrusionOk="0">
                  <a:moveTo>
                    <a:pt x="120000" y="60000"/>
                  </a:moveTo>
                  <a:cubicBezTo>
                    <a:pt x="90000" y="60000"/>
                    <a:pt x="30000" y="0"/>
                    <a:pt x="30000" y="30000"/>
                  </a:cubicBezTo>
                  <a:cubicBezTo>
                    <a:pt x="0" y="120000"/>
                    <a:pt x="120000" y="60000"/>
                    <a:pt x="120000" y="60000"/>
                  </a:cubicBezTo>
                  <a:cubicBezTo>
                    <a:pt x="90000" y="60000"/>
                    <a:pt x="120000" y="60000"/>
                    <a:pt x="120000" y="6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93" name="Shape 2667">
              <a:extLst>
                <a:ext uri="{FF2B5EF4-FFF2-40B4-BE49-F238E27FC236}">
                  <a16:creationId xmlns:a16="http://schemas.microsoft.com/office/drawing/2014/main" id="{84ED1F51-4CA7-9249-8230-3FB3E7A85D43}"/>
                </a:ext>
              </a:extLst>
            </p:cNvPr>
            <p:cNvSpPr/>
            <p:nvPr/>
          </p:nvSpPr>
          <p:spPr>
            <a:xfrm>
              <a:off x="10865778" y="4347129"/>
              <a:ext cx="19108" cy="19113"/>
            </a:xfrm>
            <a:custGeom>
              <a:avLst/>
              <a:gdLst/>
              <a:ahLst/>
              <a:cxnLst/>
              <a:rect l="0" t="0" r="0" b="0"/>
              <a:pathLst>
                <a:path w="120000" h="120000" extrusionOk="0">
                  <a:moveTo>
                    <a:pt x="120000" y="60000"/>
                  </a:moveTo>
                  <a:cubicBezTo>
                    <a:pt x="120000" y="0"/>
                    <a:pt x="0" y="60000"/>
                    <a:pt x="0" y="120000"/>
                  </a:cubicBezTo>
                  <a:cubicBezTo>
                    <a:pt x="60000" y="120000"/>
                    <a:pt x="120000" y="120000"/>
                    <a:pt x="120000" y="6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94" name="Shape 2668">
              <a:extLst>
                <a:ext uri="{FF2B5EF4-FFF2-40B4-BE49-F238E27FC236}">
                  <a16:creationId xmlns:a16="http://schemas.microsoft.com/office/drawing/2014/main" id="{E4556A3B-89E0-614A-B42A-C795F016D371}"/>
                </a:ext>
              </a:extLst>
            </p:cNvPr>
            <p:cNvSpPr/>
            <p:nvPr/>
          </p:nvSpPr>
          <p:spPr>
            <a:xfrm>
              <a:off x="10789345" y="4245190"/>
              <a:ext cx="28663" cy="15928"/>
            </a:xfrm>
            <a:custGeom>
              <a:avLst/>
              <a:gdLst/>
              <a:ahLst/>
              <a:cxnLst/>
              <a:rect l="0" t="0" r="0" b="0"/>
              <a:pathLst>
                <a:path w="120000" h="120000" extrusionOk="0">
                  <a:moveTo>
                    <a:pt x="80000" y="0"/>
                  </a:moveTo>
                  <a:cubicBezTo>
                    <a:pt x="40000" y="0"/>
                    <a:pt x="0" y="60000"/>
                    <a:pt x="40000" y="60000"/>
                  </a:cubicBezTo>
                  <a:cubicBezTo>
                    <a:pt x="80000" y="120000"/>
                    <a:pt x="120000" y="60000"/>
                    <a:pt x="80000" y="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95" name="Shape 2669">
              <a:extLst>
                <a:ext uri="{FF2B5EF4-FFF2-40B4-BE49-F238E27FC236}">
                  <a16:creationId xmlns:a16="http://schemas.microsoft.com/office/drawing/2014/main" id="{1AF86F38-B361-4D49-9486-28F9514F7F25}"/>
                </a:ext>
              </a:extLst>
            </p:cNvPr>
            <p:cNvSpPr/>
            <p:nvPr/>
          </p:nvSpPr>
          <p:spPr>
            <a:xfrm>
              <a:off x="10865778" y="4206963"/>
              <a:ext cx="25476" cy="28672"/>
            </a:xfrm>
            <a:custGeom>
              <a:avLst/>
              <a:gdLst/>
              <a:ahLst/>
              <a:cxnLst/>
              <a:rect l="0" t="0" r="0" b="0"/>
              <a:pathLst>
                <a:path w="120000" h="120000" extrusionOk="0">
                  <a:moveTo>
                    <a:pt x="80000" y="40000"/>
                  </a:moveTo>
                  <a:cubicBezTo>
                    <a:pt x="80000" y="0"/>
                    <a:pt x="0" y="40000"/>
                    <a:pt x="40000" y="80000"/>
                  </a:cubicBezTo>
                  <a:cubicBezTo>
                    <a:pt x="40000" y="120000"/>
                    <a:pt x="120000" y="40000"/>
                    <a:pt x="80000" y="4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96" name="Shape 2670">
              <a:extLst>
                <a:ext uri="{FF2B5EF4-FFF2-40B4-BE49-F238E27FC236}">
                  <a16:creationId xmlns:a16="http://schemas.microsoft.com/office/drawing/2014/main" id="{A94677C4-09E9-5840-A8AA-6E633FA96AAC}"/>
                </a:ext>
              </a:extLst>
            </p:cNvPr>
            <p:cNvSpPr/>
            <p:nvPr/>
          </p:nvSpPr>
          <p:spPr>
            <a:xfrm>
              <a:off x="8314825" y="4394912"/>
              <a:ext cx="47769" cy="6369"/>
            </a:xfrm>
            <a:custGeom>
              <a:avLst/>
              <a:gdLst/>
              <a:ahLst/>
              <a:cxnLst/>
              <a:rect l="0" t="0" r="0" b="0"/>
              <a:pathLst>
                <a:path w="120000" h="120000" extrusionOk="0">
                  <a:moveTo>
                    <a:pt x="120000" y="120000"/>
                  </a:moveTo>
                  <a:cubicBezTo>
                    <a:pt x="96000" y="0"/>
                    <a:pt x="0" y="0"/>
                    <a:pt x="24000" y="0"/>
                  </a:cubicBezTo>
                  <a:cubicBezTo>
                    <a:pt x="48000" y="120000"/>
                    <a:pt x="120000" y="120000"/>
                    <a:pt x="120000" y="12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97" name="Shape 2671">
              <a:extLst>
                <a:ext uri="{FF2B5EF4-FFF2-40B4-BE49-F238E27FC236}">
                  <a16:creationId xmlns:a16="http://schemas.microsoft.com/office/drawing/2014/main" id="{114B0041-D38A-9B49-964A-C883601985AF}"/>
                </a:ext>
              </a:extLst>
            </p:cNvPr>
            <p:cNvSpPr/>
            <p:nvPr/>
          </p:nvSpPr>
          <p:spPr>
            <a:xfrm>
              <a:off x="8372149" y="4394912"/>
              <a:ext cx="57322" cy="0"/>
            </a:xfrm>
            <a:custGeom>
              <a:avLst/>
              <a:gdLst/>
              <a:ahLst/>
              <a:cxnLst/>
              <a:rect l="0" t="0" r="0" b="0"/>
              <a:pathLst>
                <a:path w="120000" h="120000" extrusionOk="0">
                  <a:moveTo>
                    <a:pt x="100000" y="0"/>
                  </a:moveTo>
                  <a:cubicBezTo>
                    <a:pt x="80000" y="0"/>
                    <a:pt x="0" y="0"/>
                    <a:pt x="20000" y="0"/>
                  </a:cubicBezTo>
                  <a:cubicBezTo>
                    <a:pt x="40000" y="0"/>
                    <a:pt x="120000" y="0"/>
                    <a:pt x="100000" y="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98" name="Shape 2672">
              <a:extLst>
                <a:ext uri="{FF2B5EF4-FFF2-40B4-BE49-F238E27FC236}">
                  <a16:creationId xmlns:a16="http://schemas.microsoft.com/office/drawing/2014/main" id="{B5679BF1-4BBF-474B-A154-FD22681D4491}"/>
                </a:ext>
              </a:extLst>
            </p:cNvPr>
            <p:cNvSpPr/>
            <p:nvPr/>
          </p:nvSpPr>
          <p:spPr>
            <a:xfrm>
              <a:off x="9445402" y="3802404"/>
              <a:ext cx="38216" cy="19113"/>
            </a:xfrm>
            <a:custGeom>
              <a:avLst/>
              <a:gdLst/>
              <a:ahLst/>
              <a:cxnLst/>
              <a:rect l="0" t="0" r="0" b="0"/>
              <a:pathLst>
                <a:path w="120000" h="120000" extrusionOk="0">
                  <a:moveTo>
                    <a:pt x="90000" y="120000"/>
                  </a:moveTo>
                  <a:cubicBezTo>
                    <a:pt x="30000" y="120000"/>
                    <a:pt x="0" y="0"/>
                    <a:pt x="60000" y="0"/>
                  </a:cubicBezTo>
                  <a:cubicBezTo>
                    <a:pt x="90000" y="0"/>
                    <a:pt x="120000" y="120000"/>
                    <a:pt x="90000" y="12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sp>
          <p:nvSpPr>
            <p:cNvPr id="399" name="Shape 2673">
              <a:extLst>
                <a:ext uri="{FF2B5EF4-FFF2-40B4-BE49-F238E27FC236}">
                  <a16:creationId xmlns:a16="http://schemas.microsoft.com/office/drawing/2014/main" id="{42BDF849-11BF-5741-8498-D06018CFB198}"/>
                </a:ext>
              </a:extLst>
            </p:cNvPr>
            <p:cNvSpPr/>
            <p:nvPr/>
          </p:nvSpPr>
          <p:spPr>
            <a:xfrm>
              <a:off x="5467694" y="6086410"/>
              <a:ext cx="85988" cy="111493"/>
            </a:xfrm>
            <a:custGeom>
              <a:avLst/>
              <a:gdLst/>
              <a:ahLst/>
              <a:cxnLst/>
              <a:rect l="0" t="0" r="0" b="0"/>
              <a:pathLst>
                <a:path w="120000" h="120000" extrusionOk="0">
                  <a:moveTo>
                    <a:pt x="120000" y="110000"/>
                  </a:moveTo>
                  <a:cubicBezTo>
                    <a:pt x="106666" y="80000"/>
                    <a:pt x="93333" y="40000"/>
                    <a:pt x="66666" y="20000"/>
                  </a:cubicBezTo>
                  <a:cubicBezTo>
                    <a:pt x="53333" y="10000"/>
                    <a:pt x="40000" y="0"/>
                    <a:pt x="26666" y="20000"/>
                  </a:cubicBezTo>
                  <a:cubicBezTo>
                    <a:pt x="26666" y="20000"/>
                    <a:pt x="0" y="20000"/>
                    <a:pt x="0" y="30000"/>
                  </a:cubicBezTo>
                  <a:cubicBezTo>
                    <a:pt x="13333" y="40000"/>
                    <a:pt x="40000" y="30000"/>
                    <a:pt x="40000" y="50000"/>
                  </a:cubicBezTo>
                  <a:cubicBezTo>
                    <a:pt x="40000" y="60000"/>
                    <a:pt x="40000" y="60000"/>
                    <a:pt x="40000" y="70000"/>
                  </a:cubicBezTo>
                  <a:cubicBezTo>
                    <a:pt x="40000" y="80000"/>
                    <a:pt x="53333" y="70000"/>
                    <a:pt x="53333" y="70000"/>
                  </a:cubicBezTo>
                  <a:cubicBezTo>
                    <a:pt x="66666" y="80000"/>
                    <a:pt x="40000" y="80000"/>
                    <a:pt x="40000" y="80000"/>
                  </a:cubicBezTo>
                  <a:cubicBezTo>
                    <a:pt x="40000" y="90000"/>
                    <a:pt x="66666" y="110000"/>
                    <a:pt x="80000" y="110000"/>
                  </a:cubicBezTo>
                  <a:cubicBezTo>
                    <a:pt x="80000" y="110000"/>
                    <a:pt x="26666" y="70000"/>
                    <a:pt x="80000" y="90000"/>
                  </a:cubicBezTo>
                  <a:cubicBezTo>
                    <a:pt x="93333" y="90000"/>
                    <a:pt x="120000" y="120000"/>
                    <a:pt x="120000" y="110000"/>
                  </a:cubicBezTo>
                  <a:cubicBezTo>
                    <a:pt x="106666" y="100000"/>
                    <a:pt x="120000" y="120000"/>
                    <a:pt x="120000" y="110000"/>
                  </a:cubicBezTo>
                  <a:close/>
                </a:path>
              </a:pathLst>
            </a:custGeom>
            <a:grpFill/>
            <a:ln w="3175" cap="flat" cmpd="sng">
              <a:solidFill>
                <a:schemeClr val="bg1"/>
              </a:solidFill>
              <a:prstDash val="solid"/>
              <a:round/>
              <a:headEnd type="none" w="med" len="med"/>
              <a:tailEnd type="none" w="med" len="med"/>
            </a:ln>
          </p:spPr>
          <p:txBody>
            <a:bodyPr lIns="121901" tIns="60933" rIns="121901" bIns="60933" anchor="t" anchorCtr="0">
              <a:noAutofit/>
            </a:bodyPr>
            <a:lstStyle/>
            <a:p>
              <a:pPr defTabSz="609585">
                <a:defRPr/>
              </a:pPr>
              <a:endParaRPr sz="4800">
                <a:solidFill>
                  <a:srgbClr val="39B54A"/>
                </a:solidFill>
                <a:latin typeface="Lato"/>
                <a:ea typeface="Lato"/>
                <a:cs typeface="Lato"/>
                <a:sym typeface="Lato"/>
              </a:endParaRPr>
            </a:p>
          </p:txBody>
        </p:sp>
      </p:grpSp>
      <p:sp>
        <p:nvSpPr>
          <p:cNvPr id="2" name="Round Same-side Corner of Rectangle 1">
            <a:extLst>
              <a:ext uri="{FF2B5EF4-FFF2-40B4-BE49-F238E27FC236}">
                <a16:creationId xmlns:a16="http://schemas.microsoft.com/office/drawing/2014/main" id="{C7CCCB93-7441-40CE-9036-025CC36B6D63}"/>
              </a:ext>
            </a:extLst>
          </p:cNvPr>
          <p:cNvSpPr/>
          <p:nvPr/>
        </p:nvSpPr>
        <p:spPr>
          <a:xfrm rot="16200000">
            <a:off x="8115590" y="2022606"/>
            <a:ext cx="4264069" cy="3888757"/>
          </a:xfrm>
          <a:prstGeom prst="round2SameRect">
            <a:avLst>
              <a:gd name="adj1" fmla="val 9460"/>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112000"/>
              </a:lnSpc>
            </a:pPr>
            <a:endParaRPr lang="en-NL" sz="1867"/>
          </a:p>
        </p:txBody>
      </p:sp>
      <p:sp>
        <p:nvSpPr>
          <p:cNvPr id="580" name="Title 579">
            <a:extLst>
              <a:ext uri="{FF2B5EF4-FFF2-40B4-BE49-F238E27FC236}">
                <a16:creationId xmlns:a16="http://schemas.microsoft.com/office/drawing/2014/main" id="{10A932EA-4489-A143-9B2B-3A861FB51F14}"/>
              </a:ext>
            </a:extLst>
          </p:cNvPr>
          <p:cNvSpPr>
            <a:spLocks noGrp="1"/>
          </p:cNvSpPr>
          <p:nvPr>
            <p:ph type="title"/>
          </p:nvPr>
        </p:nvSpPr>
        <p:spPr>
          <a:xfrm>
            <a:off x="580767" y="184399"/>
            <a:ext cx="9451151" cy="1138966"/>
          </a:xfrm>
        </p:spPr>
        <p:txBody>
          <a:bodyPr vert="horz">
            <a:normAutofit/>
          </a:bodyPr>
          <a:lstStyle/>
          <a:p>
            <a:r>
              <a:t>Aging population is increasing worldwide, and the geography of the world's oldest countries is shifting from Europe towards SE Asia by 2050</a:t>
            </a:r>
            <a:br/>
            <a:r>
              <a:t>全球老龄化人口正在增加，到2050年，世界上最老的国家的地理分布将从欧洲向东南亚转移。</a:t>
            </a:r>
            <a:endParaRPr lang="en-NL" sz="2493"/>
          </a:p>
        </p:txBody>
      </p:sp>
      <p:sp>
        <p:nvSpPr>
          <p:cNvPr id="4" name="Slide Number Placeholder 3">
            <a:extLst>
              <a:ext uri="{FF2B5EF4-FFF2-40B4-BE49-F238E27FC236}">
                <a16:creationId xmlns:a16="http://schemas.microsoft.com/office/drawing/2014/main" id="{03642C79-EAB5-8D4E-9C7D-C1FA59A47030}"/>
              </a:ext>
            </a:extLst>
          </p:cNvPr>
          <p:cNvSpPr>
            <a:spLocks noGrp="1"/>
          </p:cNvSpPr>
          <p:nvPr>
            <p:ph type="sldNum" sz="quarter" idx="12"/>
          </p:nvPr>
        </p:nvSpPr>
        <p:spPr/>
        <p:txBody>
          <a:bodyPr>
            <a:normAutofit/>
          </a:bodyPr>
          <a:lstStyle/>
          <a:p>
            <a:pPr defTabSz="609585">
              <a:defRPr/>
            </a:pPr>
            <a:endParaRPr lang="en-US" sz="667">
              <a:solidFill>
                <a:srgbClr val="3F4043">
                  <a:tint val="75000"/>
                </a:srgbClr>
              </a:solidFill>
              <a:latin typeface="Verdana"/>
            </a:endParaRPr>
          </a:p>
        </p:txBody>
      </p:sp>
      <p:sp>
        <p:nvSpPr>
          <p:cNvPr id="472" name="TextBox 471">
            <a:extLst>
              <a:ext uri="{FF2B5EF4-FFF2-40B4-BE49-F238E27FC236}">
                <a16:creationId xmlns:a16="http://schemas.microsoft.com/office/drawing/2014/main" id="{808F793B-A1D9-054F-9753-1442BD71FA99}"/>
              </a:ext>
            </a:extLst>
          </p:cNvPr>
          <p:cNvSpPr txBox="1"/>
          <p:nvPr/>
        </p:nvSpPr>
        <p:spPr>
          <a:xfrm>
            <a:off x="2310137" y="1788054"/>
            <a:ext cx="3870089" cy="871176"/>
          </a:xfrm>
          <a:prstGeom prst="rect">
            <a:avLst/>
          </a:prstGeom>
          <a:noFill/>
          <a:ln w="12700">
            <a:noFill/>
            <a:prstDash val="dash"/>
          </a:ln>
        </p:spPr>
        <p:txBody>
          <a:bodyPr wrap="square" lIns="96000" tIns="96000" rIns="96000" bIns="96000" rtlCol="0">
            <a:normAutofit/>
          </a:bodyPr>
          <a:lstStyle/>
          <a:p>
            <a:pPr algn="ctr" defTabSz="609585">
              <a:defRPr/>
            </a:pPr>
            <a:r>
              <a:t>Number and distribution of people aged 60 years or over by region</a:t>
            </a:r>
            <a:br/>
            <a:r>
              <a:t>各地区60岁及以上人口的数量和分布</a:t>
            </a:r>
          </a:p>
          <a:p>
            <a:pPr algn="ctr" defTabSz="609585">
              <a:defRPr/>
            </a:pPr>
            <a:r>
              <a:t>In 2017 and 2050</a:t>
            </a:r>
            <a:br/>
            <a:r>
              <a:t>2017年和2050年</a:t>
            </a:r>
            <a:endParaRPr lang="en-US" sz="1467" b="1">
              <a:solidFill>
                <a:srgbClr val="0094D9">
                  <a:alpha val="50000"/>
                </a:srgbClr>
              </a:solidFill>
              <a:latin typeface="Verdana"/>
            </a:endParaRPr>
          </a:p>
        </p:txBody>
      </p:sp>
      <p:sp>
        <p:nvSpPr>
          <p:cNvPr id="473" name="TextBox 472">
            <a:extLst>
              <a:ext uri="{FF2B5EF4-FFF2-40B4-BE49-F238E27FC236}">
                <a16:creationId xmlns:a16="http://schemas.microsoft.com/office/drawing/2014/main" id="{9F7A6C7A-628C-D845-AFF6-E5FF7EB1560D}"/>
              </a:ext>
            </a:extLst>
          </p:cNvPr>
          <p:cNvSpPr txBox="1"/>
          <p:nvPr/>
        </p:nvSpPr>
        <p:spPr>
          <a:xfrm>
            <a:off x="8933451" y="2277991"/>
            <a:ext cx="1168303" cy="363229"/>
          </a:xfrm>
          <a:prstGeom prst="rect">
            <a:avLst/>
          </a:prstGeom>
          <a:noFill/>
          <a:ln w="12700">
            <a:noFill/>
          </a:ln>
        </p:spPr>
        <p:txBody>
          <a:bodyPr wrap="square" lIns="96000" tIns="48000" rIns="48000" bIns="48000" rtlCol="0" anchor="t">
            <a:normAutofit/>
          </a:bodyPr>
          <a:lstStyle/>
          <a:p>
            <a:pPr algn="ctr" defTabSz="609585">
              <a:lnSpc>
                <a:spcPct val="150000"/>
              </a:lnSpc>
              <a:defRPr/>
            </a:pPr>
            <a:r>
              <a:rPr lang="en-GB" sz="1333" b="1">
                <a:solidFill>
                  <a:srgbClr val="0094D9"/>
                </a:solidFill>
                <a:latin typeface="Verdana"/>
              </a:rPr>
              <a:t>2017</a:t>
            </a:r>
          </a:p>
        </p:txBody>
      </p:sp>
      <p:grpSp>
        <p:nvGrpSpPr>
          <p:cNvPr id="505" name="Group 504">
            <a:extLst>
              <a:ext uri="{FF2B5EF4-FFF2-40B4-BE49-F238E27FC236}">
                <a16:creationId xmlns:a16="http://schemas.microsoft.com/office/drawing/2014/main" id="{11F33A14-668C-C845-8A27-1FBFA5F4124E}"/>
              </a:ext>
            </a:extLst>
          </p:cNvPr>
          <p:cNvGrpSpPr/>
          <p:nvPr/>
        </p:nvGrpSpPr>
        <p:grpSpPr>
          <a:xfrm>
            <a:off x="2279930" y="5021075"/>
            <a:ext cx="1436092" cy="705160"/>
            <a:chOff x="2007613" y="3263139"/>
            <a:chExt cx="1077069" cy="528870"/>
          </a:xfrm>
        </p:grpSpPr>
        <p:sp>
          <p:nvSpPr>
            <p:cNvPr id="469" name="Rectangle: Rounded Corners 11">
              <a:extLst>
                <a:ext uri="{FF2B5EF4-FFF2-40B4-BE49-F238E27FC236}">
                  <a16:creationId xmlns:a16="http://schemas.microsoft.com/office/drawing/2014/main" id="{90AE7BFC-6161-F84A-9FB4-43F18CBE6D95}"/>
                </a:ext>
              </a:extLst>
            </p:cNvPr>
            <p:cNvSpPr/>
            <p:nvPr/>
          </p:nvSpPr>
          <p:spPr>
            <a:xfrm>
              <a:off x="2007613" y="3590350"/>
              <a:ext cx="1077069" cy="201659"/>
            </a:xfrm>
            <a:prstGeom prst="roundRect">
              <a:avLst>
                <a:gd name="adj" fmla="val 0"/>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nchorCtr="1"/>
            <a:lstStyle/>
            <a:p>
              <a:pPr algn="ctr" defTabSz="609585">
                <a:defRPr/>
              </a:pPr>
              <a:r>
                <a:rPr lang="en-GB" sz="1067" b="1">
                  <a:solidFill>
                    <a:srgbClr val="EC008C"/>
                  </a:solidFill>
                  <a:latin typeface="Verdana"/>
                </a:rPr>
                <a:t>LATIN AMERICA</a:t>
              </a:r>
            </a:p>
          </p:txBody>
        </p:sp>
        <p:grpSp>
          <p:nvGrpSpPr>
            <p:cNvPr id="487" name="Group 486">
              <a:extLst>
                <a:ext uri="{FF2B5EF4-FFF2-40B4-BE49-F238E27FC236}">
                  <a16:creationId xmlns:a16="http://schemas.microsoft.com/office/drawing/2014/main" id="{54B5DD0E-5E3E-314E-9B88-8F185B5A31BF}"/>
                </a:ext>
              </a:extLst>
            </p:cNvPr>
            <p:cNvGrpSpPr/>
            <p:nvPr/>
          </p:nvGrpSpPr>
          <p:grpSpPr>
            <a:xfrm>
              <a:off x="2144712" y="3263139"/>
              <a:ext cx="806450" cy="311150"/>
              <a:chOff x="2144712" y="3263139"/>
              <a:chExt cx="806450" cy="311150"/>
            </a:xfrm>
          </p:grpSpPr>
          <p:sp>
            <p:nvSpPr>
              <p:cNvPr id="453" name="Rectangle 452">
                <a:extLst>
                  <a:ext uri="{FF2B5EF4-FFF2-40B4-BE49-F238E27FC236}">
                    <a16:creationId xmlns:a16="http://schemas.microsoft.com/office/drawing/2014/main" id="{F0D40371-36CE-A644-A8EB-3E2F21DC4477}"/>
                  </a:ext>
                </a:extLst>
              </p:cNvPr>
              <p:cNvSpPr/>
              <p:nvPr/>
            </p:nvSpPr>
            <p:spPr>
              <a:xfrm>
                <a:off x="2144712" y="3456813"/>
                <a:ext cx="393700" cy="1174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609585">
                  <a:defRPr/>
                </a:pPr>
                <a:endParaRPr lang="en-NL" sz="1467">
                  <a:solidFill>
                    <a:srgbClr val="FFFFFF"/>
                  </a:solidFill>
                  <a:latin typeface="Verdana"/>
                </a:endParaRPr>
              </a:p>
            </p:txBody>
          </p:sp>
          <p:sp>
            <p:nvSpPr>
              <p:cNvPr id="454" name="Rectangle 453">
                <a:extLst>
                  <a:ext uri="{FF2B5EF4-FFF2-40B4-BE49-F238E27FC236}">
                    <a16:creationId xmlns:a16="http://schemas.microsoft.com/office/drawing/2014/main" id="{C4163FB6-1EBE-E747-A4AB-A22E88251D97}"/>
                  </a:ext>
                </a:extLst>
              </p:cNvPr>
              <p:cNvSpPr/>
              <p:nvPr/>
            </p:nvSpPr>
            <p:spPr>
              <a:xfrm>
                <a:off x="2557462" y="3263139"/>
                <a:ext cx="393700" cy="311150"/>
              </a:xfrm>
              <a:prstGeom prst="rect">
                <a:avLst/>
              </a:prstGeom>
              <a:solidFill>
                <a:schemeClr val="accent4">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609585">
                  <a:defRPr/>
                </a:pPr>
                <a:endParaRPr lang="en-NL" sz="1467">
                  <a:solidFill>
                    <a:srgbClr val="FFFFFF"/>
                  </a:solidFill>
                  <a:latin typeface="Verdana"/>
                </a:endParaRPr>
              </a:p>
            </p:txBody>
          </p:sp>
        </p:grpSp>
        <p:cxnSp>
          <p:nvCxnSpPr>
            <p:cNvPr id="495" name="Straight Connector 494">
              <a:extLst>
                <a:ext uri="{FF2B5EF4-FFF2-40B4-BE49-F238E27FC236}">
                  <a16:creationId xmlns:a16="http://schemas.microsoft.com/office/drawing/2014/main" id="{541DCC9C-ED75-AB41-9073-DCB37F2C9B80}"/>
                </a:ext>
              </a:extLst>
            </p:cNvPr>
            <p:cNvCxnSpPr>
              <a:cxnSpLocks/>
            </p:cNvCxnSpPr>
            <p:nvPr/>
          </p:nvCxnSpPr>
          <p:spPr>
            <a:xfrm>
              <a:off x="2066925" y="3575685"/>
              <a:ext cx="958446"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504" name="Group 503">
            <a:extLst>
              <a:ext uri="{FF2B5EF4-FFF2-40B4-BE49-F238E27FC236}">
                <a16:creationId xmlns:a16="http://schemas.microsoft.com/office/drawing/2014/main" id="{9F45E6EC-0711-3F4B-A4EB-556FF0AAFAD6}"/>
              </a:ext>
            </a:extLst>
          </p:cNvPr>
          <p:cNvGrpSpPr/>
          <p:nvPr/>
        </p:nvGrpSpPr>
        <p:grpSpPr>
          <a:xfrm>
            <a:off x="4428965" y="4950194"/>
            <a:ext cx="1277928" cy="766793"/>
            <a:chOff x="3416300" y="3215035"/>
            <a:chExt cx="958446" cy="575095"/>
          </a:xfrm>
        </p:grpSpPr>
        <p:sp>
          <p:nvSpPr>
            <p:cNvPr id="471" name="Rectangle: Rounded Corners 13">
              <a:extLst>
                <a:ext uri="{FF2B5EF4-FFF2-40B4-BE49-F238E27FC236}">
                  <a16:creationId xmlns:a16="http://schemas.microsoft.com/office/drawing/2014/main" id="{0419B460-40B4-B74B-95AF-F25E41180F95}"/>
                </a:ext>
              </a:extLst>
            </p:cNvPr>
            <p:cNvSpPr/>
            <p:nvPr/>
          </p:nvSpPr>
          <p:spPr>
            <a:xfrm>
              <a:off x="3473635" y="3588471"/>
              <a:ext cx="822430" cy="201659"/>
            </a:xfrm>
            <a:prstGeom prst="roundRect">
              <a:avLst>
                <a:gd name="adj" fmla="val 0"/>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nchorCtr="1"/>
            <a:lstStyle/>
            <a:p>
              <a:pPr algn="ctr" defTabSz="609585">
                <a:defRPr/>
              </a:pPr>
              <a:r>
                <a:rPr lang="en-GB" sz="1067" b="1">
                  <a:solidFill>
                    <a:srgbClr val="ED1C24"/>
                  </a:solidFill>
                  <a:latin typeface="Verdana"/>
                </a:rPr>
                <a:t>AFRICA</a:t>
              </a:r>
            </a:p>
          </p:txBody>
        </p:sp>
        <p:grpSp>
          <p:nvGrpSpPr>
            <p:cNvPr id="488" name="Group 487">
              <a:extLst>
                <a:ext uri="{FF2B5EF4-FFF2-40B4-BE49-F238E27FC236}">
                  <a16:creationId xmlns:a16="http://schemas.microsoft.com/office/drawing/2014/main" id="{5BB43967-184F-EE4B-8B33-C85BBB14D427}"/>
                </a:ext>
              </a:extLst>
            </p:cNvPr>
            <p:cNvGrpSpPr/>
            <p:nvPr/>
          </p:nvGrpSpPr>
          <p:grpSpPr>
            <a:xfrm>
              <a:off x="3494087" y="3215035"/>
              <a:ext cx="806450" cy="359254"/>
              <a:chOff x="3494087" y="3215035"/>
              <a:chExt cx="806450" cy="359254"/>
            </a:xfrm>
          </p:grpSpPr>
          <p:sp>
            <p:nvSpPr>
              <p:cNvPr id="456" name="Rectangle 455">
                <a:extLst>
                  <a:ext uri="{FF2B5EF4-FFF2-40B4-BE49-F238E27FC236}">
                    <a16:creationId xmlns:a16="http://schemas.microsoft.com/office/drawing/2014/main" id="{0C289009-8337-A041-8133-CD413F6E2A57}"/>
                  </a:ext>
                </a:extLst>
              </p:cNvPr>
              <p:cNvSpPr/>
              <p:nvPr/>
            </p:nvSpPr>
            <p:spPr>
              <a:xfrm>
                <a:off x="3494087" y="3482215"/>
                <a:ext cx="393700" cy="9207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609585">
                  <a:defRPr/>
                </a:pPr>
                <a:endParaRPr lang="en-NL" sz="1467">
                  <a:solidFill>
                    <a:srgbClr val="FFFFFF"/>
                  </a:solidFill>
                  <a:latin typeface="Verdana"/>
                </a:endParaRPr>
              </a:p>
            </p:txBody>
          </p:sp>
          <p:sp>
            <p:nvSpPr>
              <p:cNvPr id="464" name="Rectangle 463">
                <a:extLst>
                  <a:ext uri="{FF2B5EF4-FFF2-40B4-BE49-F238E27FC236}">
                    <a16:creationId xmlns:a16="http://schemas.microsoft.com/office/drawing/2014/main" id="{BC8F82CD-332C-1C4B-9DF6-FA67DD779FDC}"/>
                  </a:ext>
                </a:extLst>
              </p:cNvPr>
              <p:cNvSpPr/>
              <p:nvPr/>
            </p:nvSpPr>
            <p:spPr>
              <a:xfrm>
                <a:off x="3906837" y="3215035"/>
                <a:ext cx="393700" cy="359254"/>
              </a:xfrm>
              <a:prstGeom prst="rect">
                <a:avLst/>
              </a:prstGeom>
              <a:solidFill>
                <a:schemeClr val="accent5">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609585">
                  <a:defRPr/>
                </a:pPr>
                <a:endParaRPr lang="en-NL" sz="1467">
                  <a:solidFill>
                    <a:srgbClr val="FFFFFF"/>
                  </a:solidFill>
                  <a:latin typeface="Verdana"/>
                </a:endParaRPr>
              </a:p>
            </p:txBody>
          </p:sp>
        </p:grpSp>
        <p:cxnSp>
          <p:nvCxnSpPr>
            <p:cNvPr id="496" name="Straight Connector 495">
              <a:extLst>
                <a:ext uri="{FF2B5EF4-FFF2-40B4-BE49-F238E27FC236}">
                  <a16:creationId xmlns:a16="http://schemas.microsoft.com/office/drawing/2014/main" id="{873E1FFC-1B05-7D48-8999-9E651492EA23}"/>
                </a:ext>
              </a:extLst>
            </p:cNvPr>
            <p:cNvCxnSpPr>
              <a:cxnSpLocks/>
            </p:cNvCxnSpPr>
            <p:nvPr/>
          </p:nvCxnSpPr>
          <p:spPr>
            <a:xfrm>
              <a:off x="3416300" y="3575685"/>
              <a:ext cx="958446"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503" name="Group 502">
            <a:extLst>
              <a:ext uri="{FF2B5EF4-FFF2-40B4-BE49-F238E27FC236}">
                <a16:creationId xmlns:a16="http://schemas.microsoft.com/office/drawing/2014/main" id="{BAC999EF-F6F1-A84C-B6BF-0F91C9307C81}"/>
              </a:ext>
            </a:extLst>
          </p:cNvPr>
          <p:cNvGrpSpPr/>
          <p:nvPr/>
        </p:nvGrpSpPr>
        <p:grpSpPr>
          <a:xfrm>
            <a:off x="4252423" y="3526983"/>
            <a:ext cx="1277928" cy="813127"/>
            <a:chOff x="4762500" y="3182164"/>
            <a:chExt cx="958446" cy="609845"/>
          </a:xfrm>
        </p:grpSpPr>
        <p:sp>
          <p:nvSpPr>
            <p:cNvPr id="470" name="Rectangle: Rounded Corners 12">
              <a:extLst>
                <a:ext uri="{FF2B5EF4-FFF2-40B4-BE49-F238E27FC236}">
                  <a16:creationId xmlns:a16="http://schemas.microsoft.com/office/drawing/2014/main" id="{0D02DC7D-3D3B-BF46-9C7F-F862E99BF1D7}"/>
                </a:ext>
              </a:extLst>
            </p:cNvPr>
            <p:cNvSpPr/>
            <p:nvPr/>
          </p:nvSpPr>
          <p:spPr>
            <a:xfrm>
              <a:off x="4829315" y="3590350"/>
              <a:ext cx="805314" cy="201659"/>
            </a:xfrm>
            <a:prstGeom prst="roundRect">
              <a:avLst>
                <a:gd name="adj" fmla="val 0"/>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nchorCtr="1"/>
            <a:lstStyle/>
            <a:p>
              <a:pPr algn="ctr" defTabSz="609585">
                <a:defRPr/>
              </a:pPr>
              <a:r>
                <a:rPr lang="en-GB" sz="1067" b="1">
                  <a:solidFill>
                    <a:srgbClr val="F7931E"/>
                  </a:solidFill>
                  <a:latin typeface="Verdana"/>
                </a:rPr>
                <a:t>EUROPE</a:t>
              </a:r>
            </a:p>
          </p:txBody>
        </p:sp>
        <p:grpSp>
          <p:nvGrpSpPr>
            <p:cNvPr id="489" name="Group 488">
              <a:extLst>
                <a:ext uri="{FF2B5EF4-FFF2-40B4-BE49-F238E27FC236}">
                  <a16:creationId xmlns:a16="http://schemas.microsoft.com/office/drawing/2014/main" id="{69910A11-2CB8-F247-9E29-80C166A73EFB}"/>
                </a:ext>
              </a:extLst>
            </p:cNvPr>
            <p:cNvGrpSpPr/>
            <p:nvPr/>
          </p:nvGrpSpPr>
          <p:grpSpPr>
            <a:xfrm>
              <a:off x="4840287" y="3182164"/>
              <a:ext cx="806450" cy="392125"/>
              <a:chOff x="4840287" y="3182164"/>
              <a:chExt cx="806450" cy="392125"/>
            </a:xfrm>
          </p:grpSpPr>
          <p:sp>
            <p:nvSpPr>
              <p:cNvPr id="474" name="Rectangle 473">
                <a:extLst>
                  <a:ext uri="{FF2B5EF4-FFF2-40B4-BE49-F238E27FC236}">
                    <a16:creationId xmlns:a16="http://schemas.microsoft.com/office/drawing/2014/main" id="{DB046580-C96E-E049-99F4-1091B9BC6EA6}"/>
                  </a:ext>
                </a:extLst>
              </p:cNvPr>
              <p:cNvSpPr/>
              <p:nvPr/>
            </p:nvSpPr>
            <p:spPr>
              <a:xfrm>
                <a:off x="4840287" y="3288539"/>
                <a:ext cx="393700" cy="285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609585">
                  <a:defRPr/>
                </a:pPr>
                <a:endParaRPr lang="en-NL" sz="1467">
                  <a:solidFill>
                    <a:srgbClr val="FFFFFF"/>
                  </a:solidFill>
                  <a:latin typeface="Verdana"/>
                </a:endParaRPr>
              </a:p>
            </p:txBody>
          </p:sp>
          <p:sp>
            <p:nvSpPr>
              <p:cNvPr id="482" name="Rectangle 481">
                <a:extLst>
                  <a:ext uri="{FF2B5EF4-FFF2-40B4-BE49-F238E27FC236}">
                    <a16:creationId xmlns:a16="http://schemas.microsoft.com/office/drawing/2014/main" id="{B678B24C-FD68-814D-B5CD-B95540F981DA}"/>
                  </a:ext>
                </a:extLst>
              </p:cNvPr>
              <p:cNvSpPr/>
              <p:nvPr/>
            </p:nvSpPr>
            <p:spPr>
              <a:xfrm>
                <a:off x="5253037" y="3182164"/>
                <a:ext cx="393700" cy="392125"/>
              </a:xfrm>
              <a:prstGeom prst="rect">
                <a:avLst/>
              </a:prstGeom>
              <a:solidFill>
                <a:schemeClr val="accent6">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609585">
                  <a:defRPr/>
                </a:pPr>
                <a:endParaRPr lang="en-NL" sz="1467">
                  <a:solidFill>
                    <a:srgbClr val="FFFFFF"/>
                  </a:solidFill>
                  <a:latin typeface="Verdana"/>
                </a:endParaRPr>
              </a:p>
            </p:txBody>
          </p:sp>
        </p:grpSp>
        <p:cxnSp>
          <p:nvCxnSpPr>
            <p:cNvPr id="497" name="Straight Connector 496">
              <a:extLst>
                <a:ext uri="{FF2B5EF4-FFF2-40B4-BE49-F238E27FC236}">
                  <a16:creationId xmlns:a16="http://schemas.microsoft.com/office/drawing/2014/main" id="{3C1F293B-DC22-F34F-B1A4-2C17D2300FE2}"/>
                </a:ext>
              </a:extLst>
            </p:cNvPr>
            <p:cNvCxnSpPr>
              <a:cxnSpLocks/>
            </p:cNvCxnSpPr>
            <p:nvPr/>
          </p:nvCxnSpPr>
          <p:spPr>
            <a:xfrm>
              <a:off x="4762500" y="3575685"/>
              <a:ext cx="958446"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501" name="Group 500">
            <a:extLst>
              <a:ext uri="{FF2B5EF4-FFF2-40B4-BE49-F238E27FC236}">
                <a16:creationId xmlns:a16="http://schemas.microsoft.com/office/drawing/2014/main" id="{59FF2D9F-500C-7A4E-AB74-299CDB2B96E8}"/>
              </a:ext>
            </a:extLst>
          </p:cNvPr>
          <p:cNvGrpSpPr/>
          <p:nvPr/>
        </p:nvGrpSpPr>
        <p:grpSpPr>
          <a:xfrm>
            <a:off x="6401779" y="5398438"/>
            <a:ext cx="1436092" cy="327797"/>
            <a:chOff x="7403401" y="3546161"/>
            <a:chExt cx="1077069" cy="245848"/>
          </a:xfrm>
        </p:grpSpPr>
        <p:sp>
          <p:nvSpPr>
            <p:cNvPr id="467" name="Rectangle: Rounded Corners 8">
              <a:extLst>
                <a:ext uri="{FF2B5EF4-FFF2-40B4-BE49-F238E27FC236}">
                  <a16:creationId xmlns:a16="http://schemas.microsoft.com/office/drawing/2014/main" id="{0FED916E-0B18-024A-A131-9067F785CBE9}"/>
                </a:ext>
              </a:extLst>
            </p:cNvPr>
            <p:cNvSpPr/>
            <p:nvPr/>
          </p:nvSpPr>
          <p:spPr>
            <a:xfrm>
              <a:off x="7403401" y="3590350"/>
              <a:ext cx="1077069" cy="201659"/>
            </a:xfrm>
            <a:prstGeom prst="roundRect">
              <a:avLst>
                <a:gd name="adj" fmla="val 0"/>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nchorCtr="1"/>
            <a:lstStyle/>
            <a:p>
              <a:pPr algn="ctr" defTabSz="609585">
                <a:defRPr/>
              </a:pPr>
              <a:r>
                <a:rPr lang="en-GB" sz="1067" b="1">
                  <a:solidFill>
                    <a:srgbClr val="0094D9">
                      <a:lumMod val="50000"/>
                    </a:srgbClr>
                  </a:solidFill>
                  <a:latin typeface="Verdana"/>
                </a:rPr>
                <a:t>OCEANIA</a:t>
              </a:r>
            </a:p>
          </p:txBody>
        </p:sp>
        <p:grpSp>
          <p:nvGrpSpPr>
            <p:cNvPr id="491" name="Group 490">
              <a:extLst>
                <a:ext uri="{FF2B5EF4-FFF2-40B4-BE49-F238E27FC236}">
                  <a16:creationId xmlns:a16="http://schemas.microsoft.com/office/drawing/2014/main" id="{D82DB6BC-EEB0-8B4A-9896-DE003289674C}"/>
                </a:ext>
              </a:extLst>
            </p:cNvPr>
            <p:cNvGrpSpPr/>
            <p:nvPr/>
          </p:nvGrpSpPr>
          <p:grpSpPr>
            <a:xfrm>
              <a:off x="7542212" y="3546161"/>
              <a:ext cx="806450" cy="36000"/>
              <a:chOff x="7542212" y="3546161"/>
              <a:chExt cx="806450" cy="36000"/>
            </a:xfrm>
          </p:grpSpPr>
          <p:sp>
            <p:nvSpPr>
              <p:cNvPr id="485" name="Rectangle 484">
                <a:extLst>
                  <a:ext uri="{FF2B5EF4-FFF2-40B4-BE49-F238E27FC236}">
                    <a16:creationId xmlns:a16="http://schemas.microsoft.com/office/drawing/2014/main" id="{ED03C807-CA2E-F646-A33C-DFB04D8482B4}"/>
                  </a:ext>
                </a:extLst>
              </p:cNvPr>
              <p:cNvSpPr/>
              <p:nvPr/>
            </p:nvSpPr>
            <p:spPr>
              <a:xfrm>
                <a:off x="7542212" y="3558699"/>
                <a:ext cx="393700" cy="1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609585">
                  <a:defRPr/>
                </a:pPr>
                <a:endParaRPr lang="en-NL" sz="1467">
                  <a:solidFill>
                    <a:srgbClr val="FFFFFF"/>
                  </a:solidFill>
                  <a:latin typeface="Verdana"/>
                </a:endParaRPr>
              </a:p>
            </p:txBody>
          </p:sp>
          <p:sp>
            <p:nvSpPr>
              <p:cNvPr id="486" name="Rectangle 485">
                <a:extLst>
                  <a:ext uri="{FF2B5EF4-FFF2-40B4-BE49-F238E27FC236}">
                    <a16:creationId xmlns:a16="http://schemas.microsoft.com/office/drawing/2014/main" id="{B0F37928-CB7D-334B-B596-D8B8641389E9}"/>
                  </a:ext>
                </a:extLst>
              </p:cNvPr>
              <p:cNvSpPr/>
              <p:nvPr/>
            </p:nvSpPr>
            <p:spPr>
              <a:xfrm>
                <a:off x="7954962" y="3546161"/>
                <a:ext cx="393700" cy="36000"/>
              </a:xfrm>
              <a:prstGeom prst="rect">
                <a:avLst/>
              </a:prstGeom>
              <a:solidFill>
                <a:schemeClr val="accent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609585">
                  <a:defRPr/>
                </a:pPr>
                <a:endParaRPr lang="en-NL" sz="1467">
                  <a:solidFill>
                    <a:srgbClr val="FFFFFF"/>
                  </a:solidFill>
                  <a:latin typeface="Verdana"/>
                </a:endParaRPr>
              </a:p>
            </p:txBody>
          </p:sp>
        </p:grpSp>
        <p:cxnSp>
          <p:nvCxnSpPr>
            <p:cNvPr id="499" name="Straight Connector 498">
              <a:extLst>
                <a:ext uri="{FF2B5EF4-FFF2-40B4-BE49-F238E27FC236}">
                  <a16:creationId xmlns:a16="http://schemas.microsoft.com/office/drawing/2014/main" id="{85A13319-B2B2-E642-ADAF-EF1653B1E2EB}"/>
                </a:ext>
              </a:extLst>
            </p:cNvPr>
            <p:cNvCxnSpPr>
              <a:cxnSpLocks/>
            </p:cNvCxnSpPr>
            <p:nvPr/>
          </p:nvCxnSpPr>
          <p:spPr>
            <a:xfrm>
              <a:off x="7472770" y="3575685"/>
              <a:ext cx="958446"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cxnSp>
        <p:nvCxnSpPr>
          <p:cNvPr id="525" name="Straight Arrow Connector 524">
            <a:extLst>
              <a:ext uri="{FF2B5EF4-FFF2-40B4-BE49-F238E27FC236}">
                <a16:creationId xmlns:a16="http://schemas.microsoft.com/office/drawing/2014/main" id="{0EE85143-2220-9441-82F1-F6D154EC7BC6}"/>
              </a:ext>
            </a:extLst>
          </p:cNvPr>
          <p:cNvCxnSpPr>
            <a:cxnSpLocks/>
          </p:cNvCxnSpPr>
          <p:nvPr/>
        </p:nvCxnSpPr>
        <p:spPr>
          <a:xfrm flipV="1">
            <a:off x="3656517" y="4662508"/>
            <a:ext cx="0" cy="772800"/>
          </a:xfrm>
          <a:prstGeom prst="straightConnector1">
            <a:avLst/>
          </a:prstGeom>
          <a:ln w="12700">
            <a:solidFill>
              <a:schemeClr val="accent4"/>
            </a:solidFill>
            <a:tailEnd type="triangle"/>
          </a:ln>
          <a:effectLst/>
        </p:spPr>
        <p:style>
          <a:lnRef idx="1">
            <a:schemeClr val="accent1"/>
          </a:lnRef>
          <a:fillRef idx="0">
            <a:schemeClr val="accent1"/>
          </a:fillRef>
          <a:effectRef idx="0">
            <a:schemeClr val="accent1"/>
          </a:effectRef>
          <a:fontRef idx="minor">
            <a:schemeClr val="tx1"/>
          </a:fontRef>
        </p:style>
      </p:cxnSp>
      <p:sp>
        <p:nvSpPr>
          <p:cNvPr id="526" name="TextBox 525">
            <a:extLst>
              <a:ext uri="{FF2B5EF4-FFF2-40B4-BE49-F238E27FC236}">
                <a16:creationId xmlns:a16="http://schemas.microsoft.com/office/drawing/2014/main" id="{3742D30E-5EB6-5048-B344-ACB2047D8FD8}"/>
              </a:ext>
            </a:extLst>
          </p:cNvPr>
          <p:cNvSpPr txBox="1"/>
          <p:nvPr/>
        </p:nvSpPr>
        <p:spPr>
          <a:xfrm rot="16200000">
            <a:off x="3570972" y="5057758"/>
            <a:ext cx="508881" cy="246221"/>
          </a:xfrm>
          <a:prstGeom prst="rect">
            <a:avLst/>
          </a:prstGeom>
          <a:noFill/>
        </p:spPr>
        <p:txBody>
          <a:bodyPr wrap="square" lIns="0" tIns="0" rIns="0" bIns="0" rtlCol="0">
            <a:normAutofit/>
          </a:bodyPr>
          <a:lstStyle/>
          <a:p>
            <a:pPr defTabSz="609585">
              <a:defRPr/>
            </a:pPr>
            <a:r>
              <a:rPr lang="en-US" sz="1067" b="1">
                <a:solidFill>
                  <a:srgbClr val="FFFFFF">
                    <a:lumMod val="50000"/>
                  </a:srgbClr>
                </a:solidFill>
                <a:latin typeface="Verdana"/>
              </a:rPr>
              <a:t>161</a:t>
            </a:r>
            <a:r>
              <a:rPr lang="en-US" sz="667">
                <a:solidFill>
                  <a:srgbClr val="FFFFFF">
                    <a:lumMod val="50000"/>
                  </a:srgbClr>
                </a:solidFill>
                <a:latin typeface="Verdana"/>
              </a:rPr>
              <a:t>%</a:t>
            </a:r>
          </a:p>
          <a:p>
            <a:pPr defTabSz="609585">
              <a:defRPr/>
            </a:pPr>
            <a:r>
              <a:t>increase</a:t>
            </a:r>
            <a:br/>
            <a:r>
              <a:t>增加</a:t>
            </a:r>
            <a:endParaRPr lang="en-NL" sz="533">
              <a:solidFill>
                <a:srgbClr val="FFFFFF">
                  <a:lumMod val="50000"/>
                </a:srgbClr>
              </a:solidFill>
              <a:latin typeface="Verdana"/>
            </a:endParaRPr>
          </a:p>
        </p:txBody>
      </p:sp>
      <p:cxnSp>
        <p:nvCxnSpPr>
          <p:cNvPr id="529" name="Straight Arrow Connector 528">
            <a:extLst>
              <a:ext uri="{FF2B5EF4-FFF2-40B4-BE49-F238E27FC236}">
                <a16:creationId xmlns:a16="http://schemas.microsoft.com/office/drawing/2014/main" id="{39665C4B-BF16-9A4C-BDC4-7CD4235D90A7}"/>
              </a:ext>
            </a:extLst>
          </p:cNvPr>
          <p:cNvCxnSpPr>
            <a:cxnSpLocks/>
          </p:cNvCxnSpPr>
          <p:nvPr/>
        </p:nvCxnSpPr>
        <p:spPr>
          <a:xfrm flipV="1">
            <a:off x="5556203" y="3885077"/>
            <a:ext cx="0" cy="167999"/>
          </a:xfrm>
          <a:prstGeom prst="straightConnector1">
            <a:avLst/>
          </a:prstGeom>
          <a:ln w="12700">
            <a:solidFill>
              <a:schemeClr val="accent6"/>
            </a:solidFill>
            <a:tailEnd type="triangle"/>
          </a:ln>
          <a:effectLst/>
        </p:spPr>
        <p:style>
          <a:lnRef idx="1">
            <a:schemeClr val="accent1"/>
          </a:lnRef>
          <a:fillRef idx="0">
            <a:schemeClr val="accent1"/>
          </a:fillRef>
          <a:effectRef idx="0">
            <a:schemeClr val="accent1"/>
          </a:effectRef>
          <a:fontRef idx="minor">
            <a:schemeClr val="tx1"/>
          </a:fontRef>
        </p:style>
      </p:cxnSp>
      <p:sp>
        <p:nvSpPr>
          <p:cNvPr id="530" name="TextBox 529">
            <a:extLst>
              <a:ext uri="{FF2B5EF4-FFF2-40B4-BE49-F238E27FC236}">
                <a16:creationId xmlns:a16="http://schemas.microsoft.com/office/drawing/2014/main" id="{7FA7F497-5F74-E540-85F2-5444E3A1F587}"/>
              </a:ext>
            </a:extLst>
          </p:cNvPr>
          <p:cNvSpPr txBox="1"/>
          <p:nvPr/>
        </p:nvSpPr>
        <p:spPr>
          <a:xfrm rot="16200000">
            <a:off x="5470657" y="3675524"/>
            <a:ext cx="508881" cy="246221"/>
          </a:xfrm>
          <a:prstGeom prst="rect">
            <a:avLst/>
          </a:prstGeom>
          <a:noFill/>
        </p:spPr>
        <p:txBody>
          <a:bodyPr wrap="square" lIns="0" tIns="0" rIns="0" bIns="0" rtlCol="0">
            <a:normAutofit/>
          </a:bodyPr>
          <a:lstStyle/>
          <a:p>
            <a:pPr defTabSz="609585">
              <a:defRPr/>
            </a:pPr>
            <a:r>
              <a:rPr lang="en-US" sz="1067" b="1">
                <a:solidFill>
                  <a:srgbClr val="FFFFFF">
                    <a:lumMod val="50000"/>
                  </a:srgbClr>
                </a:solidFill>
                <a:latin typeface="Verdana"/>
              </a:rPr>
              <a:t>35</a:t>
            </a:r>
            <a:r>
              <a:rPr lang="en-US" sz="667">
                <a:solidFill>
                  <a:srgbClr val="FFFFFF">
                    <a:lumMod val="50000"/>
                  </a:srgbClr>
                </a:solidFill>
                <a:latin typeface="Verdana"/>
              </a:rPr>
              <a:t>%</a:t>
            </a:r>
          </a:p>
          <a:p>
            <a:pPr defTabSz="609585">
              <a:defRPr/>
            </a:pPr>
            <a:r>
              <a:rPr lang="en-US" sz="533">
                <a:solidFill>
                  <a:srgbClr val="FFFFFF">
                    <a:lumMod val="50000"/>
                  </a:srgbClr>
                </a:solidFill>
                <a:latin typeface="Verdana"/>
              </a:rPr>
              <a:t>increase</a:t>
            </a:r>
            <a:endParaRPr lang="en-NL" sz="533">
              <a:solidFill>
                <a:srgbClr val="FFFFFF">
                  <a:lumMod val="50000"/>
                </a:srgbClr>
              </a:solidFill>
              <a:latin typeface="Verdana"/>
            </a:endParaRPr>
          </a:p>
        </p:txBody>
      </p:sp>
      <p:cxnSp>
        <p:nvCxnSpPr>
          <p:cNvPr id="531" name="Straight Arrow Connector 530">
            <a:extLst>
              <a:ext uri="{FF2B5EF4-FFF2-40B4-BE49-F238E27FC236}">
                <a16:creationId xmlns:a16="http://schemas.microsoft.com/office/drawing/2014/main" id="{89A653F7-0018-7242-80EC-45E89D2EAF40}"/>
              </a:ext>
            </a:extLst>
          </p:cNvPr>
          <p:cNvCxnSpPr>
            <a:cxnSpLocks/>
          </p:cNvCxnSpPr>
          <p:nvPr/>
        </p:nvCxnSpPr>
        <p:spPr>
          <a:xfrm flipV="1">
            <a:off x="5723329" y="4338503"/>
            <a:ext cx="0" cy="1099200"/>
          </a:xfrm>
          <a:prstGeom prst="straightConnector1">
            <a:avLst/>
          </a:prstGeom>
          <a:ln w="12700">
            <a:solidFill>
              <a:schemeClr val="accent5"/>
            </a:solidFill>
            <a:tailEnd type="triangle"/>
          </a:ln>
          <a:effectLst/>
        </p:spPr>
        <p:style>
          <a:lnRef idx="1">
            <a:schemeClr val="accent1"/>
          </a:lnRef>
          <a:fillRef idx="0">
            <a:schemeClr val="accent1"/>
          </a:fillRef>
          <a:effectRef idx="0">
            <a:schemeClr val="accent1"/>
          </a:effectRef>
          <a:fontRef idx="minor">
            <a:schemeClr val="tx1"/>
          </a:fontRef>
        </p:style>
      </p:cxnSp>
      <p:sp>
        <p:nvSpPr>
          <p:cNvPr id="532" name="TextBox 531">
            <a:extLst>
              <a:ext uri="{FF2B5EF4-FFF2-40B4-BE49-F238E27FC236}">
                <a16:creationId xmlns:a16="http://schemas.microsoft.com/office/drawing/2014/main" id="{40D13A5C-B7FC-9546-9009-10BA2E6FEA0B}"/>
              </a:ext>
            </a:extLst>
          </p:cNvPr>
          <p:cNvSpPr txBox="1"/>
          <p:nvPr/>
        </p:nvSpPr>
        <p:spPr>
          <a:xfrm rot="16200000">
            <a:off x="5637784" y="5060152"/>
            <a:ext cx="508881" cy="246221"/>
          </a:xfrm>
          <a:prstGeom prst="rect">
            <a:avLst/>
          </a:prstGeom>
          <a:noFill/>
        </p:spPr>
        <p:txBody>
          <a:bodyPr wrap="square" lIns="0" tIns="0" rIns="0" bIns="0" rtlCol="0">
            <a:normAutofit/>
          </a:bodyPr>
          <a:lstStyle/>
          <a:p>
            <a:pPr defTabSz="609585">
              <a:defRPr/>
            </a:pPr>
            <a:r>
              <a:rPr lang="en-US" sz="1067" b="1">
                <a:solidFill>
                  <a:srgbClr val="FFFFFF">
                    <a:lumMod val="50000"/>
                  </a:srgbClr>
                </a:solidFill>
                <a:latin typeface="Verdana"/>
              </a:rPr>
              <a:t>229</a:t>
            </a:r>
            <a:r>
              <a:rPr lang="en-US" sz="667">
                <a:solidFill>
                  <a:srgbClr val="FFFFFF">
                    <a:lumMod val="50000"/>
                  </a:srgbClr>
                </a:solidFill>
                <a:latin typeface="Verdana"/>
              </a:rPr>
              <a:t>%</a:t>
            </a:r>
          </a:p>
          <a:p>
            <a:pPr defTabSz="609585">
              <a:defRPr/>
            </a:pPr>
            <a:r>
              <a:rPr lang="en-US" sz="533">
                <a:solidFill>
                  <a:srgbClr val="FFFFFF">
                    <a:lumMod val="50000"/>
                  </a:srgbClr>
                </a:solidFill>
                <a:latin typeface="Verdana"/>
              </a:rPr>
              <a:t>increase</a:t>
            </a:r>
            <a:endParaRPr lang="en-NL" sz="533">
              <a:solidFill>
                <a:srgbClr val="FFFFFF">
                  <a:lumMod val="50000"/>
                </a:srgbClr>
              </a:solidFill>
              <a:latin typeface="Verdana"/>
            </a:endParaRPr>
          </a:p>
        </p:txBody>
      </p:sp>
      <p:cxnSp>
        <p:nvCxnSpPr>
          <p:cNvPr id="533" name="Straight Arrow Connector 532">
            <a:extLst>
              <a:ext uri="{FF2B5EF4-FFF2-40B4-BE49-F238E27FC236}">
                <a16:creationId xmlns:a16="http://schemas.microsoft.com/office/drawing/2014/main" id="{591D1501-D6E8-614D-BD60-D60CD6F0E053}"/>
              </a:ext>
            </a:extLst>
          </p:cNvPr>
          <p:cNvCxnSpPr>
            <a:cxnSpLocks/>
          </p:cNvCxnSpPr>
          <p:nvPr/>
        </p:nvCxnSpPr>
        <p:spPr>
          <a:xfrm flipV="1">
            <a:off x="7505507" y="3719583"/>
            <a:ext cx="0" cy="633600"/>
          </a:xfrm>
          <a:prstGeom prst="straightConnector1">
            <a:avLst/>
          </a:prstGeom>
          <a:ln w="12700">
            <a:solidFill>
              <a:schemeClr val="accent3">
                <a:lumMod val="75000"/>
              </a:schemeClr>
            </a:solidFill>
            <a:tailEnd type="triangle"/>
          </a:ln>
          <a:effectLst/>
        </p:spPr>
        <p:style>
          <a:lnRef idx="1">
            <a:schemeClr val="accent1"/>
          </a:lnRef>
          <a:fillRef idx="0">
            <a:schemeClr val="accent1"/>
          </a:fillRef>
          <a:effectRef idx="0">
            <a:schemeClr val="accent1"/>
          </a:effectRef>
          <a:fontRef idx="minor">
            <a:schemeClr val="tx1"/>
          </a:fontRef>
        </p:style>
      </p:cxnSp>
      <p:sp>
        <p:nvSpPr>
          <p:cNvPr id="534" name="TextBox 533">
            <a:extLst>
              <a:ext uri="{FF2B5EF4-FFF2-40B4-BE49-F238E27FC236}">
                <a16:creationId xmlns:a16="http://schemas.microsoft.com/office/drawing/2014/main" id="{59454807-B6B8-E74D-9F7F-8A4337175948}"/>
              </a:ext>
            </a:extLst>
          </p:cNvPr>
          <p:cNvSpPr txBox="1"/>
          <p:nvPr/>
        </p:nvSpPr>
        <p:spPr>
          <a:xfrm rot="16200000">
            <a:off x="7419961" y="3975632"/>
            <a:ext cx="508881" cy="246221"/>
          </a:xfrm>
          <a:prstGeom prst="rect">
            <a:avLst/>
          </a:prstGeom>
          <a:noFill/>
        </p:spPr>
        <p:txBody>
          <a:bodyPr wrap="square" lIns="0" tIns="0" rIns="0" bIns="0" rtlCol="0">
            <a:normAutofit/>
          </a:bodyPr>
          <a:lstStyle/>
          <a:p>
            <a:pPr defTabSz="609585">
              <a:defRPr/>
            </a:pPr>
            <a:r>
              <a:rPr lang="en-US" sz="1067" b="1">
                <a:solidFill>
                  <a:srgbClr val="FFFFFF">
                    <a:lumMod val="50000"/>
                  </a:srgbClr>
                </a:solidFill>
                <a:latin typeface="Verdana"/>
              </a:rPr>
              <a:t>132</a:t>
            </a:r>
            <a:r>
              <a:rPr lang="en-US" sz="667">
                <a:solidFill>
                  <a:srgbClr val="FFFFFF">
                    <a:lumMod val="50000"/>
                  </a:srgbClr>
                </a:solidFill>
                <a:latin typeface="Verdana"/>
              </a:rPr>
              <a:t>%</a:t>
            </a:r>
          </a:p>
          <a:p>
            <a:pPr defTabSz="609585">
              <a:defRPr/>
            </a:pPr>
            <a:r>
              <a:rPr lang="en-US" sz="533">
                <a:solidFill>
                  <a:srgbClr val="FFFFFF">
                    <a:lumMod val="50000"/>
                  </a:srgbClr>
                </a:solidFill>
                <a:latin typeface="Verdana"/>
              </a:rPr>
              <a:t>increase</a:t>
            </a:r>
            <a:endParaRPr lang="en-NL" sz="533">
              <a:solidFill>
                <a:srgbClr val="FFFFFF">
                  <a:lumMod val="50000"/>
                </a:srgbClr>
              </a:solidFill>
              <a:latin typeface="Verdana"/>
            </a:endParaRPr>
          </a:p>
        </p:txBody>
      </p:sp>
      <p:cxnSp>
        <p:nvCxnSpPr>
          <p:cNvPr id="535" name="Straight Arrow Connector 534">
            <a:extLst>
              <a:ext uri="{FF2B5EF4-FFF2-40B4-BE49-F238E27FC236}">
                <a16:creationId xmlns:a16="http://schemas.microsoft.com/office/drawing/2014/main" id="{5FDF4B10-C866-3D49-9FF6-B2660C9064FF}"/>
              </a:ext>
            </a:extLst>
          </p:cNvPr>
          <p:cNvCxnSpPr>
            <a:cxnSpLocks/>
          </p:cNvCxnSpPr>
          <p:nvPr/>
        </p:nvCxnSpPr>
        <p:spPr>
          <a:xfrm flipV="1">
            <a:off x="7807492" y="4998392"/>
            <a:ext cx="0" cy="446400"/>
          </a:xfrm>
          <a:prstGeom prst="straightConnector1">
            <a:avLst/>
          </a:prstGeom>
          <a:ln w="12700">
            <a:solidFill>
              <a:schemeClr val="accent1">
                <a:lumMod val="50000"/>
              </a:schemeClr>
            </a:solidFill>
            <a:tailEnd type="triangle"/>
          </a:ln>
          <a:effectLst/>
        </p:spPr>
        <p:style>
          <a:lnRef idx="1">
            <a:schemeClr val="accent1"/>
          </a:lnRef>
          <a:fillRef idx="0">
            <a:schemeClr val="accent1"/>
          </a:fillRef>
          <a:effectRef idx="0">
            <a:schemeClr val="accent1"/>
          </a:effectRef>
          <a:fontRef idx="minor">
            <a:schemeClr val="tx1"/>
          </a:fontRef>
        </p:style>
      </p:cxnSp>
      <p:sp>
        <p:nvSpPr>
          <p:cNvPr id="536" name="TextBox 535">
            <a:extLst>
              <a:ext uri="{FF2B5EF4-FFF2-40B4-BE49-F238E27FC236}">
                <a16:creationId xmlns:a16="http://schemas.microsoft.com/office/drawing/2014/main" id="{4E6EED13-B402-D849-A1F0-588653DC3837}"/>
              </a:ext>
            </a:extLst>
          </p:cNvPr>
          <p:cNvSpPr txBox="1"/>
          <p:nvPr/>
        </p:nvSpPr>
        <p:spPr>
          <a:xfrm rot="16200000">
            <a:off x="7721946" y="5067242"/>
            <a:ext cx="508881" cy="246221"/>
          </a:xfrm>
          <a:prstGeom prst="rect">
            <a:avLst/>
          </a:prstGeom>
          <a:noFill/>
        </p:spPr>
        <p:txBody>
          <a:bodyPr wrap="square" lIns="0" tIns="0" rIns="0" bIns="0" rtlCol="0">
            <a:normAutofit/>
          </a:bodyPr>
          <a:lstStyle/>
          <a:p>
            <a:pPr defTabSz="609585">
              <a:defRPr/>
            </a:pPr>
            <a:r>
              <a:rPr lang="en-US" sz="1067" b="1">
                <a:solidFill>
                  <a:srgbClr val="FFFFFF">
                    <a:lumMod val="50000"/>
                  </a:srgbClr>
                </a:solidFill>
                <a:latin typeface="Verdana"/>
              </a:rPr>
              <a:t>93</a:t>
            </a:r>
            <a:r>
              <a:rPr lang="en-US" sz="667">
                <a:solidFill>
                  <a:srgbClr val="FFFFFF">
                    <a:lumMod val="50000"/>
                  </a:srgbClr>
                </a:solidFill>
                <a:latin typeface="Verdana"/>
              </a:rPr>
              <a:t>%</a:t>
            </a:r>
          </a:p>
          <a:p>
            <a:pPr defTabSz="609585">
              <a:defRPr/>
            </a:pPr>
            <a:r>
              <a:rPr lang="en-US" sz="533">
                <a:solidFill>
                  <a:srgbClr val="FFFFFF">
                    <a:lumMod val="50000"/>
                  </a:srgbClr>
                </a:solidFill>
                <a:latin typeface="Verdana"/>
              </a:rPr>
              <a:t>increase</a:t>
            </a:r>
            <a:endParaRPr lang="en-NL" sz="533">
              <a:solidFill>
                <a:srgbClr val="FFFFFF">
                  <a:lumMod val="50000"/>
                </a:srgbClr>
              </a:solidFill>
              <a:latin typeface="Verdana"/>
            </a:endParaRPr>
          </a:p>
        </p:txBody>
      </p:sp>
      <p:sp>
        <p:nvSpPr>
          <p:cNvPr id="539" name="TextBox 3">
            <a:extLst>
              <a:ext uri="{FF2B5EF4-FFF2-40B4-BE49-F238E27FC236}">
                <a16:creationId xmlns:a16="http://schemas.microsoft.com/office/drawing/2014/main" id="{30123C98-4EE2-1148-8635-F4E9ACCB27FA}"/>
              </a:ext>
            </a:extLst>
          </p:cNvPr>
          <p:cNvSpPr txBox="1"/>
          <p:nvPr/>
        </p:nvSpPr>
        <p:spPr>
          <a:xfrm>
            <a:off x="2442548" y="5107251"/>
            <a:ext cx="539469" cy="124714"/>
          </a:xfrm>
          <a:prstGeom prst="rect">
            <a:avLst/>
          </a:prstGeom>
          <a:noFill/>
        </p:spPr>
        <p:txBody>
          <a:bodyPr wrap="square" lIns="0" tIns="0" rIns="0" bIns="0" rtlCol="0">
            <a:norm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609585">
              <a:lnSpc>
                <a:spcPct val="112000"/>
              </a:lnSpc>
              <a:defRPr/>
            </a:pPr>
            <a:r>
              <a:rPr lang="en-NL" sz="800" b="1">
                <a:solidFill>
                  <a:srgbClr val="3F4043"/>
                </a:solidFill>
                <a:latin typeface="Verdana"/>
              </a:rPr>
              <a:t>76 M</a:t>
            </a:r>
          </a:p>
        </p:txBody>
      </p:sp>
      <p:grpSp>
        <p:nvGrpSpPr>
          <p:cNvPr id="563" name="Group 562">
            <a:extLst>
              <a:ext uri="{FF2B5EF4-FFF2-40B4-BE49-F238E27FC236}">
                <a16:creationId xmlns:a16="http://schemas.microsoft.com/office/drawing/2014/main" id="{7D736DD5-DFFB-EF49-9DFA-4BCE0F77C0BD}"/>
              </a:ext>
            </a:extLst>
          </p:cNvPr>
          <p:cNvGrpSpPr/>
          <p:nvPr/>
        </p:nvGrpSpPr>
        <p:grpSpPr>
          <a:xfrm>
            <a:off x="2000153" y="3512323"/>
            <a:ext cx="1681165" cy="817184"/>
            <a:chOff x="1309665" y="2452797"/>
            <a:chExt cx="1260874" cy="612888"/>
          </a:xfrm>
        </p:grpSpPr>
        <p:grpSp>
          <p:nvGrpSpPr>
            <p:cNvPr id="506" name="Group 505">
              <a:extLst>
                <a:ext uri="{FF2B5EF4-FFF2-40B4-BE49-F238E27FC236}">
                  <a16:creationId xmlns:a16="http://schemas.microsoft.com/office/drawing/2014/main" id="{0CF34447-8B6D-B74B-83D1-5E45F9DFBFDC}"/>
                </a:ext>
              </a:extLst>
            </p:cNvPr>
            <p:cNvGrpSpPr/>
            <p:nvPr/>
          </p:nvGrpSpPr>
          <p:grpSpPr>
            <a:xfrm>
              <a:off x="1309665" y="2657465"/>
              <a:ext cx="1099353" cy="408220"/>
              <a:chOff x="667763" y="3383789"/>
              <a:chExt cx="1099353" cy="408220"/>
            </a:xfrm>
          </p:grpSpPr>
          <p:sp>
            <p:nvSpPr>
              <p:cNvPr id="468" name="Rectangle: Rounded Corners 10">
                <a:extLst>
                  <a:ext uri="{FF2B5EF4-FFF2-40B4-BE49-F238E27FC236}">
                    <a16:creationId xmlns:a16="http://schemas.microsoft.com/office/drawing/2014/main" id="{72B027C9-118E-1B44-877B-F2A9EAE45D71}"/>
                  </a:ext>
                </a:extLst>
              </p:cNvPr>
              <p:cNvSpPr/>
              <p:nvPr/>
            </p:nvSpPr>
            <p:spPr>
              <a:xfrm>
                <a:off x="667763" y="3590350"/>
                <a:ext cx="1099353" cy="201659"/>
              </a:xfrm>
              <a:prstGeom prst="roundRect">
                <a:avLst>
                  <a:gd name="adj" fmla="val 0"/>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nchorCtr="1"/>
              <a:lstStyle/>
              <a:p>
                <a:pPr algn="ctr" defTabSz="609585">
                  <a:defRPr/>
                </a:pPr>
                <a:r>
                  <a:rPr lang="en-GB" sz="1067" b="1">
                    <a:solidFill>
                      <a:srgbClr val="39B54A"/>
                    </a:solidFill>
                    <a:latin typeface="Verdana"/>
                  </a:rPr>
                  <a:t>NORTH AMERICA</a:t>
                </a:r>
              </a:p>
            </p:txBody>
          </p:sp>
          <p:grpSp>
            <p:nvGrpSpPr>
              <p:cNvPr id="3" name="Group 2">
                <a:extLst>
                  <a:ext uri="{FF2B5EF4-FFF2-40B4-BE49-F238E27FC236}">
                    <a16:creationId xmlns:a16="http://schemas.microsoft.com/office/drawing/2014/main" id="{056477B3-69A6-9B40-B0CB-94CF79A42149}"/>
                  </a:ext>
                </a:extLst>
              </p:cNvPr>
              <p:cNvGrpSpPr/>
              <p:nvPr/>
            </p:nvGrpSpPr>
            <p:grpSpPr>
              <a:xfrm>
                <a:off x="795337" y="3383789"/>
                <a:ext cx="806450" cy="190500"/>
                <a:chOff x="795337" y="3383789"/>
                <a:chExt cx="806450" cy="190500"/>
              </a:xfrm>
            </p:grpSpPr>
            <p:sp>
              <p:nvSpPr>
                <p:cNvPr id="448" name="Rectangle 447">
                  <a:extLst>
                    <a:ext uri="{FF2B5EF4-FFF2-40B4-BE49-F238E27FC236}">
                      <a16:creationId xmlns:a16="http://schemas.microsoft.com/office/drawing/2014/main" id="{E86660E2-D81A-F84C-8C58-844C019733E8}"/>
                    </a:ext>
                  </a:extLst>
                </p:cNvPr>
                <p:cNvSpPr/>
                <p:nvPr/>
              </p:nvSpPr>
              <p:spPr>
                <a:xfrm>
                  <a:off x="795337" y="3453639"/>
                  <a:ext cx="393700" cy="1206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609585">
                    <a:defRPr/>
                  </a:pPr>
                  <a:endParaRPr lang="en-NL" sz="1467">
                    <a:solidFill>
                      <a:srgbClr val="FFFFFF"/>
                    </a:solidFill>
                    <a:latin typeface="Verdana"/>
                  </a:endParaRPr>
                </a:p>
              </p:txBody>
            </p:sp>
            <p:sp>
              <p:nvSpPr>
                <p:cNvPr id="452" name="Rectangle 451">
                  <a:extLst>
                    <a:ext uri="{FF2B5EF4-FFF2-40B4-BE49-F238E27FC236}">
                      <a16:creationId xmlns:a16="http://schemas.microsoft.com/office/drawing/2014/main" id="{2F7519A7-F56A-1F45-9ACC-A7F1D3023FC1}"/>
                    </a:ext>
                  </a:extLst>
                </p:cNvPr>
                <p:cNvSpPr/>
                <p:nvPr/>
              </p:nvSpPr>
              <p:spPr>
                <a:xfrm>
                  <a:off x="1208087" y="3383789"/>
                  <a:ext cx="393700" cy="190500"/>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609585">
                    <a:defRPr/>
                  </a:pPr>
                  <a:endParaRPr lang="en-NL" sz="1467">
                    <a:solidFill>
                      <a:srgbClr val="FFFFFF"/>
                    </a:solidFill>
                    <a:latin typeface="Verdana"/>
                  </a:endParaRPr>
                </a:p>
              </p:txBody>
            </p:sp>
          </p:grpSp>
          <p:cxnSp>
            <p:nvCxnSpPr>
              <p:cNvPr id="493" name="Straight Connector 492">
                <a:extLst>
                  <a:ext uri="{FF2B5EF4-FFF2-40B4-BE49-F238E27FC236}">
                    <a16:creationId xmlns:a16="http://schemas.microsoft.com/office/drawing/2014/main" id="{B25502C4-4FEB-B545-AA01-385125613F4F}"/>
                  </a:ext>
                </a:extLst>
              </p:cNvPr>
              <p:cNvCxnSpPr>
                <a:cxnSpLocks/>
              </p:cNvCxnSpPr>
              <p:nvPr/>
            </p:nvCxnSpPr>
            <p:spPr>
              <a:xfrm>
                <a:off x="727075" y="3575685"/>
                <a:ext cx="958446"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cxnSp>
          <p:nvCxnSpPr>
            <p:cNvPr id="527" name="Straight Arrow Connector 526">
              <a:extLst>
                <a:ext uri="{FF2B5EF4-FFF2-40B4-BE49-F238E27FC236}">
                  <a16:creationId xmlns:a16="http://schemas.microsoft.com/office/drawing/2014/main" id="{E213C7BB-4B54-AC4A-B341-C265D4009DF0}"/>
                </a:ext>
              </a:extLst>
            </p:cNvPr>
            <p:cNvCxnSpPr>
              <a:cxnSpLocks/>
            </p:cNvCxnSpPr>
            <p:nvPr/>
          </p:nvCxnSpPr>
          <p:spPr>
            <a:xfrm flipV="1">
              <a:off x="2348980" y="2647039"/>
              <a:ext cx="0" cy="205199"/>
            </a:xfrm>
            <a:prstGeom prst="straightConnector1">
              <a:avLst/>
            </a:prstGeom>
            <a:ln w="12700">
              <a:solidFill>
                <a:schemeClr val="accent2"/>
              </a:solidFill>
              <a:tailEnd type="triangle"/>
            </a:ln>
            <a:effectLst/>
          </p:spPr>
          <p:style>
            <a:lnRef idx="1">
              <a:schemeClr val="accent1"/>
            </a:lnRef>
            <a:fillRef idx="0">
              <a:schemeClr val="accent1"/>
            </a:fillRef>
            <a:effectRef idx="0">
              <a:schemeClr val="accent1"/>
            </a:effectRef>
            <a:fontRef idx="minor">
              <a:schemeClr val="tx1"/>
            </a:fontRef>
          </p:style>
        </p:cxnSp>
        <p:sp>
          <p:nvSpPr>
            <p:cNvPr id="528" name="TextBox 527">
              <a:extLst>
                <a:ext uri="{FF2B5EF4-FFF2-40B4-BE49-F238E27FC236}">
                  <a16:creationId xmlns:a16="http://schemas.microsoft.com/office/drawing/2014/main" id="{0B24F5D6-A062-3147-9C0D-484ADB0ECE71}"/>
                </a:ext>
              </a:extLst>
            </p:cNvPr>
            <p:cNvSpPr txBox="1"/>
            <p:nvPr/>
          </p:nvSpPr>
          <p:spPr>
            <a:xfrm rot="16200000">
              <a:off x="2287375" y="2551295"/>
              <a:ext cx="381661" cy="184666"/>
            </a:xfrm>
            <a:prstGeom prst="rect">
              <a:avLst/>
            </a:prstGeom>
            <a:noFill/>
          </p:spPr>
          <p:txBody>
            <a:bodyPr wrap="square" lIns="0" tIns="0" rIns="0" bIns="0" rtlCol="0">
              <a:spAutoFit/>
            </a:bodyPr>
            <a:lstStyle/>
            <a:p>
              <a:pPr defTabSz="609585">
                <a:defRPr/>
              </a:pPr>
              <a:r>
                <a:rPr lang="en-US" sz="1067" b="1">
                  <a:solidFill>
                    <a:srgbClr val="FFFFFF">
                      <a:lumMod val="50000"/>
                    </a:srgbClr>
                  </a:solidFill>
                  <a:latin typeface="Verdana"/>
                </a:rPr>
                <a:t>57</a:t>
              </a:r>
              <a:r>
                <a:rPr lang="en-US" sz="667">
                  <a:solidFill>
                    <a:srgbClr val="FFFFFF">
                      <a:lumMod val="50000"/>
                    </a:srgbClr>
                  </a:solidFill>
                  <a:latin typeface="Verdana"/>
                </a:rPr>
                <a:t>%</a:t>
              </a:r>
            </a:p>
            <a:p>
              <a:pPr defTabSz="609585">
                <a:defRPr/>
              </a:pPr>
              <a:r>
                <a:rPr lang="en-US" sz="533">
                  <a:solidFill>
                    <a:srgbClr val="FFFFFF">
                      <a:lumMod val="50000"/>
                    </a:srgbClr>
                  </a:solidFill>
                  <a:latin typeface="Verdana"/>
                </a:rPr>
                <a:t>increase</a:t>
              </a:r>
              <a:endParaRPr lang="en-NL" sz="533">
                <a:solidFill>
                  <a:srgbClr val="FFFFFF">
                    <a:lumMod val="50000"/>
                  </a:srgbClr>
                </a:solidFill>
                <a:latin typeface="Verdana"/>
              </a:endParaRPr>
            </a:p>
          </p:txBody>
        </p:sp>
        <p:sp>
          <p:nvSpPr>
            <p:cNvPr id="537" name="TextBox 1">
              <a:extLst>
                <a:ext uri="{FF2B5EF4-FFF2-40B4-BE49-F238E27FC236}">
                  <a16:creationId xmlns:a16="http://schemas.microsoft.com/office/drawing/2014/main" id="{93BB0B56-4EC9-F440-8C3B-793AD6192EF7}"/>
                </a:ext>
              </a:extLst>
            </p:cNvPr>
            <p:cNvSpPr txBox="1"/>
            <p:nvPr/>
          </p:nvSpPr>
          <p:spPr>
            <a:xfrm>
              <a:off x="1419693" y="2606764"/>
              <a:ext cx="404602" cy="93536"/>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609585">
                <a:lnSpc>
                  <a:spcPct val="112000"/>
                </a:lnSpc>
                <a:defRPr/>
              </a:pPr>
              <a:r>
                <a:rPr lang="en-NL" sz="800" b="1">
                  <a:solidFill>
                    <a:srgbClr val="3F4043"/>
                  </a:solidFill>
                  <a:latin typeface="Verdana"/>
                </a:rPr>
                <a:t>78 M</a:t>
              </a:r>
            </a:p>
          </p:txBody>
        </p:sp>
        <p:sp>
          <p:nvSpPr>
            <p:cNvPr id="538" name="TextBox 2">
              <a:extLst>
                <a:ext uri="{FF2B5EF4-FFF2-40B4-BE49-F238E27FC236}">
                  <a16:creationId xmlns:a16="http://schemas.microsoft.com/office/drawing/2014/main" id="{48936679-890C-3447-89A1-E6CD1651F773}"/>
                </a:ext>
              </a:extLst>
            </p:cNvPr>
            <p:cNvSpPr txBox="1"/>
            <p:nvPr/>
          </p:nvSpPr>
          <p:spPr>
            <a:xfrm>
              <a:off x="1850668" y="2528474"/>
              <a:ext cx="404602" cy="93536"/>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609585">
                <a:lnSpc>
                  <a:spcPct val="112000"/>
                </a:lnSpc>
                <a:defRPr/>
              </a:pPr>
              <a:r>
                <a:rPr lang="en-NL" sz="800" b="1">
                  <a:solidFill>
                    <a:srgbClr val="3F4043"/>
                  </a:solidFill>
                  <a:latin typeface="Verdana"/>
                </a:rPr>
                <a:t>123 M</a:t>
              </a:r>
            </a:p>
          </p:txBody>
        </p:sp>
      </p:grpSp>
      <p:sp>
        <p:nvSpPr>
          <p:cNvPr id="541" name="TextBox 5">
            <a:extLst>
              <a:ext uri="{FF2B5EF4-FFF2-40B4-BE49-F238E27FC236}">
                <a16:creationId xmlns:a16="http://schemas.microsoft.com/office/drawing/2014/main" id="{50204756-5B4C-6445-9966-4E7E67B73F2E}"/>
              </a:ext>
            </a:extLst>
          </p:cNvPr>
          <p:cNvSpPr txBox="1"/>
          <p:nvPr/>
        </p:nvSpPr>
        <p:spPr>
          <a:xfrm>
            <a:off x="4505412" y="5151839"/>
            <a:ext cx="539469" cy="124714"/>
          </a:xfrm>
          <a:prstGeom prst="rect">
            <a:avLst/>
          </a:prstGeom>
          <a:noFill/>
        </p:spPr>
        <p:txBody>
          <a:bodyPr wrap="square" lIns="0" tIns="0" rIns="0" bIns="0" rtlCol="0">
            <a:norm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609585">
              <a:lnSpc>
                <a:spcPct val="112000"/>
              </a:lnSpc>
              <a:defRPr/>
            </a:pPr>
            <a:r>
              <a:rPr lang="en-NL" sz="800" b="1">
                <a:solidFill>
                  <a:srgbClr val="3F4043"/>
                </a:solidFill>
                <a:latin typeface="Verdana"/>
              </a:rPr>
              <a:t>69 M</a:t>
            </a:r>
          </a:p>
        </p:txBody>
      </p:sp>
      <p:sp>
        <p:nvSpPr>
          <p:cNvPr id="542" name="TextBox 6">
            <a:extLst>
              <a:ext uri="{FF2B5EF4-FFF2-40B4-BE49-F238E27FC236}">
                <a16:creationId xmlns:a16="http://schemas.microsoft.com/office/drawing/2014/main" id="{BC3F6017-D396-054F-BA7B-789260151246}"/>
              </a:ext>
            </a:extLst>
          </p:cNvPr>
          <p:cNvSpPr txBox="1"/>
          <p:nvPr/>
        </p:nvSpPr>
        <p:spPr>
          <a:xfrm>
            <a:off x="5062516" y="4781104"/>
            <a:ext cx="539469" cy="124714"/>
          </a:xfrm>
          <a:prstGeom prst="rect">
            <a:avLst/>
          </a:prstGeom>
          <a:noFill/>
        </p:spPr>
        <p:txBody>
          <a:bodyPr wrap="square" lIns="0" tIns="0" rIns="0" bIns="0" rtlCol="0">
            <a:norm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609585">
              <a:lnSpc>
                <a:spcPct val="112000"/>
              </a:lnSpc>
              <a:defRPr/>
            </a:pPr>
            <a:r>
              <a:rPr lang="en-NL" sz="800" b="1">
                <a:solidFill>
                  <a:srgbClr val="3F4043"/>
                </a:solidFill>
                <a:latin typeface="Verdana"/>
              </a:rPr>
              <a:t>226 M</a:t>
            </a:r>
          </a:p>
        </p:txBody>
      </p:sp>
      <p:sp>
        <p:nvSpPr>
          <p:cNvPr id="543" name="TextBox 7">
            <a:extLst>
              <a:ext uri="{FF2B5EF4-FFF2-40B4-BE49-F238E27FC236}">
                <a16:creationId xmlns:a16="http://schemas.microsoft.com/office/drawing/2014/main" id="{58FE39E8-7D7D-B542-B137-2C7DE88CF57B}"/>
              </a:ext>
            </a:extLst>
          </p:cNvPr>
          <p:cNvSpPr txBox="1"/>
          <p:nvPr/>
        </p:nvSpPr>
        <p:spPr>
          <a:xfrm>
            <a:off x="4341510" y="3504462"/>
            <a:ext cx="539469" cy="124714"/>
          </a:xfrm>
          <a:prstGeom prst="rect">
            <a:avLst/>
          </a:prstGeom>
          <a:noFill/>
        </p:spPr>
        <p:txBody>
          <a:bodyPr wrap="square" lIns="0" tIns="0" rIns="0" bIns="0" rtlCol="0">
            <a:norm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609585">
              <a:lnSpc>
                <a:spcPct val="112000"/>
              </a:lnSpc>
              <a:defRPr/>
            </a:pPr>
            <a:r>
              <a:rPr lang="en-NL" sz="800" b="1">
                <a:solidFill>
                  <a:srgbClr val="3F4043"/>
                </a:solidFill>
                <a:latin typeface="Verdana"/>
              </a:rPr>
              <a:t>183 M</a:t>
            </a:r>
          </a:p>
        </p:txBody>
      </p:sp>
      <p:sp>
        <p:nvSpPr>
          <p:cNvPr id="544" name="TextBox 8">
            <a:extLst>
              <a:ext uri="{FF2B5EF4-FFF2-40B4-BE49-F238E27FC236}">
                <a16:creationId xmlns:a16="http://schemas.microsoft.com/office/drawing/2014/main" id="{563CAA1F-5D33-FE4C-91AD-24A30EA57D97}"/>
              </a:ext>
            </a:extLst>
          </p:cNvPr>
          <p:cNvSpPr txBox="1"/>
          <p:nvPr/>
        </p:nvSpPr>
        <p:spPr>
          <a:xfrm>
            <a:off x="4910536" y="3370763"/>
            <a:ext cx="539469" cy="124714"/>
          </a:xfrm>
          <a:prstGeom prst="rect">
            <a:avLst/>
          </a:prstGeom>
          <a:noFill/>
        </p:spPr>
        <p:txBody>
          <a:bodyPr wrap="square" lIns="0" tIns="0" rIns="0" bIns="0" rtlCol="0">
            <a:norm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609585">
              <a:lnSpc>
                <a:spcPct val="112000"/>
              </a:lnSpc>
              <a:defRPr/>
            </a:pPr>
            <a:r>
              <a:rPr lang="en-NL" sz="800" b="1">
                <a:solidFill>
                  <a:srgbClr val="3F4043"/>
                </a:solidFill>
                <a:latin typeface="Verdana"/>
              </a:rPr>
              <a:t>247 M</a:t>
            </a:r>
          </a:p>
        </p:txBody>
      </p:sp>
      <p:sp>
        <p:nvSpPr>
          <p:cNvPr id="546" name="TextBox 10">
            <a:extLst>
              <a:ext uri="{FF2B5EF4-FFF2-40B4-BE49-F238E27FC236}">
                <a16:creationId xmlns:a16="http://schemas.microsoft.com/office/drawing/2014/main" id="{31A298CB-BD21-3441-B3BF-1481CB64BE5F}"/>
              </a:ext>
            </a:extLst>
          </p:cNvPr>
          <p:cNvSpPr txBox="1"/>
          <p:nvPr/>
        </p:nvSpPr>
        <p:spPr>
          <a:xfrm>
            <a:off x="6852451" y="1485437"/>
            <a:ext cx="539469" cy="124714"/>
          </a:xfrm>
          <a:prstGeom prst="rect">
            <a:avLst/>
          </a:prstGeom>
          <a:noFill/>
        </p:spPr>
        <p:txBody>
          <a:bodyPr wrap="square" lIns="0" tIns="0" rIns="0" bIns="0" rtlCol="0">
            <a:norm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609585">
              <a:lnSpc>
                <a:spcPct val="112000"/>
              </a:lnSpc>
              <a:defRPr/>
            </a:pPr>
            <a:r>
              <a:rPr lang="en-NL" sz="800" b="1">
                <a:solidFill>
                  <a:srgbClr val="3F4043"/>
                </a:solidFill>
                <a:latin typeface="Verdana"/>
              </a:rPr>
              <a:t>1273 M</a:t>
            </a:r>
          </a:p>
        </p:txBody>
      </p:sp>
      <p:graphicFrame>
        <p:nvGraphicFramePr>
          <p:cNvPr id="547" name="Chart 546">
            <a:extLst>
              <a:ext uri="{FF2B5EF4-FFF2-40B4-BE49-F238E27FC236}">
                <a16:creationId xmlns:a16="http://schemas.microsoft.com/office/drawing/2014/main" id="{21183AF3-222C-EC42-8708-0D6AF0CFAFED}"/>
              </a:ext>
            </a:extLst>
          </p:cNvPr>
          <p:cNvGraphicFramePr/>
          <p:nvPr>
            <p:extLst>
              <p:ext uri="{D42A27DB-BD31-4B8C-83A1-F6EECF244321}">
                <p14:modId xmlns:p14="http://schemas.microsoft.com/office/powerpoint/2010/main" val="3808690210"/>
              </p:ext>
            </p:extLst>
          </p:nvPr>
        </p:nvGraphicFramePr>
        <p:xfrm>
          <a:off x="6676759" y="2524889"/>
          <a:ext cx="5802635" cy="1710214"/>
        </p:xfrm>
        <a:graphic>
          <a:graphicData uri="http://schemas.openxmlformats.org/drawingml/2006/chart">
            <c:chart xmlns:c="http://schemas.openxmlformats.org/drawingml/2006/chart" xmlns:r="http://schemas.openxmlformats.org/officeDocument/2006/relationships" r:id="rId6"/>
          </a:graphicData>
        </a:graphic>
      </p:graphicFrame>
      <p:sp>
        <p:nvSpPr>
          <p:cNvPr id="550" name="TextBox 549">
            <a:extLst>
              <a:ext uri="{FF2B5EF4-FFF2-40B4-BE49-F238E27FC236}">
                <a16:creationId xmlns:a16="http://schemas.microsoft.com/office/drawing/2014/main" id="{A71C5AE1-5A1A-FF45-B733-F1C51C0FDF7E}"/>
              </a:ext>
            </a:extLst>
          </p:cNvPr>
          <p:cNvSpPr txBox="1"/>
          <p:nvPr/>
        </p:nvSpPr>
        <p:spPr>
          <a:xfrm>
            <a:off x="8933453" y="4070547"/>
            <a:ext cx="1168303" cy="363229"/>
          </a:xfrm>
          <a:prstGeom prst="rect">
            <a:avLst/>
          </a:prstGeom>
          <a:noFill/>
          <a:ln w="12700">
            <a:noFill/>
          </a:ln>
        </p:spPr>
        <p:txBody>
          <a:bodyPr wrap="square" lIns="96000" tIns="48000" rIns="48000" bIns="48000" rtlCol="0" anchor="t">
            <a:normAutofit/>
          </a:bodyPr>
          <a:lstStyle/>
          <a:p>
            <a:pPr algn="ctr" defTabSz="609585">
              <a:lnSpc>
                <a:spcPct val="150000"/>
              </a:lnSpc>
              <a:defRPr/>
            </a:pPr>
            <a:r>
              <a:rPr lang="en-GB" sz="1333" b="1">
                <a:solidFill>
                  <a:srgbClr val="0094D9"/>
                </a:solidFill>
                <a:latin typeface="Verdana"/>
              </a:rPr>
              <a:t>2050</a:t>
            </a:r>
          </a:p>
        </p:txBody>
      </p:sp>
      <p:sp>
        <p:nvSpPr>
          <p:cNvPr id="552" name="Rectangle: Rounded Corners 11">
            <a:extLst>
              <a:ext uri="{FF2B5EF4-FFF2-40B4-BE49-F238E27FC236}">
                <a16:creationId xmlns:a16="http://schemas.microsoft.com/office/drawing/2014/main" id="{C7E41268-25E3-5C44-96DD-05C34C5DDB7A}"/>
              </a:ext>
            </a:extLst>
          </p:cNvPr>
          <p:cNvSpPr/>
          <p:nvPr/>
        </p:nvSpPr>
        <p:spPr>
          <a:xfrm>
            <a:off x="418149" y="5457357"/>
            <a:ext cx="1436092" cy="268879"/>
          </a:xfrm>
          <a:prstGeom prst="roundRect">
            <a:avLst>
              <a:gd name="adj" fmla="val 0"/>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nchorCtr="1">
            <a:normAutofit/>
          </a:bodyPr>
          <a:lstStyle/>
          <a:p>
            <a:pPr algn="ctr" defTabSz="609585">
              <a:defRPr/>
            </a:pPr>
            <a:r>
              <a:t>GLOBAL</a:t>
            </a:r>
            <a:br/>
            <a:r>
              <a:t>全球</a:t>
            </a:r>
          </a:p>
        </p:txBody>
      </p:sp>
      <p:cxnSp>
        <p:nvCxnSpPr>
          <p:cNvPr id="554" name="Straight Connector 553">
            <a:extLst>
              <a:ext uri="{FF2B5EF4-FFF2-40B4-BE49-F238E27FC236}">
                <a16:creationId xmlns:a16="http://schemas.microsoft.com/office/drawing/2014/main" id="{DF26A2DC-A3DD-E346-BE86-80295E35EB7A}"/>
              </a:ext>
            </a:extLst>
          </p:cNvPr>
          <p:cNvCxnSpPr>
            <a:cxnSpLocks/>
          </p:cNvCxnSpPr>
          <p:nvPr/>
        </p:nvCxnSpPr>
        <p:spPr>
          <a:xfrm>
            <a:off x="497231" y="5437803"/>
            <a:ext cx="1277928"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59" name="TextBox 3">
            <a:extLst>
              <a:ext uri="{FF2B5EF4-FFF2-40B4-BE49-F238E27FC236}">
                <a16:creationId xmlns:a16="http://schemas.microsoft.com/office/drawing/2014/main" id="{25D1F7F8-CB64-1C49-9169-1CBE9D38198E}"/>
              </a:ext>
            </a:extLst>
          </p:cNvPr>
          <p:cNvSpPr txBox="1"/>
          <p:nvPr/>
        </p:nvSpPr>
        <p:spPr>
          <a:xfrm>
            <a:off x="580767" y="3917895"/>
            <a:ext cx="539469" cy="124714"/>
          </a:xfrm>
          <a:prstGeom prst="rect">
            <a:avLst/>
          </a:prstGeom>
          <a:noFill/>
        </p:spPr>
        <p:txBody>
          <a:bodyPr wrap="square" lIns="0" tIns="0" rIns="0" bIns="0" rtlCol="0">
            <a:norm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609585">
              <a:lnSpc>
                <a:spcPct val="112000"/>
              </a:lnSpc>
              <a:defRPr/>
            </a:pPr>
            <a:r>
              <a:rPr lang="en-NL" sz="800" b="1">
                <a:solidFill>
                  <a:srgbClr val="3F4043"/>
                </a:solidFill>
                <a:latin typeface="Verdana"/>
              </a:rPr>
              <a:t>962</a:t>
            </a:r>
          </a:p>
        </p:txBody>
      </p:sp>
      <p:sp>
        <p:nvSpPr>
          <p:cNvPr id="560" name="TextBox 4">
            <a:extLst>
              <a:ext uri="{FF2B5EF4-FFF2-40B4-BE49-F238E27FC236}">
                <a16:creationId xmlns:a16="http://schemas.microsoft.com/office/drawing/2014/main" id="{31BE1B18-7139-724F-9C40-7B94A77929B2}"/>
              </a:ext>
            </a:extLst>
          </p:cNvPr>
          <p:cNvSpPr txBox="1"/>
          <p:nvPr/>
        </p:nvSpPr>
        <p:spPr>
          <a:xfrm>
            <a:off x="1142115" y="2154785"/>
            <a:ext cx="539469" cy="124714"/>
          </a:xfrm>
          <a:prstGeom prst="rect">
            <a:avLst/>
          </a:prstGeom>
          <a:noFill/>
        </p:spPr>
        <p:txBody>
          <a:bodyPr wrap="square" lIns="0" tIns="0" rIns="0" bIns="0" rtlCol="0">
            <a:norm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609585">
              <a:lnSpc>
                <a:spcPct val="112000"/>
              </a:lnSpc>
              <a:defRPr/>
            </a:pPr>
            <a:r>
              <a:rPr lang="en-NL" sz="800" b="1">
                <a:solidFill>
                  <a:srgbClr val="3F4043"/>
                </a:solidFill>
                <a:latin typeface="Verdana"/>
              </a:rPr>
              <a:t>2080 M</a:t>
            </a:r>
          </a:p>
        </p:txBody>
      </p:sp>
      <p:sp>
        <p:nvSpPr>
          <p:cNvPr id="561" name="Rectangle 560">
            <a:extLst>
              <a:ext uri="{FF2B5EF4-FFF2-40B4-BE49-F238E27FC236}">
                <a16:creationId xmlns:a16="http://schemas.microsoft.com/office/drawing/2014/main" id="{8E7A367F-0894-4E45-AAEF-4FAE796C3684}"/>
              </a:ext>
            </a:extLst>
          </p:cNvPr>
          <p:cNvSpPr/>
          <p:nvPr/>
        </p:nvSpPr>
        <p:spPr>
          <a:xfrm>
            <a:off x="597487" y="4084442"/>
            <a:ext cx="513408" cy="13402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609585">
              <a:defRPr/>
            </a:pPr>
            <a:endParaRPr lang="en-NL" sz="1467">
              <a:solidFill>
                <a:srgbClr val="FFFFFF"/>
              </a:solidFill>
              <a:latin typeface="Verdana"/>
            </a:endParaRPr>
          </a:p>
        </p:txBody>
      </p:sp>
      <p:sp>
        <p:nvSpPr>
          <p:cNvPr id="562" name="Rectangle 561">
            <a:extLst>
              <a:ext uri="{FF2B5EF4-FFF2-40B4-BE49-F238E27FC236}">
                <a16:creationId xmlns:a16="http://schemas.microsoft.com/office/drawing/2014/main" id="{AF4E57CA-D682-AD48-B2D4-A29B1B153A48}"/>
              </a:ext>
            </a:extLst>
          </p:cNvPr>
          <p:cNvSpPr/>
          <p:nvPr/>
        </p:nvSpPr>
        <p:spPr>
          <a:xfrm>
            <a:off x="1143848" y="2319873"/>
            <a:ext cx="513408" cy="3104835"/>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609585">
              <a:defRPr/>
            </a:pPr>
            <a:endParaRPr lang="en-NL" sz="1467">
              <a:solidFill>
                <a:srgbClr val="FFFFFF"/>
              </a:solidFill>
              <a:latin typeface="Verdana"/>
            </a:endParaRPr>
          </a:p>
        </p:txBody>
      </p:sp>
      <p:sp>
        <p:nvSpPr>
          <p:cNvPr id="564" name="TextBox 563">
            <a:extLst>
              <a:ext uri="{FF2B5EF4-FFF2-40B4-BE49-F238E27FC236}">
                <a16:creationId xmlns:a16="http://schemas.microsoft.com/office/drawing/2014/main" id="{220303D6-0ACE-224C-BC2E-C8271135CB79}"/>
              </a:ext>
            </a:extLst>
          </p:cNvPr>
          <p:cNvSpPr txBox="1"/>
          <p:nvPr/>
        </p:nvSpPr>
        <p:spPr>
          <a:xfrm>
            <a:off x="8698149" y="2017560"/>
            <a:ext cx="3047636" cy="228652"/>
          </a:xfrm>
          <a:prstGeom prst="rect">
            <a:avLst/>
          </a:prstGeom>
          <a:noFill/>
        </p:spPr>
        <p:txBody>
          <a:bodyPr wrap="square" lIns="0" tIns="0" rIns="0" bIns="0" rtlCol="0">
            <a:normAutofit/>
          </a:bodyPr>
          <a:lstStyle/>
          <a:p>
            <a:pPr defTabSz="609585">
              <a:lnSpc>
                <a:spcPct val="112000"/>
              </a:lnSpc>
              <a:defRPr/>
            </a:pPr>
            <a:r>
              <a:t>Distribution of older people in</a:t>
            </a:r>
            <a:br/>
            <a:r>
              <a:t>老年人口分布</a:t>
            </a:r>
          </a:p>
        </p:txBody>
      </p:sp>
      <p:graphicFrame>
        <p:nvGraphicFramePr>
          <p:cNvPr id="568" name="Chart 567">
            <a:extLst>
              <a:ext uri="{FF2B5EF4-FFF2-40B4-BE49-F238E27FC236}">
                <a16:creationId xmlns:a16="http://schemas.microsoft.com/office/drawing/2014/main" id="{3DF598ED-3BFF-FD4B-9508-1291757B78F4}"/>
              </a:ext>
            </a:extLst>
          </p:cNvPr>
          <p:cNvGraphicFramePr/>
          <p:nvPr>
            <p:extLst>
              <p:ext uri="{D42A27DB-BD31-4B8C-83A1-F6EECF244321}">
                <p14:modId xmlns:p14="http://schemas.microsoft.com/office/powerpoint/2010/main" val="1445774508"/>
              </p:ext>
            </p:extLst>
          </p:nvPr>
        </p:nvGraphicFramePr>
        <p:xfrm>
          <a:off x="6886696" y="4304499"/>
          <a:ext cx="5446708" cy="1822920"/>
        </p:xfrm>
        <a:graphic>
          <a:graphicData uri="http://schemas.openxmlformats.org/drawingml/2006/chart">
            <c:chart xmlns:c="http://schemas.openxmlformats.org/drawingml/2006/chart" xmlns:r="http://schemas.openxmlformats.org/officeDocument/2006/relationships" r:id="rId7"/>
          </a:graphicData>
        </a:graphic>
      </p:graphicFrame>
      <p:grpSp>
        <p:nvGrpSpPr>
          <p:cNvPr id="569" name="Group 568">
            <a:extLst>
              <a:ext uri="{FF2B5EF4-FFF2-40B4-BE49-F238E27FC236}">
                <a16:creationId xmlns:a16="http://schemas.microsoft.com/office/drawing/2014/main" id="{21D82844-3CCD-9742-B85D-616F47AFFBA8}"/>
              </a:ext>
            </a:extLst>
          </p:cNvPr>
          <p:cNvGrpSpPr/>
          <p:nvPr/>
        </p:nvGrpSpPr>
        <p:grpSpPr>
          <a:xfrm>
            <a:off x="6206911" y="1661979"/>
            <a:ext cx="1277928" cy="2974227"/>
            <a:chOff x="6111875" y="1561339"/>
            <a:chExt cx="958446" cy="2230670"/>
          </a:xfrm>
        </p:grpSpPr>
        <p:sp>
          <p:nvSpPr>
            <p:cNvPr id="570" name="Rectangle: Rounded Corners 13">
              <a:extLst>
                <a:ext uri="{FF2B5EF4-FFF2-40B4-BE49-F238E27FC236}">
                  <a16:creationId xmlns:a16="http://schemas.microsoft.com/office/drawing/2014/main" id="{648EB20A-C133-8845-B5F8-B357C9F02433}"/>
                </a:ext>
              </a:extLst>
            </p:cNvPr>
            <p:cNvSpPr/>
            <p:nvPr/>
          </p:nvSpPr>
          <p:spPr>
            <a:xfrm>
              <a:off x="6118157" y="3590350"/>
              <a:ext cx="882475" cy="201659"/>
            </a:xfrm>
            <a:prstGeom prst="roundRect">
              <a:avLst>
                <a:gd name="adj" fmla="val 0"/>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nchorCtr="1"/>
            <a:lstStyle/>
            <a:p>
              <a:pPr algn="ctr" defTabSz="609585">
                <a:defRPr/>
              </a:pPr>
              <a:r>
                <a:rPr lang="en-GB" sz="1067" b="1">
                  <a:solidFill>
                    <a:srgbClr val="D7DF23">
                      <a:lumMod val="75000"/>
                    </a:srgbClr>
                  </a:solidFill>
                  <a:latin typeface="Verdana"/>
                </a:rPr>
                <a:t>ASIA</a:t>
              </a:r>
            </a:p>
          </p:txBody>
        </p:sp>
        <p:grpSp>
          <p:nvGrpSpPr>
            <p:cNvPr id="571" name="Group 570">
              <a:extLst>
                <a:ext uri="{FF2B5EF4-FFF2-40B4-BE49-F238E27FC236}">
                  <a16:creationId xmlns:a16="http://schemas.microsoft.com/office/drawing/2014/main" id="{05AE3FCF-2613-5E40-97B2-8FE185610FC7}"/>
                </a:ext>
              </a:extLst>
            </p:cNvPr>
            <p:cNvGrpSpPr/>
            <p:nvPr/>
          </p:nvGrpSpPr>
          <p:grpSpPr>
            <a:xfrm>
              <a:off x="6192837" y="1561339"/>
              <a:ext cx="806450" cy="2012951"/>
              <a:chOff x="6192837" y="1561339"/>
              <a:chExt cx="806450" cy="2012951"/>
            </a:xfrm>
          </p:grpSpPr>
          <p:sp>
            <p:nvSpPr>
              <p:cNvPr id="573" name="Rectangle 572">
                <a:extLst>
                  <a:ext uri="{FF2B5EF4-FFF2-40B4-BE49-F238E27FC236}">
                    <a16:creationId xmlns:a16="http://schemas.microsoft.com/office/drawing/2014/main" id="{D7458DBC-E79D-EE41-B1D3-E0A7152D301C}"/>
                  </a:ext>
                </a:extLst>
              </p:cNvPr>
              <p:cNvSpPr/>
              <p:nvPr/>
            </p:nvSpPr>
            <p:spPr>
              <a:xfrm>
                <a:off x="6192837" y="2707514"/>
                <a:ext cx="393700" cy="866775"/>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609585">
                  <a:defRPr/>
                </a:pPr>
                <a:endParaRPr lang="en-NL" sz="1467">
                  <a:solidFill>
                    <a:srgbClr val="FFFFFF"/>
                  </a:solidFill>
                  <a:latin typeface="Verdana"/>
                </a:endParaRPr>
              </a:p>
            </p:txBody>
          </p:sp>
          <p:sp>
            <p:nvSpPr>
              <p:cNvPr id="574" name="Rectangle 573">
                <a:extLst>
                  <a:ext uri="{FF2B5EF4-FFF2-40B4-BE49-F238E27FC236}">
                    <a16:creationId xmlns:a16="http://schemas.microsoft.com/office/drawing/2014/main" id="{790939A7-8A96-3949-B877-C346E1A9B6DD}"/>
                  </a:ext>
                </a:extLst>
              </p:cNvPr>
              <p:cNvSpPr/>
              <p:nvPr/>
            </p:nvSpPr>
            <p:spPr>
              <a:xfrm>
                <a:off x="6605587" y="1561339"/>
                <a:ext cx="393700" cy="2012951"/>
              </a:xfrm>
              <a:prstGeom prst="rect">
                <a:avLst/>
              </a:prstGeom>
              <a:solidFill>
                <a:schemeClr val="accent3">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609585">
                  <a:defRPr/>
                </a:pPr>
                <a:endParaRPr lang="en-NL" sz="1467">
                  <a:solidFill>
                    <a:srgbClr val="FFFFFF"/>
                  </a:solidFill>
                  <a:latin typeface="Verdana"/>
                </a:endParaRPr>
              </a:p>
            </p:txBody>
          </p:sp>
        </p:grpSp>
        <p:cxnSp>
          <p:nvCxnSpPr>
            <p:cNvPr id="572" name="Straight Connector 571">
              <a:extLst>
                <a:ext uri="{FF2B5EF4-FFF2-40B4-BE49-F238E27FC236}">
                  <a16:creationId xmlns:a16="http://schemas.microsoft.com/office/drawing/2014/main" id="{CCED1078-A289-B847-9CF1-FC750BDB80F0}"/>
                </a:ext>
              </a:extLst>
            </p:cNvPr>
            <p:cNvCxnSpPr>
              <a:cxnSpLocks/>
            </p:cNvCxnSpPr>
            <p:nvPr/>
          </p:nvCxnSpPr>
          <p:spPr>
            <a:xfrm>
              <a:off x="6111875" y="3575685"/>
              <a:ext cx="958446"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575" name="TextBox 4">
            <a:extLst>
              <a:ext uri="{FF2B5EF4-FFF2-40B4-BE49-F238E27FC236}">
                <a16:creationId xmlns:a16="http://schemas.microsoft.com/office/drawing/2014/main" id="{9D9EA8FB-2181-9244-B04D-24C7729F905B}"/>
              </a:ext>
            </a:extLst>
          </p:cNvPr>
          <p:cNvSpPr txBox="1"/>
          <p:nvPr/>
        </p:nvSpPr>
        <p:spPr>
          <a:xfrm>
            <a:off x="2992254" y="4825778"/>
            <a:ext cx="539469" cy="124714"/>
          </a:xfrm>
          <a:prstGeom prst="rect">
            <a:avLst/>
          </a:prstGeom>
          <a:noFill/>
        </p:spPr>
        <p:txBody>
          <a:bodyPr wrap="square" lIns="0" tIns="0" rIns="0" bIns="0" rtlCol="0">
            <a:norm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609585">
              <a:lnSpc>
                <a:spcPct val="112000"/>
              </a:lnSpc>
              <a:defRPr/>
            </a:pPr>
            <a:r>
              <a:rPr lang="en-NL" sz="800" b="1">
                <a:solidFill>
                  <a:srgbClr val="3F4043"/>
                </a:solidFill>
                <a:latin typeface="Verdana"/>
              </a:rPr>
              <a:t>198 M</a:t>
            </a:r>
          </a:p>
        </p:txBody>
      </p:sp>
      <p:sp>
        <p:nvSpPr>
          <p:cNvPr id="576" name="TextBox 5">
            <a:extLst>
              <a:ext uri="{FF2B5EF4-FFF2-40B4-BE49-F238E27FC236}">
                <a16:creationId xmlns:a16="http://schemas.microsoft.com/office/drawing/2014/main" id="{552F43B1-5612-9249-95C1-28730D670A5B}"/>
              </a:ext>
            </a:extLst>
          </p:cNvPr>
          <p:cNvSpPr txBox="1"/>
          <p:nvPr/>
        </p:nvSpPr>
        <p:spPr>
          <a:xfrm>
            <a:off x="6589136" y="5275950"/>
            <a:ext cx="539469" cy="124714"/>
          </a:xfrm>
          <a:prstGeom prst="rect">
            <a:avLst/>
          </a:prstGeom>
          <a:noFill/>
        </p:spPr>
        <p:txBody>
          <a:bodyPr wrap="square" lIns="0" tIns="0" rIns="0" bIns="0" rtlCol="0">
            <a:norm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609585">
              <a:lnSpc>
                <a:spcPct val="112000"/>
              </a:lnSpc>
              <a:defRPr/>
            </a:pPr>
            <a:r>
              <a:rPr lang="en-NL" sz="800" b="1">
                <a:solidFill>
                  <a:srgbClr val="3F4043"/>
                </a:solidFill>
                <a:latin typeface="Verdana"/>
              </a:rPr>
              <a:t>7 M</a:t>
            </a:r>
          </a:p>
        </p:txBody>
      </p:sp>
      <p:sp>
        <p:nvSpPr>
          <p:cNvPr id="578" name="TextBox 6">
            <a:extLst>
              <a:ext uri="{FF2B5EF4-FFF2-40B4-BE49-F238E27FC236}">
                <a16:creationId xmlns:a16="http://schemas.microsoft.com/office/drawing/2014/main" id="{8BEA12A6-545B-F044-999A-EDE389633597}"/>
              </a:ext>
            </a:extLst>
          </p:cNvPr>
          <p:cNvSpPr txBox="1"/>
          <p:nvPr/>
        </p:nvSpPr>
        <p:spPr>
          <a:xfrm>
            <a:off x="7152927" y="5254314"/>
            <a:ext cx="539469" cy="124714"/>
          </a:xfrm>
          <a:prstGeom prst="rect">
            <a:avLst/>
          </a:prstGeom>
          <a:noFill/>
        </p:spPr>
        <p:txBody>
          <a:bodyPr wrap="square" lIns="0" tIns="0" rIns="0" bIns="0" rtlCol="0">
            <a:norm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609585">
              <a:lnSpc>
                <a:spcPct val="112000"/>
              </a:lnSpc>
              <a:defRPr/>
            </a:pPr>
            <a:r>
              <a:rPr lang="en-NL" sz="800" b="1">
                <a:solidFill>
                  <a:srgbClr val="3F4043"/>
                </a:solidFill>
                <a:latin typeface="Verdana"/>
              </a:rPr>
              <a:t>13 M</a:t>
            </a:r>
          </a:p>
        </p:txBody>
      </p:sp>
      <p:sp>
        <p:nvSpPr>
          <p:cNvPr id="579" name="TextBox 9">
            <a:extLst>
              <a:ext uri="{FF2B5EF4-FFF2-40B4-BE49-F238E27FC236}">
                <a16:creationId xmlns:a16="http://schemas.microsoft.com/office/drawing/2014/main" id="{75E8F565-4528-B944-A53C-8503442F7AC1}"/>
              </a:ext>
            </a:extLst>
          </p:cNvPr>
          <p:cNvSpPr txBox="1"/>
          <p:nvPr/>
        </p:nvSpPr>
        <p:spPr>
          <a:xfrm>
            <a:off x="6312982" y="3012126"/>
            <a:ext cx="539469" cy="124714"/>
          </a:xfrm>
          <a:prstGeom prst="rect">
            <a:avLst/>
          </a:prstGeom>
          <a:noFill/>
        </p:spPr>
        <p:txBody>
          <a:bodyPr wrap="square" lIns="0" tIns="0" rIns="0" bIns="0" rtlCol="0">
            <a:norm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609585">
              <a:lnSpc>
                <a:spcPct val="112000"/>
              </a:lnSpc>
              <a:defRPr/>
            </a:pPr>
            <a:r>
              <a:rPr lang="en-NL" sz="800" b="1">
                <a:solidFill>
                  <a:srgbClr val="3F4043"/>
                </a:solidFill>
                <a:latin typeface="Verdana"/>
              </a:rPr>
              <a:t>549 M</a:t>
            </a:r>
          </a:p>
        </p:txBody>
      </p:sp>
      <p:sp>
        <p:nvSpPr>
          <p:cNvPr id="475" name="TextBox 474">
            <a:extLst>
              <a:ext uri="{FF2B5EF4-FFF2-40B4-BE49-F238E27FC236}">
                <a16:creationId xmlns:a16="http://schemas.microsoft.com/office/drawing/2014/main" id="{F707E9F7-C5E6-4083-B0C3-ADC3A9F080AA}"/>
              </a:ext>
            </a:extLst>
          </p:cNvPr>
          <p:cNvSpPr txBox="1"/>
          <p:nvPr/>
        </p:nvSpPr>
        <p:spPr>
          <a:xfrm>
            <a:off x="856610" y="6317360"/>
            <a:ext cx="3171877" cy="449803"/>
          </a:xfrm>
          <a:prstGeom prst="rect">
            <a:avLst/>
          </a:prstGeom>
          <a:noFill/>
        </p:spPr>
        <p:txBody>
          <a:bodyPr wrap="square" lIns="0" tIns="0" rIns="0" bIns="0" rtlCol="0" anchor="t">
            <a:normAutofit/>
          </a:bodyPr>
          <a:lstStyle/>
          <a:p>
            <a:pPr defTabSz="609570">
              <a:lnSpc>
                <a:spcPct val="112000"/>
              </a:lnSpc>
              <a:defRPr/>
            </a:pPr>
            <a:r>
              <a:t>Source: United Nations, 2017</a:t>
            </a:r>
            <a:br/>
            <a:r>
              <a:t>资料来源：联合国，2017年</a:t>
            </a:r>
          </a:p>
          <a:p>
            <a:pPr defTabSz="609570">
              <a:defRPr/>
            </a:pPr>
            <a:r>
              <a:t>Source: United Nations, World social Report, 2023</a:t>
            </a:r>
            <a:br/>
            <a:r>
              <a:t>资料来源：联合国，世界社会报告，2023年</a:t>
            </a:r>
            <a:endParaRPr lang="en-US" sz="2400"/>
          </a:p>
          <a:p>
            <a:pPr defTabSz="609570">
              <a:lnSpc>
                <a:spcPct val="112000"/>
              </a:lnSpc>
              <a:defRPr/>
            </a:pPr>
            <a:endParaRPr lang="en-US" sz="933">
              <a:solidFill>
                <a:srgbClr val="FFFFFF"/>
              </a:solidFill>
              <a:latin typeface="Verdana"/>
              <a:ea typeface="Verdana"/>
            </a:endParaRPr>
          </a:p>
        </p:txBody>
      </p:sp>
      <p:pic>
        <p:nvPicPr>
          <p:cNvPr id="459" name="Picture Placeholder 27">
            <a:extLst>
              <a:ext uri="{FF2B5EF4-FFF2-40B4-BE49-F238E27FC236}">
                <a16:creationId xmlns:a16="http://schemas.microsoft.com/office/drawing/2014/main" id="{A08213CA-9378-23D4-0562-A960F85405C8}"/>
              </a:ext>
            </a:extLst>
          </p:cNvPr>
          <p:cNvPicPr>
            <a:picLocks noChangeAspect="1"/>
          </p:cNvPicPr>
          <p:nvPr/>
        </p:nvPicPr>
        <p:blipFill>
          <a:blip r:embed="rId9">
            <a:extLst>
              <a:ext uri="{28A0092B-C50C-407E-A947-70E740481C1C}">
                <a14:useLocalDpi xmlns:a14="http://schemas.microsoft.com/office/drawing/2010/main" val="0"/>
              </a:ext>
            </a:extLst>
          </a:blip>
          <a:srcRect t="3811" b="3811"/>
          <a:stretch/>
        </p:blipFill>
        <p:spPr>
          <a:xfrm>
            <a:off x="10324030" y="-1"/>
            <a:ext cx="1912937" cy="1870075"/>
          </a:xfrm>
          <a:custGeom>
            <a:avLst/>
            <a:gdLst>
              <a:gd name="connsiteX0" fmla="*/ 0 w 3132137"/>
              <a:gd name="connsiteY0" fmla="*/ 0 h 4408488"/>
              <a:gd name="connsiteX1" fmla="*/ 3132137 w 3132137"/>
              <a:gd name="connsiteY1" fmla="*/ 0 h 4408488"/>
              <a:gd name="connsiteX2" fmla="*/ 3132137 w 3132137"/>
              <a:gd name="connsiteY2" fmla="*/ 1 h 4408488"/>
              <a:gd name="connsiteX3" fmla="*/ 3132137 w 3132137"/>
              <a:gd name="connsiteY3" fmla="*/ 2356339 h 4408488"/>
              <a:gd name="connsiteX4" fmla="*/ 3132137 w 3132137"/>
              <a:gd name="connsiteY4" fmla="*/ 4408488 h 4408488"/>
              <a:gd name="connsiteX5" fmla="*/ 522033 w 3132137"/>
              <a:gd name="connsiteY5" fmla="*/ 4408488 h 4408488"/>
              <a:gd name="connsiteX6" fmla="*/ 0 w 3132137"/>
              <a:gd name="connsiteY6" fmla="*/ 3886455 h 4408488"/>
              <a:gd name="connsiteX7" fmla="*/ 0 w 3132137"/>
              <a:gd name="connsiteY7" fmla="*/ 2356339 h 4408488"/>
              <a:gd name="connsiteX8" fmla="*/ 0 w 3132137"/>
              <a:gd name="connsiteY8" fmla="*/ 1 h 4408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2137" h="4408488">
                <a:moveTo>
                  <a:pt x="0" y="0"/>
                </a:moveTo>
                <a:lnTo>
                  <a:pt x="3132137" y="0"/>
                </a:lnTo>
                <a:lnTo>
                  <a:pt x="3132137" y="1"/>
                </a:lnTo>
                <a:lnTo>
                  <a:pt x="3132137" y="2356339"/>
                </a:lnTo>
                <a:lnTo>
                  <a:pt x="3132137" y="4408488"/>
                </a:lnTo>
                <a:lnTo>
                  <a:pt x="522033" y="4408488"/>
                </a:lnTo>
                <a:cubicBezTo>
                  <a:pt x="233722" y="4408488"/>
                  <a:pt x="0" y="4174766"/>
                  <a:pt x="0" y="3886455"/>
                </a:cubicBezTo>
                <a:lnTo>
                  <a:pt x="0" y="2356339"/>
                </a:lnTo>
                <a:lnTo>
                  <a:pt x="0" y="1"/>
                </a:lnTo>
                <a:close/>
              </a:path>
            </a:pathLst>
          </a:custGeom>
        </p:spPr>
      </p:pic>
    </p:spTree>
    <p:extLst>
      <p:ext uri="{BB962C8B-B14F-4D97-AF65-F5344CB8AC3E}">
        <p14:creationId xmlns:p14="http://schemas.microsoft.com/office/powerpoint/2010/main" val="344556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AB32832-6BD0-7C05-8CE1-92CFF9766F9E}"/>
              </a:ext>
            </a:extLst>
          </p:cNvPr>
          <p:cNvGraphicFramePr>
            <a:graphicFrameLocks noChangeAspect="1"/>
          </p:cNvGraphicFramePr>
          <p:nvPr>
            <p:custDataLst>
              <p:tags r:id="rId1"/>
            </p:custDataLst>
            <p:extLst>
              <p:ext uri="{D42A27DB-BD31-4B8C-83A1-F6EECF244321}">
                <p14:modId xmlns:p14="http://schemas.microsoft.com/office/powerpoint/2010/main" val="3772442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9" name="think-cell data - do not delete" hidden="1">
                        <a:extLst>
                          <a:ext uri="{FF2B5EF4-FFF2-40B4-BE49-F238E27FC236}">
                            <a16:creationId xmlns:a16="http://schemas.microsoft.com/office/drawing/2014/main" id="{7AB32832-6BD0-7C05-8CE1-92CFF9766F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476E8F62-4AFB-F5AC-3DD6-50633443F663}"/>
              </a:ext>
            </a:extLst>
          </p:cNvPr>
          <p:cNvSpPr>
            <a:spLocks noGrp="1"/>
          </p:cNvSpPr>
          <p:nvPr>
            <p:ph type="sldNum" sz="quarter" idx="12"/>
          </p:nvPr>
        </p:nvSpPr>
        <p:spPr>
          <a:xfrm>
            <a:off x="580291" y="7175560"/>
            <a:ext cx="147477" cy="102592"/>
          </a:xfrm>
        </p:spPr>
        <p:txBody>
          <a:bodyPr>
            <a:normAutofit/>
          </a:bodyPr>
          <a:lstStyle/>
          <a:p>
            <a:endParaRPr lang="en-GB"/>
          </a:p>
        </p:txBody>
      </p:sp>
      <p:sp>
        <p:nvSpPr>
          <p:cNvPr id="61" name="Round Same-side Corner of Rectangle 60">
            <a:extLst>
              <a:ext uri="{FF2B5EF4-FFF2-40B4-BE49-F238E27FC236}">
                <a16:creationId xmlns:a16="http://schemas.microsoft.com/office/drawing/2014/main" id="{4DC976D1-915C-AED4-C882-0C94F0778383}"/>
              </a:ext>
            </a:extLst>
          </p:cNvPr>
          <p:cNvSpPr/>
          <p:nvPr/>
        </p:nvSpPr>
        <p:spPr>
          <a:xfrm rot="16200000">
            <a:off x="5516318" y="400088"/>
            <a:ext cx="1163549" cy="11341076"/>
          </a:xfrm>
          <a:prstGeom prst="round2SameRect">
            <a:avLst>
              <a:gd name="adj1" fmla="val 23804"/>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112000"/>
              </a:lnSpc>
            </a:pPr>
            <a:endParaRPr lang="en-NL" sz="1867"/>
          </a:p>
        </p:txBody>
      </p:sp>
      <p:sp>
        <p:nvSpPr>
          <p:cNvPr id="62" name="Round Same-side Corner of Rectangle 61">
            <a:extLst>
              <a:ext uri="{FF2B5EF4-FFF2-40B4-BE49-F238E27FC236}">
                <a16:creationId xmlns:a16="http://schemas.microsoft.com/office/drawing/2014/main" id="{C4C73855-F475-3BB4-2628-C00AA88896DA}"/>
              </a:ext>
            </a:extLst>
          </p:cNvPr>
          <p:cNvSpPr/>
          <p:nvPr/>
        </p:nvSpPr>
        <p:spPr>
          <a:xfrm rot="16200000">
            <a:off x="721436" y="5190786"/>
            <a:ext cx="1163549" cy="1759680"/>
          </a:xfrm>
          <a:prstGeom prst="round2SameRect">
            <a:avLst>
              <a:gd name="adj1" fmla="val 23804"/>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112000"/>
              </a:lnSpc>
            </a:pPr>
            <a:endParaRPr lang="en-NL" sz="1867"/>
          </a:p>
        </p:txBody>
      </p:sp>
      <p:sp>
        <p:nvSpPr>
          <p:cNvPr id="63" name="Rectangle 62">
            <a:extLst>
              <a:ext uri="{FF2B5EF4-FFF2-40B4-BE49-F238E27FC236}">
                <a16:creationId xmlns:a16="http://schemas.microsoft.com/office/drawing/2014/main" id="{DB15E0A0-37C2-2D37-E6EC-659538B3FE9B}"/>
              </a:ext>
            </a:extLst>
          </p:cNvPr>
          <p:cNvSpPr/>
          <p:nvPr/>
        </p:nvSpPr>
        <p:spPr>
          <a:xfrm>
            <a:off x="504984" y="5797370"/>
            <a:ext cx="1678067" cy="5465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1920" tIns="60960" rIns="121920" bIns="60960" rtlCol="0" anchor="ctr">
            <a:normAutofit/>
          </a:bodyPr>
          <a:lstStyle/>
          <a:p>
            <a:pPr algn="ctr">
              <a:lnSpc>
                <a:spcPct val="112000"/>
              </a:lnSpc>
            </a:pPr>
            <a:r>
              <a:t>Difference in aspects and formats that are important</a:t>
            </a:r>
            <a:br/>
            <a:r>
              <a:t>重要的方面和格式的差异</a:t>
            </a:r>
            <a:endParaRPr lang="en-US" sz="1333">
              <a:ea typeface="Verdana"/>
            </a:endParaRPr>
          </a:p>
        </p:txBody>
      </p:sp>
      <p:sp>
        <p:nvSpPr>
          <p:cNvPr id="2" name="Title 1">
            <a:extLst>
              <a:ext uri="{FF2B5EF4-FFF2-40B4-BE49-F238E27FC236}">
                <a16:creationId xmlns:a16="http://schemas.microsoft.com/office/drawing/2014/main" id="{97D9BF84-1C0C-8E91-3806-C30A63609BB1}"/>
              </a:ext>
            </a:extLst>
          </p:cNvPr>
          <p:cNvSpPr>
            <a:spLocks noGrp="1"/>
          </p:cNvSpPr>
          <p:nvPr>
            <p:ph type="title"/>
          </p:nvPr>
        </p:nvSpPr>
        <p:spPr>
          <a:xfrm>
            <a:off x="504984" y="488204"/>
            <a:ext cx="7576834" cy="769441"/>
          </a:xfrm>
        </p:spPr>
        <p:txBody>
          <a:bodyPr vert="horz">
            <a:normAutofit/>
          </a:bodyPr>
          <a:lstStyle/>
          <a:p>
            <a:r>
              <a:t>Generational approach: different generations, different needs</a:t>
            </a:r>
            <a:br/>
            <a:r>
              <a:t>代际方法：不同的世代，不同的需求</a:t>
            </a:r>
            <a:endParaRPr lang="en-NL"/>
          </a:p>
        </p:txBody>
      </p:sp>
      <p:grpSp>
        <p:nvGrpSpPr>
          <p:cNvPr id="36" name="Group 35">
            <a:extLst>
              <a:ext uri="{FF2B5EF4-FFF2-40B4-BE49-F238E27FC236}">
                <a16:creationId xmlns:a16="http://schemas.microsoft.com/office/drawing/2014/main" id="{3839AEFD-6B5A-A3D3-8038-89F65B9D67DD}"/>
              </a:ext>
            </a:extLst>
          </p:cNvPr>
          <p:cNvGrpSpPr/>
          <p:nvPr/>
        </p:nvGrpSpPr>
        <p:grpSpPr>
          <a:xfrm>
            <a:off x="9362406" y="1838049"/>
            <a:ext cx="1271485" cy="1135425"/>
            <a:chOff x="5207131" y="1727139"/>
            <a:chExt cx="1098778" cy="981199"/>
          </a:xfrm>
        </p:grpSpPr>
        <p:sp>
          <p:nvSpPr>
            <p:cNvPr id="31" name="Chord 30">
              <a:extLst>
                <a:ext uri="{FF2B5EF4-FFF2-40B4-BE49-F238E27FC236}">
                  <a16:creationId xmlns:a16="http://schemas.microsoft.com/office/drawing/2014/main" id="{9C53848E-2A89-90F3-D7EE-8AC3B0142AE2}"/>
                </a:ext>
              </a:extLst>
            </p:cNvPr>
            <p:cNvSpPr/>
            <p:nvPr/>
          </p:nvSpPr>
          <p:spPr>
            <a:xfrm>
              <a:off x="5279070" y="1727139"/>
              <a:ext cx="981199" cy="981199"/>
            </a:xfrm>
            <a:prstGeom prst="chord">
              <a:avLst>
                <a:gd name="adj1" fmla="val 8002234"/>
                <a:gd name="adj2" fmla="val 2892509"/>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2000"/>
                </a:lnSpc>
              </a:pPr>
              <a:endParaRPr lang="en-NL" sz="1867"/>
            </a:p>
          </p:txBody>
        </p:sp>
        <p:pic>
          <p:nvPicPr>
            <p:cNvPr id="23" name="Picture 22">
              <a:extLst>
                <a:ext uri="{FF2B5EF4-FFF2-40B4-BE49-F238E27FC236}">
                  <a16:creationId xmlns:a16="http://schemas.microsoft.com/office/drawing/2014/main" id="{0F71DAD4-876B-B31A-B67F-8A9EE2B1E79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207131" y="1828479"/>
              <a:ext cx="1098778" cy="778518"/>
            </a:xfrm>
            <a:prstGeom prst="rect">
              <a:avLst/>
            </a:prstGeom>
          </p:spPr>
        </p:pic>
      </p:grpSp>
      <p:grpSp>
        <p:nvGrpSpPr>
          <p:cNvPr id="37" name="Group 36">
            <a:extLst>
              <a:ext uri="{FF2B5EF4-FFF2-40B4-BE49-F238E27FC236}">
                <a16:creationId xmlns:a16="http://schemas.microsoft.com/office/drawing/2014/main" id="{60C7C010-C6A1-C575-E7C5-E7EA3F4B7DF8}"/>
              </a:ext>
            </a:extLst>
          </p:cNvPr>
          <p:cNvGrpSpPr/>
          <p:nvPr/>
        </p:nvGrpSpPr>
        <p:grpSpPr>
          <a:xfrm>
            <a:off x="7111991" y="1838049"/>
            <a:ext cx="1271485" cy="1135425"/>
            <a:chOff x="3926369" y="1727139"/>
            <a:chExt cx="1098778" cy="981199"/>
          </a:xfrm>
        </p:grpSpPr>
        <p:sp>
          <p:nvSpPr>
            <p:cNvPr id="32" name="Chord 31">
              <a:extLst>
                <a:ext uri="{FF2B5EF4-FFF2-40B4-BE49-F238E27FC236}">
                  <a16:creationId xmlns:a16="http://schemas.microsoft.com/office/drawing/2014/main" id="{0FF7B769-6450-6A52-1E2C-A7D67AA99846}"/>
                </a:ext>
              </a:extLst>
            </p:cNvPr>
            <p:cNvSpPr/>
            <p:nvPr/>
          </p:nvSpPr>
          <p:spPr>
            <a:xfrm>
              <a:off x="3960599" y="1727139"/>
              <a:ext cx="981199" cy="981199"/>
            </a:xfrm>
            <a:prstGeom prst="chord">
              <a:avLst>
                <a:gd name="adj1" fmla="val 8002234"/>
                <a:gd name="adj2" fmla="val 2892509"/>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2000"/>
                </a:lnSpc>
              </a:pPr>
              <a:endParaRPr lang="en-NL" sz="1867"/>
            </a:p>
          </p:txBody>
        </p:sp>
        <p:pic>
          <p:nvPicPr>
            <p:cNvPr id="25" name="Picture 24">
              <a:extLst>
                <a:ext uri="{FF2B5EF4-FFF2-40B4-BE49-F238E27FC236}">
                  <a16:creationId xmlns:a16="http://schemas.microsoft.com/office/drawing/2014/main" id="{B5B7BD65-55AC-78B4-78B0-0505F5CAA8C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926369" y="1831083"/>
              <a:ext cx="1098778" cy="775914"/>
            </a:xfrm>
            <a:prstGeom prst="rect">
              <a:avLst/>
            </a:prstGeom>
          </p:spPr>
        </p:pic>
      </p:grpSp>
      <p:grpSp>
        <p:nvGrpSpPr>
          <p:cNvPr id="39" name="Group 38">
            <a:extLst>
              <a:ext uri="{FF2B5EF4-FFF2-40B4-BE49-F238E27FC236}">
                <a16:creationId xmlns:a16="http://schemas.microsoft.com/office/drawing/2014/main" id="{E1B7BC0F-8BB7-19C0-F63D-10EB57928BB8}"/>
              </a:ext>
            </a:extLst>
          </p:cNvPr>
          <p:cNvGrpSpPr/>
          <p:nvPr/>
        </p:nvGrpSpPr>
        <p:grpSpPr>
          <a:xfrm>
            <a:off x="4581644" y="1838049"/>
            <a:ext cx="1271485" cy="1135425"/>
            <a:chOff x="2645606" y="1727139"/>
            <a:chExt cx="1098778" cy="981199"/>
          </a:xfrm>
        </p:grpSpPr>
        <p:sp>
          <p:nvSpPr>
            <p:cNvPr id="33" name="Chord 32">
              <a:extLst>
                <a:ext uri="{FF2B5EF4-FFF2-40B4-BE49-F238E27FC236}">
                  <a16:creationId xmlns:a16="http://schemas.microsoft.com/office/drawing/2014/main" id="{970E52FC-12AE-163B-7FDC-C2E51426F4D5}"/>
                </a:ext>
              </a:extLst>
            </p:cNvPr>
            <p:cNvSpPr/>
            <p:nvPr/>
          </p:nvSpPr>
          <p:spPr>
            <a:xfrm>
              <a:off x="2718932" y="1727139"/>
              <a:ext cx="981199" cy="981199"/>
            </a:xfrm>
            <a:prstGeom prst="chord">
              <a:avLst>
                <a:gd name="adj1" fmla="val 8002234"/>
                <a:gd name="adj2" fmla="val 2892509"/>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2000"/>
                </a:lnSpc>
              </a:pPr>
              <a:endParaRPr lang="en-NL" sz="1867"/>
            </a:p>
          </p:txBody>
        </p:sp>
        <p:pic>
          <p:nvPicPr>
            <p:cNvPr id="27" name="Picture 26">
              <a:extLst>
                <a:ext uri="{FF2B5EF4-FFF2-40B4-BE49-F238E27FC236}">
                  <a16:creationId xmlns:a16="http://schemas.microsoft.com/office/drawing/2014/main" id="{1ED20BAA-6B3D-49E0-97FE-B35410A7E5C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645606" y="1828479"/>
              <a:ext cx="1098778" cy="778518"/>
            </a:xfrm>
            <a:prstGeom prst="rect">
              <a:avLst/>
            </a:prstGeom>
          </p:spPr>
        </p:pic>
      </p:grpSp>
      <p:grpSp>
        <p:nvGrpSpPr>
          <p:cNvPr id="38" name="Group 37">
            <a:extLst>
              <a:ext uri="{FF2B5EF4-FFF2-40B4-BE49-F238E27FC236}">
                <a16:creationId xmlns:a16="http://schemas.microsoft.com/office/drawing/2014/main" id="{571991C2-154C-E2B6-D0ED-8084CF21ACFC}"/>
              </a:ext>
            </a:extLst>
          </p:cNvPr>
          <p:cNvGrpSpPr/>
          <p:nvPr/>
        </p:nvGrpSpPr>
        <p:grpSpPr>
          <a:xfrm>
            <a:off x="2331230" y="1838049"/>
            <a:ext cx="1271485" cy="1135425"/>
            <a:chOff x="1364844" y="1727139"/>
            <a:chExt cx="1098778" cy="981199"/>
          </a:xfrm>
        </p:grpSpPr>
        <p:sp>
          <p:nvSpPr>
            <p:cNvPr id="34" name="Chord 33">
              <a:extLst>
                <a:ext uri="{FF2B5EF4-FFF2-40B4-BE49-F238E27FC236}">
                  <a16:creationId xmlns:a16="http://schemas.microsoft.com/office/drawing/2014/main" id="{2F7B85B5-DA49-D816-B728-E37BB2B39D36}"/>
                </a:ext>
              </a:extLst>
            </p:cNvPr>
            <p:cNvSpPr/>
            <p:nvPr/>
          </p:nvSpPr>
          <p:spPr>
            <a:xfrm>
              <a:off x="1438863" y="1727139"/>
              <a:ext cx="981199" cy="981199"/>
            </a:xfrm>
            <a:prstGeom prst="chord">
              <a:avLst>
                <a:gd name="adj1" fmla="val 8002234"/>
                <a:gd name="adj2" fmla="val 2892509"/>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2000"/>
                </a:lnSpc>
              </a:pPr>
              <a:endParaRPr lang="en-NL" sz="1867"/>
            </a:p>
          </p:txBody>
        </p:sp>
        <p:pic>
          <p:nvPicPr>
            <p:cNvPr id="29" name="Picture 28">
              <a:extLst>
                <a:ext uri="{FF2B5EF4-FFF2-40B4-BE49-F238E27FC236}">
                  <a16:creationId xmlns:a16="http://schemas.microsoft.com/office/drawing/2014/main" id="{EA9A8979-B995-E9F6-F1E3-3CCDBF581C1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364844" y="1831083"/>
              <a:ext cx="1098778" cy="775914"/>
            </a:xfrm>
            <a:prstGeom prst="rect">
              <a:avLst/>
            </a:prstGeom>
          </p:spPr>
        </p:pic>
      </p:grpSp>
      <p:sp>
        <p:nvSpPr>
          <p:cNvPr id="40" name="TextBox 39">
            <a:extLst>
              <a:ext uri="{FF2B5EF4-FFF2-40B4-BE49-F238E27FC236}">
                <a16:creationId xmlns:a16="http://schemas.microsoft.com/office/drawing/2014/main" id="{4E7EEAC5-399E-FCA4-8069-CB537B47CF2A}"/>
              </a:ext>
            </a:extLst>
          </p:cNvPr>
          <p:cNvSpPr txBox="1"/>
          <p:nvPr/>
        </p:nvSpPr>
        <p:spPr>
          <a:xfrm>
            <a:off x="3109417" y="2673329"/>
            <a:ext cx="1648432" cy="228652"/>
          </a:xfrm>
          <a:prstGeom prst="rect">
            <a:avLst/>
          </a:prstGeom>
          <a:noFill/>
        </p:spPr>
        <p:txBody>
          <a:bodyPr wrap="square" lIns="0" tIns="0" rIns="0" bIns="0" rtlCol="0">
            <a:normAutofit/>
          </a:bodyPr>
          <a:lstStyle/>
          <a:p>
            <a:pPr algn="ctr">
              <a:lnSpc>
                <a:spcPct val="112000"/>
              </a:lnSpc>
            </a:pPr>
            <a:r>
              <a:t>Gen Z</a:t>
            </a:r>
            <a:br/>
            <a:r>
              <a:t>Z世代</a:t>
            </a:r>
          </a:p>
        </p:txBody>
      </p:sp>
      <p:sp>
        <p:nvSpPr>
          <p:cNvPr id="41" name="TextBox 40">
            <a:extLst>
              <a:ext uri="{FF2B5EF4-FFF2-40B4-BE49-F238E27FC236}">
                <a16:creationId xmlns:a16="http://schemas.microsoft.com/office/drawing/2014/main" id="{EC0BEE66-D753-F8D5-F71D-BEC76A38F401}"/>
              </a:ext>
            </a:extLst>
          </p:cNvPr>
          <p:cNvSpPr txBox="1"/>
          <p:nvPr/>
        </p:nvSpPr>
        <p:spPr>
          <a:xfrm>
            <a:off x="5339527" y="2673329"/>
            <a:ext cx="1648432" cy="228652"/>
          </a:xfrm>
          <a:prstGeom prst="rect">
            <a:avLst/>
          </a:prstGeom>
          <a:noFill/>
        </p:spPr>
        <p:txBody>
          <a:bodyPr wrap="square" lIns="0" tIns="0" rIns="0" bIns="0" rtlCol="0">
            <a:normAutofit/>
          </a:bodyPr>
          <a:lstStyle/>
          <a:p>
            <a:pPr algn="ctr">
              <a:lnSpc>
                <a:spcPct val="112000"/>
              </a:lnSpc>
            </a:pPr>
            <a:r>
              <a:t>Millennials</a:t>
            </a:r>
            <a:br/>
            <a:r>
              <a:t>千禧一代</a:t>
            </a:r>
          </a:p>
        </p:txBody>
      </p:sp>
      <p:sp>
        <p:nvSpPr>
          <p:cNvPr id="42" name="TextBox 41">
            <a:extLst>
              <a:ext uri="{FF2B5EF4-FFF2-40B4-BE49-F238E27FC236}">
                <a16:creationId xmlns:a16="http://schemas.microsoft.com/office/drawing/2014/main" id="{4E7B1310-5B75-3325-47B9-467AE958C533}"/>
              </a:ext>
            </a:extLst>
          </p:cNvPr>
          <p:cNvSpPr txBox="1"/>
          <p:nvPr/>
        </p:nvSpPr>
        <p:spPr>
          <a:xfrm>
            <a:off x="7895037" y="2673329"/>
            <a:ext cx="1648432" cy="228652"/>
          </a:xfrm>
          <a:prstGeom prst="rect">
            <a:avLst/>
          </a:prstGeom>
          <a:noFill/>
        </p:spPr>
        <p:txBody>
          <a:bodyPr wrap="square" lIns="0" tIns="0" rIns="0" bIns="0" rtlCol="0">
            <a:normAutofit/>
          </a:bodyPr>
          <a:lstStyle/>
          <a:p>
            <a:pPr algn="ctr">
              <a:lnSpc>
                <a:spcPct val="112000"/>
              </a:lnSpc>
            </a:pPr>
            <a:r>
              <a:t>Gen X</a:t>
            </a:r>
            <a:br/>
            <a:r>
              <a:t>X世代</a:t>
            </a:r>
          </a:p>
        </p:txBody>
      </p:sp>
      <p:sp>
        <p:nvSpPr>
          <p:cNvPr id="43" name="TextBox 42">
            <a:extLst>
              <a:ext uri="{FF2B5EF4-FFF2-40B4-BE49-F238E27FC236}">
                <a16:creationId xmlns:a16="http://schemas.microsoft.com/office/drawing/2014/main" id="{256EEE0B-4E30-5C3C-F4B0-AF2A57422523}"/>
              </a:ext>
            </a:extLst>
          </p:cNvPr>
          <p:cNvSpPr txBox="1"/>
          <p:nvPr/>
        </p:nvSpPr>
        <p:spPr>
          <a:xfrm>
            <a:off x="10137820" y="2673329"/>
            <a:ext cx="1648432" cy="228652"/>
          </a:xfrm>
          <a:prstGeom prst="rect">
            <a:avLst/>
          </a:prstGeom>
          <a:noFill/>
        </p:spPr>
        <p:txBody>
          <a:bodyPr wrap="square" lIns="0" tIns="0" rIns="0" bIns="0" rtlCol="0">
            <a:normAutofit/>
          </a:bodyPr>
          <a:lstStyle/>
          <a:p>
            <a:pPr algn="ctr">
              <a:lnSpc>
                <a:spcPct val="112000"/>
              </a:lnSpc>
            </a:pPr>
            <a:r>
              <a:t>Boomers</a:t>
            </a:r>
            <a:br/>
            <a:r>
              <a:t>婴儿潮一代</a:t>
            </a:r>
          </a:p>
        </p:txBody>
      </p:sp>
      <p:sp>
        <p:nvSpPr>
          <p:cNvPr id="48" name="Round Same-side Corner of Rectangle 47">
            <a:extLst>
              <a:ext uri="{FF2B5EF4-FFF2-40B4-BE49-F238E27FC236}">
                <a16:creationId xmlns:a16="http://schemas.microsoft.com/office/drawing/2014/main" id="{5EBC4162-DA2C-5881-E9AF-775C1BF095BA}"/>
              </a:ext>
            </a:extLst>
          </p:cNvPr>
          <p:cNvSpPr/>
          <p:nvPr/>
        </p:nvSpPr>
        <p:spPr>
          <a:xfrm rot="16200000">
            <a:off x="5516318" y="-2143416"/>
            <a:ext cx="1163549" cy="11341076"/>
          </a:xfrm>
          <a:prstGeom prst="round2SameRect">
            <a:avLst>
              <a:gd name="adj1" fmla="val 23804"/>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112000"/>
              </a:lnSpc>
            </a:pPr>
            <a:endParaRPr lang="en-NL" sz="1867"/>
          </a:p>
        </p:txBody>
      </p:sp>
      <p:sp>
        <p:nvSpPr>
          <p:cNvPr id="55" name="Round Same-side Corner of Rectangle 54">
            <a:extLst>
              <a:ext uri="{FF2B5EF4-FFF2-40B4-BE49-F238E27FC236}">
                <a16:creationId xmlns:a16="http://schemas.microsoft.com/office/drawing/2014/main" id="{E23F3A6B-C1C4-6B61-E1F3-F4F27BB5F53A}"/>
              </a:ext>
            </a:extLst>
          </p:cNvPr>
          <p:cNvSpPr/>
          <p:nvPr/>
        </p:nvSpPr>
        <p:spPr>
          <a:xfrm rot="16200000">
            <a:off x="721436" y="2647282"/>
            <a:ext cx="1163549" cy="1759680"/>
          </a:xfrm>
          <a:prstGeom prst="round2SameRect">
            <a:avLst>
              <a:gd name="adj1" fmla="val 23804"/>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112000"/>
              </a:lnSpc>
            </a:pPr>
            <a:endParaRPr lang="en-NL" sz="1867"/>
          </a:p>
        </p:txBody>
      </p:sp>
      <p:sp>
        <p:nvSpPr>
          <p:cNvPr id="57" name="Rectangle 56">
            <a:extLst>
              <a:ext uri="{FF2B5EF4-FFF2-40B4-BE49-F238E27FC236}">
                <a16:creationId xmlns:a16="http://schemas.microsoft.com/office/drawing/2014/main" id="{F209DE0D-C892-70DF-3A56-39D6354B37D9}"/>
              </a:ext>
            </a:extLst>
          </p:cNvPr>
          <p:cNvSpPr/>
          <p:nvPr/>
        </p:nvSpPr>
        <p:spPr>
          <a:xfrm>
            <a:off x="504984" y="3253866"/>
            <a:ext cx="1678067" cy="5465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1920" tIns="60960" rIns="121920" bIns="60960" rtlCol="0" anchor="ctr">
            <a:normAutofit/>
          </a:bodyPr>
          <a:lstStyle/>
          <a:p>
            <a:pPr algn="ctr">
              <a:lnSpc>
                <a:spcPct val="112000"/>
              </a:lnSpc>
            </a:pPr>
            <a:r>
              <a:t>Difference in concerns about healthy aging</a:t>
            </a:r>
            <a:br/>
            <a:r>
              <a:t>对健康老龄化的关注点差异</a:t>
            </a:r>
            <a:endParaRPr lang="en-US" sz="1333">
              <a:ea typeface="Verdana"/>
            </a:endParaRPr>
          </a:p>
        </p:txBody>
      </p:sp>
      <p:sp>
        <p:nvSpPr>
          <p:cNvPr id="58" name="Round Same-side Corner of Rectangle 57">
            <a:extLst>
              <a:ext uri="{FF2B5EF4-FFF2-40B4-BE49-F238E27FC236}">
                <a16:creationId xmlns:a16="http://schemas.microsoft.com/office/drawing/2014/main" id="{38EA2986-0DA4-7225-EBC5-8FA04DA53C3D}"/>
              </a:ext>
            </a:extLst>
          </p:cNvPr>
          <p:cNvSpPr/>
          <p:nvPr/>
        </p:nvSpPr>
        <p:spPr>
          <a:xfrm rot="16200000">
            <a:off x="5516318" y="-871664"/>
            <a:ext cx="1163549" cy="11341076"/>
          </a:xfrm>
          <a:prstGeom prst="round2SameRect">
            <a:avLst>
              <a:gd name="adj1" fmla="val 23804"/>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112000"/>
              </a:lnSpc>
            </a:pPr>
            <a:endParaRPr lang="en-NL" sz="1867"/>
          </a:p>
        </p:txBody>
      </p:sp>
      <p:sp>
        <p:nvSpPr>
          <p:cNvPr id="59" name="Round Same-side Corner of Rectangle 58">
            <a:extLst>
              <a:ext uri="{FF2B5EF4-FFF2-40B4-BE49-F238E27FC236}">
                <a16:creationId xmlns:a16="http://schemas.microsoft.com/office/drawing/2014/main" id="{12315B34-8446-8020-7FDD-63943197534E}"/>
              </a:ext>
            </a:extLst>
          </p:cNvPr>
          <p:cNvSpPr/>
          <p:nvPr/>
        </p:nvSpPr>
        <p:spPr>
          <a:xfrm rot="16200000">
            <a:off x="721436" y="3919034"/>
            <a:ext cx="1163549" cy="1759680"/>
          </a:xfrm>
          <a:prstGeom prst="round2SameRect">
            <a:avLst>
              <a:gd name="adj1" fmla="val 23804"/>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112000"/>
              </a:lnSpc>
            </a:pPr>
            <a:endParaRPr lang="en-NL" sz="1867"/>
          </a:p>
        </p:txBody>
      </p:sp>
      <p:sp>
        <p:nvSpPr>
          <p:cNvPr id="60" name="Rectangle 59">
            <a:extLst>
              <a:ext uri="{FF2B5EF4-FFF2-40B4-BE49-F238E27FC236}">
                <a16:creationId xmlns:a16="http://schemas.microsoft.com/office/drawing/2014/main" id="{F03E1F8B-2F5A-20E4-132D-D8CA97090636}"/>
              </a:ext>
            </a:extLst>
          </p:cNvPr>
          <p:cNvSpPr/>
          <p:nvPr/>
        </p:nvSpPr>
        <p:spPr>
          <a:xfrm>
            <a:off x="504984" y="4525618"/>
            <a:ext cx="1678067" cy="5465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1920" tIns="60960" rIns="121920" bIns="60960" rtlCol="0" anchor="ctr">
            <a:normAutofit/>
          </a:bodyPr>
          <a:lstStyle/>
          <a:p>
            <a:pPr algn="ctr">
              <a:lnSpc>
                <a:spcPct val="112000"/>
              </a:lnSpc>
            </a:pPr>
            <a:r>
              <a:t>Difference in ingredients that are important</a:t>
            </a:r>
            <a:br/>
            <a:r>
              <a:t>重要成分的差异</a:t>
            </a:r>
            <a:endParaRPr lang="en-US" sz="1333">
              <a:ea typeface="Verdana"/>
            </a:endParaRPr>
          </a:p>
        </p:txBody>
      </p:sp>
      <p:sp>
        <p:nvSpPr>
          <p:cNvPr id="65" name="TextBox 64">
            <a:extLst>
              <a:ext uri="{FF2B5EF4-FFF2-40B4-BE49-F238E27FC236}">
                <a16:creationId xmlns:a16="http://schemas.microsoft.com/office/drawing/2014/main" id="{926E5649-8409-D66E-BCE1-B44D6EBE7478}"/>
              </a:ext>
            </a:extLst>
          </p:cNvPr>
          <p:cNvSpPr txBox="1"/>
          <p:nvPr/>
        </p:nvSpPr>
        <p:spPr>
          <a:xfrm>
            <a:off x="2958287" y="3058761"/>
            <a:ext cx="1553080" cy="931537"/>
          </a:xfrm>
          <a:prstGeom prst="rect">
            <a:avLst/>
          </a:prstGeom>
          <a:noFill/>
        </p:spPr>
        <p:txBody>
          <a:bodyPr wrap="square" lIns="0" tIns="0" rIns="0" bIns="0" rtlCol="0">
            <a:normAutofit/>
          </a:bodyPr>
          <a:lstStyle/>
          <a:p>
            <a:pPr algn="l">
              <a:lnSpc>
                <a:spcPct val="200000"/>
              </a:lnSpc>
            </a:pPr>
            <a:r>
              <a:t>Weight management</a:t>
            </a:r>
            <a:br/>
            <a:r>
              <a:t>体重管理</a:t>
            </a:r>
          </a:p>
          <a:p>
            <a:pPr algn="l">
              <a:lnSpc>
                <a:spcPct val="200000"/>
              </a:lnSpc>
            </a:pPr>
            <a:r>
              <a:t>Skin Health</a:t>
            </a:r>
            <a:br/>
            <a:r>
              <a:t>皮肤健康</a:t>
            </a:r>
          </a:p>
          <a:p>
            <a:pPr algn="l">
              <a:lnSpc>
                <a:spcPct val="200000"/>
              </a:lnSpc>
            </a:pPr>
            <a:r>
              <a:t>Heart health</a:t>
            </a:r>
            <a:br/>
            <a:r>
              <a:t>心脏健康</a:t>
            </a:r>
          </a:p>
        </p:txBody>
      </p:sp>
      <p:sp>
        <p:nvSpPr>
          <p:cNvPr id="67" name="TextBox 66">
            <a:extLst>
              <a:ext uri="{FF2B5EF4-FFF2-40B4-BE49-F238E27FC236}">
                <a16:creationId xmlns:a16="http://schemas.microsoft.com/office/drawing/2014/main" id="{428A7B38-E8FF-0723-8B15-051DBF8C7D49}"/>
              </a:ext>
            </a:extLst>
          </p:cNvPr>
          <p:cNvSpPr txBox="1"/>
          <p:nvPr/>
        </p:nvSpPr>
        <p:spPr>
          <a:xfrm>
            <a:off x="5198404" y="3058761"/>
            <a:ext cx="1553080" cy="931537"/>
          </a:xfrm>
          <a:prstGeom prst="rect">
            <a:avLst/>
          </a:prstGeom>
          <a:noFill/>
        </p:spPr>
        <p:txBody>
          <a:bodyPr wrap="square" lIns="0" tIns="0" rIns="0" bIns="0" rtlCol="0">
            <a:normAutofit/>
          </a:bodyPr>
          <a:lstStyle/>
          <a:p>
            <a:pPr algn="l">
              <a:lnSpc>
                <a:spcPct val="200000"/>
              </a:lnSpc>
            </a:pPr>
            <a:r>
              <a:t>Weight management</a:t>
            </a:r>
            <a:br/>
            <a:r>
              <a:t>心脏健康</a:t>
            </a:r>
          </a:p>
          <a:p>
            <a:pPr>
              <a:lnSpc>
                <a:spcPct val="200000"/>
              </a:lnSpc>
            </a:pPr>
            <a:r>
              <a:rPr lang="en-NL" sz="1067"/>
              <a:t>Heart Health</a:t>
            </a:r>
          </a:p>
          <a:p>
            <a:pPr algn="l">
              <a:lnSpc>
                <a:spcPct val="200000"/>
              </a:lnSpc>
            </a:pPr>
            <a:r>
              <a:t>Energy &amp; stamina</a:t>
            </a:r>
            <a:br/>
            <a:r>
              <a:t>能量与耐力</a:t>
            </a:r>
          </a:p>
        </p:txBody>
      </p:sp>
      <p:sp>
        <p:nvSpPr>
          <p:cNvPr id="68" name="TextBox 67">
            <a:extLst>
              <a:ext uri="{FF2B5EF4-FFF2-40B4-BE49-F238E27FC236}">
                <a16:creationId xmlns:a16="http://schemas.microsoft.com/office/drawing/2014/main" id="{1E1F6486-1DAA-5081-63F5-9A03891DD46F}"/>
              </a:ext>
            </a:extLst>
          </p:cNvPr>
          <p:cNvSpPr txBox="1"/>
          <p:nvPr/>
        </p:nvSpPr>
        <p:spPr>
          <a:xfrm>
            <a:off x="7689243" y="3058761"/>
            <a:ext cx="1553080" cy="931537"/>
          </a:xfrm>
          <a:prstGeom prst="rect">
            <a:avLst/>
          </a:prstGeom>
          <a:noFill/>
        </p:spPr>
        <p:txBody>
          <a:bodyPr wrap="square" lIns="0" tIns="0" rIns="0" bIns="0" rtlCol="0">
            <a:normAutofit/>
          </a:bodyPr>
          <a:lstStyle/>
          <a:p>
            <a:pPr algn="l">
              <a:lnSpc>
                <a:spcPct val="200000"/>
              </a:lnSpc>
            </a:pPr>
            <a:r>
              <a:rPr lang="en-NL" sz="1067"/>
              <a:t>Weight manag</a:t>
            </a:r>
            <a:r>
              <a:rPr lang="en-GB" sz="1067"/>
              <a:t>e</a:t>
            </a:r>
            <a:r>
              <a:rPr lang="en-NL" sz="1067"/>
              <a:t>ment</a:t>
            </a:r>
          </a:p>
          <a:p>
            <a:pPr>
              <a:lnSpc>
                <a:spcPct val="200000"/>
              </a:lnSpc>
            </a:pPr>
            <a:r>
              <a:rPr lang="en-NL" sz="1067"/>
              <a:t>Heart Health</a:t>
            </a:r>
          </a:p>
          <a:p>
            <a:pPr algn="l">
              <a:lnSpc>
                <a:spcPct val="200000"/>
              </a:lnSpc>
            </a:pPr>
            <a:r>
              <a:t>Bone / Joint Health</a:t>
            </a:r>
            <a:br/>
            <a:r>
              <a:t>骨骼/关节健康</a:t>
            </a:r>
          </a:p>
        </p:txBody>
      </p:sp>
      <p:sp>
        <p:nvSpPr>
          <p:cNvPr id="69" name="TextBox 68">
            <a:extLst>
              <a:ext uri="{FF2B5EF4-FFF2-40B4-BE49-F238E27FC236}">
                <a16:creationId xmlns:a16="http://schemas.microsoft.com/office/drawing/2014/main" id="{E822A028-6D5F-5A85-6501-3E5D588EBCB5}"/>
              </a:ext>
            </a:extLst>
          </p:cNvPr>
          <p:cNvSpPr txBox="1"/>
          <p:nvPr/>
        </p:nvSpPr>
        <p:spPr>
          <a:xfrm>
            <a:off x="9998148" y="3058761"/>
            <a:ext cx="1553080" cy="931537"/>
          </a:xfrm>
          <a:prstGeom prst="rect">
            <a:avLst/>
          </a:prstGeom>
          <a:noFill/>
        </p:spPr>
        <p:txBody>
          <a:bodyPr wrap="square" lIns="0" tIns="0" rIns="0" bIns="0" rtlCol="0">
            <a:normAutofit/>
          </a:bodyPr>
          <a:lstStyle/>
          <a:p>
            <a:pPr>
              <a:lnSpc>
                <a:spcPct val="200000"/>
              </a:lnSpc>
            </a:pPr>
            <a:r>
              <a:rPr lang="en-NL" sz="1067"/>
              <a:t>Heart Health</a:t>
            </a:r>
          </a:p>
          <a:p>
            <a:pPr algn="l">
              <a:lnSpc>
                <a:spcPct val="200000"/>
              </a:lnSpc>
            </a:pPr>
            <a:r>
              <a:rPr lang="en-NL" sz="1067"/>
              <a:t>Weight manag</a:t>
            </a:r>
            <a:r>
              <a:rPr lang="en-GB" sz="1067"/>
              <a:t>e</a:t>
            </a:r>
            <a:r>
              <a:rPr lang="en-NL" sz="1067"/>
              <a:t>ment</a:t>
            </a:r>
          </a:p>
          <a:p>
            <a:pPr algn="l">
              <a:lnSpc>
                <a:spcPct val="200000"/>
              </a:lnSpc>
            </a:pPr>
            <a:r>
              <a:rPr lang="en-NL" sz="1067"/>
              <a:t>Bone / Joint Health</a:t>
            </a:r>
          </a:p>
        </p:txBody>
      </p:sp>
      <p:sp>
        <p:nvSpPr>
          <p:cNvPr id="76" name="Oval 75">
            <a:extLst>
              <a:ext uri="{FF2B5EF4-FFF2-40B4-BE49-F238E27FC236}">
                <a16:creationId xmlns:a16="http://schemas.microsoft.com/office/drawing/2014/main" id="{130EE9E3-FF47-50EA-0C6F-94AD622C856A}"/>
              </a:ext>
            </a:extLst>
          </p:cNvPr>
          <p:cNvSpPr/>
          <p:nvPr/>
        </p:nvSpPr>
        <p:spPr>
          <a:xfrm>
            <a:off x="2423696" y="4385605"/>
            <a:ext cx="195945" cy="19594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112000"/>
              </a:lnSpc>
            </a:pPr>
            <a:endParaRPr lang="en-NL" sz="1067"/>
          </a:p>
        </p:txBody>
      </p:sp>
      <p:sp>
        <p:nvSpPr>
          <p:cNvPr id="77" name="Oval 76">
            <a:extLst>
              <a:ext uri="{FF2B5EF4-FFF2-40B4-BE49-F238E27FC236}">
                <a16:creationId xmlns:a16="http://schemas.microsoft.com/office/drawing/2014/main" id="{61513829-2AAE-F8DC-6FA6-CB88BB8E9B90}"/>
              </a:ext>
            </a:extLst>
          </p:cNvPr>
          <p:cNvSpPr/>
          <p:nvPr/>
        </p:nvSpPr>
        <p:spPr>
          <a:xfrm>
            <a:off x="2423696" y="4717694"/>
            <a:ext cx="195945" cy="19594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112000"/>
              </a:lnSpc>
            </a:pPr>
            <a:endParaRPr lang="en-NL" sz="1067"/>
          </a:p>
        </p:txBody>
      </p:sp>
      <p:sp>
        <p:nvSpPr>
          <p:cNvPr id="79" name="TextBox 78">
            <a:extLst>
              <a:ext uri="{FF2B5EF4-FFF2-40B4-BE49-F238E27FC236}">
                <a16:creationId xmlns:a16="http://schemas.microsoft.com/office/drawing/2014/main" id="{68EBD7A5-2D0A-34B1-1C8B-3D8C4CC6FB66}"/>
              </a:ext>
            </a:extLst>
          </p:cNvPr>
          <p:cNvSpPr txBox="1"/>
          <p:nvPr/>
        </p:nvSpPr>
        <p:spPr>
          <a:xfrm>
            <a:off x="2904211" y="4301408"/>
            <a:ext cx="1553080" cy="603114"/>
          </a:xfrm>
          <a:prstGeom prst="rect">
            <a:avLst/>
          </a:prstGeom>
          <a:noFill/>
        </p:spPr>
        <p:txBody>
          <a:bodyPr wrap="square" lIns="0" tIns="0" rIns="0" bIns="0" rtlCol="0">
            <a:normAutofit/>
          </a:bodyPr>
          <a:lstStyle/>
          <a:p>
            <a:pPr algn="l">
              <a:lnSpc>
                <a:spcPct val="200000"/>
              </a:lnSpc>
            </a:pPr>
            <a:r>
              <a:t>Protein</a:t>
            </a:r>
            <a:br/>
            <a:r>
              <a:t>蛋白质</a:t>
            </a:r>
          </a:p>
          <a:p>
            <a:pPr algn="l">
              <a:lnSpc>
                <a:spcPct val="200000"/>
              </a:lnSpc>
            </a:pPr>
            <a:r>
              <a:t>Minerals</a:t>
            </a:r>
            <a:br/>
            <a:r>
              <a:t>矿物质</a:t>
            </a:r>
          </a:p>
        </p:txBody>
      </p:sp>
      <p:sp>
        <p:nvSpPr>
          <p:cNvPr id="80" name="Oval 79">
            <a:extLst>
              <a:ext uri="{FF2B5EF4-FFF2-40B4-BE49-F238E27FC236}">
                <a16:creationId xmlns:a16="http://schemas.microsoft.com/office/drawing/2014/main" id="{A478EDFB-3BE7-E8CD-5E26-744A2EDC5F9E}"/>
              </a:ext>
            </a:extLst>
          </p:cNvPr>
          <p:cNvSpPr/>
          <p:nvPr/>
        </p:nvSpPr>
        <p:spPr>
          <a:xfrm>
            <a:off x="4770656" y="4385605"/>
            <a:ext cx="195945" cy="19594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112000"/>
              </a:lnSpc>
            </a:pPr>
            <a:endParaRPr lang="en-NL" sz="1067"/>
          </a:p>
        </p:txBody>
      </p:sp>
      <p:sp>
        <p:nvSpPr>
          <p:cNvPr id="83" name="TextBox 82">
            <a:extLst>
              <a:ext uri="{FF2B5EF4-FFF2-40B4-BE49-F238E27FC236}">
                <a16:creationId xmlns:a16="http://schemas.microsoft.com/office/drawing/2014/main" id="{F94E64B7-D5B4-D51D-4989-50324A56FC70}"/>
              </a:ext>
            </a:extLst>
          </p:cNvPr>
          <p:cNvSpPr txBox="1"/>
          <p:nvPr/>
        </p:nvSpPr>
        <p:spPr>
          <a:xfrm>
            <a:off x="5251171" y="4301409"/>
            <a:ext cx="1553080" cy="931537"/>
          </a:xfrm>
          <a:prstGeom prst="rect">
            <a:avLst/>
          </a:prstGeom>
          <a:noFill/>
        </p:spPr>
        <p:txBody>
          <a:bodyPr wrap="square" lIns="0" tIns="0" rIns="0" bIns="0" rtlCol="0">
            <a:normAutofit/>
          </a:bodyPr>
          <a:lstStyle/>
          <a:p>
            <a:pPr algn="l">
              <a:lnSpc>
                <a:spcPct val="200000"/>
              </a:lnSpc>
            </a:pPr>
            <a:r>
              <a:rPr lang="en-US" sz="1067"/>
              <a:t>Protein</a:t>
            </a:r>
          </a:p>
          <a:p>
            <a:pPr algn="l">
              <a:lnSpc>
                <a:spcPct val="200000"/>
              </a:lnSpc>
            </a:pPr>
            <a:endParaRPr lang="en-US" sz="1067"/>
          </a:p>
          <a:p>
            <a:pPr algn="l">
              <a:lnSpc>
                <a:spcPct val="200000"/>
              </a:lnSpc>
            </a:pPr>
            <a:endParaRPr lang="en-NL" sz="1067"/>
          </a:p>
        </p:txBody>
      </p:sp>
      <p:sp>
        <p:nvSpPr>
          <p:cNvPr id="84" name="Oval 83">
            <a:extLst>
              <a:ext uri="{FF2B5EF4-FFF2-40B4-BE49-F238E27FC236}">
                <a16:creationId xmlns:a16="http://schemas.microsoft.com/office/drawing/2014/main" id="{50A0A10B-D887-901F-0DDC-C544A44F9FE4}"/>
              </a:ext>
            </a:extLst>
          </p:cNvPr>
          <p:cNvSpPr/>
          <p:nvPr/>
        </p:nvSpPr>
        <p:spPr>
          <a:xfrm>
            <a:off x="9434096" y="4385605"/>
            <a:ext cx="195945" cy="19594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112000"/>
              </a:lnSpc>
            </a:pPr>
            <a:endParaRPr lang="en-NL" sz="1067"/>
          </a:p>
        </p:txBody>
      </p:sp>
      <p:sp>
        <p:nvSpPr>
          <p:cNvPr id="85" name="Oval 84">
            <a:extLst>
              <a:ext uri="{FF2B5EF4-FFF2-40B4-BE49-F238E27FC236}">
                <a16:creationId xmlns:a16="http://schemas.microsoft.com/office/drawing/2014/main" id="{D6F7BEDD-16F6-F25D-7FA4-D2506E1AC727}"/>
              </a:ext>
            </a:extLst>
          </p:cNvPr>
          <p:cNvSpPr/>
          <p:nvPr/>
        </p:nvSpPr>
        <p:spPr>
          <a:xfrm>
            <a:off x="9434096" y="4717694"/>
            <a:ext cx="195945" cy="19594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112000"/>
              </a:lnSpc>
            </a:pPr>
            <a:endParaRPr lang="en-NL" sz="1067"/>
          </a:p>
        </p:txBody>
      </p:sp>
      <p:sp>
        <p:nvSpPr>
          <p:cNvPr id="86" name="Oval 85">
            <a:extLst>
              <a:ext uri="{FF2B5EF4-FFF2-40B4-BE49-F238E27FC236}">
                <a16:creationId xmlns:a16="http://schemas.microsoft.com/office/drawing/2014/main" id="{A2E9F182-BFE4-0619-E4B0-0EF7A659D566}"/>
              </a:ext>
            </a:extLst>
          </p:cNvPr>
          <p:cNvSpPr/>
          <p:nvPr/>
        </p:nvSpPr>
        <p:spPr>
          <a:xfrm>
            <a:off x="9434096" y="5039581"/>
            <a:ext cx="195945" cy="19594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112000"/>
              </a:lnSpc>
            </a:pPr>
            <a:endParaRPr lang="en-NL" sz="1067"/>
          </a:p>
        </p:txBody>
      </p:sp>
      <p:sp>
        <p:nvSpPr>
          <p:cNvPr id="87" name="TextBox 86">
            <a:extLst>
              <a:ext uri="{FF2B5EF4-FFF2-40B4-BE49-F238E27FC236}">
                <a16:creationId xmlns:a16="http://schemas.microsoft.com/office/drawing/2014/main" id="{47C709F4-6867-F96B-5E0F-CE7CFF82D69E}"/>
              </a:ext>
            </a:extLst>
          </p:cNvPr>
          <p:cNvSpPr txBox="1"/>
          <p:nvPr/>
        </p:nvSpPr>
        <p:spPr>
          <a:xfrm>
            <a:off x="9914611" y="4301409"/>
            <a:ext cx="1553080" cy="931537"/>
          </a:xfrm>
          <a:prstGeom prst="rect">
            <a:avLst/>
          </a:prstGeom>
          <a:noFill/>
        </p:spPr>
        <p:txBody>
          <a:bodyPr wrap="square" lIns="0" tIns="0" rIns="0" bIns="0" rtlCol="0">
            <a:normAutofit/>
          </a:bodyPr>
          <a:lstStyle/>
          <a:p>
            <a:pPr algn="l">
              <a:lnSpc>
                <a:spcPct val="200000"/>
              </a:lnSpc>
            </a:pPr>
            <a:r>
              <a:t>Vitamins</a:t>
            </a:r>
            <a:br/>
            <a:r>
              <a:t>维生素</a:t>
            </a:r>
          </a:p>
          <a:p>
            <a:pPr algn="l">
              <a:lnSpc>
                <a:spcPct val="200000"/>
              </a:lnSpc>
            </a:pPr>
            <a:r>
              <a:t>Fibers</a:t>
            </a:r>
            <a:br/>
            <a:r>
              <a:t>纤维</a:t>
            </a:r>
          </a:p>
          <a:p>
            <a:pPr algn="l">
              <a:lnSpc>
                <a:spcPct val="200000"/>
              </a:lnSpc>
            </a:pPr>
            <a:r>
              <a:t>Omega-3</a:t>
            </a:r>
            <a:br/>
            <a:r>
              <a:t>欧米伽-3</a:t>
            </a:r>
            <a:endParaRPr lang="en-NL" sz="1067"/>
          </a:p>
        </p:txBody>
      </p:sp>
      <p:sp>
        <p:nvSpPr>
          <p:cNvPr id="88" name="Oval 87">
            <a:extLst>
              <a:ext uri="{FF2B5EF4-FFF2-40B4-BE49-F238E27FC236}">
                <a16:creationId xmlns:a16="http://schemas.microsoft.com/office/drawing/2014/main" id="{15C83933-513F-DBBC-886C-955C7E7F301E}"/>
              </a:ext>
            </a:extLst>
          </p:cNvPr>
          <p:cNvSpPr/>
          <p:nvPr/>
        </p:nvSpPr>
        <p:spPr>
          <a:xfrm>
            <a:off x="7249696" y="4385605"/>
            <a:ext cx="195945" cy="19594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112000"/>
              </a:lnSpc>
            </a:pPr>
            <a:endParaRPr lang="en-NL" sz="1067"/>
          </a:p>
        </p:txBody>
      </p:sp>
      <p:sp>
        <p:nvSpPr>
          <p:cNvPr id="89" name="Oval 88">
            <a:extLst>
              <a:ext uri="{FF2B5EF4-FFF2-40B4-BE49-F238E27FC236}">
                <a16:creationId xmlns:a16="http://schemas.microsoft.com/office/drawing/2014/main" id="{487D76C8-7A31-2956-D34B-93FC22DEA6D4}"/>
              </a:ext>
            </a:extLst>
          </p:cNvPr>
          <p:cNvSpPr/>
          <p:nvPr/>
        </p:nvSpPr>
        <p:spPr>
          <a:xfrm>
            <a:off x="7249696" y="4717694"/>
            <a:ext cx="195945" cy="19594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112000"/>
              </a:lnSpc>
            </a:pPr>
            <a:endParaRPr lang="en-NL" sz="1067"/>
          </a:p>
        </p:txBody>
      </p:sp>
      <p:sp>
        <p:nvSpPr>
          <p:cNvPr id="91" name="TextBox 90">
            <a:extLst>
              <a:ext uri="{FF2B5EF4-FFF2-40B4-BE49-F238E27FC236}">
                <a16:creationId xmlns:a16="http://schemas.microsoft.com/office/drawing/2014/main" id="{7AE45747-A5DF-3FC1-CB41-D1F4E4FA68FA}"/>
              </a:ext>
            </a:extLst>
          </p:cNvPr>
          <p:cNvSpPr txBox="1"/>
          <p:nvPr/>
        </p:nvSpPr>
        <p:spPr>
          <a:xfrm>
            <a:off x="7730211" y="4301409"/>
            <a:ext cx="1553080" cy="931537"/>
          </a:xfrm>
          <a:prstGeom prst="rect">
            <a:avLst/>
          </a:prstGeom>
          <a:noFill/>
        </p:spPr>
        <p:txBody>
          <a:bodyPr wrap="square" lIns="0" tIns="0" rIns="0" bIns="0" rtlCol="0">
            <a:normAutofit/>
          </a:bodyPr>
          <a:lstStyle/>
          <a:p>
            <a:pPr algn="l">
              <a:lnSpc>
                <a:spcPct val="200000"/>
              </a:lnSpc>
            </a:pPr>
            <a:r>
              <a:rPr lang="en-US" sz="1067"/>
              <a:t>Vitamins</a:t>
            </a:r>
          </a:p>
          <a:p>
            <a:pPr algn="l">
              <a:lnSpc>
                <a:spcPct val="200000"/>
              </a:lnSpc>
            </a:pPr>
            <a:r>
              <a:rPr lang="en-US" sz="1067"/>
              <a:t>Fibers</a:t>
            </a:r>
          </a:p>
          <a:p>
            <a:pPr algn="l">
              <a:lnSpc>
                <a:spcPct val="200000"/>
              </a:lnSpc>
            </a:pPr>
            <a:endParaRPr lang="en-NL" sz="1067"/>
          </a:p>
        </p:txBody>
      </p:sp>
      <p:pic>
        <p:nvPicPr>
          <p:cNvPr id="93" name="Picture 92">
            <a:extLst>
              <a:ext uri="{FF2B5EF4-FFF2-40B4-BE49-F238E27FC236}">
                <a16:creationId xmlns:a16="http://schemas.microsoft.com/office/drawing/2014/main" id="{94FB7A9D-C7DD-C224-ED5C-53C90DFB9A8B}"/>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359100" y="3776166"/>
            <a:ext cx="326080" cy="272033"/>
          </a:xfrm>
          <a:prstGeom prst="rect">
            <a:avLst/>
          </a:prstGeom>
        </p:spPr>
      </p:pic>
      <p:pic>
        <p:nvPicPr>
          <p:cNvPr id="97" name="Picture 96">
            <a:extLst>
              <a:ext uri="{FF2B5EF4-FFF2-40B4-BE49-F238E27FC236}">
                <a16:creationId xmlns:a16="http://schemas.microsoft.com/office/drawing/2014/main" id="{83F5B0FF-1C93-36C2-AA32-02B65C41997B}"/>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832995" y="3762675"/>
            <a:ext cx="326080" cy="272033"/>
          </a:xfrm>
          <a:prstGeom prst="rect">
            <a:avLst/>
          </a:prstGeom>
        </p:spPr>
      </p:pic>
      <p:pic>
        <p:nvPicPr>
          <p:cNvPr id="99" name="Picture 98">
            <a:extLst>
              <a:ext uri="{FF2B5EF4-FFF2-40B4-BE49-F238E27FC236}">
                <a16:creationId xmlns:a16="http://schemas.microsoft.com/office/drawing/2014/main" id="{2F75211C-DCC0-6661-C4CA-3D86F153CA5D}"/>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832995" y="3109618"/>
            <a:ext cx="326080" cy="272033"/>
          </a:xfrm>
          <a:prstGeom prst="rect">
            <a:avLst/>
          </a:prstGeom>
        </p:spPr>
      </p:pic>
      <p:pic>
        <p:nvPicPr>
          <p:cNvPr id="101" name="Picture 100">
            <a:extLst>
              <a:ext uri="{FF2B5EF4-FFF2-40B4-BE49-F238E27FC236}">
                <a16:creationId xmlns:a16="http://schemas.microsoft.com/office/drawing/2014/main" id="{F32B8E74-EE46-D281-8B78-E5888A18A00E}"/>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519527" y="3440235"/>
            <a:ext cx="326080" cy="272033"/>
          </a:xfrm>
          <a:prstGeom prst="rect">
            <a:avLst/>
          </a:prstGeom>
        </p:spPr>
      </p:pic>
      <p:pic>
        <p:nvPicPr>
          <p:cNvPr id="102" name="Picture 101">
            <a:extLst>
              <a:ext uri="{FF2B5EF4-FFF2-40B4-BE49-F238E27FC236}">
                <a16:creationId xmlns:a16="http://schemas.microsoft.com/office/drawing/2014/main" id="{1D6FD638-9F96-529C-151A-755F520D01A5}"/>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519527" y="3754545"/>
            <a:ext cx="326080" cy="272033"/>
          </a:xfrm>
          <a:prstGeom prst="rect">
            <a:avLst/>
          </a:prstGeom>
        </p:spPr>
      </p:pic>
      <p:pic>
        <p:nvPicPr>
          <p:cNvPr id="103" name="Picture 102">
            <a:extLst>
              <a:ext uri="{FF2B5EF4-FFF2-40B4-BE49-F238E27FC236}">
                <a16:creationId xmlns:a16="http://schemas.microsoft.com/office/drawing/2014/main" id="{F0CB4457-518B-E143-4272-7FC36DD6158C}"/>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519527" y="3109618"/>
            <a:ext cx="326080" cy="272033"/>
          </a:xfrm>
          <a:prstGeom prst="rect">
            <a:avLst/>
          </a:prstGeom>
        </p:spPr>
      </p:pic>
      <p:pic>
        <p:nvPicPr>
          <p:cNvPr id="104" name="Picture 103">
            <a:extLst>
              <a:ext uri="{FF2B5EF4-FFF2-40B4-BE49-F238E27FC236}">
                <a16:creationId xmlns:a16="http://schemas.microsoft.com/office/drawing/2014/main" id="{8BDE1492-9A9D-8C24-CE72-5EABBCD0B7E8}"/>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836937" y="3447418"/>
            <a:ext cx="326080" cy="272033"/>
          </a:xfrm>
          <a:prstGeom prst="rect">
            <a:avLst/>
          </a:prstGeom>
        </p:spPr>
      </p:pic>
      <p:pic>
        <p:nvPicPr>
          <p:cNvPr id="105" name="Picture 104">
            <a:extLst>
              <a:ext uri="{FF2B5EF4-FFF2-40B4-BE49-F238E27FC236}">
                <a16:creationId xmlns:a16="http://schemas.microsoft.com/office/drawing/2014/main" id="{2700EA89-8D6E-885C-661E-7753667DCC43}"/>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355157" y="3109618"/>
            <a:ext cx="326080" cy="272033"/>
          </a:xfrm>
          <a:prstGeom prst="rect">
            <a:avLst/>
          </a:prstGeom>
        </p:spPr>
      </p:pic>
      <p:pic>
        <p:nvPicPr>
          <p:cNvPr id="106" name="Picture 105">
            <a:extLst>
              <a:ext uri="{FF2B5EF4-FFF2-40B4-BE49-F238E27FC236}">
                <a16:creationId xmlns:a16="http://schemas.microsoft.com/office/drawing/2014/main" id="{FBA0EE7F-914E-365D-120D-681BE672F360}"/>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359100" y="3447418"/>
            <a:ext cx="326080" cy="272033"/>
          </a:xfrm>
          <a:prstGeom prst="rect">
            <a:avLst/>
          </a:prstGeom>
        </p:spPr>
      </p:pic>
      <p:pic>
        <p:nvPicPr>
          <p:cNvPr id="107" name="Picture 106">
            <a:extLst>
              <a:ext uri="{FF2B5EF4-FFF2-40B4-BE49-F238E27FC236}">
                <a16:creationId xmlns:a16="http://schemas.microsoft.com/office/drawing/2014/main" id="{EAECEC2F-D091-CF89-B94E-0FFE9341D5F0}"/>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630040" y="3776166"/>
            <a:ext cx="326080" cy="272033"/>
          </a:xfrm>
          <a:prstGeom prst="rect">
            <a:avLst/>
          </a:prstGeom>
        </p:spPr>
      </p:pic>
      <p:pic>
        <p:nvPicPr>
          <p:cNvPr id="109" name="Picture 108">
            <a:extLst>
              <a:ext uri="{FF2B5EF4-FFF2-40B4-BE49-F238E27FC236}">
                <a16:creationId xmlns:a16="http://schemas.microsoft.com/office/drawing/2014/main" id="{3F0961E5-AA05-D7BF-8EB2-2C769C41B736}"/>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630040" y="3113635"/>
            <a:ext cx="326080" cy="272033"/>
          </a:xfrm>
          <a:prstGeom prst="rect">
            <a:avLst/>
          </a:prstGeom>
        </p:spPr>
      </p:pic>
      <p:pic>
        <p:nvPicPr>
          <p:cNvPr id="110" name="Picture 109">
            <a:extLst>
              <a:ext uri="{FF2B5EF4-FFF2-40B4-BE49-F238E27FC236}">
                <a16:creationId xmlns:a16="http://schemas.microsoft.com/office/drawing/2014/main" id="{B2FF327E-A015-E0ED-DAFD-2EC47F765312}"/>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626097" y="3436710"/>
            <a:ext cx="326080" cy="272033"/>
          </a:xfrm>
          <a:prstGeom prst="rect">
            <a:avLst/>
          </a:prstGeom>
        </p:spPr>
      </p:pic>
      <p:sp>
        <p:nvSpPr>
          <p:cNvPr id="3" name="TextBox 2">
            <a:extLst>
              <a:ext uri="{FF2B5EF4-FFF2-40B4-BE49-F238E27FC236}">
                <a16:creationId xmlns:a16="http://schemas.microsoft.com/office/drawing/2014/main" id="{544F3676-8C74-5405-55E0-30BDDC519D32}"/>
              </a:ext>
            </a:extLst>
          </p:cNvPr>
          <p:cNvSpPr txBox="1"/>
          <p:nvPr/>
        </p:nvSpPr>
        <p:spPr>
          <a:xfrm>
            <a:off x="753049" y="6655998"/>
            <a:ext cx="6096000" cy="194990"/>
          </a:xfrm>
          <a:prstGeom prst="rect">
            <a:avLst/>
          </a:prstGeom>
          <a:noFill/>
        </p:spPr>
        <p:txBody>
          <a:bodyPr wrap="square">
            <a:normAutofit/>
          </a:bodyPr>
          <a:lstStyle/>
          <a:p>
            <a:r>
              <a:t>1. Innova market research, 2023</a:t>
            </a:r>
            <a:br/>
            <a:r>
              <a:t>1. Innova市场研究，2023</a:t>
            </a:r>
          </a:p>
        </p:txBody>
      </p:sp>
      <p:sp>
        <p:nvSpPr>
          <p:cNvPr id="5" name="TextBox 4">
            <a:extLst>
              <a:ext uri="{FF2B5EF4-FFF2-40B4-BE49-F238E27FC236}">
                <a16:creationId xmlns:a16="http://schemas.microsoft.com/office/drawing/2014/main" id="{49BFD7F8-3A37-0063-0EFF-427BD12F967C}"/>
              </a:ext>
            </a:extLst>
          </p:cNvPr>
          <p:cNvSpPr txBox="1"/>
          <p:nvPr/>
        </p:nvSpPr>
        <p:spPr>
          <a:xfrm>
            <a:off x="3413847" y="5933322"/>
            <a:ext cx="2439283" cy="274691"/>
          </a:xfrm>
          <a:prstGeom prst="rect">
            <a:avLst/>
          </a:prstGeom>
          <a:noFill/>
        </p:spPr>
        <p:txBody>
          <a:bodyPr wrap="square" lIns="0" tIns="0" rIns="0" bIns="0" rtlCol="0">
            <a:normAutofit/>
          </a:bodyPr>
          <a:lstStyle/>
          <a:p>
            <a:pPr algn="l">
              <a:lnSpc>
                <a:spcPct val="200000"/>
              </a:lnSpc>
            </a:pPr>
            <a:r>
              <a:t>Preserving looks/appearance</a:t>
            </a:r>
            <a:br/>
            <a:r>
              <a:t>保持外观</a:t>
            </a:r>
          </a:p>
        </p:txBody>
      </p:sp>
      <p:sp>
        <p:nvSpPr>
          <p:cNvPr id="6" name="TextBox 5">
            <a:extLst>
              <a:ext uri="{FF2B5EF4-FFF2-40B4-BE49-F238E27FC236}">
                <a16:creationId xmlns:a16="http://schemas.microsoft.com/office/drawing/2014/main" id="{BDF26622-1749-AB7B-817F-9661C5599133}"/>
              </a:ext>
            </a:extLst>
          </p:cNvPr>
          <p:cNvSpPr txBox="1"/>
          <p:nvPr/>
        </p:nvSpPr>
        <p:spPr>
          <a:xfrm>
            <a:off x="8465501" y="5933323"/>
            <a:ext cx="2439283" cy="274691"/>
          </a:xfrm>
          <a:prstGeom prst="rect">
            <a:avLst/>
          </a:prstGeom>
          <a:noFill/>
        </p:spPr>
        <p:txBody>
          <a:bodyPr wrap="square" lIns="0" tIns="0" rIns="0" bIns="0" rtlCol="0">
            <a:normAutofit/>
          </a:bodyPr>
          <a:lstStyle/>
          <a:p>
            <a:pPr algn="l">
              <a:lnSpc>
                <a:spcPct val="200000"/>
              </a:lnSpc>
            </a:pPr>
            <a:r>
              <a:t>Keeping an active mind</a:t>
            </a:r>
            <a:br/>
            <a:r>
              <a:t>保持活跃的思维</a:t>
            </a:r>
          </a:p>
        </p:txBody>
      </p:sp>
      <p:pic>
        <p:nvPicPr>
          <p:cNvPr id="11" name="Picture Placeholder 27">
            <a:extLst>
              <a:ext uri="{FF2B5EF4-FFF2-40B4-BE49-F238E27FC236}">
                <a16:creationId xmlns:a16="http://schemas.microsoft.com/office/drawing/2014/main" id="{A31E1397-0F95-2008-B9CB-56307728B464}"/>
              </a:ext>
            </a:extLst>
          </p:cNvPr>
          <p:cNvPicPr>
            <a:picLocks noChangeAspect="1"/>
          </p:cNvPicPr>
          <p:nvPr/>
        </p:nvPicPr>
        <p:blipFill>
          <a:blip r:embed="rId14">
            <a:extLst>
              <a:ext uri="{28A0092B-C50C-407E-A947-70E740481C1C}">
                <a14:useLocalDpi xmlns:a14="http://schemas.microsoft.com/office/drawing/2010/main" val="0"/>
              </a:ext>
            </a:extLst>
          </a:blip>
          <a:srcRect t="3811" b="3811"/>
          <a:stretch/>
        </p:blipFill>
        <p:spPr>
          <a:xfrm>
            <a:off x="10324030" y="-1"/>
            <a:ext cx="1912937" cy="1870075"/>
          </a:xfrm>
          <a:custGeom>
            <a:avLst/>
            <a:gdLst>
              <a:gd name="connsiteX0" fmla="*/ 0 w 3132137"/>
              <a:gd name="connsiteY0" fmla="*/ 0 h 4408488"/>
              <a:gd name="connsiteX1" fmla="*/ 3132137 w 3132137"/>
              <a:gd name="connsiteY1" fmla="*/ 0 h 4408488"/>
              <a:gd name="connsiteX2" fmla="*/ 3132137 w 3132137"/>
              <a:gd name="connsiteY2" fmla="*/ 1 h 4408488"/>
              <a:gd name="connsiteX3" fmla="*/ 3132137 w 3132137"/>
              <a:gd name="connsiteY3" fmla="*/ 2356339 h 4408488"/>
              <a:gd name="connsiteX4" fmla="*/ 3132137 w 3132137"/>
              <a:gd name="connsiteY4" fmla="*/ 4408488 h 4408488"/>
              <a:gd name="connsiteX5" fmla="*/ 522033 w 3132137"/>
              <a:gd name="connsiteY5" fmla="*/ 4408488 h 4408488"/>
              <a:gd name="connsiteX6" fmla="*/ 0 w 3132137"/>
              <a:gd name="connsiteY6" fmla="*/ 3886455 h 4408488"/>
              <a:gd name="connsiteX7" fmla="*/ 0 w 3132137"/>
              <a:gd name="connsiteY7" fmla="*/ 2356339 h 4408488"/>
              <a:gd name="connsiteX8" fmla="*/ 0 w 3132137"/>
              <a:gd name="connsiteY8" fmla="*/ 1 h 4408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2137" h="4408488">
                <a:moveTo>
                  <a:pt x="0" y="0"/>
                </a:moveTo>
                <a:lnTo>
                  <a:pt x="3132137" y="0"/>
                </a:lnTo>
                <a:lnTo>
                  <a:pt x="3132137" y="1"/>
                </a:lnTo>
                <a:lnTo>
                  <a:pt x="3132137" y="2356339"/>
                </a:lnTo>
                <a:lnTo>
                  <a:pt x="3132137" y="4408488"/>
                </a:lnTo>
                <a:lnTo>
                  <a:pt x="522033" y="4408488"/>
                </a:lnTo>
                <a:cubicBezTo>
                  <a:pt x="233722" y="4408488"/>
                  <a:pt x="0" y="4174766"/>
                  <a:pt x="0" y="3886455"/>
                </a:cubicBezTo>
                <a:lnTo>
                  <a:pt x="0" y="2356339"/>
                </a:lnTo>
                <a:lnTo>
                  <a:pt x="0" y="1"/>
                </a:lnTo>
                <a:close/>
              </a:path>
            </a:pathLst>
          </a:custGeom>
        </p:spPr>
      </p:pic>
    </p:spTree>
    <p:extLst>
      <p:ext uri="{BB962C8B-B14F-4D97-AF65-F5344CB8AC3E}">
        <p14:creationId xmlns:p14="http://schemas.microsoft.com/office/powerpoint/2010/main" val="3398528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F3B7CDF5-71FF-390A-3E70-4DF4E8C421B8}"/>
              </a:ext>
            </a:extLst>
          </p:cNvPr>
          <p:cNvGraphicFramePr>
            <a:graphicFrameLocks noChangeAspect="1"/>
          </p:cNvGraphicFramePr>
          <p:nvPr>
            <p:custDataLst>
              <p:tags r:id="rId1"/>
            </p:custDataLst>
            <p:extLst>
              <p:ext uri="{D42A27DB-BD31-4B8C-83A1-F6EECF244321}">
                <p14:modId xmlns:p14="http://schemas.microsoft.com/office/powerpoint/2010/main" val="944371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4" imgW="395" imgH="394" progId="TCLayout.ActiveDocument.1">
                  <p:embed/>
                </p:oleObj>
              </mc:Choice>
              <mc:Fallback>
                <p:oleObj name="think-cell Slide" r:id="rId64" imgW="395" imgH="394" progId="TCLayout.ActiveDocument.1">
                  <p:embed/>
                  <p:pic>
                    <p:nvPicPr>
                      <p:cNvPr id="15" name="think-cell data - do not delete" hidden="1">
                        <a:extLst>
                          <a:ext uri="{FF2B5EF4-FFF2-40B4-BE49-F238E27FC236}">
                            <a16:creationId xmlns:a16="http://schemas.microsoft.com/office/drawing/2014/main" id="{F3B7CDF5-71FF-390A-3E70-4DF4E8C421B8}"/>
                          </a:ext>
                        </a:extLst>
                      </p:cNvPr>
                      <p:cNvPicPr/>
                      <p:nvPr/>
                    </p:nvPicPr>
                    <p:blipFill>
                      <a:blip r:embed="rId6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569C52-DD4D-AA9A-AAFA-62B180BFECE7}"/>
              </a:ext>
            </a:extLst>
          </p:cNvPr>
          <p:cNvSpPr>
            <a:spLocks noGrp="1"/>
          </p:cNvSpPr>
          <p:nvPr>
            <p:ph type="title"/>
          </p:nvPr>
        </p:nvSpPr>
        <p:spPr>
          <a:xfrm>
            <a:off x="554736" y="172212"/>
            <a:ext cx="9589389" cy="1107996"/>
          </a:xfrm>
        </p:spPr>
        <p:txBody>
          <a:bodyPr vert="horz">
            <a:normAutofit/>
          </a:bodyPr>
          <a:lstStyle/>
          <a:p>
            <a:r>
              <a:t>Whilst small, we see that Functional yoghurts are growing significantly, and adding value to the category</a:t>
            </a:r>
            <a:br/>
            <a:r>
              <a:t>尽管规模较小，但我们看到功能性酸奶正在显著增长，并为品类增加价值</a:t>
            </a:r>
            <a:endParaRPr lang="en-US" sz="2400" dirty="0"/>
          </a:p>
        </p:txBody>
      </p:sp>
      <p:sp>
        <p:nvSpPr>
          <p:cNvPr id="3" name="Slide Number Placeholder 2">
            <a:extLst>
              <a:ext uri="{FF2B5EF4-FFF2-40B4-BE49-F238E27FC236}">
                <a16:creationId xmlns:a16="http://schemas.microsoft.com/office/drawing/2014/main" id="{934D583D-C87B-6980-4869-0DBB955C1D86}"/>
              </a:ext>
            </a:extLst>
          </p:cNvPr>
          <p:cNvSpPr>
            <a:spLocks noGrp="1"/>
          </p:cNvSpPr>
          <p:nvPr>
            <p:ph type="sldNum" sz="quarter" idx="12"/>
          </p:nvPr>
        </p:nvSpPr>
        <p:spPr/>
        <p:txBody>
          <a:bodyPr>
            <a:normAutofit/>
          </a:bodyPr>
          <a:lstStyle/>
          <a:p>
            <a:endParaRPr lang="en-GB"/>
          </a:p>
        </p:txBody>
      </p:sp>
      <p:graphicFrame>
        <p:nvGraphicFramePr>
          <p:cNvPr id="14" name="Chart 13">
            <a:extLst>
              <a:ext uri="{FF2B5EF4-FFF2-40B4-BE49-F238E27FC236}">
                <a16:creationId xmlns:a16="http://schemas.microsoft.com/office/drawing/2014/main" id="{EBA72E22-3143-2387-9157-AD339860A0DF}"/>
              </a:ext>
            </a:extLst>
          </p:cNvPr>
          <p:cNvGraphicFramePr/>
          <p:nvPr>
            <p:custDataLst>
              <p:tags r:id="rId2"/>
            </p:custDataLst>
            <p:extLst>
              <p:ext uri="{D42A27DB-BD31-4B8C-83A1-F6EECF244321}">
                <p14:modId xmlns:p14="http://schemas.microsoft.com/office/powerpoint/2010/main" val="823778986"/>
              </p:ext>
            </p:extLst>
          </p:nvPr>
        </p:nvGraphicFramePr>
        <p:xfrm>
          <a:off x="3867150" y="2462213"/>
          <a:ext cx="2271713" cy="3022600"/>
        </p:xfrm>
        <a:graphic>
          <a:graphicData uri="http://schemas.openxmlformats.org/drawingml/2006/chart">
            <c:chart xmlns:c="http://schemas.openxmlformats.org/drawingml/2006/chart" xmlns:r="http://schemas.openxmlformats.org/officeDocument/2006/relationships" r:id="rId66"/>
          </a:graphicData>
        </a:graphic>
      </p:graphicFrame>
      <p:sp>
        <p:nvSpPr>
          <p:cNvPr id="78" name="Text Placeholder 2">
            <a:extLst>
              <a:ext uri="{FF2B5EF4-FFF2-40B4-BE49-F238E27FC236}">
                <a16:creationId xmlns:a16="http://schemas.microsoft.com/office/drawing/2014/main" id="{416325B8-63A3-B577-68C9-6765E2A0A76F}"/>
              </a:ext>
            </a:extLst>
          </p:cNvPr>
          <p:cNvSpPr>
            <a:spLocks noGrp="1"/>
          </p:cNvSpPr>
          <p:nvPr>
            <p:custDataLst>
              <p:tags r:id="rId3"/>
            </p:custDataLst>
          </p:nvPr>
        </p:nvSpPr>
        <p:spPr bwMode="auto">
          <a:xfrm>
            <a:off x="4078288" y="5435601"/>
            <a:ext cx="444500"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rmAutofit/>
          </a:bodyPr>
          <a:lstStyle>
            <a:lvl1pPr marL="234939" indent="-234939" algn="l" defTabSz="914354" rtl="0" eaLnBrk="1" latinLnBrk="0" hangingPunct="1">
              <a:lnSpc>
                <a:spcPct val="113000"/>
              </a:lnSpc>
              <a:spcBef>
                <a:spcPts val="1600"/>
              </a:spcBef>
              <a:buClr>
                <a:schemeClr val="tx1"/>
              </a:buClr>
              <a:buFont typeface="Arial" panose="020B0604020202020204" pitchFamily="34" charset="0"/>
              <a:buChar char="•"/>
              <a:defRPr sz="1867" kern="1200">
                <a:solidFill>
                  <a:schemeClr val="tx1"/>
                </a:solidFill>
                <a:latin typeface="+mn-lt"/>
                <a:ea typeface="+mn-ea"/>
                <a:cs typeface="+mn-cs"/>
              </a:defRPr>
            </a:lvl1pPr>
            <a:lvl2pPr marL="480460"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2pPr>
            <a:lvl3pPr marL="71539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3pPr>
            <a:lvl4pPr marL="960919"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4pPr>
            <a:lvl5pPr marL="119585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t>Drinking yoghurt</a:t>
            </a:r>
            <a:br/>
            <a:r>
              <a:t>饮用型酸奶</a:t>
            </a:r>
            <a:endParaRPr lang="nl-NL" sz="800"/>
          </a:p>
        </p:txBody>
      </p:sp>
      <p:sp>
        <p:nvSpPr>
          <p:cNvPr id="79" name="Text Placeholder 2">
            <a:extLst>
              <a:ext uri="{FF2B5EF4-FFF2-40B4-BE49-F238E27FC236}">
                <a16:creationId xmlns:a16="http://schemas.microsoft.com/office/drawing/2014/main" id="{51519ED9-FA85-0A1B-4C47-7D8F12754FFD}"/>
              </a:ext>
            </a:extLst>
          </p:cNvPr>
          <p:cNvSpPr>
            <a:spLocks noGrp="1"/>
          </p:cNvSpPr>
          <p:nvPr>
            <p:custDataLst>
              <p:tags r:id="rId4"/>
            </p:custDataLst>
          </p:nvPr>
        </p:nvSpPr>
        <p:spPr bwMode="auto">
          <a:xfrm>
            <a:off x="4729163" y="5435601"/>
            <a:ext cx="54768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rmAutofit/>
          </a:bodyPr>
          <a:lstStyle>
            <a:lvl1pPr marL="234939" indent="-234939" algn="l" defTabSz="914354" rtl="0" eaLnBrk="1" latinLnBrk="0" hangingPunct="1">
              <a:lnSpc>
                <a:spcPct val="113000"/>
              </a:lnSpc>
              <a:spcBef>
                <a:spcPts val="1600"/>
              </a:spcBef>
              <a:buClr>
                <a:schemeClr val="tx1"/>
              </a:buClr>
              <a:buFont typeface="Arial" panose="020B0604020202020204" pitchFamily="34" charset="0"/>
              <a:buChar char="•"/>
              <a:defRPr sz="1867" kern="1200">
                <a:solidFill>
                  <a:schemeClr val="tx1"/>
                </a:solidFill>
                <a:latin typeface="+mn-lt"/>
                <a:ea typeface="+mn-ea"/>
                <a:cs typeface="+mn-cs"/>
              </a:defRPr>
            </a:lvl1pPr>
            <a:lvl2pPr marL="480460"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2pPr>
            <a:lvl3pPr marL="71539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3pPr>
            <a:lvl4pPr marL="960919"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4pPr>
            <a:lvl5pPr marL="119585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t>Spoonable yoghurt</a:t>
            </a:r>
            <a:br/>
            <a:r>
              <a:t>勺食型酸奶</a:t>
            </a:r>
            <a:endParaRPr lang="nl-NL" sz="800"/>
          </a:p>
        </p:txBody>
      </p:sp>
      <p:sp>
        <p:nvSpPr>
          <p:cNvPr id="83" name="Text Placeholder 2">
            <a:extLst>
              <a:ext uri="{FF2B5EF4-FFF2-40B4-BE49-F238E27FC236}">
                <a16:creationId xmlns:a16="http://schemas.microsoft.com/office/drawing/2014/main" id="{6E918A30-5D84-3684-8F5F-0F77CD0B7134}"/>
              </a:ext>
            </a:extLst>
          </p:cNvPr>
          <p:cNvSpPr>
            <a:spLocks noGrp="1"/>
          </p:cNvSpPr>
          <p:nvPr>
            <p:custDataLst>
              <p:tags r:id="rId5"/>
            </p:custDataLst>
          </p:nvPr>
        </p:nvSpPr>
        <p:spPr bwMode="auto">
          <a:xfrm>
            <a:off x="5437189" y="5435601"/>
            <a:ext cx="538163"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rmAutofit/>
          </a:bodyPr>
          <a:lstStyle>
            <a:lvl1pPr marL="234939" indent="-234939" algn="l" defTabSz="914354" rtl="0" eaLnBrk="1" latinLnBrk="0" hangingPunct="1">
              <a:lnSpc>
                <a:spcPct val="113000"/>
              </a:lnSpc>
              <a:spcBef>
                <a:spcPts val="1600"/>
              </a:spcBef>
              <a:buClr>
                <a:schemeClr val="tx1"/>
              </a:buClr>
              <a:buFont typeface="Arial" panose="020B0604020202020204" pitchFamily="34" charset="0"/>
              <a:buChar char="•"/>
              <a:defRPr sz="1867" kern="1200">
                <a:solidFill>
                  <a:schemeClr val="tx1"/>
                </a:solidFill>
                <a:latin typeface="+mn-lt"/>
                <a:ea typeface="+mn-ea"/>
                <a:cs typeface="+mn-cs"/>
              </a:defRPr>
            </a:lvl1pPr>
            <a:lvl2pPr marL="480460"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2pPr>
            <a:lvl3pPr marL="71539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3pPr>
            <a:lvl4pPr marL="960919"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4pPr>
            <a:lvl5pPr marL="119585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t>Functional yoghurts</a:t>
            </a:r>
            <a:br/>
            <a:r>
              <a:t>功能性酸奶</a:t>
            </a:r>
            <a:endParaRPr lang="nl-NL" sz="800"/>
          </a:p>
        </p:txBody>
      </p:sp>
      <p:sp>
        <p:nvSpPr>
          <p:cNvPr id="5" name="Text Placeholder 4">
            <a:extLst>
              <a:ext uri="{FF2B5EF4-FFF2-40B4-BE49-F238E27FC236}">
                <a16:creationId xmlns:a16="http://schemas.microsoft.com/office/drawing/2014/main" id="{4C1F3293-4EFE-461D-940D-7EE66BAE31C5}"/>
              </a:ext>
            </a:extLst>
          </p:cNvPr>
          <p:cNvSpPr>
            <a:spLocks noGrp="1"/>
          </p:cNvSpPr>
          <p:nvPr>
            <p:custDataLst>
              <p:tags r:id="rId6"/>
            </p:custDataLst>
          </p:nvPr>
        </p:nvSpPr>
        <p:spPr bwMode="gray">
          <a:xfrm>
            <a:off x="3979863" y="2381250"/>
            <a:ext cx="390525" cy="1381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rm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lnSpc>
                <a:spcPct val="113000"/>
              </a:lnSpc>
              <a:spcBef>
                <a:spcPct val="0"/>
              </a:spcBef>
              <a:spcAft>
                <a:spcPct val="0"/>
              </a:spcAft>
            </a:pPr>
            <a:fld id="{EEF8F164-9C97-41D9-A844-72909821D5E2}" type="datetime'''''1''''0''''''.''''''''21''4'''''''''''''''''''''''''''''">
              <a:rPr lang="nl-NL" altLang="en-US" sz="800" smtClean="0">
                <a:effectLst/>
              </a:rPr>
              <a:pPr lvl="0" algn="ctr">
                <a:lnSpc>
                  <a:spcPct val="113000"/>
                </a:lnSpc>
                <a:spcBef>
                  <a:spcPct val="0"/>
                </a:spcBef>
                <a:spcAft>
                  <a:spcPct val="0"/>
                </a:spcAft>
              </a:pPr>
              <a:t>10.214</a:t>
            </a:fld>
            <a:endParaRPr lang="nl-NL" sz="800"/>
          </a:p>
        </p:txBody>
      </p:sp>
      <p:sp>
        <p:nvSpPr>
          <p:cNvPr id="9" name="Text Placeholder 4">
            <a:extLst>
              <a:ext uri="{FF2B5EF4-FFF2-40B4-BE49-F238E27FC236}">
                <a16:creationId xmlns:a16="http://schemas.microsoft.com/office/drawing/2014/main" id="{4C1F3293-4EFE-461D-940D-7EE66BAE31C5}"/>
              </a:ext>
            </a:extLst>
          </p:cNvPr>
          <p:cNvSpPr>
            <a:spLocks noGrp="1"/>
          </p:cNvSpPr>
          <p:nvPr>
            <p:custDataLst>
              <p:tags r:id="rId7"/>
            </p:custDataLst>
          </p:nvPr>
        </p:nvSpPr>
        <p:spPr bwMode="gray">
          <a:xfrm>
            <a:off x="4311650" y="3211513"/>
            <a:ext cx="325438" cy="1381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rm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lnSpc>
                <a:spcPct val="113000"/>
              </a:lnSpc>
              <a:spcBef>
                <a:spcPct val="0"/>
              </a:spcBef>
              <a:spcAft>
                <a:spcPct val="0"/>
              </a:spcAft>
            </a:pPr>
            <a:fld id="{5FCA94C8-2C5E-4331-98D4-5D6E0214123D}" type="datetime'''''''''''''''''''''''''7.''''''2''''''''''''''4''''8'''''''''">
              <a:rPr lang="nl-NL" altLang="en-US" sz="800" smtClean="0">
                <a:effectLst/>
              </a:rPr>
              <a:pPr lvl="0" algn="ctr">
                <a:lnSpc>
                  <a:spcPct val="113000"/>
                </a:lnSpc>
                <a:spcBef>
                  <a:spcPct val="0"/>
                </a:spcBef>
                <a:spcAft>
                  <a:spcPct val="0"/>
                </a:spcAft>
              </a:pPr>
              <a:t>7.248</a:t>
            </a:fld>
            <a:endParaRPr lang="nl-NL" sz="800"/>
          </a:p>
        </p:txBody>
      </p:sp>
      <p:sp>
        <p:nvSpPr>
          <p:cNvPr id="10" name="Text Placeholder 4">
            <a:extLst>
              <a:ext uri="{FF2B5EF4-FFF2-40B4-BE49-F238E27FC236}">
                <a16:creationId xmlns:a16="http://schemas.microsoft.com/office/drawing/2014/main" id="{4C1F3293-4EFE-461D-940D-7EE66BAE31C5}"/>
              </a:ext>
            </a:extLst>
          </p:cNvPr>
          <p:cNvSpPr>
            <a:spLocks noGrp="1"/>
          </p:cNvSpPr>
          <p:nvPr>
            <p:custDataLst>
              <p:tags r:id="rId8"/>
            </p:custDataLst>
          </p:nvPr>
        </p:nvSpPr>
        <p:spPr bwMode="gray">
          <a:xfrm>
            <a:off x="4714875" y="4478338"/>
            <a:ext cx="325438" cy="1381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rm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lnSpc>
                <a:spcPct val="113000"/>
              </a:lnSpc>
              <a:spcBef>
                <a:spcPct val="0"/>
              </a:spcBef>
              <a:spcAft>
                <a:spcPct val="0"/>
              </a:spcAft>
            </a:pPr>
            <a:fld id="{6E5012AE-0900-44BD-AED1-DE4797FD216B}" type="datetime'2''''''''''''''''''''''''''.''''''''''7''''''''0''''7'''''''">
              <a:rPr lang="nl-NL" altLang="en-US" sz="800" smtClean="0">
                <a:effectLst/>
              </a:rPr>
              <a:pPr lvl="0" algn="ctr">
                <a:lnSpc>
                  <a:spcPct val="113000"/>
                </a:lnSpc>
                <a:spcBef>
                  <a:spcPct val="0"/>
                </a:spcBef>
                <a:spcAft>
                  <a:spcPct val="0"/>
                </a:spcAft>
              </a:pPr>
              <a:t>2.707</a:t>
            </a:fld>
            <a:endParaRPr lang="nl-NL" sz="800"/>
          </a:p>
        </p:txBody>
      </p:sp>
      <p:sp>
        <p:nvSpPr>
          <p:cNvPr id="11" name="Text Placeholder 4">
            <a:extLst>
              <a:ext uri="{FF2B5EF4-FFF2-40B4-BE49-F238E27FC236}">
                <a16:creationId xmlns:a16="http://schemas.microsoft.com/office/drawing/2014/main" id="{4C1F3293-4EFE-461D-940D-7EE66BAE31C5}"/>
              </a:ext>
            </a:extLst>
          </p:cNvPr>
          <p:cNvSpPr>
            <a:spLocks noGrp="1"/>
          </p:cNvSpPr>
          <p:nvPr>
            <p:custDataLst>
              <p:tags r:id="rId9"/>
            </p:custDataLst>
          </p:nvPr>
        </p:nvSpPr>
        <p:spPr bwMode="gray">
          <a:xfrm>
            <a:off x="5014913" y="4616450"/>
            <a:ext cx="325438" cy="1381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rm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lnSpc>
                <a:spcPct val="113000"/>
              </a:lnSpc>
              <a:spcBef>
                <a:spcPct val="0"/>
              </a:spcBef>
              <a:spcAft>
                <a:spcPct val="0"/>
              </a:spcAft>
            </a:pPr>
            <a:fld id="{CCD945D2-03A6-4FA4-B481-9F39C6D7003C}" type="datetime'''''''''''''''2''''''''''''.''''2''''''2''''''''2'''''''''''''">
              <a:rPr lang="nl-NL" altLang="en-US" sz="800" smtClean="0">
                <a:effectLst/>
              </a:rPr>
              <a:pPr lvl="0" algn="ctr">
                <a:lnSpc>
                  <a:spcPct val="113000"/>
                </a:lnSpc>
                <a:spcBef>
                  <a:spcPct val="0"/>
                </a:spcBef>
                <a:spcAft>
                  <a:spcPct val="0"/>
                </a:spcAft>
              </a:pPr>
              <a:t>2.222</a:t>
            </a:fld>
            <a:endParaRPr lang="nl-NL" sz="800"/>
          </a:p>
        </p:txBody>
      </p:sp>
      <p:sp>
        <p:nvSpPr>
          <p:cNvPr id="12" name="Text Placeholder 4">
            <a:extLst>
              <a:ext uri="{FF2B5EF4-FFF2-40B4-BE49-F238E27FC236}">
                <a16:creationId xmlns:a16="http://schemas.microsoft.com/office/drawing/2014/main" id="{4C1F3293-4EFE-461D-940D-7EE66BAE31C5}"/>
              </a:ext>
            </a:extLst>
          </p:cNvPr>
          <p:cNvSpPr>
            <a:spLocks noGrp="1"/>
          </p:cNvSpPr>
          <p:nvPr>
            <p:custDataLst>
              <p:tags r:id="rId10"/>
            </p:custDataLst>
          </p:nvPr>
        </p:nvSpPr>
        <p:spPr bwMode="gray">
          <a:xfrm>
            <a:off x="5368925" y="4500563"/>
            <a:ext cx="325438" cy="1381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rm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lnSpc>
                <a:spcPct val="113000"/>
              </a:lnSpc>
              <a:spcBef>
                <a:spcPct val="0"/>
              </a:spcBef>
              <a:spcAft>
                <a:spcPct val="0"/>
              </a:spcAft>
            </a:pPr>
            <a:fld id="{F6EFF856-F022-4A2B-8FD6-5A7CB3F5EDBA}" type="datetime'''2''.''''''''6''''37'''''">
              <a:rPr lang="nl-NL" altLang="en-US" sz="800" smtClean="0">
                <a:effectLst/>
              </a:rPr>
              <a:pPr lvl="0" algn="ctr">
                <a:lnSpc>
                  <a:spcPct val="113000"/>
                </a:lnSpc>
                <a:spcBef>
                  <a:spcPct val="0"/>
                </a:spcBef>
                <a:spcAft>
                  <a:spcPct val="0"/>
                </a:spcAft>
              </a:pPr>
              <a:t>2.637</a:t>
            </a:fld>
            <a:endParaRPr lang="nl-NL" sz="800"/>
          </a:p>
        </p:txBody>
      </p:sp>
      <p:sp>
        <p:nvSpPr>
          <p:cNvPr id="13" name="Text Placeholder 4">
            <a:extLst>
              <a:ext uri="{FF2B5EF4-FFF2-40B4-BE49-F238E27FC236}">
                <a16:creationId xmlns:a16="http://schemas.microsoft.com/office/drawing/2014/main" id="{4C1F3293-4EFE-461D-940D-7EE66BAE31C5}"/>
              </a:ext>
            </a:extLst>
          </p:cNvPr>
          <p:cNvSpPr>
            <a:spLocks noGrp="1"/>
          </p:cNvSpPr>
          <p:nvPr>
            <p:custDataLst>
              <p:tags r:id="rId11"/>
            </p:custDataLst>
          </p:nvPr>
        </p:nvSpPr>
        <p:spPr bwMode="gray">
          <a:xfrm>
            <a:off x="5710238" y="4413250"/>
            <a:ext cx="325438" cy="1381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rm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lnSpc>
                <a:spcPct val="113000"/>
              </a:lnSpc>
              <a:spcBef>
                <a:spcPct val="0"/>
              </a:spcBef>
              <a:spcAft>
                <a:spcPct val="0"/>
              </a:spcAft>
            </a:pPr>
            <a:fld id="{1C556656-64B8-4C0B-9EE2-A8879C6F5051}" type="datetime'''''''''''''2''''.''''''9''''''''''''''''''''''50'''''''''''''">
              <a:rPr lang="nl-NL" altLang="en-US" sz="800" smtClean="0">
                <a:effectLst/>
              </a:rPr>
              <a:pPr lvl="0" algn="ctr">
                <a:lnSpc>
                  <a:spcPct val="113000"/>
                </a:lnSpc>
                <a:spcBef>
                  <a:spcPct val="0"/>
                </a:spcBef>
                <a:spcAft>
                  <a:spcPct val="0"/>
                </a:spcAft>
              </a:pPr>
              <a:t>2.950</a:t>
            </a:fld>
            <a:endParaRPr lang="nl-NL" sz="800"/>
          </a:p>
        </p:txBody>
      </p:sp>
      <p:sp>
        <p:nvSpPr>
          <p:cNvPr id="81" name="Rectangle 80">
            <a:extLst>
              <a:ext uri="{FF2B5EF4-FFF2-40B4-BE49-F238E27FC236}">
                <a16:creationId xmlns:a16="http://schemas.microsoft.com/office/drawing/2014/main" id="{E3371E79-7345-B61E-0099-FCDD6A262CE3}"/>
              </a:ext>
            </a:extLst>
          </p:cNvPr>
          <p:cNvSpPr/>
          <p:nvPr>
            <p:custDataLst>
              <p:tags r:id="rId12"/>
            </p:custDataLst>
          </p:nvPr>
        </p:nvSpPr>
        <p:spPr bwMode="auto">
          <a:xfrm>
            <a:off x="3514725" y="6102350"/>
            <a:ext cx="179388" cy="1333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112000"/>
              </a:lnSpc>
            </a:pPr>
            <a:endParaRPr lang="nl-NL" sz="1400"/>
          </a:p>
        </p:txBody>
      </p:sp>
      <p:sp>
        <p:nvSpPr>
          <p:cNvPr id="82" name="Rectangle 81">
            <a:extLst>
              <a:ext uri="{FF2B5EF4-FFF2-40B4-BE49-F238E27FC236}">
                <a16:creationId xmlns:a16="http://schemas.microsoft.com/office/drawing/2014/main" id="{3E6F8DBB-E05E-3AFB-5D05-A870F9533593}"/>
              </a:ext>
            </a:extLst>
          </p:cNvPr>
          <p:cNvSpPr/>
          <p:nvPr>
            <p:custDataLst>
              <p:tags r:id="rId13"/>
            </p:custDataLst>
          </p:nvPr>
        </p:nvSpPr>
        <p:spPr bwMode="auto">
          <a:xfrm>
            <a:off x="3514725" y="6324600"/>
            <a:ext cx="179388" cy="13335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112000"/>
              </a:lnSpc>
            </a:pPr>
            <a:endParaRPr lang="nl-NL" sz="1400"/>
          </a:p>
        </p:txBody>
      </p:sp>
      <p:sp>
        <p:nvSpPr>
          <p:cNvPr id="74" name="Text Placeholder 2">
            <a:extLst>
              <a:ext uri="{FF2B5EF4-FFF2-40B4-BE49-F238E27FC236}">
                <a16:creationId xmlns:a16="http://schemas.microsoft.com/office/drawing/2014/main" id="{8DC405F7-C4B5-D6FD-838E-FD9CDFA79A16}"/>
              </a:ext>
            </a:extLst>
          </p:cNvPr>
          <p:cNvSpPr>
            <a:spLocks noGrp="1"/>
          </p:cNvSpPr>
          <p:nvPr>
            <p:custDataLst>
              <p:tags r:id="rId14"/>
            </p:custDataLst>
          </p:nvPr>
        </p:nvSpPr>
        <p:spPr bwMode="auto">
          <a:xfrm>
            <a:off x="3744913" y="6083300"/>
            <a:ext cx="1985963" cy="171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rmAutofit/>
          </a:bodyPr>
          <a:lstStyle>
            <a:lvl1pPr marL="234939" indent="-234939" algn="l" defTabSz="914354" rtl="0" eaLnBrk="1" latinLnBrk="0" hangingPunct="1">
              <a:lnSpc>
                <a:spcPct val="113000"/>
              </a:lnSpc>
              <a:spcBef>
                <a:spcPts val="1600"/>
              </a:spcBef>
              <a:buClr>
                <a:schemeClr val="tx1"/>
              </a:buClr>
              <a:buFont typeface="Arial" panose="020B0604020202020204" pitchFamily="34" charset="0"/>
              <a:buChar char="•"/>
              <a:defRPr sz="1867" kern="1200">
                <a:solidFill>
                  <a:schemeClr val="tx1"/>
                </a:solidFill>
                <a:latin typeface="+mn-lt"/>
                <a:ea typeface="+mn-ea"/>
                <a:cs typeface="+mn-cs"/>
              </a:defRPr>
            </a:lvl1pPr>
            <a:lvl2pPr marL="480460"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2pPr>
            <a:lvl3pPr marL="71539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3pPr>
            <a:lvl4pPr marL="960919"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4pPr>
            <a:lvl5pPr marL="119585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t>Market Value (in M EUR, 2024)</a:t>
            </a:r>
            <a:br/>
            <a:r>
              <a:t>市场价值（2024年，百万欧元）</a:t>
            </a:r>
            <a:endParaRPr lang="nl-NL" sz="1000" dirty="0"/>
          </a:p>
        </p:txBody>
      </p:sp>
      <p:sp>
        <p:nvSpPr>
          <p:cNvPr id="76" name="Text Placeholder 2">
            <a:extLst>
              <a:ext uri="{FF2B5EF4-FFF2-40B4-BE49-F238E27FC236}">
                <a16:creationId xmlns:a16="http://schemas.microsoft.com/office/drawing/2014/main" id="{C564145E-1FFF-8841-BDBE-9CE854728325}"/>
              </a:ext>
            </a:extLst>
          </p:cNvPr>
          <p:cNvSpPr>
            <a:spLocks noGrp="1"/>
          </p:cNvSpPr>
          <p:nvPr>
            <p:custDataLst>
              <p:tags r:id="rId15"/>
            </p:custDataLst>
          </p:nvPr>
        </p:nvSpPr>
        <p:spPr bwMode="auto">
          <a:xfrm>
            <a:off x="3744913" y="6305550"/>
            <a:ext cx="1985963" cy="171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rmAutofit/>
          </a:bodyPr>
          <a:lstStyle>
            <a:lvl1pPr marL="234939" indent="-234939" algn="l" defTabSz="914354" rtl="0" eaLnBrk="1" latinLnBrk="0" hangingPunct="1">
              <a:lnSpc>
                <a:spcPct val="113000"/>
              </a:lnSpc>
              <a:spcBef>
                <a:spcPts val="1600"/>
              </a:spcBef>
              <a:buClr>
                <a:schemeClr val="tx1"/>
              </a:buClr>
              <a:buFont typeface="Arial" panose="020B0604020202020204" pitchFamily="34" charset="0"/>
              <a:buChar char="•"/>
              <a:defRPr sz="1867" kern="1200">
                <a:solidFill>
                  <a:schemeClr val="tx1"/>
                </a:solidFill>
                <a:latin typeface="+mn-lt"/>
                <a:ea typeface="+mn-ea"/>
                <a:cs typeface="+mn-cs"/>
              </a:defRPr>
            </a:lvl1pPr>
            <a:lvl2pPr marL="480460"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2pPr>
            <a:lvl3pPr marL="71539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3pPr>
            <a:lvl4pPr marL="960919"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4pPr>
            <a:lvl5pPr marL="119585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t>Market Value (in M EUR, 2030)</a:t>
            </a:r>
            <a:br/>
            <a:r>
              <a:t>市场价值（2030年，百万欧元）</a:t>
            </a:r>
            <a:endParaRPr lang="nl-NL" sz="1000"/>
          </a:p>
        </p:txBody>
      </p:sp>
      <p:sp>
        <p:nvSpPr>
          <p:cNvPr id="133" name="TextBox 132">
            <a:extLst>
              <a:ext uri="{FF2B5EF4-FFF2-40B4-BE49-F238E27FC236}">
                <a16:creationId xmlns:a16="http://schemas.microsoft.com/office/drawing/2014/main" id="{2765A40A-A7A3-8E93-CD46-9EBD2A973E1F}"/>
              </a:ext>
            </a:extLst>
          </p:cNvPr>
          <p:cNvSpPr txBox="1"/>
          <p:nvPr/>
        </p:nvSpPr>
        <p:spPr>
          <a:xfrm>
            <a:off x="1895912" y="1822450"/>
            <a:ext cx="1421864" cy="218265"/>
          </a:xfrm>
          <a:prstGeom prst="rect">
            <a:avLst/>
          </a:prstGeom>
          <a:noFill/>
        </p:spPr>
        <p:txBody>
          <a:bodyPr wrap="none" lIns="0" tIns="0" rIns="0" bIns="0" rtlCol="0">
            <a:normAutofit/>
          </a:bodyPr>
          <a:lstStyle/>
          <a:p>
            <a:pPr algn="l">
              <a:lnSpc>
                <a:spcPct val="112000"/>
              </a:lnSpc>
            </a:pPr>
            <a:r>
              <a:t>Global numbers</a:t>
            </a:r>
            <a:br/>
            <a:r>
              <a:t>全球数据</a:t>
            </a:r>
            <a:endParaRPr lang="nl-NL" sz="1400"/>
          </a:p>
        </p:txBody>
      </p:sp>
      <p:sp>
        <p:nvSpPr>
          <p:cNvPr id="134" name="TextBox 133">
            <a:extLst>
              <a:ext uri="{FF2B5EF4-FFF2-40B4-BE49-F238E27FC236}">
                <a16:creationId xmlns:a16="http://schemas.microsoft.com/office/drawing/2014/main" id="{037D04E1-27E2-0D62-A11E-DB1E316A2DE1}"/>
              </a:ext>
            </a:extLst>
          </p:cNvPr>
          <p:cNvSpPr txBox="1"/>
          <p:nvPr/>
        </p:nvSpPr>
        <p:spPr>
          <a:xfrm>
            <a:off x="4688435" y="1805684"/>
            <a:ext cx="1364156" cy="218265"/>
          </a:xfrm>
          <a:prstGeom prst="rect">
            <a:avLst/>
          </a:prstGeom>
          <a:noFill/>
        </p:spPr>
        <p:txBody>
          <a:bodyPr wrap="none" lIns="0" tIns="0" rIns="0" bIns="0" rtlCol="0">
            <a:normAutofit/>
          </a:bodyPr>
          <a:lstStyle/>
          <a:p>
            <a:pPr algn="l">
              <a:lnSpc>
                <a:spcPct val="112000"/>
              </a:lnSpc>
            </a:pPr>
            <a:r>
              <a:t>China numbers</a:t>
            </a:r>
            <a:br/>
            <a:r>
              <a:t>中国数据</a:t>
            </a:r>
            <a:endParaRPr lang="nl-NL" sz="1400"/>
          </a:p>
        </p:txBody>
      </p:sp>
      <p:sp>
        <p:nvSpPr>
          <p:cNvPr id="138" name="TrackerNumWhite 182">
            <a:extLst>
              <a:ext uri="{FF2B5EF4-FFF2-40B4-BE49-F238E27FC236}">
                <a16:creationId xmlns:a16="http://schemas.microsoft.com/office/drawing/2014/main" id="{4FEDBEAB-BAA8-C604-E939-5553FB16FA1F}"/>
              </a:ext>
            </a:extLst>
          </p:cNvPr>
          <p:cNvSpPr>
            <a:spLocks/>
          </p:cNvSpPr>
          <p:nvPr>
            <p:custDataLst>
              <p:tags r:id="rId16"/>
            </p:custDataLst>
          </p:nvPr>
        </p:nvSpPr>
        <p:spPr>
          <a:xfrm>
            <a:off x="3965184" y="2060308"/>
            <a:ext cx="485775" cy="244677"/>
          </a:xfrm>
          <a:prstGeom prst="ellipse">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none" lIns="0" tIns="0" rIns="0" bIns="0" numCol="1" spcCol="0" rtlCol="0" fromWordArt="0" anchor="ctr" anchorCtr="1" forceAA="0" compatLnSpc="1">
            <a:prstTxWarp prst="textNoShape">
              <a:avLst/>
            </a:prstTxWarp>
            <a:normAutofit/>
          </a:bodyPr>
          <a:lstStyle/>
          <a:p>
            <a:pPr marL="0" marR="0" lvl="0" indent="0" algn="ctr" defTabSz="914377" rtl="0" eaLnBrk="1" fontAlgn="auto" latinLnBrk="0" hangingPunct="1">
              <a:lnSpc>
                <a:spcPct val="100000"/>
              </a:lnSpc>
              <a:spcBef>
                <a:spcPts val="300"/>
              </a:spcBef>
              <a:spcAft>
                <a:spcPts val="300"/>
              </a:spcAft>
              <a:buClr>
                <a:srgbClr val="FFFFFF"/>
              </a:buClr>
              <a:buSzTx/>
              <a:buFontTx/>
              <a:buNone/>
              <a:tabLst/>
              <a:defRPr/>
            </a:pPr>
            <a:r>
              <a:rPr kumimoji="0" lang="en-US" sz="600" b="0" i="0" u="none" strike="noStrike" kern="1200" cap="none" spc="0" normalizeH="0" baseline="0" noProof="0">
                <a:ln>
                  <a:noFill/>
                </a:ln>
                <a:solidFill>
                  <a:srgbClr val="3F4043"/>
                </a:solidFill>
                <a:effectLst/>
                <a:uLnTx/>
                <a:uFillTx/>
                <a:latin typeface="Verdana"/>
                <a:ea typeface="+mn-ea"/>
                <a:cs typeface="+mn-cs"/>
              </a:rPr>
              <a:t>-4.8</a:t>
            </a:r>
          </a:p>
        </p:txBody>
      </p:sp>
      <p:sp>
        <p:nvSpPr>
          <p:cNvPr id="139" name="TrackerNumWhite 182">
            <a:extLst>
              <a:ext uri="{FF2B5EF4-FFF2-40B4-BE49-F238E27FC236}">
                <a16:creationId xmlns:a16="http://schemas.microsoft.com/office/drawing/2014/main" id="{98F85C50-1362-6A89-8402-CF8A165390B8}"/>
              </a:ext>
            </a:extLst>
          </p:cNvPr>
          <p:cNvSpPr>
            <a:spLocks/>
          </p:cNvSpPr>
          <p:nvPr>
            <p:custDataLst>
              <p:tags r:id="rId17"/>
            </p:custDataLst>
          </p:nvPr>
        </p:nvSpPr>
        <p:spPr>
          <a:xfrm>
            <a:off x="4766734" y="4097338"/>
            <a:ext cx="485775" cy="244677"/>
          </a:xfrm>
          <a:prstGeom prst="ellipse">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none" lIns="0" tIns="0" rIns="0" bIns="0" numCol="1" spcCol="0" rtlCol="0" fromWordArt="0" anchor="ctr" anchorCtr="1" forceAA="0" compatLnSpc="1">
            <a:prstTxWarp prst="textNoShape">
              <a:avLst/>
            </a:prstTxWarp>
            <a:normAutofit/>
          </a:bodyPr>
          <a:lstStyle/>
          <a:p>
            <a:pPr marL="0" marR="0" lvl="0" indent="0" algn="ctr" defTabSz="914377" rtl="0" eaLnBrk="1" fontAlgn="auto" latinLnBrk="0" hangingPunct="1">
              <a:lnSpc>
                <a:spcPct val="100000"/>
              </a:lnSpc>
              <a:spcBef>
                <a:spcPts val="300"/>
              </a:spcBef>
              <a:spcAft>
                <a:spcPts val="300"/>
              </a:spcAft>
              <a:buClr>
                <a:srgbClr val="FFFFFF"/>
              </a:buClr>
              <a:buSzTx/>
              <a:buFontTx/>
              <a:buNone/>
              <a:tabLst/>
              <a:defRPr/>
            </a:pPr>
            <a:r>
              <a:rPr kumimoji="0" lang="en-US" sz="600" b="0" i="0" u="none" strike="noStrike" kern="1200" cap="none" spc="0" normalizeH="0" baseline="0" noProof="0">
                <a:ln>
                  <a:noFill/>
                </a:ln>
                <a:solidFill>
                  <a:srgbClr val="3F4043"/>
                </a:solidFill>
                <a:effectLst/>
                <a:uLnTx/>
                <a:uFillTx/>
                <a:latin typeface="Verdana"/>
                <a:ea typeface="+mn-ea"/>
                <a:cs typeface="+mn-cs"/>
              </a:rPr>
              <a:t>-2.8</a:t>
            </a:r>
          </a:p>
        </p:txBody>
      </p:sp>
      <p:sp>
        <p:nvSpPr>
          <p:cNvPr id="140" name="TrackerNumWhite 182">
            <a:extLst>
              <a:ext uri="{FF2B5EF4-FFF2-40B4-BE49-F238E27FC236}">
                <a16:creationId xmlns:a16="http://schemas.microsoft.com/office/drawing/2014/main" id="{20169081-31DE-F2B1-EEF7-0D6F90E47557}"/>
              </a:ext>
            </a:extLst>
          </p:cNvPr>
          <p:cNvSpPr>
            <a:spLocks/>
          </p:cNvSpPr>
          <p:nvPr>
            <p:custDataLst>
              <p:tags r:id="rId18"/>
            </p:custDataLst>
          </p:nvPr>
        </p:nvSpPr>
        <p:spPr>
          <a:xfrm>
            <a:off x="5494826" y="4113112"/>
            <a:ext cx="485775" cy="244677"/>
          </a:xfrm>
          <a:prstGeom prst="ellipse">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none" lIns="0" tIns="0" rIns="0" bIns="0" numCol="1" spcCol="0" rtlCol="0" fromWordArt="0" anchor="ctr" anchorCtr="1" forceAA="0" compatLnSpc="1">
            <a:prstTxWarp prst="textNoShape">
              <a:avLst/>
            </a:prstTxWarp>
            <a:normAutofit/>
          </a:bodyPr>
          <a:lstStyle/>
          <a:p>
            <a:pPr marL="0" marR="0" lvl="0" indent="0" algn="ctr" defTabSz="914377" rtl="0" eaLnBrk="1" fontAlgn="auto" latinLnBrk="0" hangingPunct="1">
              <a:lnSpc>
                <a:spcPct val="100000"/>
              </a:lnSpc>
              <a:spcBef>
                <a:spcPts val="300"/>
              </a:spcBef>
              <a:spcAft>
                <a:spcPts val="300"/>
              </a:spcAft>
              <a:buClr>
                <a:srgbClr val="FFFFFF"/>
              </a:buClr>
              <a:buSzTx/>
              <a:buFontTx/>
              <a:buNone/>
              <a:tabLst/>
              <a:defRPr/>
            </a:pPr>
            <a:r>
              <a:rPr kumimoji="0" lang="en-US" sz="600" b="0" i="0" u="none" strike="noStrike" kern="1200" cap="none" spc="0" normalizeH="0" baseline="0" noProof="0">
                <a:ln>
                  <a:noFill/>
                </a:ln>
                <a:solidFill>
                  <a:srgbClr val="3F4043"/>
                </a:solidFill>
                <a:effectLst/>
                <a:uLnTx/>
                <a:uFillTx/>
                <a:latin typeface="Verdana"/>
                <a:ea typeface="+mn-ea"/>
                <a:cs typeface="+mn-cs"/>
              </a:rPr>
              <a:t>1.6</a:t>
            </a:r>
          </a:p>
        </p:txBody>
      </p:sp>
      <p:sp>
        <p:nvSpPr>
          <p:cNvPr id="141" name="TrackerNumWhite 182">
            <a:extLst>
              <a:ext uri="{FF2B5EF4-FFF2-40B4-BE49-F238E27FC236}">
                <a16:creationId xmlns:a16="http://schemas.microsoft.com/office/drawing/2014/main" id="{33BD0288-067B-DD78-A137-AACBDACDDAEE}"/>
              </a:ext>
            </a:extLst>
          </p:cNvPr>
          <p:cNvSpPr>
            <a:spLocks/>
          </p:cNvSpPr>
          <p:nvPr>
            <p:custDataLst>
              <p:tags r:id="rId19"/>
            </p:custDataLst>
          </p:nvPr>
        </p:nvSpPr>
        <p:spPr>
          <a:xfrm>
            <a:off x="980782" y="6158439"/>
            <a:ext cx="961502" cy="302684"/>
          </a:xfrm>
          <a:prstGeom prst="ellipse">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none" lIns="0" tIns="0" rIns="0" bIns="0" numCol="1" spcCol="0" rtlCol="0" fromWordArt="0" anchor="ctr" anchorCtr="1" forceAA="0" compatLnSpc="1">
            <a:prstTxWarp prst="textNoShape">
              <a:avLst/>
            </a:prstTxWarp>
            <a:normAutofit/>
          </a:bodyPr>
          <a:lstStyle/>
          <a:p>
            <a:pPr marL="0" marR="0" lvl="0" indent="0" algn="ctr" defTabSz="914377" rtl="0" eaLnBrk="1" fontAlgn="auto" latinLnBrk="0" hangingPunct="1">
              <a:lnSpc>
                <a:spcPct val="100000"/>
              </a:lnSpc>
              <a:spcBef>
                <a:spcPts val="300"/>
              </a:spcBef>
              <a:spcAft>
                <a:spcPts val="300"/>
              </a:spcAft>
              <a:buClr>
                <a:srgbClr val="FFFFFF"/>
              </a:buClr>
              <a:buSzTx/>
              <a:buFontTx/>
              <a:buNone/>
              <a:tabLst/>
              <a:defRPr/>
            </a:pPr>
            <a:r>
              <a:rPr kumimoji="0" lang="en-US" sz="1200" b="0" i="0" u="none" strike="noStrike" kern="1200" cap="none" spc="0" normalizeH="0" baseline="0" noProof="0">
                <a:ln>
                  <a:noFill/>
                </a:ln>
                <a:solidFill>
                  <a:srgbClr val="3F4043"/>
                </a:solidFill>
                <a:effectLst/>
                <a:uLnTx/>
                <a:uFillTx/>
                <a:latin typeface="Verdana"/>
                <a:ea typeface="+mn-ea"/>
                <a:cs typeface="+mn-cs"/>
              </a:rPr>
              <a:t>XX</a:t>
            </a:r>
          </a:p>
        </p:txBody>
      </p:sp>
      <p:sp>
        <p:nvSpPr>
          <p:cNvPr id="142" name="TextBox 141">
            <a:extLst>
              <a:ext uri="{FF2B5EF4-FFF2-40B4-BE49-F238E27FC236}">
                <a16:creationId xmlns:a16="http://schemas.microsoft.com/office/drawing/2014/main" id="{9875356E-5D93-44E6-A46B-33F4760E03B5}"/>
              </a:ext>
            </a:extLst>
          </p:cNvPr>
          <p:cNvSpPr txBox="1"/>
          <p:nvPr/>
        </p:nvSpPr>
        <p:spPr>
          <a:xfrm>
            <a:off x="2034274" y="6217460"/>
            <a:ext cx="883255" cy="140295"/>
          </a:xfrm>
          <a:prstGeom prst="rect">
            <a:avLst/>
          </a:prstGeom>
          <a:noFill/>
        </p:spPr>
        <p:txBody>
          <a:bodyPr wrap="none" lIns="0" tIns="0" rIns="0" bIns="0" rtlCol="0">
            <a:normAutofit/>
          </a:bodyPr>
          <a:lstStyle/>
          <a:p>
            <a:pPr algn="l">
              <a:lnSpc>
                <a:spcPct val="112000"/>
              </a:lnSpc>
            </a:pPr>
            <a:r>
              <a:t>CAGR (’24-’30)</a:t>
            </a:r>
            <a:br/>
            <a:r>
              <a:t>复合年增长率（2024-2030）</a:t>
            </a:r>
          </a:p>
        </p:txBody>
      </p:sp>
      <p:sp>
        <p:nvSpPr>
          <p:cNvPr id="167" name="Rectangle 166">
            <a:extLst>
              <a:ext uri="{FF2B5EF4-FFF2-40B4-BE49-F238E27FC236}">
                <a16:creationId xmlns:a16="http://schemas.microsoft.com/office/drawing/2014/main" id="{6EF88D26-A42B-184E-D5B7-BD6F36563AC1}"/>
              </a:ext>
            </a:extLst>
          </p:cNvPr>
          <p:cNvSpPr/>
          <p:nvPr/>
        </p:nvSpPr>
        <p:spPr>
          <a:xfrm>
            <a:off x="5370513" y="3355596"/>
            <a:ext cx="781050" cy="2567481"/>
          </a:xfrm>
          <a:prstGeom prst="rect">
            <a:avLst/>
          </a:prstGeom>
          <a:noFill/>
          <a:ln/>
        </p:spPr>
        <p:style>
          <a:lnRef idx="2">
            <a:schemeClr val="accent5"/>
          </a:lnRef>
          <a:fillRef idx="1">
            <a:schemeClr val="lt1"/>
          </a:fillRef>
          <a:effectRef idx="0">
            <a:schemeClr val="accent5"/>
          </a:effectRef>
          <a:fontRef idx="minor">
            <a:schemeClr val="dk1"/>
          </a:fontRef>
        </p:style>
        <p:txBody>
          <a:bodyPr rtlCol="0" anchor="ctr">
            <a:normAutofit/>
          </a:bodyPr>
          <a:lstStyle/>
          <a:p>
            <a:pPr algn="ctr">
              <a:lnSpc>
                <a:spcPct val="112000"/>
              </a:lnSpc>
            </a:pPr>
            <a:endParaRPr lang="nl-NL" sz="1400"/>
          </a:p>
        </p:txBody>
      </p:sp>
      <p:sp>
        <p:nvSpPr>
          <p:cNvPr id="176" name="Rectangle 175">
            <a:extLst>
              <a:ext uri="{FF2B5EF4-FFF2-40B4-BE49-F238E27FC236}">
                <a16:creationId xmlns:a16="http://schemas.microsoft.com/office/drawing/2014/main" id="{2B84D84D-DEA7-8B5E-69EC-70A54402B6D2}"/>
              </a:ext>
            </a:extLst>
          </p:cNvPr>
          <p:cNvSpPr/>
          <p:nvPr/>
        </p:nvSpPr>
        <p:spPr>
          <a:xfrm>
            <a:off x="6593747" y="1585184"/>
            <a:ext cx="5392407" cy="4583841"/>
          </a:xfrm>
          <a:prstGeom prst="rect">
            <a:avLst/>
          </a:prstGeom>
          <a:ln/>
        </p:spPr>
        <p:style>
          <a:lnRef idx="2">
            <a:schemeClr val="accent5"/>
          </a:lnRef>
          <a:fillRef idx="1">
            <a:schemeClr val="lt1"/>
          </a:fillRef>
          <a:effectRef idx="0">
            <a:schemeClr val="accent5"/>
          </a:effectRef>
          <a:fontRef idx="minor">
            <a:schemeClr val="dk1"/>
          </a:fontRef>
        </p:style>
        <p:txBody>
          <a:bodyPr rtlCol="0" anchor="ctr">
            <a:normAutofit/>
          </a:bodyPr>
          <a:lstStyle/>
          <a:p>
            <a:pPr algn="ctr">
              <a:lnSpc>
                <a:spcPct val="112000"/>
              </a:lnSpc>
            </a:pPr>
            <a:endParaRPr lang="nl-NL" sz="1400" dirty="0"/>
          </a:p>
        </p:txBody>
      </p:sp>
      <p:graphicFrame>
        <p:nvGraphicFramePr>
          <p:cNvPr id="22" name="Chart 21">
            <a:extLst>
              <a:ext uri="{FF2B5EF4-FFF2-40B4-BE49-F238E27FC236}">
                <a16:creationId xmlns:a16="http://schemas.microsoft.com/office/drawing/2014/main" id="{540A893A-78A1-8BB5-2561-ED26716AD5E8}"/>
              </a:ext>
            </a:extLst>
          </p:cNvPr>
          <p:cNvGraphicFramePr/>
          <p:nvPr>
            <p:custDataLst>
              <p:tags r:id="rId20"/>
            </p:custDataLst>
            <p:extLst>
              <p:ext uri="{D42A27DB-BD31-4B8C-83A1-F6EECF244321}">
                <p14:modId xmlns:p14="http://schemas.microsoft.com/office/powerpoint/2010/main" val="2229232558"/>
              </p:ext>
            </p:extLst>
          </p:nvPr>
        </p:nvGraphicFramePr>
        <p:xfrm>
          <a:off x="7121525" y="2235200"/>
          <a:ext cx="4503738" cy="1111250"/>
        </p:xfrm>
        <a:graphic>
          <a:graphicData uri="http://schemas.openxmlformats.org/drawingml/2006/chart">
            <c:chart xmlns:c="http://schemas.openxmlformats.org/drawingml/2006/chart" xmlns:r="http://schemas.openxmlformats.org/officeDocument/2006/relationships" r:id="rId67"/>
          </a:graphicData>
        </a:graphic>
      </p:graphicFrame>
      <p:sp>
        <p:nvSpPr>
          <p:cNvPr id="190" name="Text Placeholder 2">
            <a:extLst>
              <a:ext uri="{FF2B5EF4-FFF2-40B4-BE49-F238E27FC236}">
                <a16:creationId xmlns:a16="http://schemas.microsoft.com/office/drawing/2014/main" id="{C703255C-CCCF-DC51-1AD9-EEBCC9CBBDAF}"/>
              </a:ext>
            </a:extLst>
          </p:cNvPr>
          <p:cNvSpPr>
            <a:spLocks noGrp="1"/>
          </p:cNvSpPr>
          <p:nvPr>
            <p:custDataLst>
              <p:tags r:id="rId21"/>
            </p:custDataLst>
          </p:nvPr>
        </p:nvSpPr>
        <p:spPr bwMode="auto">
          <a:xfrm>
            <a:off x="7304088" y="3297237"/>
            <a:ext cx="668338" cy="557459"/>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rmAutofit/>
          </a:bodyPr>
          <a:lstStyle>
            <a:lvl1pPr marL="234939" indent="-234939" algn="l" defTabSz="914354" rtl="0" eaLnBrk="1" latinLnBrk="0" hangingPunct="1">
              <a:lnSpc>
                <a:spcPct val="113000"/>
              </a:lnSpc>
              <a:spcBef>
                <a:spcPts val="1600"/>
              </a:spcBef>
              <a:buClr>
                <a:schemeClr val="tx1"/>
              </a:buClr>
              <a:buFont typeface="Arial" panose="020B0604020202020204" pitchFamily="34" charset="0"/>
              <a:buChar char="•"/>
              <a:defRPr sz="1867" kern="1200">
                <a:solidFill>
                  <a:schemeClr val="tx1"/>
                </a:solidFill>
                <a:latin typeface="+mn-lt"/>
                <a:ea typeface="+mn-ea"/>
                <a:cs typeface="+mn-cs"/>
              </a:defRPr>
            </a:lvl1pPr>
            <a:lvl2pPr marL="480460"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2pPr>
            <a:lvl3pPr marL="71539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3pPr>
            <a:lvl4pPr marL="960919"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4pPr>
            <a:lvl5pPr marL="119585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t>Good Source of Minerals Yoghurt</a:t>
            </a:r>
            <a:br/>
            <a:r>
              <a:t>富含矿物质酸奶</a:t>
            </a:r>
            <a:endParaRPr lang="nl-NL" sz="800" dirty="0"/>
          </a:p>
        </p:txBody>
      </p:sp>
      <p:sp>
        <p:nvSpPr>
          <p:cNvPr id="214" name="Text Placeholder 2">
            <a:extLst>
              <a:ext uri="{FF2B5EF4-FFF2-40B4-BE49-F238E27FC236}">
                <a16:creationId xmlns:a16="http://schemas.microsoft.com/office/drawing/2014/main" id="{7E07C793-4007-BB39-D90E-C658610BD530}"/>
              </a:ext>
            </a:extLst>
          </p:cNvPr>
          <p:cNvSpPr>
            <a:spLocks noGrp="1"/>
          </p:cNvSpPr>
          <p:nvPr>
            <p:custDataLst>
              <p:tags r:id="rId22"/>
            </p:custDataLst>
          </p:nvPr>
        </p:nvSpPr>
        <p:spPr bwMode="auto">
          <a:xfrm>
            <a:off x="8172450" y="3297238"/>
            <a:ext cx="668338" cy="414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rmAutofit/>
          </a:bodyPr>
          <a:lstStyle>
            <a:lvl1pPr marL="234939" indent="-234939" algn="l" defTabSz="914354" rtl="0" eaLnBrk="1" latinLnBrk="0" hangingPunct="1">
              <a:lnSpc>
                <a:spcPct val="113000"/>
              </a:lnSpc>
              <a:spcBef>
                <a:spcPts val="1600"/>
              </a:spcBef>
              <a:buClr>
                <a:schemeClr val="tx1"/>
              </a:buClr>
              <a:buFont typeface="Arial" panose="020B0604020202020204" pitchFamily="34" charset="0"/>
              <a:buChar char="•"/>
              <a:defRPr sz="1867" kern="1200">
                <a:solidFill>
                  <a:schemeClr val="tx1"/>
                </a:solidFill>
                <a:latin typeface="+mn-lt"/>
                <a:ea typeface="+mn-ea"/>
                <a:cs typeface="+mn-cs"/>
              </a:defRPr>
            </a:lvl1pPr>
            <a:lvl2pPr marL="480460"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2pPr>
            <a:lvl3pPr marL="71539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3pPr>
            <a:lvl4pPr marL="960919"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4pPr>
            <a:lvl5pPr marL="119585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t>Good Source of Vitamins Yoghurt</a:t>
            </a:r>
            <a:br/>
            <a:r>
              <a:t>富含维生素酸奶</a:t>
            </a:r>
            <a:endParaRPr lang="nl-NL" sz="800"/>
          </a:p>
        </p:txBody>
      </p:sp>
      <p:sp>
        <p:nvSpPr>
          <p:cNvPr id="215" name="Text Placeholder 2">
            <a:extLst>
              <a:ext uri="{FF2B5EF4-FFF2-40B4-BE49-F238E27FC236}">
                <a16:creationId xmlns:a16="http://schemas.microsoft.com/office/drawing/2014/main" id="{A3C01DF9-9259-AF51-B5D0-9B37AAC28DA2}"/>
              </a:ext>
            </a:extLst>
          </p:cNvPr>
          <p:cNvSpPr>
            <a:spLocks noGrp="1"/>
          </p:cNvSpPr>
          <p:nvPr>
            <p:custDataLst>
              <p:tags r:id="rId23"/>
            </p:custDataLst>
          </p:nvPr>
        </p:nvSpPr>
        <p:spPr bwMode="auto">
          <a:xfrm>
            <a:off x="9104313" y="3297238"/>
            <a:ext cx="53657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rmAutofit/>
          </a:bodyPr>
          <a:lstStyle>
            <a:lvl1pPr marL="234939" indent="-234939" algn="l" defTabSz="914354" rtl="0" eaLnBrk="1" latinLnBrk="0" hangingPunct="1">
              <a:lnSpc>
                <a:spcPct val="113000"/>
              </a:lnSpc>
              <a:spcBef>
                <a:spcPts val="1600"/>
              </a:spcBef>
              <a:buClr>
                <a:schemeClr val="tx1"/>
              </a:buClr>
              <a:buFont typeface="Arial" panose="020B0604020202020204" pitchFamily="34" charset="0"/>
              <a:buChar char="•"/>
              <a:defRPr sz="1867" kern="1200">
                <a:solidFill>
                  <a:schemeClr val="tx1"/>
                </a:solidFill>
                <a:latin typeface="+mn-lt"/>
                <a:ea typeface="+mn-ea"/>
                <a:cs typeface="+mn-cs"/>
              </a:defRPr>
            </a:lvl1pPr>
            <a:lvl2pPr marL="480460"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2pPr>
            <a:lvl3pPr marL="71539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3pPr>
            <a:lvl4pPr marL="960919"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4pPr>
            <a:lvl5pPr marL="119585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t>High Fibre Yoghurt</a:t>
            </a:r>
            <a:br/>
            <a:r>
              <a:t>高纤维酸奶</a:t>
            </a:r>
            <a:endParaRPr lang="nl-NL" sz="800"/>
          </a:p>
        </p:txBody>
      </p:sp>
      <p:sp>
        <p:nvSpPr>
          <p:cNvPr id="216" name="Text Placeholder 2">
            <a:extLst>
              <a:ext uri="{FF2B5EF4-FFF2-40B4-BE49-F238E27FC236}">
                <a16:creationId xmlns:a16="http://schemas.microsoft.com/office/drawing/2014/main" id="{838662B5-F2BB-8478-1987-C39D6116AF7B}"/>
              </a:ext>
            </a:extLst>
          </p:cNvPr>
          <p:cNvSpPr>
            <a:spLocks noGrp="1"/>
          </p:cNvSpPr>
          <p:nvPr>
            <p:custDataLst>
              <p:tags r:id="rId24"/>
            </p:custDataLst>
          </p:nvPr>
        </p:nvSpPr>
        <p:spPr bwMode="auto">
          <a:xfrm>
            <a:off x="9920288" y="3297238"/>
            <a:ext cx="64293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rmAutofit/>
          </a:bodyPr>
          <a:lstStyle>
            <a:lvl1pPr marL="234939" indent="-234939" algn="l" defTabSz="914354" rtl="0" eaLnBrk="1" latinLnBrk="0" hangingPunct="1">
              <a:lnSpc>
                <a:spcPct val="113000"/>
              </a:lnSpc>
              <a:spcBef>
                <a:spcPts val="1600"/>
              </a:spcBef>
              <a:buClr>
                <a:schemeClr val="tx1"/>
              </a:buClr>
              <a:buFont typeface="Arial" panose="020B0604020202020204" pitchFamily="34" charset="0"/>
              <a:buChar char="•"/>
              <a:defRPr sz="1867" kern="1200">
                <a:solidFill>
                  <a:schemeClr val="tx1"/>
                </a:solidFill>
                <a:latin typeface="+mn-lt"/>
                <a:ea typeface="+mn-ea"/>
                <a:cs typeface="+mn-cs"/>
              </a:defRPr>
            </a:lvl1pPr>
            <a:lvl2pPr marL="480460"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2pPr>
            <a:lvl3pPr marL="71539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3pPr>
            <a:lvl4pPr marL="960919"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4pPr>
            <a:lvl5pPr marL="119585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t>High Protein Yoghurt</a:t>
            </a:r>
            <a:br/>
            <a:r>
              <a:t>高蛋白酸奶</a:t>
            </a:r>
            <a:endParaRPr lang="nl-NL" sz="800"/>
          </a:p>
        </p:txBody>
      </p:sp>
      <p:sp>
        <p:nvSpPr>
          <p:cNvPr id="217" name="Text Placeholder 2">
            <a:extLst>
              <a:ext uri="{FF2B5EF4-FFF2-40B4-BE49-F238E27FC236}">
                <a16:creationId xmlns:a16="http://schemas.microsoft.com/office/drawing/2014/main" id="{2225F3F8-D916-9630-8B1B-738D06F342BA}"/>
              </a:ext>
            </a:extLst>
          </p:cNvPr>
          <p:cNvSpPr>
            <a:spLocks noGrp="1"/>
          </p:cNvSpPr>
          <p:nvPr>
            <p:custDataLst>
              <p:tags r:id="rId25"/>
            </p:custDataLst>
          </p:nvPr>
        </p:nvSpPr>
        <p:spPr bwMode="auto">
          <a:xfrm>
            <a:off x="10880725" y="3297238"/>
            <a:ext cx="45402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rmAutofit/>
          </a:bodyPr>
          <a:lstStyle>
            <a:lvl1pPr marL="234939" indent="-234939" algn="l" defTabSz="914354" rtl="0" eaLnBrk="1" latinLnBrk="0" hangingPunct="1">
              <a:lnSpc>
                <a:spcPct val="113000"/>
              </a:lnSpc>
              <a:spcBef>
                <a:spcPts val="1600"/>
              </a:spcBef>
              <a:buClr>
                <a:schemeClr val="tx1"/>
              </a:buClr>
              <a:buFont typeface="Arial" panose="020B0604020202020204" pitchFamily="34" charset="0"/>
              <a:buChar char="•"/>
              <a:defRPr sz="1867" kern="1200">
                <a:solidFill>
                  <a:schemeClr val="tx1"/>
                </a:solidFill>
                <a:latin typeface="+mn-lt"/>
                <a:ea typeface="+mn-ea"/>
                <a:cs typeface="+mn-cs"/>
              </a:defRPr>
            </a:lvl1pPr>
            <a:lvl2pPr marL="480460"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2pPr>
            <a:lvl3pPr marL="71539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3pPr>
            <a:lvl4pPr marL="960919"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4pPr>
            <a:lvl5pPr marL="119585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t>Probiotic Yoghurt</a:t>
            </a:r>
            <a:br/>
            <a:r>
              <a:t>益生菌酸奶</a:t>
            </a:r>
            <a:endParaRPr lang="nl-NL" sz="800"/>
          </a:p>
        </p:txBody>
      </p:sp>
      <p:sp>
        <p:nvSpPr>
          <p:cNvPr id="17" name="Text Placeholder 4">
            <a:extLst>
              <a:ext uri="{FF2B5EF4-FFF2-40B4-BE49-F238E27FC236}">
                <a16:creationId xmlns:a16="http://schemas.microsoft.com/office/drawing/2014/main" id="{4C1F3293-4EFE-461D-940D-7EE66BAE31C5}"/>
              </a:ext>
            </a:extLst>
          </p:cNvPr>
          <p:cNvSpPr>
            <a:spLocks noGrp="1"/>
          </p:cNvSpPr>
          <p:nvPr>
            <p:custDataLst>
              <p:tags r:id="rId26"/>
            </p:custDataLst>
          </p:nvPr>
        </p:nvSpPr>
        <p:spPr bwMode="gray">
          <a:xfrm>
            <a:off x="7507288" y="2368550"/>
            <a:ext cx="260350" cy="1381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rm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lnSpc>
                <a:spcPct val="113000"/>
              </a:lnSpc>
              <a:spcBef>
                <a:spcPct val="0"/>
              </a:spcBef>
              <a:spcAft>
                <a:spcPct val="0"/>
              </a:spcAft>
            </a:pPr>
            <a:fld id="{0896B515-85BD-4462-984E-76AEF5D517C5}" type="datetime'4''''''5'''''''''''',''''''''''''''''''''''''''0'''''''''">
              <a:rPr lang="nl-NL" altLang="en-US" sz="800" smtClean="0">
                <a:effectLst/>
              </a:rPr>
              <a:pPr lvl="0" algn="ctr">
                <a:lnSpc>
                  <a:spcPct val="113000"/>
                </a:lnSpc>
                <a:spcBef>
                  <a:spcPct val="0"/>
                </a:spcBef>
                <a:spcAft>
                  <a:spcPct val="0"/>
                </a:spcAft>
              </a:pPr>
              <a:t>45,0</a:t>
            </a:fld>
            <a:endParaRPr lang="nl-NL" sz="800"/>
          </a:p>
        </p:txBody>
      </p:sp>
      <p:sp>
        <p:nvSpPr>
          <p:cNvPr id="18" name="Text Placeholder 4">
            <a:extLst>
              <a:ext uri="{FF2B5EF4-FFF2-40B4-BE49-F238E27FC236}">
                <a16:creationId xmlns:a16="http://schemas.microsoft.com/office/drawing/2014/main" id="{4C1F3293-4EFE-461D-940D-7EE66BAE31C5}"/>
              </a:ext>
            </a:extLst>
          </p:cNvPr>
          <p:cNvSpPr>
            <a:spLocks noGrp="1"/>
          </p:cNvSpPr>
          <p:nvPr>
            <p:custDataLst>
              <p:tags r:id="rId27"/>
            </p:custDataLst>
          </p:nvPr>
        </p:nvSpPr>
        <p:spPr bwMode="gray">
          <a:xfrm>
            <a:off x="8375650" y="2154238"/>
            <a:ext cx="260350" cy="1381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rm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lnSpc>
                <a:spcPct val="113000"/>
              </a:lnSpc>
              <a:spcBef>
                <a:spcPct val="0"/>
              </a:spcBef>
              <a:spcAft>
                <a:spcPct val="0"/>
              </a:spcAft>
            </a:pPr>
            <a:fld id="{EC1DC272-93BC-4866-9F7F-DBDD98A953D0}" type="datetime'5''''''''''8'''''''''''''''''''''''''''''''',''''''2'''''">
              <a:rPr lang="nl-NL" altLang="en-US" sz="800" smtClean="0">
                <a:effectLst/>
              </a:rPr>
              <a:pPr lvl="0" algn="ctr">
                <a:lnSpc>
                  <a:spcPct val="113000"/>
                </a:lnSpc>
                <a:spcBef>
                  <a:spcPct val="0"/>
                </a:spcBef>
                <a:spcAft>
                  <a:spcPct val="0"/>
                </a:spcAft>
              </a:pPr>
              <a:t>58,2</a:t>
            </a:fld>
            <a:endParaRPr lang="nl-NL" sz="800"/>
          </a:p>
        </p:txBody>
      </p:sp>
      <p:sp>
        <p:nvSpPr>
          <p:cNvPr id="19" name="Text Placeholder 4">
            <a:extLst>
              <a:ext uri="{FF2B5EF4-FFF2-40B4-BE49-F238E27FC236}">
                <a16:creationId xmlns:a16="http://schemas.microsoft.com/office/drawing/2014/main" id="{4C1F3293-4EFE-461D-940D-7EE66BAE31C5}"/>
              </a:ext>
            </a:extLst>
          </p:cNvPr>
          <p:cNvSpPr>
            <a:spLocks noGrp="1"/>
          </p:cNvSpPr>
          <p:nvPr>
            <p:custDataLst>
              <p:tags r:id="rId28"/>
            </p:custDataLst>
          </p:nvPr>
        </p:nvSpPr>
        <p:spPr bwMode="gray">
          <a:xfrm>
            <a:off x="9275763" y="3005138"/>
            <a:ext cx="195263" cy="1381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rm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lnSpc>
                <a:spcPct val="113000"/>
              </a:lnSpc>
              <a:spcBef>
                <a:spcPct val="0"/>
              </a:spcBef>
              <a:spcAft>
                <a:spcPct val="0"/>
              </a:spcAft>
            </a:pPr>
            <a:fld id="{976A4758-717E-4B20-AAAE-857C2AF842D3}" type="datetime'5'''''''''''''''''''''',''''''''9'''''''">
              <a:rPr lang="nl-NL" altLang="en-US" sz="800" smtClean="0">
                <a:effectLst/>
              </a:rPr>
              <a:pPr lvl="0" algn="ctr">
                <a:lnSpc>
                  <a:spcPct val="113000"/>
                </a:lnSpc>
                <a:spcBef>
                  <a:spcPct val="0"/>
                </a:spcBef>
                <a:spcAft>
                  <a:spcPct val="0"/>
                </a:spcAft>
              </a:pPr>
              <a:t>5,9</a:t>
            </a:fld>
            <a:endParaRPr lang="nl-NL" sz="800"/>
          </a:p>
        </p:txBody>
      </p:sp>
      <p:sp>
        <p:nvSpPr>
          <p:cNvPr id="20" name="Text Placeholder 4">
            <a:extLst>
              <a:ext uri="{FF2B5EF4-FFF2-40B4-BE49-F238E27FC236}">
                <a16:creationId xmlns:a16="http://schemas.microsoft.com/office/drawing/2014/main" id="{4C1F3293-4EFE-461D-940D-7EE66BAE31C5}"/>
              </a:ext>
            </a:extLst>
          </p:cNvPr>
          <p:cNvSpPr>
            <a:spLocks noGrp="1"/>
          </p:cNvSpPr>
          <p:nvPr>
            <p:custDataLst>
              <p:tags r:id="rId29"/>
            </p:custDataLst>
          </p:nvPr>
        </p:nvSpPr>
        <p:spPr bwMode="gray">
          <a:xfrm>
            <a:off x="10144125" y="3003550"/>
            <a:ext cx="195263" cy="1381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rm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lnSpc>
                <a:spcPct val="113000"/>
              </a:lnSpc>
              <a:spcBef>
                <a:spcPct val="0"/>
              </a:spcBef>
              <a:spcAft>
                <a:spcPct val="0"/>
              </a:spcAft>
            </a:pPr>
            <a:fld id="{0A4B331B-0824-4160-80C3-BD474D6A0019}" type="datetime'''''''''''''6'''''''',''''0'''''''''''''''''''''''''">
              <a:rPr lang="nl-NL" altLang="en-US" sz="800" smtClean="0">
                <a:effectLst/>
              </a:rPr>
              <a:pPr lvl="0" algn="ctr">
                <a:lnSpc>
                  <a:spcPct val="113000"/>
                </a:lnSpc>
                <a:spcBef>
                  <a:spcPct val="0"/>
                </a:spcBef>
                <a:spcAft>
                  <a:spcPct val="0"/>
                </a:spcAft>
              </a:pPr>
              <a:t>6,0</a:t>
            </a:fld>
            <a:endParaRPr lang="nl-NL" sz="800"/>
          </a:p>
        </p:txBody>
      </p:sp>
      <p:sp>
        <p:nvSpPr>
          <p:cNvPr id="21" name="Text Placeholder 4">
            <a:extLst>
              <a:ext uri="{FF2B5EF4-FFF2-40B4-BE49-F238E27FC236}">
                <a16:creationId xmlns:a16="http://schemas.microsoft.com/office/drawing/2014/main" id="{4C1F3293-4EFE-461D-940D-7EE66BAE31C5}"/>
              </a:ext>
            </a:extLst>
          </p:cNvPr>
          <p:cNvSpPr>
            <a:spLocks noGrp="1"/>
          </p:cNvSpPr>
          <p:nvPr>
            <p:custDataLst>
              <p:tags r:id="rId30"/>
            </p:custDataLst>
          </p:nvPr>
        </p:nvSpPr>
        <p:spPr bwMode="gray">
          <a:xfrm>
            <a:off x="11010900" y="3076575"/>
            <a:ext cx="195263" cy="1381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rm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lnSpc>
                <a:spcPct val="113000"/>
              </a:lnSpc>
              <a:spcBef>
                <a:spcPct val="0"/>
              </a:spcBef>
              <a:spcAft>
                <a:spcPct val="0"/>
              </a:spcAft>
            </a:pPr>
            <a:fld id="{2C5F8AF9-5608-4B1D-93BC-BEA5E2D40FCB}" type="datetime'''''''''''''''1'''''''',''''''5'''''''">
              <a:rPr lang="nl-NL" altLang="en-US" sz="800" smtClean="0">
                <a:effectLst/>
              </a:rPr>
              <a:pPr lvl="0" algn="ctr">
                <a:lnSpc>
                  <a:spcPct val="113000"/>
                </a:lnSpc>
                <a:spcBef>
                  <a:spcPct val="0"/>
                </a:spcBef>
                <a:spcAft>
                  <a:spcPct val="0"/>
                </a:spcAft>
              </a:pPr>
              <a:t>1,5</a:t>
            </a:fld>
            <a:endParaRPr lang="nl-NL" sz="800"/>
          </a:p>
        </p:txBody>
      </p:sp>
      <p:sp>
        <p:nvSpPr>
          <p:cNvPr id="255" name="TextBox 254">
            <a:extLst>
              <a:ext uri="{FF2B5EF4-FFF2-40B4-BE49-F238E27FC236}">
                <a16:creationId xmlns:a16="http://schemas.microsoft.com/office/drawing/2014/main" id="{F9BFBFEB-9CC0-6A3D-C16B-A28795D5CD58}"/>
              </a:ext>
            </a:extLst>
          </p:cNvPr>
          <p:cNvSpPr txBox="1"/>
          <p:nvPr/>
        </p:nvSpPr>
        <p:spPr>
          <a:xfrm>
            <a:off x="8491894" y="1881592"/>
            <a:ext cx="1567737" cy="218265"/>
          </a:xfrm>
          <a:prstGeom prst="rect">
            <a:avLst/>
          </a:prstGeom>
          <a:noFill/>
        </p:spPr>
        <p:txBody>
          <a:bodyPr wrap="none" lIns="0" tIns="0" rIns="0" bIns="0" rtlCol="0">
            <a:normAutofit/>
          </a:bodyPr>
          <a:lstStyle/>
          <a:p>
            <a:pPr algn="l">
              <a:lnSpc>
                <a:spcPct val="112000"/>
              </a:lnSpc>
            </a:pPr>
            <a:r>
              <a:t>2023-2029 CAGR</a:t>
            </a:r>
            <a:br/>
            <a:r>
              <a:t>2023-2029年复合年增长率</a:t>
            </a:r>
          </a:p>
        </p:txBody>
      </p:sp>
      <p:graphicFrame>
        <p:nvGraphicFramePr>
          <p:cNvPr id="277" name="Chart 276">
            <a:extLst>
              <a:ext uri="{FF2B5EF4-FFF2-40B4-BE49-F238E27FC236}">
                <a16:creationId xmlns:a16="http://schemas.microsoft.com/office/drawing/2014/main" id="{71DC8397-0BA9-0DCA-B779-80716821A1DC}"/>
              </a:ext>
            </a:extLst>
          </p:cNvPr>
          <p:cNvGraphicFramePr/>
          <p:nvPr>
            <p:custDataLst>
              <p:tags r:id="rId31"/>
            </p:custDataLst>
            <p:extLst>
              <p:ext uri="{D42A27DB-BD31-4B8C-83A1-F6EECF244321}">
                <p14:modId xmlns:p14="http://schemas.microsoft.com/office/powerpoint/2010/main" val="3195476198"/>
              </p:ext>
            </p:extLst>
          </p:nvPr>
        </p:nvGraphicFramePr>
        <p:xfrm>
          <a:off x="7121525" y="4178300"/>
          <a:ext cx="4503738" cy="1111250"/>
        </p:xfrm>
        <a:graphic>
          <a:graphicData uri="http://schemas.openxmlformats.org/drawingml/2006/chart">
            <c:chart xmlns:c="http://schemas.openxmlformats.org/drawingml/2006/chart" xmlns:r="http://schemas.openxmlformats.org/officeDocument/2006/relationships" r:id="rId68"/>
          </a:graphicData>
        </a:graphic>
      </p:graphicFrame>
      <p:sp>
        <p:nvSpPr>
          <p:cNvPr id="258" name="Text Placeholder 2">
            <a:extLst>
              <a:ext uri="{FF2B5EF4-FFF2-40B4-BE49-F238E27FC236}">
                <a16:creationId xmlns:a16="http://schemas.microsoft.com/office/drawing/2014/main" id="{89AEA19E-D85F-C340-D6F6-A374FEEA25D4}"/>
              </a:ext>
            </a:extLst>
          </p:cNvPr>
          <p:cNvSpPr>
            <a:spLocks noGrp="1"/>
          </p:cNvSpPr>
          <p:nvPr>
            <p:custDataLst>
              <p:tags r:id="rId32"/>
            </p:custDataLst>
          </p:nvPr>
        </p:nvSpPr>
        <p:spPr bwMode="auto">
          <a:xfrm>
            <a:off x="7304088" y="5240338"/>
            <a:ext cx="668338" cy="414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rmAutofit/>
          </a:bodyPr>
          <a:lstStyle>
            <a:lvl1pPr marL="234939" indent="-234939" algn="l" defTabSz="914354" rtl="0" eaLnBrk="1" latinLnBrk="0" hangingPunct="1">
              <a:lnSpc>
                <a:spcPct val="113000"/>
              </a:lnSpc>
              <a:spcBef>
                <a:spcPts val="1600"/>
              </a:spcBef>
              <a:buClr>
                <a:schemeClr val="tx1"/>
              </a:buClr>
              <a:buFont typeface="Arial" panose="020B0604020202020204" pitchFamily="34" charset="0"/>
              <a:buChar char="•"/>
              <a:defRPr sz="1867" kern="1200">
                <a:solidFill>
                  <a:schemeClr val="tx1"/>
                </a:solidFill>
                <a:latin typeface="+mn-lt"/>
                <a:ea typeface="+mn-ea"/>
                <a:cs typeface="+mn-cs"/>
              </a:defRPr>
            </a:lvl1pPr>
            <a:lvl2pPr marL="480460"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2pPr>
            <a:lvl3pPr marL="71539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3pPr>
            <a:lvl4pPr marL="960919"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4pPr>
            <a:lvl5pPr marL="119585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A9BE85F-3F13-4A02-A281-AB8D5E81250F}" type="datetime'G''ood ''''So''urc''e ''of'' Mi''ner''''a''l''s'' ''Yogh''urt'">
              <a:rPr lang="en-US" altLang="en-US" sz="800" smtClean="0"/>
              <a:pPr marL="0" lvl="0" indent="0" algn="ctr">
                <a:spcBef>
                  <a:spcPct val="0"/>
                </a:spcBef>
                <a:spcAft>
                  <a:spcPct val="0"/>
                </a:spcAft>
                <a:buNone/>
              </a:pPr>
              <a:t>Good Source of Minerals Yoghurt</a:t>
            </a:fld>
            <a:endParaRPr lang="nl-NL" sz="800"/>
          </a:p>
        </p:txBody>
      </p:sp>
      <p:sp>
        <p:nvSpPr>
          <p:cNvPr id="259" name="Text Placeholder 2">
            <a:extLst>
              <a:ext uri="{FF2B5EF4-FFF2-40B4-BE49-F238E27FC236}">
                <a16:creationId xmlns:a16="http://schemas.microsoft.com/office/drawing/2014/main" id="{C4666E33-54AC-01FB-437E-4F9E2537F9E8}"/>
              </a:ext>
            </a:extLst>
          </p:cNvPr>
          <p:cNvSpPr>
            <a:spLocks noGrp="1"/>
          </p:cNvSpPr>
          <p:nvPr>
            <p:custDataLst>
              <p:tags r:id="rId33"/>
            </p:custDataLst>
          </p:nvPr>
        </p:nvSpPr>
        <p:spPr bwMode="auto">
          <a:xfrm>
            <a:off x="8172450" y="5240338"/>
            <a:ext cx="668338" cy="414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rmAutofit/>
          </a:bodyPr>
          <a:lstStyle>
            <a:lvl1pPr marL="234939" indent="-234939" algn="l" defTabSz="914354" rtl="0" eaLnBrk="1" latinLnBrk="0" hangingPunct="1">
              <a:lnSpc>
                <a:spcPct val="113000"/>
              </a:lnSpc>
              <a:spcBef>
                <a:spcPts val="1600"/>
              </a:spcBef>
              <a:buClr>
                <a:schemeClr val="tx1"/>
              </a:buClr>
              <a:buFont typeface="Arial" panose="020B0604020202020204" pitchFamily="34" charset="0"/>
              <a:buChar char="•"/>
              <a:defRPr sz="1867" kern="1200">
                <a:solidFill>
                  <a:schemeClr val="tx1"/>
                </a:solidFill>
                <a:latin typeface="+mn-lt"/>
                <a:ea typeface="+mn-ea"/>
                <a:cs typeface="+mn-cs"/>
              </a:defRPr>
            </a:lvl1pPr>
            <a:lvl2pPr marL="480460"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2pPr>
            <a:lvl3pPr marL="71539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3pPr>
            <a:lvl4pPr marL="960919"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4pPr>
            <a:lvl5pPr marL="119585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E442387-F08F-4268-B345-EBF1148A331B}" type="datetime'G''o''''''od ''Sour''ce of Vita''mins ''Yog''''hu''rt'''''">
              <a:rPr lang="en-US" altLang="en-US" sz="800" smtClean="0"/>
              <a:pPr marL="0" lvl="0" indent="0" algn="ctr">
                <a:spcBef>
                  <a:spcPct val="0"/>
                </a:spcBef>
                <a:spcAft>
                  <a:spcPct val="0"/>
                </a:spcAft>
                <a:buNone/>
              </a:pPr>
              <a:t>Good Source of Vitamins Yoghurt</a:t>
            </a:fld>
            <a:endParaRPr lang="nl-NL" sz="800"/>
          </a:p>
        </p:txBody>
      </p:sp>
      <p:sp>
        <p:nvSpPr>
          <p:cNvPr id="260" name="Text Placeholder 2">
            <a:extLst>
              <a:ext uri="{FF2B5EF4-FFF2-40B4-BE49-F238E27FC236}">
                <a16:creationId xmlns:a16="http://schemas.microsoft.com/office/drawing/2014/main" id="{A65AD009-521B-9F1B-307B-4DF4BFAEFB63}"/>
              </a:ext>
            </a:extLst>
          </p:cNvPr>
          <p:cNvSpPr>
            <a:spLocks noGrp="1"/>
          </p:cNvSpPr>
          <p:nvPr>
            <p:custDataLst>
              <p:tags r:id="rId34"/>
            </p:custDataLst>
          </p:nvPr>
        </p:nvSpPr>
        <p:spPr bwMode="auto">
          <a:xfrm>
            <a:off x="9104313" y="5240338"/>
            <a:ext cx="53657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rmAutofit/>
          </a:bodyPr>
          <a:lstStyle>
            <a:lvl1pPr marL="234939" indent="-234939" algn="l" defTabSz="914354" rtl="0" eaLnBrk="1" latinLnBrk="0" hangingPunct="1">
              <a:lnSpc>
                <a:spcPct val="113000"/>
              </a:lnSpc>
              <a:spcBef>
                <a:spcPts val="1600"/>
              </a:spcBef>
              <a:buClr>
                <a:schemeClr val="tx1"/>
              </a:buClr>
              <a:buFont typeface="Arial" panose="020B0604020202020204" pitchFamily="34" charset="0"/>
              <a:buChar char="•"/>
              <a:defRPr sz="1867" kern="1200">
                <a:solidFill>
                  <a:schemeClr val="tx1"/>
                </a:solidFill>
                <a:latin typeface="+mn-lt"/>
                <a:ea typeface="+mn-ea"/>
                <a:cs typeface="+mn-cs"/>
              </a:defRPr>
            </a:lvl1pPr>
            <a:lvl2pPr marL="480460"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2pPr>
            <a:lvl3pPr marL="71539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3pPr>
            <a:lvl4pPr marL="960919"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4pPr>
            <a:lvl5pPr marL="119585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B868D0D-8BFA-4C34-B6BB-C044402ACCE7}" type="datetime'''''''Hi''g''h F''''''ib''re ''''''Y''og''h''''''ur''t'''''">
              <a:rPr lang="nl-NL" altLang="en-US" sz="800" smtClean="0"/>
              <a:pPr marL="0" lvl="0" indent="0" algn="ctr">
                <a:spcBef>
                  <a:spcPct val="0"/>
                </a:spcBef>
                <a:spcAft>
                  <a:spcPct val="0"/>
                </a:spcAft>
                <a:buNone/>
              </a:pPr>
              <a:t>High Fibre Yoghurt</a:t>
            </a:fld>
            <a:endParaRPr lang="nl-NL" sz="800"/>
          </a:p>
        </p:txBody>
      </p:sp>
      <p:sp>
        <p:nvSpPr>
          <p:cNvPr id="261" name="Text Placeholder 2">
            <a:extLst>
              <a:ext uri="{FF2B5EF4-FFF2-40B4-BE49-F238E27FC236}">
                <a16:creationId xmlns:a16="http://schemas.microsoft.com/office/drawing/2014/main" id="{C9A24055-4EE0-2E68-4E79-B4D208A843F7}"/>
              </a:ext>
            </a:extLst>
          </p:cNvPr>
          <p:cNvSpPr>
            <a:spLocks noGrp="1"/>
          </p:cNvSpPr>
          <p:nvPr>
            <p:custDataLst>
              <p:tags r:id="rId35"/>
            </p:custDataLst>
          </p:nvPr>
        </p:nvSpPr>
        <p:spPr bwMode="auto">
          <a:xfrm>
            <a:off x="9920288" y="5240338"/>
            <a:ext cx="642938"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rmAutofit/>
          </a:bodyPr>
          <a:lstStyle>
            <a:lvl1pPr marL="234939" indent="-234939" algn="l" defTabSz="914354" rtl="0" eaLnBrk="1" latinLnBrk="0" hangingPunct="1">
              <a:lnSpc>
                <a:spcPct val="113000"/>
              </a:lnSpc>
              <a:spcBef>
                <a:spcPts val="1600"/>
              </a:spcBef>
              <a:buClr>
                <a:schemeClr val="tx1"/>
              </a:buClr>
              <a:buFont typeface="Arial" panose="020B0604020202020204" pitchFamily="34" charset="0"/>
              <a:buChar char="•"/>
              <a:defRPr sz="1867" kern="1200">
                <a:solidFill>
                  <a:schemeClr val="tx1"/>
                </a:solidFill>
                <a:latin typeface="+mn-lt"/>
                <a:ea typeface="+mn-ea"/>
                <a:cs typeface="+mn-cs"/>
              </a:defRPr>
            </a:lvl1pPr>
            <a:lvl2pPr marL="480460"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2pPr>
            <a:lvl3pPr marL="71539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3pPr>
            <a:lvl4pPr marL="960919"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4pPr>
            <a:lvl5pPr marL="119585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6FB8706-788C-48D8-8FD4-70429221C368}" type="datetime'H''igh'' P''ro''te''''''in'' Y''''''oghur''''t'''">
              <a:rPr lang="nl-NL" altLang="en-US" sz="800" smtClean="0"/>
              <a:pPr marL="0" lvl="0" indent="0" algn="ctr">
                <a:spcBef>
                  <a:spcPct val="0"/>
                </a:spcBef>
                <a:spcAft>
                  <a:spcPct val="0"/>
                </a:spcAft>
                <a:buNone/>
              </a:pPr>
              <a:t>High Protein Yoghurt</a:t>
            </a:fld>
            <a:endParaRPr lang="nl-NL" sz="800"/>
          </a:p>
        </p:txBody>
      </p:sp>
      <p:sp>
        <p:nvSpPr>
          <p:cNvPr id="262" name="Text Placeholder 2">
            <a:extLst>
              <a:ext uri="{FF2B5EF4-FFF2-40B4-BE49-F238E27FC236}">
                <a16:creationId xmlns:a16="http://schemas.microsoft.com/office/drawing/2014/main" id="{313651AF-9653-917E-7776-8A57BD3057D4}"/>
              </a:ext>
            </a:extLst>
          </p:cNvPr>
          <p:cNvSpPr>
            <a:spLocks noGrp="1"/>
          </p:cNvSpPr>
          <p:nvPr>
            <p:custDataLst>
              <p:tags r:id="rId36"/>
            </p:custDataLst>
          </p:nvPr>
        </p:nvSpPr>
        <p:spPr bwMode="auto">
          <a:xfrm>
            <a:off x="10880725" y="5240338"/>
            <a:ext cx="454025" cy="276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rmAutofit/>
          </a:bodyPr>
          <a:lstStyle>
            <a:lvl1pPr marL="234939" indent="-234939" algn="l" defTabSz="914354" rtl="0" eaLnBrk="1" latinLnBrk="0" hangingPunct="1">
              <a:lnSpc>
                <a:spcPct val="113000"/>
              </a:lnSpc>
              <a:spcBef>
                <a:spcPts val="1600"/>
              </a:spcBef>
              <a:buClr>
                <a:schemeClr val="tx1"/>
              </a:buClr>
              <a:buFont typeface="Arial" panose="020B0604020202020204" pitchFamily="34" charset="0"/>
              <a:buChar char="•"/>
              <a:defRPr sz="1867" kern="1200">
                <a:solidFill>
                  <a:schemeClr val="tx1"/>
                </a:solidFill>
                <a:latin typeface="+mn-lt"/>
                <a:ea typeface="+mn-ea"/>
                <a:cs typeface="+mn-cs"/>
              </a:defRPr>
            </a:lvl1pPr>
            <a:lvl2pPr marL="480460"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2pPr>
            <a:lvl3pPr marL="71539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3pPr>
            <a:lvl4pPr marL="960919"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4pPr>
            <a:lvl5pPr marL="119585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9BC836E-AA16-46C9-8D25-CE3E86619D4A}" type="datetime'P''''r''o''''b''i''ot''''''''i''c'' Y''''''o''g''''h''ur''t'">
              <a:rPr lang="nl-NL" altLang="en-US" sz="800" smtClean="0"/>
              <a:pPr marL="0" lvl="0" indent="0" algn="ctr">
                <a:spcBef>
                  <a:spcPct val="0"/>
                </a:spcBef>
                <a:spcAft>
                  <a:spcPct val="0"/>
                </a:spcAft>
                <a:buNone/>
              </a:pPr>
              <a:t>Probiotic Yoghurt</a:t>
            </a:fld>
            <a:endParaRPr lang="nl-NL" sz="800"/>
          </a:p>
        </p:txBody>
      </p:sp>
      <p:sp>
        <p:nvSpPr>
          <p:cNvPr id="272" name="Text Placeholder 2">
            <a:extLst>
              <a:ext uri="{FF2B5EF4-FFF2-40B4-BE49-F238E27FC236}">
                <a16:creationId xmlns:a16="http://schemas.microsoft.com/office/drawing/2014/main" id="{47BEC99A-997E-700B-4513-E4F2C89502BE}"/>
              </a:ext>
            </a:extLst>
          </p:cNvPr>
          <p:cNvSpPr>
            <a:spLocks noGrp="1"/>
          </p:cNvSpPr>
          <p:nvPr>
            <p:custDataLst>
              <p:tags r:id="rId37"/>
            </p:custDataLst>
          </p:nvPr>
        </p:nvSpPr>
        <p:spPr bwMode="gray">
          <a:xfrm>
            <a:off x="7540625" y="4667250"/>
            <a:ext cx="195263" cy="1381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rmAutofit/>
          </a:bodyPr>
          <a:lstStyle>
            <a:lvl1pPr marL="234939" indent="-234939" algn="l" defTabSz="914354" rtl="0" eaLnBrk="1" latinLnBrk="0" hangingPunct="1">
              <a:lnSpc>
                <a:spcPct val="113000"/>
              </a:lnSpc>
              <a:spcBef>
                <a:spcPts val="1600"/>
              </a:spcBef>
              <a:buClr>
                <a:schemeClr val="tx1"/>
              </a:buClr>
              <a:buFont typeface="Arial" panose="020B0604020202020204" pitchFamily="34" charset="0"/>
              <a:buChar char="•"/>
              <a:defRPr sz="1867" kern="1200">
                <a:solidFill>
                  <a:schemeClr val="tx1"/>
                </a:solidFill>
                <a:latin typeface="+mn-lt"/>
                <a:ea typeface="+mn-ea"/>
                <a:cs typeface="+mn-cs"/>
              </a:defRPr>
            </a:lvl1pPr>
            <a:lvl2pPr marL="480460"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2pPr>
            <a:lvl3pPr marL="71539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3pPr>
            <a:lvl4pPr marL="960919"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4pPr>
            <a:lvl5pPr marL="119585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5CCD3F6-3D53-40D2-AF2C-219915C042E9}" type="datetime'''''''''''''''''1'''''''''',''''''''''''5'''''''">
              <a:rPr lang="nl-NL" altLang="en-US" sz="800" smtClean="0">
                <a:effectLst/>
              </a:rPr>
              <a:pPr marL="0" lvl="0" indent="0" algn="ctr">
                <a:spcBef>
                  <a:spcPct val="0"/>
                </a:spcBef>
                <a:spcAft>
                  <a:spcPct val="0"/>
                </a:spcAft>
                <a:buNone/>
              </a:pPr>
              <a:t>1,5</a:t>
            </a:fld>
            <a:endParaRPr lang="nl-NL" sz="800"/>
          </a:p>
        </p:txBody>
      </p:sp>
      <p:sp>
        <p:nvSpPr>
          <p:cNvPr id="273" name="Text Placeholder 2">
            <a:extLst>
              <a:ext uri="{FF2B5EF4-FFF2-40B4-BE49-F238E27FC236}">
                <a16:creationId xmlns:a16="http://schemas.microsoft.com/office/drawing/2014/main" id="{FF1B6744-8F8A-90C2-1E8C-17D9206468C0}"/>
              </a:ext>
            </a:extLst>
          </p:cNvPr>
          <p:cNvSpPr>
            <a:spLocks noGrp="1"/>
          </p:cNvSpPr>
          <p:nvPr>
            <p:custDataLst>
              <p:tags r:id="rId38"/>
            </p:custDataLst>
          </p:nvPr>
        </p:nvSpPr>
        <p:spPr bwMode="gray">
          <a:xfrm>
            <a:off x="8408988" y="4097338"/>
            <a:ext cx="195263" cy="1381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rmAutofit/>
          </a:bodyPr>
          <a:lstStyle>
            <a:lvl1pPr marL="234939" indent="-234939" algn="l" defTabSz="914354" rtl="0" eaLnBrk="1" latinLnBrk="0" hangingPunct="1">
              <a:lnSpc>
                <a:spcPct val="113000"/>
              </a:lnSpc>
              <a:spcBef>
                <a:spcPts val="1600"/>
              </a:spcBef>
              <a:buClr>
                <a:schemeClr val="tx1"/>
              </a:buClr>
              <a:buFont typeface="Arial" panose="020B0604020202020204" pitchFamily="34" charset="0"/>
              <a:buChar char="•"/>
              <a:defRPr sz="1867" kern="1200">
                <a:solidFill>
                  <a:schemeClr val="tx1"/>
                </a:solidFill>
                <a:latin typeface="+mn-lt"/>
                <a:ea typeface="+mn-ea"/>
                <a:cs typeface="+mn-cs"/>
              </a:defRPr>
            </a:lvl1pPr>
            <a:lvl2pPr marL="480460"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2pPr>
            <a:lvl3pPr marL="71539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3pPr>
            <a:lvl4pPr marL="960919"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4pPr>
            <a:lvl5pPr marL="119585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A7BC56D-3C45-46D3-A5BA-10BECDA5BE05}" type="datetime'''3'''''''''''',9'''''''''''''''''''''''''''''''''''">
              <a:rPr lang="nl-NL" altLang="en-US" sz="800" smtClean="0">
                <a:effectLst/>
              </a:rPr>
              <a:pPr marL="0" lvl="0" indent="0" algn="ctr">
                <a:spcBef>
                  <a:spcPct val="0"/>
                </a:spcBef>
                <a:spcAft>
                  <a:spcPct val="0"/>
                </a:spcAft>
                <a:buNone/>
              </a:pPr>
              <a:t>3,9</a:t>
            </a:fld>
            <a:endParaRPr lang="nl-NL" sz="800"/>
          </a:p>
        </p:txBody>
      </p:sp>
      <p:sp>
        <p:nvSpPr>
          <p:cNvPr id="274" name="Text Placeholder 2">
            <a:extLst>
              <a:ext uri="{FF2B5EF4-FFF2-40B4-BE49-F238E27FC236}">
                <a16:creationId xmlns:a16="http://schemas.microsoft.com/office/drawing/2014/main" id="{F6C6E81F-11A6-DCA8-3686-1DF5D1352E3C}"/>
              </a:ext>
            </a:extLst>
          </p:cNvPr>
          <p:cNvSpPr>
            <a:spLocks noGrp="1"/>
          </p:cNvSpPr>
          <p:nvPr>
            <p:custDataLst>
              <p:tags r:id="rId39"/>
            </p:custDataLst>
          </p:nvPr>
        </p:nvSpPr>
        <p:spPr bwMode="gray">
          <a:xfrm>
            <a:off x="9275763" y="4097338"/>
            <a:ext cx="195263" cy="1381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rmAutofit/>
          </a:bodyPr>
          <a:lstStyle>
            <a:lvl1pPr marL="234939" indent="-234939" algn="l" defTabSz="914354" rtl="0" eaLnBrk="1" latinLnBrk="0" hangingPunct="1">
              <a:lnSpc>
                <a:spcPct val="113000"/>
              </a:lnSpc>
              <a:spcBef>
                <a:spcPts val="1600"/>
              </a:spcBef>
              <a:buClr>
                <a:schemeClr val="tx1"/>
              </a:buClr>
              <a:buFont typeface="Arial" panose="020B0604020202020204" pitchFamily="34" charset="0"/>
              <a:buChar char="•"/>
              <a:defRPr sz="1867" kern="1200">
                <a:solidFill>
                  <a:schemeClr val="tx1"/>
                </a:solidFill>
                <a:latin typeface="+mn-lt"/>
                <a:ea typeface="+mn-ea"/>
                <a:cs typeface="+mn-cs"/>
              </a:defRPr>
            </a:lvl1pPr>
            <a:lvl2pPr marL="480460"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2pPr>
            <a:lvl3pPr marL="71539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3pPr>
            <a:lvl4pPr marL="960919"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4pPr>
            <a:lvl5pPr marL="119585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1DA20FD-9D6D-46A9-87A6-5CACE1D2C096}" type="datetime'''''''''''''''''''''''''''''3,''''''9'''''''''''''''''">
              <a:rPr lang="nl-NL" altLang="en-US" sz="800" smtClean="0">
                <a:effectLst/>
              </a:rPr>
              <a:pPr marL="0" lvl="0" indent="0" algn="ctr">
                <a:spcBef>
                  <a:spcPct val="0"/>
                </a:spcBef>
                <a:spcAft>
                  <a:spcPct val="0"/>
                </a:spcAft>
                <a:buNone/>
              </a:pPr>
              <a:t>3,9</a:t>
            </a:fld>
            <a:endParaRPr lang="nl-NL" sz="800"/>
          </a:p>
        </p:txBody>
      </p:sp>
      <p:sp>
        <p:nvSpPr>
          <p:cNvPr id="275" name="Text Placeholder 2">
            <a:extLst>
              <a:ext uri="{FF2B5EF4-FFF2-40B4-BE49-F238E27FC236}">
                <a16:creationId xmlns:a16="http://schemas.microsoft.com/office/drawing/2014/main" id="{BE720675-861A-C2C9-D88E-107BCAF0664D}"/>
              </a:ext>
            </a:extLst>
          </p:cNvPr>
          <p:cNvSpPr>
            <a:spLocks noGrp="1"/>
          </p:cNvSpPr>
          <p:nvPr>
            <p:custDataLst>
              <p:tags r:id="rId40"/>
            </p:custDataLst>
          </p:nvPr>
        </p:nvSpPr>
        <p:spPr bwMode="gray">
          <a:xfrm>
            <a:off x="10144125" y="4216400"/>
            <a:ext cx="195263" cy="1381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rmAutofit/>
          </a:bodyPr>
          <a:lstStyle>
            <a:lvl1pPr marL="234939" indent="-234939" algn="l" defTabSz="914354" rtl="0" eaLnBrk="1" latinLnBrk="0" hangingPunct="1">
              <a:lnSpc>
                <a:spcPct val="113000"/>
              </a:lnSpc>
              <a:spcBef>
                <a:spcPts val="1600"/>
              </a:spcBef>
              <a:buClr>
                <a:schemeClr val="tx1"/>
              </a:buClr>
              <a:buFont typeface="Arial" panose="020B0604020202020204" pitchFamily="34" charset="0"/>
              <a:buChar char="•"/>
              <a:defRPr sz="1867" kern="1200">
                <a:solidFill>
                  <a:schemeClr val="tx1"/>
                </a:solidFill>
                <a:latin typeface="+mn-lt"/>
                <a:ea typeface="+mn-ea"/>
                <a:cs typeface="+mn-cs"/>
              </a:defRPr>
            </a:lvl1pPr>
            <a:lvl2pPr marL="480460"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2pPr>
            <a:lvl3pPr marL="71539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3pPr>
            <a:lvl4pPr marL="960919"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4pPr>
            <a:lvl5pPr marL="119585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906F1FF-22E7-4D0A-B714-DC09F30037A2}" type="datetime'3'''''''''''''''''''''''''''''''',''''''4'''''''''''''''''">
              <a:rPr lang="nl-NL" altLang="en-US" sz="800" smtClean="0">
                <a:effectLst/>
              </a:rPr>
              <a:pPr marL="0" lvl="0" indent="0" algn="ctr">
                <a:spcBef>
                  <a:spcPct val="0"/>
                </a:spcBef>
                <a:spcAft>
                  <a:spcPct val="0"/>
                </a:spcAft>
                <a:buNone/>
              </a:pPr>
              <a:t>3,4</a:t>
            </a:fld>
            <a:endParaRPr lang="nl-NL" sz="800"/>
          </a:p>
        </p:txBody>
      </p:sp>
      <p:sp>
        <p:nvSpPr>
          <p:cNvPr id="276" name="Text Placeholder 2">
            <a:extLst>
              <a:ext uri="{FF2B5EF4-FFF2-40B4-BE49-F238E27FC236}">
                <a16:creationId xmlns:a16="http://schemas.microsoft.com/office/drawing/2014/main" id="{6177C73E-B62F-64C8-0DDB-26701182769C}"/>
              </a:ext>
            </a:extLst>
          </p:cNvPr>
          <p:cNvSpPr>
            <a:spLocks noGrp="1"/>
          </p:cNvSpPr>
          <p:nvPr>
            <p:custDataLst>
              <p:tags r:id="rId41"/>
            </p:custDataLst>
          </p:nvPr>
        </p:nvSpPr>
        <p:spPr bwMode="gray">
          <a:xfrm>
            <a:off x="11010900" y="4348163"/>
            <a:ext cx="195263" cy="1381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rmAutofit/>
          </a:bodyPr>
          <a:lstStyle>
            <a:lvl1pPr marL="234939" indent="-234939" algn="l" defTabSz="914354" rtl="0" eaLnBrk="1" latinLnBrk="0" hangingPunct="1">
              <a:lnSpc>
                <a:spcPct val="113000"/>
              </a:lnSpc>
              <a:spcBef>
                <a:spcPts val="1600"/>
              </a:spcBef>
              <a:buClr>
                <a:schemeClr val="tx1"/>
              </a:buClr>
              <a:buFont typeface="Arial" panose="020B0604020202020204" pitchFamily="34" charset="0"/>
              <a:buChar char="•"/>
              <a:defRPr sz="1867" kern="1200">
                <a:solidFill>
                  <a:schemeClr val="tx1"/>
                </a:solidFill>
                <a:latin typeface="+mn-lt"/>
                <a:ea typeface="+mn-ea"/>
                <a:cs typeface="+mn-cs"/>
              </a:defRPr>
            </a:lvl1pPr>
            <a:lvl2pPr marL="480460"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2pPr>
            <a:lvl3pPr marL="71539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3pPr>
            <a:lvl4pPr marL="960919"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4pPr>
            <a:lvl5pPr marL="119585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68ACD6E-ACA9-4A8C-8625-539E13946016}" type="datetime'2'''''',8'''''''''''''''''''">
              <a:rPr lang="nl-NL" altLang="en-US" sz="800" smtClean="0">
                <a:effectLst/>
              </a:rPr>
              <a:pPr marL="0" lvl="0" indent="0" algn="ctr">
                <a:spcBef>
                  <a:spcPct val="0"/>
                </a:spcBef>
                <a:spcAft>
                  <a:spcPct val="0"/>
                </a:spcAft>
                <a:buNone/>
              </a:pPr>
              <a:t>2,8</a:t>
            </a:fld>
            <a:endParaRPr lang="nl-NL" sz="800"/>
          </a:p>
        </p:txBody>
      </p:sp>
      <p:cxnSp>
        <p:nvCxnSpPr>
          <p:cNvPr id="279" name="Straight Connector 278">
            <a:extLst>
              <a:ext uri="{FF2B5EF4-FFF2-40B4-BE49-F238E27FC236}">
                <a16:creationId xmlns:a16="http://schemas.microsoft.com/office/drawing/2014/main" id="{3E2528B3-D133-EB04-0470-6E42B306D094}"/>
              </a:ext>
            </a:extLst>
          </p:cNvPr>
          <p:cNvCxnSpPr/>
          <p:nvPr/>
        </p:nvCxnSpPr>
        <p:spPr>
          <a:xfrm>
            <a:off x="7298422" y="4732090"/>
            <a:ext cx="4420998" cy="0"/>
          </a:xfrm>
          <a:prstGeom prst="line">
            <a:avLst/>
          </a:prstGeom>
        </p:spPr>
        <p:style>
          <a:lnRef idx="1">
            <a:schemeClr val="accent1"/>
          </a:lnRef>
          <a:fillRef idx="0">
            <a:schemeClr val="accent1"/>
          </a:fillRef>
          <a:effectRef idx="0">
            <a:schemeClr val="accent1"/>
          </a:effectRef>
          <a:fontRef idx="minor">
            <a:schemeClr val="tx1"/>
          </a:fontRef>
        </p:style>
      </p:cxnSp>
      <p:sp>
        <p:nvSpPr>
          <p:cNvPr id="280" name="TextBox 279">
            <a:extLst>
              <a:ext uri="{FF2B5EF4-FFF2-40B4-BE49-F238E27FC236}">
                <a16:creationId xmlns:a16="http://schemas.microsoft.com/office/drawing/2014/main" id="{C2352DB9-503F-5B4E-BFD8-77ABF5BA1D8C}"/>
              </a:ext>
            </a:extLst>
          </p:cNvPr>
          <p:cNvSpPr txBox="1"/>
          <p:nvPr/>
        </p:nvSpPr>
        <p:spPr>
          <a:xfrm>
            <a:off x="8175489" y="3821922"/>
            <a:ext cx="2741648" cy="218265"/>
          </a:xfrm>
          <a:prstGeom prst="rect">
            <a:avLst/>
          </a:prstGeom>
          <a:noFill/>
        </p:spPr>
        <p:txBody>
          <a:bodyPr wrap="none" lIns="0" tIns="0" rIns="0" bIns="0" rtlCol="0">
            <a:normAutofit/>
          </a:bodyPr>
          <a:lstStyle/>
          <a:p>
            <a:pPr algn="l">
              <a:lnSpc>
                <a:spcPct val="112000"/>
              </a:lnSpc>
            </a:pPr>
            <a:r>
              <a:t>Average price per KG (in EUR)</a:t>
            </a:r>
            <a:br/>
            <a:r>
              <a:t>平均价格（每公斤，欧元）</a:t>
            </a:r>
            <a:endParaRPr lang="nl-NL" sz="1400"/>
          </a:p>
        </p:txBody>
      </p:sp>
      <p:sp>
        <p:nvSpPr>
          <p:cNvPr id="281" name="TextBox 280">
            <a:extLst>
              <a:ext uri="{FF2B5EF4-FFF2-40B4-BE49-F238E27FC236}">
                <a16:creationId xmlns:a16="http://schemas.microsoft.com/office/drawing/2014/main" id="{FB0F0D0C-9778-9492-706F-9440445E8210}"/>
              </a:ext>
            </a:extLst>
          </p:cNvPr>
          <p:cNvSpPr txBox="1"/>
          <p:nvPr/>
        </p:nvSpPr>
        <p:spPr>
          <a:xfrm>
            <a:off x="11496626" y="4435385"/>
            <a:ext cx="641199" cy="450508"/>
          </a:xfrm>
          <a:prstGeom prst="rect">
            <a:avLst/>
          </a:prstGeom>
          <a:noFill/>
        </p:spPr>
        <p:txBody>
          <a:bodyPr wrap="square" lIns="0" tIns="0" rIns="0" bIns="0" rtlCol="0">
            <a:normAutofit/>
          </a:bodyPr>
          <a:lstStyle/>
          <a:p>
            <a:pPr algn="l">
              <a:lnSpc>
                <a:spcPct val="112000"/>
              </a:lnSpc>
            </a:pPr>
            <a:r>
              <a:t>1.8= ave. €/kg total yoghurt</a:t>
            </a:r>
            <a:br/>
            <a:r>
              <a:t>1.8 = 平均每公斤酸奶的总价格（欧元）</a:t>
            </a:r>
          </a:p>
        </p:txBody>
      </p:sp>
      <p:cxnSp>
        <p:nvCxnSpPr>
          <p:cNvPr id="291" name="Straight Connector 290">
            <a:extLst>
              <a:ext uri="{FF2B5EF4-FFF2-40B4-BE49-F238E27FC236}">
                <a16:creationId xmlns:a16="http://schemas.microsoft.com/office/drawing/2014/main" id="{E8D4BEB3-130F-4E65-A48A-273757DBF254}"/>
              </a:ext>
            </a:extLst>
          </p:cNvPr>
          <p:cNvCxnSpPr>
            <a:cxnSpLocks/>
          </p:cNvCxnSpPr>
          <p:nvPr/>
        </p:nvCxnSpPr>
        <p:spPr>
          <a:xfrm flipV="1">
            <a:off x="6151563" y="1585184"/>
            <a:ext cx="442184" cy="1770412"/>
          </a:xfrm>
          <a:prstGeom prst="line">
            <a:avLst/>
          </a:prstGeom>
        </p:spPr>
        <p:style>
          <a:lnRef idx="1">
            <a:schemeClr val="accent5"/>
          </a:lnRef>
          <a:fillRef idx="0">
            <a:schemeClr val="accent5"/>
          </a:fillRef>
          <a:effectRef idx="0">
            <a:schemeClr val="accent5"/>
          </a:effectRef>
          <a:fontRef idx="minor">
            <a:schemeClr val="tx1"/>
          </a:fontRef>
        </p:style>
      </p:cxnSp>
      <p:cxnSp>
        <p:nvCxnSpPr>
          <p:cNvPr id="294" name="Straight Connector 293">
            <a:extLst>
              <a:ext uri="{FF2B5EF4-FFF2-40B4-BE49-F238E27FC236}">
                <a16:creationId xmlns:a16="http://schemas.microsoft.com/office/drawing/2014/main" id="{7D41743D-99A8-6413-5FEC-96FFCE36E63A}"/>
              </a:ext>
            </a:extLst>
          </p:cNvPr>
          <p:cNvCxnSpPr/>
          <p:nvPr/>
        </p:nvCxnSpPr>
        <p:spPr>
          <a:xfrm>
            <a:off x="6138863" y="5923077"/>
            <a:ext cx="454884" cy="245948"/>
          </a:xfrm>
          <a:prstGeom prst="line">
            <a:avLst/>
          </a:prstGeom>
        </p:spPr>
        <p:style>
          <a:lnRef idx="1">
            <a:schemeClr val="accent5"/>
          </a:lnRef>
          <a:fillRef idx="0">
            <a:schemeClr val="accent5"/>
          </a:fillRef>
          <a:effectRef idx="0">
            <a:schemeClr val="accent5"/>
          </a:effectRef>
          <a:fontRef idx="minor">
            <a:schemeClr val="tx1"/>
          </a:fontRef>
        </p:style>
      </p:cxnSp>
      <p:graphicFrame>
        <p:nvGraphicFramePr>
          <p:cNvPr id="37" name="Chart 36">
            <a:extLst>
              <a:ext uri="{FF2B5EF4-FFF2-40B4-BE49-F238E27FC236}">
                <a16:creationId xmlns:a16="http://schemas.microsoft.com/office/drawing/2014/main" id="{5618A05E-909D-2B79-2B84-15B2324843CC}"/>
              </a:ext>
            </a:extLst>
          </p:cNvPr>
          <p:cNvGraphicFramePr/>
          <p:nvPr>
            <p:custDataLst>
              <p:tags r:id="rId42"/>
            </p:custDataLst>
            <p:extLst>
              <p:ext uri="{D42A27DB-BD31-4B8C-83A1-F6EECF244321}">
                <p14:modId xmlns:p14="http://schemas.microsoft.com/office/powerpoint/2010/main" val="3882216474"/>
              </p:ext>
            </p:extLst>
          </p:nvPr>
        </p:nvGraphicFramePr>
        <p:xfrm>
          <a:off x="517525" y="2565400"/>
          <a:ext cx="3028950" cy="2919413"/>
        </p:xfrm>
        <a:graphic>
          <a:graphicData uri="http://schemas.openxmlformats.org/drawingml/2006/chart">
            <c:chart xmlns:c="http://schemas.openxmlformats.org/drawingml/2006/chart" xmlns:r="http://schemas.openxmlformats.org/officeDocument/2006/relationships" r:id="rId69"/>
          </a:graphicData>
        </a:graphic>
      </p:graphicFrame>
      <p:sp useBgFill="1">
        <p:nvSpPr>
          <p:cNvPr id="30" name="Freeform: Shape 29">
            <a:extLst>
              <a:ext uri="{FF2B5EF4-FFF2-40B4-BE49-F238E27FC236}">
                <a16:creationId xmlns:a16="http://schemas.microsoft.com/office/drawing/2014/main" id="{8A5C9A6E-9060-FFD1-3F45-7EC956D38F28}"/>
              </a:ext>
            </a:extLst>
          </p:cNvPr>
          <p:cNvSpPr/>
          <p:nvPr>
            <p:custDataLst>
              <p:tags r:id="rId43"/>
            </p:custDataLst>
          </p:nvPr>
        </p:nvSpPr>
        <p:spPr bwMode="auto">
          <a:xfrm>
            <a:off x="784225" y="5164138"/>
            <a:ext cx="585789" cy="214313"/>
          </a:xfrm>
          <a:custGeom>
            <a:avLst/>
            <a:gdLst/>
            <a:ahLst/>
            <a:cxnLst/>
            <a:rect l="0" t="0" r="0" b="0"/>
            <a:pathLst>
              <a:path w="585789" h="214313">
                <a:moveTo>
                  <a:pt x="0" y="157162"/>
                </a:moveTo>
                <a:lnTo>
                  <a:pt x="585788" y="0"/>
                </a:lnTo>
                <a:lnTo>
                  <a:pt x="585788" y="57150"/>
                </a:lnTo>
                <a:lnTo>
                  <a:pt x="0" y="214312"/>
                </a:lnTo>
                <a:close/>
              </a:path>
            </a:pathLst>
          </a:custGeom>
          <a:ln w="6350" cap="sq">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p>
            <a:pPr algn="ctr">
              <a:spcBef>
                <a:spcPts val="300"/>
              </a:spcBef>
              <a:spcAft>
                <a:spcPts val="300"/>
              </a:spcAft>
            </a:pPr>
            <a:endParaRPr lang="nl-NL" sz="1600" err="1">
              <a:solidFill>
                <a:schemeClr val="bg1"/>
              </a:solidFill>
            </a:endParaRPr>
          </a:p>
        </p:txBody>
      </p:sp>
      <p:sp useBgFill="1">
        <p:nvSpPr>
          <p:cNvPr id="33" name="Freeform: Shape 32">
            <a:extLst>
              <a:ext uri="{FF2B5EF4-FFF2-40B4-BE49-F238E27FC236}">
                <a16:creationId xmlns:a16="http://schemas.microsoft.com/office/drawing/2014/main" id="{A43E3A39-75CB-4532-C29A-1FC551361BF4}"/>
              </a:ext>
            </a:extLst>
          </p:cNvPr>
          <p:cNvSpPr/>
          <p:nvPr>
            <p:custDataLst>
              <p:tags r:id="rId44"/>
            </p:custDataLst>
          </p:nvPr>
        </p:nvSpPr>
        <p:spPr bwMode="auto">
          <a:xfrm>
            <a:off x="1738313" y="5164138"/>
            <a:ext cx="585788" cy="214313"/>
          </a:xfrm>
          <a:custGeom>
            <a:avLst/>
            <a:gdLst/>
            <a:ahLst/>
            <a:cxnLst/>
            <a:rect l="0" t="0" r="0" b="0"/>
            <a:pathLst>
              <a:path w="585788" h="214313">
                <a:moveTo>
                  <a:pt x="0" y="157162"/>
                </a:moveTo>
                <a:lnTo>
                  <a:pt x="585787" y="0"/>
                </a:lnTo>
                <a:lnTo>
                  <a:pt x="585787" y="57150"/>
                </a:lnTo>
                <a:lnTo>
                  <a:pt x="0" y="214312"/>
                </a:lnTo>
                <a:close/>
              </a:path>
            </a:pathLst>
          </a:custGeom>
          <a:ln w="6350" cap="sq">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p>
            <a:pPr algn="ctr">
              <a:spcBef>
                <a:spcPts val="300"/>
              </a:spcBef>
              <a:spcAft>
                <a:spcPts val="300"/>
              </a:spcAft>
            </a:pPr>
            <a:endParaRPr lang="nl-NL" sz="1600" err="1">
              <a:solidFill>
                <a:schemeClr val="bg1"/>
              </a:solidFill>
            </a:endParaRPr>
          </a:p>
        </p:txBody>
      </p:sp>
      <p:sp useBgFill="1">
        <p:nvSpPr>
          <p:cNvPr id="36" name="Freeform: Shape 35">
            <a:extLst>
              <a:ext uri="{FF2B5EF4-FFF2-40B4-BE49-F238E27FC236}">
                <a16:creationId xmlns:a16="http://schemas.microsoft.com/office/drawing/2014/main" id="{F7B35DD0-54C1-BB77-AA35-DA4CD5BCA69A}"/>
              </a:ext>
            </a:extLst>
          </p:cNvPr>
          <p:cNvSpPr/>
          <p:nvPr>
            <p:custDataLst>
              <p:tags r:id="rId45"/>
            </p:custDataLst>
          </p:nvPr>
        </p:nvSpPr>
        <p:spPr bwMode="auto">
          <a:xfrm>
            <a:off x="2693988" y="5164138"/>
            <a:ext cx="585788" cy="214313"/>
          </a:xfrm>
          <a:custGeom>
            <a:avLst/>
            <a:gdLst/>
            <a:ahLst/>
            <a:cxnLst/>
            <a:rect l="0" t="0" r="0" b="0"/>
            <a:pathLst>
              <a:path w="585788" h="214313">
                <a:moveTo>
                  <a:pt x="0" y="157162"/>
                </a:moveTo>
                <a:lnTo>
                  <a:pt x="585787" y="0"/>
                </a:lnTo>
                <a:lnTo>
                  <a:pt x="585787" y="57150"/>
                </a:lnTo>
                <a:lnTo>
                  <a:pt x="0" y="214312"/>
                </a:lnTo>
                <a:close/>
              </a:path>
            </a:pathLst>
          </a:custGeom>
          <a:ln w="6350" cap="sq">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p>
            <a:pPr algn="ctr">
              <a:spcBef>
                <a:spcPts val="300"/>
              </a:spcBef>
              <a:spcAft>
                <a:spcPts val="300"/>
              </a:spcAft>
            </a:pPr>
            <a:endParaRPr lang="nl-NL" sz="1600" err="1">
              <a:solidFill>
                <a:schemeClr val="bg1"/>
              </a:solidFill>
            </a:endParaRPr>
          </a:p>
        </p:txBody>
      </p:sp>
      <p:sp>
        <p:nvSpPr>
          <p:cNvPr id="23" name="Freeform: Shape 22">
            <a:extLst>
              <a:ext uri="{FF2B5EF4-FFF2-40B4-BE49-F238E27FC236}">
                <a16:creationId xmlns:a16="http://schemas.microsoft.com/office/drawing/2014/main" id="{0B066152-2BEF-0565-F782-CC4E8901D499}"/>
              </a:ext>
            </a:extLst>
          </p:cNvPr>
          <p:cNvSpPr/>
          <p:nvPr>
            <p:custDataLst>
              <p:tags r:id="rId46"/>
            </p:custDataLst>
          </p:nvPr>
        </p:nvSpPr>
        <p:spPr bwMode="auto">
          <a:xfrm>
            <a:off x="784225" y="5164138"/>
            <a:ext cx="585789" cy="157163"/>
          </a:xfrm>
          <a:custGeom>
            <a:avLst/>
            <a:gdLst/>
            <a:ahLst/>
            <a:cxnLst/>
            <a:rect l="0" t="0" r="0" b="0"/>
            <a:pathLst>
              <a:path w="585789" h="157163">
                <a:moveTo>
                  <a:pt x="0" y="157162"/>
                </a:moveTo>
                <a:lnTo>
                  <a:pt x="585788"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normAutofit/>
          </a:bodyPr>
          <a:lstStyle/>
          <a:p>
            <a:pPr algn="ctr"/>
            <a:endParaRPr lang="nl-NL"/>
          </a:p>
        </p:txBody>
      </p:sp>
      <p:sp>
        <p:nvSpPr>
          <p:cNvPr id="24" name="Freeform: Shape 23">
            <a:extLst>
              <a:ext uri="{FF2B5EF4-FFF2-40B4-BE49-F238E27FC236}">
                <a16:creationId xmlns:a16="http://schemas.microsoft.com/office/drawing/2014/main" id="{35924B06-CDBD-7FFE-602B-A7D76EDCE6AA}"/>
              </a:ext>
            </a:extLst>
          </p:cNvPr>
          <p:cNvSpPr/>
          <p:nvPr>
            <p:custDataLst>
              <p:tags r:id="rId47"/>
            </p:custDataLst>
          </p:nvPr>
        </p:nvSpPr>
        <p:spPr bwMode="auto">
          <a:xfrm>
            <a:off x="784225" y="5221288"/>
            <a:ext cx="585789" cy="157163"/>
          </a:xfrm>
          <a:custGeom>
            <a:avLst/>
            <a:gdLst/>
            <a:ahLst/>
            <a:cxnLst/>
            <a:rect l="0" t="0" r="0" b="0"/>
            <a:pathLst>
              <a:path w="585789" h="157163">
                <a:moveTo>
                  <a:pt x="0" y="157162"/>
                </a:moveTo>
                <a:lnTo>
                  <a:pt x="585788"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normAutofit/>
          </a:bodyPr>
          <a:lstStyle/>
          <a:p>
            <a:pPr algn="ctr"/>
            <a:endParaRPr lang="nl-NL"/>
          </a:p>
        </p:txBody>
      </p:sp>
      <p:sp>
        <p:nvSpPr>
          <p:cNvPr id="31" name="Freeform: Shape 30">
            <a:extLst>
              <a:ext uri="{FF2B5EF4-FFF2-40B4-BE49-F238E27FC236}">
                <a16:creationId xmlns:a16="http://schemas.microsoft.com/office/drawing/2014/main" id="{59489CD6-C8A2-1DF6-7F60-114AAAD63AB8}"/>
              </a:ext>
            </a:extLst>
          </p:cNvPr>
          <p:cNvSpPr/>
          <p:nvPr>
            <p:custDataLst>
              <p:tags r:id="rId48"/>
            </p:custDataLst>
          </p:nvPr>
        </p:nvSpPr>
        <p:spPr bwMode="auto">
          <a:xfrm>
            <a:off x="1738313" y="5164138"/>
            <a:ext cx="585788" cy="157163"/>
          </a:xfrm>
          <a:custGeom>
            <a:avLst/>
            <a:gdLst/>
            <a:ahLst/>
            <a:cxnLst/>
            <a:rect l="0" t="0" r="0" b="0"/>
            <a:pathLst>
              <a:path w="585788" h="157163">
                <a:moveTo>
                  <a:pt x="0" y="157162"/>
                </a:moveTo>
                <a:lnTo>
                  <a:pt x="585787"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normAutofit/>
          </a:bodyPr>
          <a:lstStyle/>
          <a:p>
            <a:pPr algn="ctr"/>
            <a:endParaRPr lang="nl-NL"/>
          </a:p>
        </p:txBody>
      </p:sp>
      <p:sp>
        <p:nvSpPr>
          <p:cNvPr id="32" name="Freeform: Shape 31">
            <a:extLst>
              <a:ext uri="{FF2B5EF4-FFF2-40B4-BE49-F238E27FC236}">
                <a16:creationId xmlns:a16="http://schemas.microsoft.com/office/drawing/2014/main" id="{E8CBDE15-FFC1-8F26-970E-E412D4734C33}"/>
              </a:ext>
            </a:extLst>
          </p:cNvPr>
          <p:cNvSpPr/>
          <p:nvPr>
            <p:custDataLst>
              <p:tags r:id="rId49"/>
            </p:custDataLst>
          </p:nvPr>
        </p:nvSpPr>
        <p:spPr bwMode="auto">
          <a:xfrm>
            <a:off x="1738313" y="5221288"/>
            <a:ext cx="585788" cy="157163"/>
          </a:xfrm>
          <a:custGeom>
            <a:avLst/>
            <a:gdLst/>
            <a:ahLst/>
            <a:cxnLst/>
            <a:rect l="0" t="0" r="0" b="0"/>
            <a:pathLst>
              <a:path w="585788" h="157163">
                <a:moveTo>
                  <a:pt x="0" y="157162"/>
                </a:moveTo>
                <a:lnTo>
                  <a:pt x="585787"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normAutofit/>
          </a:bodyPr>
          <a:lstStyle/>
          <a:p>
            <a:pPr algn="ctr"/>
            <a:endParaRPr lang="nl-NL"/>
          </a:p>
        </p:txBody>
      </p:sp>
      <p:sp>
        <p:nvSpPr>
          <p:cNvPr id="34" name="Freeform: Shape 33">
            <a:extLst>
              <a:ext uri="{FF2B5EF4-FFF2-40B4-BE49-F238E27FC236}">
                <a16:creationId xmlns:a16="http://schemas.microsoft.com/office/drawing/2014/main" id="{3BB324D0-4759-A198-6B51-1E3099A5CDB0}"/>
              </a:ext>
            </a:extLst>
          </p:cNvPr>
          <p:cNvSpPr/>
          <p:nvPr>
            <p:custDataLst>
              <p:tags r:id="rId50"/>
            </p:custDataLst>
          </p:nvPr>
        </p:nvSpPr>
        <p:spPr bwMode="auto">
          <a:xfrm>
            <a:off x="2693988" y="5164138"/>
            <a:ext cx="585788" cy="157163"/>
          </a:xfrm>
          <a:custGeom>
            <a:avLst/>
            <a:gdLst/>
            <a:ahLst/>
            <a:cxnLst/>
            <a:rect l="0" t="0" r="0" b="0"/>
            <a:pathLst>
              <a:path w="585788" h="157163">
                <a:moveTo>
                  <a:pt x="0" y="157162"/>
                </a:moveTo>
                <a:lnTo>
                  <a:pt x="585787"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normAutofit/>
          </a:bodyPr>
          <a:lstStyle/>
          <a:p>
            <a:pPr algn="ctr"/>
            <a:endParaRPr lang="nl-NL"/>
          </a:p>
        </p:txBody>
      </p:sp>
      <p:sp>
        <p:nvSpPr>
          <p:cNvPr id="35" name="Freeform: Shape 34">
            <a:extLst>
              <a:ext uri="{FF2B5EF4-FFF2-40B4-BE49-F238E27FC236}">
                <a16:creationId xmlns:a16="http://schemas.microsoft.com/office/drawing/2014/main" id="{47882521-60D2-4308-4C05-85F222633234}"/>
              </a:ext>
            </a:extLst>
          </p:cNvPr>
          <p:cNvSpPr/>
          <p:nvPr>
            <p:custDataLst>
              <p:tags r:id="rId51"/>
            </p:custDataLst>
          </p:nvPr>
        </p:nvSpPr>
        <p:spPr bwMode="auto">
          <a:xfrm>
            <a:off x="2693988" y="5221288"/>
            <a:ext cx="585788" cy="157163"/>
          </a:xfrm>
          <a:custGeom>
            <a:avLst/>
            <a:gdLst/>
            <a:ahLst/>
            <a:cxnLst/>
            <a:rect l="0" t="0" r="0" b="0"/>
            <a:pathLst>
              <a:path w="585788" h="157163">
                <a:moveTo>
                  <a:pt x="0" y="157162"/>
                </a:moveTo>
                <a:lnTo>
                  <a:pt x="585787"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normAutofit/>
          </a:bodyPr>
          <a:lstStyle/>
          <a:p>
            <a:pPr algn="ctr"/>
            <a:endParaRPr lang="nl-NL"/>
          </a:p>
        </p:txBody>
      </p:sp>
      <p:sp>
        <p:nvSpPr>
          <p:cNvPr id="6" name="Text Placeholder 2">
            <a:extLst>
              <a:ext uri="{FF2B5EF4-FFF2-40B4-BE49-F238E27FC236}">
                <a16:creationId xmlns:a16="http://schemas.microsoft.com/office/drawing/2014/main" id="{D49CDC07-368C-B025-5245-66CE6288C2D3}"/>
              </a:ext>
            </a:extLst>
          </p:cNvPr>
          <p:cNvSpPr>
            <a:spLocks noGrp="1"/>
          </p:cNvSpPr>
          <p:nvPr>
            <p:custDataLst>
              <p:tags r:id="rId52"/>
            </p:custDataLst>
          </p:nvPr>
        </p:nvSpPr>
        <p:spPr bwMode="auto">
          <a:xfrm>
            <a:off x="668338" y="5435600"/>
            <a:ext cx="815975" cy="1381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rmAutofit/>
          </a:bodyPr>
          <a:lstStyle>
            <a:lvl1pPr marL="234939" indent="-234939" algn="l" defTabSz="914354" rtl="0" eaLnBrk="1" latinLnBrk="0" hangingPunct="1">
              <a:lnSpc>
                <a:spcPct val="113000"/>
              </a:lnSpc>
              <a:spcBef>
                <a:spcPts val="1600"/>
              </a:spcBef>
              <a:buClr>
                <a:schemeClr val="tx1"/>
              </a:buClr>
              <a:buFont typeface="Arial" panose="020B0604020202020204" pitchFamily="34" charset="0"/>
              <a:buChar char="•"/>
              <a:defRPr sz="1867" kern="1200">
                <a:solidFill>
                  <a:schemeClr val="tx1"/>
                </a:solidFill>
                <a:latin typeface="+mn-lt"/>
                <a:ea typeface="+mn-ea"/>
                <a:cs typeface="+mn-cs"/>
              </a:defRPr>
            </a:lvl1pPr>
            <a:lvl2pPr marL="480460"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2pPr>
            <a:lvl3pPr marL="71539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3pPr>
            <a:lvl4pPr marL="960919"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4pPr>
            <a:lvl5pPr marL="119585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t>Drinking Yogurt</a:t>
            </a:r>
            <a:br/>
            <a:r>
              <a:t>饮用型酸奶</a:t>
            </a:r>
            <a:endParaRPr lang="en-US" sz="800"/>
          </a:p>
        </p:txBody>
      </p:sp>
      <p:sp>
        <p:nvSpPr>
          <p:cNvPr id="7" name="Text Placeholder 2">
            <a:extLst>
              <a:ext uri="{FF2B5EF4-FFF2-40B4-BE49-F238E27FC236}">
                <a16:creationId xmlns:a16="http://schemas.microsoft.com/office/drawing/2014/main" id="{90D03CC1-5E1F-FBB0-B19C-4F03D3DDF4E3}"/>
              </a:ext>
            </a:extLst>
          </p:cNvPr>
          <p:cNvSpPr>
            <a:spLocks noGrp="1"/>
          </p:cNvSpPr>
          <p:nvPr>
            <p:custDataLst>
              <p:tags r:id="rId53"/>
            </p:custDataLst>
          </p:nvPr>
        </p:nvSpPr>
        <p:spPr bwMode="auto">
          <a:xfrm>
            <a:off x="1571625" y="5435600"/>
            <a:ext cx="919163" cy="1381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rmAutofit/>
          </a:bodyPr>
          <a:lstStyle>
            <a:lvl1pPr marL="234939" indent="-234939" algn="l" defTabSz="914354" rtl="0" eaLnBrk="1" latinLnBrk="0" hangingPunct="1">
              <a:lnSpc>
                <a:spcPct val="113000"/>
              </a:lnSpc>
              <a:spcBef>
                <a:spcPts val="1600"/>
              </a:spcBef>
              <a:buClr>
                <a:schemeClr val="tx1"/>
              </a:buClr>
              <a:buFont typeface="Arial" panose="020B0604020202020204" pitchFamily="34" charset="0"/>
              <a:buChar char="•"/>
              <a:defRPr sz="1867" kern="1200">
                <a:solidFill>
                  <a:schemeClr val="tx1"/>
                </a:solidFill>
                <a:latin typeface="+mn-lt"/>
                <a:ea typeface="+mn-ea"/>
                <a:cs typeface="+mn-cs"/>
              </a:defRPr>
            </a:lvl1pPr>
            <a:lvl2pPr marL="480460"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2pPr>
            <a:lvl3pPr marL="71539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3pPr>
            <a:lvl4pPr marL="960919"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4pPr>
            <a:lvl5pPr marL="119585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t>Spoonable Yogurt</a:t>
            </a:r>
            <a:br/>
            <a:r>
              <a:t>勺食型酸奶</a:t>
            </a:r>
            <a:endParaRPr lang="en-US" sz="800"/>
          </a:p>
        </p:txBody>
      </p:sp>
      <p:sp>
        <p:nvSpPr>
          <p:cNvPr id="8" name="Text Placeholder 2">
            <a:extLst>
              <a:ext uri="{FF2B5EF4-FFF2-40B4-BE49-F238E27FC236}">
                <a16:creationId xmlns:a16="http://schemas.microsoft.com/office/drawing/2014/main" id="{3079D768-85E8-742C-EE9B-4B8D66839A50}"/>
              </a:ext>
            </a:extLst>
          </p:cNvPr>
          <p:cNvSpPr>
            <a:spLocks noGrp="1"/>
          </p:cNvSpPr>
          <p:nvPr>
            <p:custDataLst>
              <p:tags r:id="rId54"/>
            </p:custDataLst>
          </p:nvPr>
        </p:nvSpPr>
        <p:spPr bwMode="auto">
          <a:xfrm>
            <a:off x="2532063" y="5435601"/>
            <a:ext cx="909638" cy="1381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rmAutofit/>
          </a:bodyPr>
          <a:lstStyle>
            <a:lvl1pPr marL="234939" indent="-234939" algn="l" defTabSz="914354" rtl="0" eaLnBrk="1" latinLnBrk="0" hangingPunct="1">
              <a:lnSpc>
                <a:spcPct val="113000"/>
              </a:lnSpc>
              <a:spcBef>
                <a:spcPts val="1600"/>
              </a:spcBef>
              <a:buClr>
                <a:schemeClr val="tx1"/>
              </a:buClr>
              <a:buFont typeface="Arial" panose="020B0604020202020204" pitchFamily="34" charset="0"/>
              <a:buChar char="•"/>
              <a:defRPr sz="1867" kern="1200">
                <a:solidFill>
                  <a:schemeClr val="tx1"/>
                </a:solidFill>
                <a:latin typeface="+mn-lt"/>
                <a:ea typeface="+mn-ea"/>
                <a:cs typeface="+mn-cs"/>
              </a:defRPr>
            </a:lvl1pPr>
            <a:lvl2pPr marL="480460"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2pPr>
            <a:lvl3pPr marL="71539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3pPr>
            <a:lvl4pPr marL="960919"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4pPr>
            <a:lvl5pPr marL="119585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t>Functional Yogurt</a:t>
            </a:r>
            <a:br/>
            <a:r>
              <a:t>功能性酸奶</a:t>
            </a:r>
            <a:endParaRPr lang="en-US" sz="800"/>
          </a:p>
        </p:txBody>
      </p:sp>
      <p:sp>
        <p:nvSpPr>
          <p:cNvPr id="25" name="Text Placeholder 4">
            <a:extLst>
              <a:ext uri="{FF2B5EF4-FFF2-40B4-BE49-F238E27FC236}">
                <a16:creationId xmlns:a16="http://schemas.microsoft.com/office/drawing/2014/main" id="{4C1F3293-4EFE-461D-940D-7EE66BAE31C5}"/>
              </a:ext>
            </a:extLst>
          </p:cNvPr>
          <p:cNvSpPr>
            <a:spLocks noGrp="1"/>
          </p:cNvSpPr>
          <p:nvPr>
            <p:custDataLst>
              <p:tags r:id="rId55"/>
            </p:custDataLst>
          </p:nvPr>
        </p:nvSpPr>
        <p:spPr bwMode="gray">
          <a:xfrm>
            <a:off x="676275" y="4973638"/>
            <a:ext cx="390525" cy="1381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rm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lnSpc>
                <a:spcPct val="113000"/>
              </a:lnSpc>
              <a:spcBef>
                <a:spcPct val="0"/>
              </a:spcBef>
              <a:spcAft>
                <a:spcPct val="0"/>
              </a:spcAft>
            </a:pPr>
            <a:fld id="{D8975A25-14EF-4BF4-9818-732A3C03F0F6}" type="datetime'''3''''''''1''''.''''''''''''''''''9''''''''0''6'''">
              <a:rPr lang="nl-NL" altLang="en-US" sz="800" smtClean="0">
                <a:effectLst/>
              </a:rPr>
              <a:pPr lvl="0" algn="ctr">
                <a:lnSpc>
                  <a:spcPct val="113000"/>
                </a:lnSpc>
                <a:spcBef>
                  <a:spcPct val="0"/>
                </a:spcBef>
                <a:spcAft>
                  <a:spcPct val="0"/>
                </a:spcAft>
              </a:pPr>
              <a:t>31.906</a:t>
            </a:fld>
            <a:endParaRPr lang="nl-NL" sz="800"/>
          </a:p>
        </p:txBody>
      </p:sp>
      <p:sp>
        <p:nvSpPr>
          <p:cNvPr id="26" name="Text Placeholder 4">
            <a:extLst>
              <a:ext uri="{FF2B5EF4-FFF2-40B4-BE49-F238E27FC236}">
                <a16:creationId xmlns:a16="http://schemas.microsoft.com/office/drawing/2014/main" id="{4C1F3293-4EFE-461D-940D-7EE66BAE31C5}"/>
              </a:ext>
            </a:extLst>
          </p:cNvPr>
          <p:cNvSpPr>
            <a:spLocks noGrp="1"/>
          </p:cNvSpPr>
          <p:nvPr>
            <p:custDataLst>
              <p:tags r:id="rId56"/>
            </p:custDataLst>
          </p:nvPr>
        </p:nvSpPr>
        <p:spPr bwMode="gray">
          <a:xfrm>
            <a:off x="1001713" y="4733925"/>
            <a:ext cx="390525" cy="1381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rm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lnSpc>
                <a:spcPct val="113000"/>
              </a:lnSpc>
              <a:spcBef>
                <a:spcPct val="0"/>
              </a:spcBef>
              <a:spcAft>
                <a:spcPct val="0"/>
              </a:spcAft>
            </a:pPr>
            <a:fld id="{FA0B7AA1-BCDB-483F-AB96-4F0EA672216A}" type="datetime'36''''.''''''''''''''''''''''''''''''''0''''70'''''''">
              <a:rPr lang="nl-NL" altLang="en-US" sz="800" smtClean="0"/>
              <a:pPr lvl="0" algn="ctr">
                <a:lnSpc>
                  <a:spcPct val="113000"/>
                </a:lnSpc>
                <a:spcBef>
                  <a:spcPct val="0"/>
                </a:spcBef>
                <a:spcAft>
                  <a:spcPct val="0"/>
                </a:spcAft>
              </a:pPr>
              <a:t>36.070</a:t>
            </a:fld>
            <a:endParaRPr lang="nl-NL" sz="800"/>
          </a:p>
        </p:txBody>
      </p:sp>
      <p:sp>
        <p:nvSpPr>
          <p:cNvPr id="27" name="Text Placeholder 4">
            <a:extLst>
              <a:ext uri="{FF2B5EF4-FFF2-40B4-BE49-F238E27FC236}">
                <a16:creationId xmlns:a16="http://schemas.microsoft.com/office/drawing/2014/main" id="{4C1F3293-4EFE-461D-940D-7EE66BAE31C5}"/>
              </a:ext>
            </a:extLst>
          </p:cNvPr>
          <p:cNvSpPr>
            <a:spLocks noGrp="1"/>
          </p:cNvSpPr>
          <p:nvPr>
            <p:custDataLst>
              <p:tags r:id="rId57"/>
            </p:custDataLst>
          </p:nvPr>
        </p:nvSpPr>
        <p:spPr bwMode="gray">
          <a:xfrm>
            <a:off x="1630363" y="3629025"/>
            <a:ext cx="390525" cy="1381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rm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lnSpc>
                <a:spcPct val="113000"/>
              </a:lnSpc>
              <a:spcBef>
                <a:spcPct val="0"/>
              </a:spcBef>
              <a:spcAft>
                <a:spcPct val="0"/>
              </a:spcAft>
            </a:pPr>
            <a:fld id="{CBFD4047-4D7E-4124-BB79-FA3A9E9CBEDC}" type="datetime'''''''5''''''''''''''5''.''''''2''''''''''''''07'''">
              <a:rPr lang="nl-NL" altLang="en-US" sz="800" smtClean="0">
                <a:effectLst/>
              </a:rPr>
              <a:pPr lvl="0" algn="ctr">
                <a:lnSpc>
                  <a:spcPct val="113000"/>
                </a:lnSpc>
                <a:spcBef>
                  <a:spcPct val="0"/>
                </a:spcBef>
                <a:spcAft>
                  <a:spcPct val="0"/>
                </a:spcAft>
              </a:pPr>
              <a:t>55.207</a:t>
            </a:fld>
            <a:endParaRPr lang="nl-NL" sz="800"/>
          </a:p>
        </p:txBody>
      </p:sp>
      <p:sp>
        <p:nvSpPr>
          <p:cNvPr id="28" name="Text Placeholder 4">
            <a:extLst>
              <a:ext uri="{FF2B5EF4-FFF2-40B4-BE49-F238E27FC236}">
                <a16:creationId xmlns:a16="http://schemas.microsoft.com/office/drawing/2014/main" id="{4C1F3293-4EFE-461D-940D-7EE66BAE31C5}"/>
              </a:ext>
            </a:extLst>
          </p:cNvPr>
          <p:cNvSpPr>
            <a:spLocks noGrp="1"/>
          </p:cNvSpPr>
          <p:nvPr>
            <p:custDataLst>
              <p:tags r:id="rId58"/>
            </p:custDataLst>
          </p:nvPr>
        </p:nvSpPr>
        <p:spPr bwMode="gray">
          <a:xfrm>
            <a:off x="1955800" y="2484438"/>
            <a:ext cx="390525" cy="1381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rm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lnSpc>
                <a:spcPct val="113000"/>
              </a:lnSpc>
              <a:spcBef>
                <a:spcPct val="0"/>
              </a:spcBef>
              <a:spcAft>
                <a:spcPct val="0"/>
              </a:spcAft>
            </a:pPr>
            <a:fld id="{D4FB5353-FCF7-4A7B-BAAF-2642977374A5}" type="datetime'''''''''75''.''''''0''5''''3'''''''''''''">
              <a:rPr lang="nl-NL" altLang="en-US" sz="800" smtClean="0"/>
              <a:pPr lvl="0" algn="ctr">
                <a:lnSpc>
                  <a:spcPct val="113000"/>
                </a:lnSpc>
                <a:spcBef>
                  <a:spcPct val="0"/>
                </a:spcBef>
                <a:spcAft>
                  <a:spcPct val="0"/>
                </a:spcAft>
              </a:pPr>
              <a:t>75.053</a:t>
            </a:fld>
            <a:endParaRPr lang="nl-NL" sz="800"/>
          </a:p>
        </p:txBody>
      </p:sp>
      <p:sp>
        <p:nvSpPr>
          <p:cNvPr id="29" name="Text Placeholder 4">
            <a:extLst>
              <a:ext uri="{FF2B5EF4-FFF2-40B4-BE49-F238E27FC236}">
                <a16:creationId xmlns:a16="http://schemas.microsoft.com/office/drawing/2014/main" id="{4C1F3293-4EFE-461D-940D-7EE66BAE31C5}"/>
              </a:ext>
            </a:extLst>
          </p:cNvPr>
          <p:cNvSpPr>
            <a:spLocks noGrp="1"/>
          </p:cNvSpPr>
          <p:nvPr>
            <p:custDataLst>
              <p:tags r:id="rId59"/>
            </p:custDataLst>
          </p:nvPr>
        </p:nvSpPr>
        <p:spPr bwMode="gray">
          <a:xfrm>
            <a:off x="2586038" y="4330700"/>
            <a:ext cx="390525" cy="1381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rm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lnSpc>
                <a:spcPct val="113000"/>
              </a:lnSpc>
              <a:spcBef>
                <a:spcPct val="0"/>
              </a:spcBef>
              <a:spcAft>
                <a:spcPct val="0"/>
              </a:spcAft>
            </a:pPr>
            <a:fld id="{FD347982-DA01-4627-8D24-75C4EA25FC71}" type="datetime'''''''4''3.''''''''''''''''0''''''''5''''''3'''''''''''">
              <a:rPr lang="nl-NL" altLang="en-US" sz="800" smtClean="0">
                <a:effectLst/>
              </a:rPr>
              <a:pPr lvl="0" algn="ctr">
                <a:lnSpc>
                  <a:spcPct val="113000"/>
                </a:lnSpc>
                <a:spcBef>
                  <a:spcPct val="0"/>
                </a:spcBef>
                <a:spcAft>
                  <a:spcPct val="0"/>
                </a:spcAft>
              </a:pPr>
              <a:t>43.053</a:t>
            </a:fld>
            <a:endParaRPr lang="nl-NL" sz="800"/>
          </a:p>
        </p:txBody>
      </p:sp>
      <p:sp>
        <p:nvSpPr>
          <p:cNvPr id="128" name="Text Placeholder 4">
            <a:extLst>
              <a:ext uri="{FF2B5EF4-FFF2-40B4-BE49-F238E27FC236}">
                <a16:creationId xmlns:a16="http://schemas.microsoft.com/office/drawing/2014/main" id="{4C1F3293-4EFE-461D-940D-7EE66BAE31C5}"/>
              </a:ext>
            </a:extLst>
          </p:cNvPr>
          <p:cNvSpPr>
            <a:spLocks noGrp="1"/>
          </p:cNvSpPr>
          <p:nvPr>
            <p:custDataLst>
              <p:tags r:id="rId60"/>
            </p:custDataLst>
          </p:nvPr>
        </p:nvSpPr>
        <p:spPr bwMode="gray">
          <a:xfrm>
            <a:off x="2911475" y="3406775"/>
            <a:ext cx="390525" cy="1381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rm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lnSpc>
                <a:spcPct val="113000"/>
              </a:lnSpc>
              <a:spcBef>
                <a:spcPct val="0"/>
              </a:spcBef>
              <a:spcAft>
                <a:spcPct val="0"/>
              </a:spcAft>
            </a:pPr>
            <a:fld id="{C5391F42-FD86-488E-99D5-344D6487EFD5}" type="datetime'''''''''''''''''''''''''''''''5''''9.''0''''''''6''''8'">
              <a:rPr lang="nl-NL" altLang="en-US" sz="800" smtClean="0"/>
              <a:pPr lvl="0" algn="ctr">
                <a:lnSpc>
                  <a:spcPct val="113000"/>
                </a:lnSpc>
                <a:spcBef>
                  <a:spcPct val="0"/>
                </a:spcBef>
                <a:spcAft>
                  <a:spcPct val="0"/>
                </a:spcAft>
              </a:pPr>
              <a:t>59.068</a:t>
            </a:fld>
            <a:endParaRPr lang="nl-NL" sz="800"/>
          </a:p>
        </p:txBody>
      </p:sp>
      <p:sp>
        <p:nvSpPr>
          <p:cNvPr id="63" name="Oval 62">
            <a:extLst>
              <a:ext uri="{FF2B5EF4-FFF2-40B4-BE49-F238E27FC236}">
                <a16:creationId xmlns:a16="http://schemas.microsoft.com/office/drawing/2014/main" id="{E70F3240-10E8-EAE8-E594-BAC4AFA42363}"/>
              </a:ext>
            </a:extLst>
          </p:cNvPr>
          <p:cNvSpPr/>
          <p:nvPr/>
        </p:nvSpPr>
        <p:spPr>
          <a:xfrm>
            <a:off x="865327" y="4392025"/>
            <a:ext cx="512667" cy="24480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112000"/>
              </a:lnSpc>
            </a:pPr>
            <a:r>
              <a:rPr lang="en-US" sz="600">
                <a:solidFill>
                  <a:schemeClr val="tx1"/>
                </a:solidFill>
              </a:rPr>
              <a:t>1.8</a:t>
            </a:r>
          </a:p>
        </p:txBody>
      </p:sp>
      <p:sp>
        <p:nvSpPr>
          <p:cNvPr id="64" name="Oval 63">
            <a:extLst>
              <a:ext uri="{FF2B5EF4-FFF2-40B4-BE49-F238E27FC236}">
                <a16:creationId xmlns:a16="http://schemas.microsoft.com/office/drawing/2014/main" id="{7C20C89C-45B2-A2F8-2A35-6EB837F9157B}"/>
              </a:ext>
            </a:extLst>
          </p:cNvPr>
          <p:cNvSpPr/>
          <p:nvPr/>
        </p:nvSpPr>
        <p:spPr>
          <a:xfrm>
            <a:off x="1893140" y="2239638"/>
            <a:ext cx="512667" cy="24480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112000"/>
              </a:lnSpc>
            </a:pPr>
            <a:r>
              <a:rPr lang="en-US" sz="600">
                <a:solidFill>
                  <a:schemeClr val="tx1"/>
                </a:solidFill>
              </a:rPr>
              <a:t>4.5</a:t>
            </a:r>
          </a:p>
        </p:txBody>
      </p:sp>
      <p:sp>
        <p:nvSpPr>
          <p:cNvPr id="65" name="Oval 64">
            <a:extLst>
              <a:ext uri="{FF2B5EF4-FFF2-40B4-BE49-F238E27FC236}">
                <a16:creationId xmlns:a16="http://schemas.microsoft.com/office/drawing/2014/main" id="{6D870492-696E-17B4-63B9-6D28946CD12B}"/>
              </a:ext>
            </a:extLst>
          </p:cNvPr>
          <p:cNvSpPr/>
          <p:nvPr/>
        </p:nvSpPr>
        <p:spPr>
          <a:xfrm>
            <a:off x="2870708" y="2933375"/>
            <a:ext cx="512667" cy="24480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112000"/>
              </a:lnSpc>
            </a:pPr>
            <a:r>
              <a:rPr lang="en-US" sz="600">
                <a:solidFill>
                  <a:schemeClr val="tx1"/>
                </a:solidFill>
              </a:rPr>
              <a:t>4.6</a:t>
            </a:r>
          </a:p>
        </p:txBody>
      </p:sp>
      <p:pic>
        <p:nvPicPr>
          <p:cNvPr id="42" name="Picture Placeholder 27">
            <a:extLst>
              <a:ext uri="{FF2B5EF4-FFF2-40B4-BE49-F238E27FC236}">
                <a16:creationId xmlns:a16="http://schemas.microsoft.com/office/drawing/2014/main" id="{34D4FADF-EF2E-8884-230B-A306C16FA4A2}"/>
              </a:ext>
            </a:extLst>
          </p:cNvPr>
          <p:cNvPicPr>
            <a:picLocks noChangeAspect="1"/>
          </p:cNvPicPr>
          <p:nvPr/>
        </p:nvPicPr>
        <p:blipFill>
          <a:blip r:embed="rId70">
            <a:extLst>
              <a:ext uri="{28A0092B-C50C-407E-A947-70E740481C1C}">
                <a14:useLocalDpi xmlns:a14="http://schemas.microsoft.com/office/drawing/2010/main" val="0"/>
              </a:ext>
            </a:extLst>
          </a:blip>
          <a:srcRect t="3909" b="3909"/>
          <a:stretch/>
        </p:blipFill>
        <p:spPr>
          <a:xfrm>
            <a:off x="10279063" y="0"/>
            <a:ext cx="1912937" cy="1870075"/>
          </a:xfrm>
          <a:prstGeom prst="rect">
            <a:avLst/>
          </a:prstGeom>
        </p:spPr>
      </p:pic>
      <p:sp>
        <p:nvSpPr>
          <p:cNvPr id="4" name="TextBox 3">
            <a:extLst>
              <a:ext uri="{FF2B5EF4-FFF2-40B4-BE49-F238E27FC236}">
                <a16:creationId xmlns:a16="http://schemas.microsoft.com/office/drawing/2014/main" id="{00E5C444-EEF0-6107-B487-F876384EC6F0}"/>
              </a:ext>
            </a:extLst>
          </p:cNvPr>
          <p:cNvSpPr txBox="1"/>
          <p:nvPr/>
        </p:nvSpPr>
        <p:spPr>
          <a:xfrm>
            <a:off x="477838" y="6583363"/>
            <a:ext cx="914400" cy="914400"/>
          </a:xfrm>
          <a:prstGeom prst="rect">
            <a:avLst/>
          </a:prstGeom>
          <a:ln w="6350">
            <a:noFill/>
            <a:miter lim="800000"/>
          </a:ln>
        </p:spPr>
        <p:txBody>
          <a:bodyPr vert="horz" wrap="none" lIns="0" tIns="0" rIns="0" bIns="0" rtlCol="0">
            <a:normAutofit/>
          </a:bodyPr>
          <a:lstStyle/>
          <a:p>
            <a:pPr algn="l">
              <a:spcBef>
                <a:spcPts val="300"/>
              </a:spcBef>
              <a:spcAft>
                <a:spcPts val="300"/>
              </a:spcAft>
              <a:buNone/>
            </a:pPr>
            <a:r>
              <a:t>Source: Euromonitor (incl. fermented &amp; ambient)</a:t>
            </a:r>
            <a:br/>
            <a:r>
              <a:t>资料来源：欧睿国际（包括发酵和常温产品）</a:t>
            </a:r>
          </a:p>
        </p:txBody>
      </p:sp>
      <p:sp>
        <p:nvSpPr>
          <p:cNvPr id="16" name="Rectangle 15">
            <a:extLst>
              <a:ext uri="{FF2B5EF4-FFF2-40B4-BE49-F238E27FC236}">
                <a16:creationId xmlns:a16="http://schemas.microsoft.com/office/drawing/2014/main" id="{3B841B34-506F-C10F-4CD8-2675C4BDB557}"/>
              </a:ext>
            </a:extLst>
          </p:cNvPr>
          <p:cNvSpPr/>
          <p:nvPr/>
        </p:nvSpPr>
        <p:spPr>
          <a:xfrm>
            <a:off x="-2467778" y="1057619"/>
            <a:ext cx="2181339" cy="187007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p>
            <a:pPr algn="ctr">
              <a:spcBef>
                <a:spcPts val="300"/>
              </a:spcBef>
              <a:spcAft>
                <a:spcPts val="300"/>
              </a:spcAft>
            </a:pPr>
            <a:r>
              <a:t>@Olivia- this slide needs some attention from a formatting perspective.</a:t>
            </a:r>
            <a:br/>
            <a:r>
              <a:t>@Olivia- 这张幻灯片需要从格式上进行一些调整。</a:t>
            </a:r>
          </a:p>
        </p:txBody>
      </p:sp>
    </p:spTree>
    <p:extLst>
      <p:ext uri="{BB962C8B-B14F-4D97-AF65-F5344CB8AC3E}">
        <p14:creationId xmlns:p14="http://schemas.microsoft.com/office/powerpoint/2010/main" val="1699907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63"/>
    </p:ext>
  </p:extLs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C2700B-920D-5172-FF63-A4FBA8E7D16D}"/>
              </a:ext>
            </a:extLst>
          </p:cNvPr>
          <p:cNvSpPr>
            <a:spLocks noGrp="1"/>
          </p:cNvSpPr>
          <p:nvPr>
            <p:ph type="title"/>
          </p:nvPr>
        </p:nvSpPr>
        <p:spPr/>
        <p:txBody>
          <a:bodyPr>
            <a:normAutofit/>
          </a:bodyPr>
          <a:lstStyle/>
          <a:p>
            <a:r>
              <a:t>Actually, functionality is becoming a norm in the yoghurt innovation landscape</a:t>
            </a:r>
            <a:br/>
            <a:r>
              <a:t>实际上，功能性正在成为酸奶创新领域的新常态</a:t>
            </a:r>
            <a:endParaRPr lang="nl-NL"/>
          </a:p>
        </p:txBody>
      </p:sp>
      <p:sp>
        <p:nvSpPr>
          <p:cNvPr id="5" name="Slide Number Placeholder 4">
            <a:extLst>
              <a:ext uri="{FF2B5EF4-FFF2-40B4-BE49-F238E27FC236}">
                <a16:creationId xmlns:a16="http://schemas.microsoft.com/office/drawing/2014/main" id="{DA9FE6EA-B4F4-41A8-DD99-39A326500FF7}"/>
              </a:ext>
            </a:extLst>
          </p:cNvPr>
          <p:cNvSpPr>
            <a:spLocks noGrp="1"/>
          </p:cNvSpPr>
          <p:nvPr>
            <p:ph type="sldNum" sz="quarter" idx="12"/>
          </p:nvPr>
        </p:nvSpPr>
        <p:spPr/>
        <p:txBody>
          <a:bodyPr>
            <a:normAutofit/>
          </a:bodyPr>
          <a:lstStyle/>
          <a:p>
            <a:fld id="{9BE0E23E-9022-4929-B297-EB2777CDBB1F}" type="slidenum">
              <a:rPr lang="en-GB" smtClean="0"/>
              <a:t>15</a:t>
            </a:fld>
            <a:endParaRPr lang="en-GB"/>
          </a:p>
        </p:txBody>
      </p:sp>
      <p:grpSp>
        <p:nvGrpSpPr>
          <p:cNvPr id="43" name="Group 42">
            <a:extLst>
              <a:ext uri="{FF2B5EF4-FFF2-40B4-BE49-F238E27FC236}">
                <a16:creationId xmlns:a16="http://schemas.microsoft.com/office/drawing/2014/main" id="{1521EE0A-89B9-FDD4-F6D9-444058F5C5D5}"/>
              </a:ext>
            </a:extLst>
          </p:cNvPr>
          <p:cNvGrpSpPr/>
          <p:nvPr>
            <p:custDataLst>
              <p:tags r:id="rId1"/>
            </p:custDataLst>
          </p:nvPr>
        </p:nvGrpSpPr>
        <p:grpSpPr>
          <a:xfrm>
            <a:off x="2430688" y="2318274"/>
            <a:ext cx="7356897" cy="3070767"/>
            <a:chOff x="5430776" y="2137503"/>
            <a:chExt cx="7356897" cy="3070767"/>
          </a:xfrm>
        </p:grpSpPr>
        <p:sp>
          <p:nvSpPr>
            <p:cNvPr id="82" name="Oval Callout 35">
              <a:extLst>
                <a:ext uri="{FF2B5EF4-FFF2-40B4-BE49-F238E27FC236}">
                  <a16:creationId xmlns:a16="http://schemas.microsoft.com/office/drawing/2014/main" id="{F0150A2C-EE6E-0125-118C-3CDB98EB7286}"/>
                </a:ext>
              </a:extLst>
            </p:cNvPr>
            <p:cNvSpPr/>
            <p:nvPr>
              <p:custDataLst>
                <p:tags r:id="rId5"/>
              </p:custDataLst>
            </p:nvPr>
          </p:nvSpPr>
          <p:spPr>
            <a:xfrm>
              <a:off x="10820187" y="4468992"/>
              <a:ext cx="746987" cy="739278"/>
            </a:xfrm>
            <a:prstGeom prst="wedgeEllipseCallout">
              <a:avLst>
                <a:gd name="adj1" fmla="val 65108"/>
                <a:gd name="adj2" fmla="val 16759"/>
              </a:avLst>
            </a:prstGeom>
            <a:solidFill>
              <a:srgbClr val="0D074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76" name="Oval Callout 35">
              <a:extLst>
                <a:ext uri="{FF2B5EF4-FFF2-40B4-BE49-F238E27FC236}">
                  <a16:creationId xmlns:a16="http://schemas.microsoft.com/office/drawing/2014/main" id="{96253BD0-1F99-6088-E34A-9C785FD7EC5D}"/>
                </a:ext>
              </a:extLst>
            </p:cNvPr>
            <p:cNvSpPr/>
            <p:nvPr>
              <p:custDataLst>
                <p:tags r:id="rId6"/>
              </p:custDataLst>
            </p:nvPr>
          </p:nvSpPr>
          <p:spPr>
            <a:xfrm flipH="1">
              <a:off x="11689791" y="2973335"/>
              <a:ext cx="950643" cy="925018"/>
            </a:xfrm>
            <a:prstGeom prst="wedgeEllipseCallout">
              <a:avLst>
                <a:gd name="adj1" fmla="val 72868"/>
                <a:gd name="adj2" fmla="val 20946"/>
              </a:avLst>
            </a:prstGeom>
            <a:solidFill>
              <a:srgbClr val="0D074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44" name="Oval Callout 35">
              <a:extLst>
                <a:ext uri="{FF2B5EF4-FFF2-40B4-BE49-F238E27FC236}">
                  <a16:creationId xmlns:a16="http://schemas.microsoft.com/office/drawing/2014/main" id="{02EA8EBC-2CA6-50C0-DFD9-B788B9D7E06C}"/>
                </a:ext>
              </a:extLst>
            </p:cNvPr>
            <p:cNvSpPr/>
            <p:nvPr>
              <p:custDataLst>
                <p:tags r:id="rId7"/>
              </p:custDataLst>
            </p:nvPr>
          </p:nvSpPr>
          <p:spPr>
            <a:xfrm rot="1416565">
              <a:off x="5570673" y="2475187"/>
              <a:ext cx="941191" cy="874903"/>
            </a:xfrm>
            <a:prstGeom prst="wedgeEllipseCallout">
              <a:avLst>
                <a:gd name="adj1" fmla="val 65108"/>
                <a:gd name="adj2" fmla="val -3299"/>
              </a:avLst>
            </a:prstGeom>
            <a:solidFill>
              <a:srgbClr val="0D074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grpSp>
          <p:nvGrpSpPr>
            <p:cNvPr id="45" name="Group 44">
              <a:extLst>
                <a:ext uri="{FF2B5EF4-FFF2-40B4-BE49-F238E27FC236}">
                  <a16:creationId xmlns:a16="http://schemas.microsoft.com/office/drawing/2014/main" id="{AC90FA00-DABD-E788-6726-B613983DAF0B}"/>
                </a:ext>
              </a:extLst>
            </p:cNvPr>
            <p:cNvGrpSpPr/>
            <p:nvPr>
              <p:custDataLst>
                <p:tags r:id="rId8"/>
              </p:custDataLst>
            </p:nvPr>
          </p:nvGrpSpPr>
          <p:grpSpPr>
            <a:xfrm>
              <a:off x="6132787" y="2137503"/>
              <a:ext cx="672872" cy="597423"/>
              <a:chOff x="-675900" y="3107308"/>
              <a:chExt cx="782394" cy="723730"/>
            </a:xfrm>
          </p:grpSpPr>
          <p:sp>
            <p:nvSpPr>
              <p:cNvPr id="72" name="Oval 71">
                <a:extLst>
                  <a:ext uri="{FF2B5EF4-FFF2-40B4-BE49-F238E27FC236}">
                    <a16:creationId xmlns:a16="http://schemas.microsoft.com/office/drawing/2014/main" id="{466F2810-5D81-0CCF-45CD-BD01F2860196}"/>
                  </a:ext>
                </a:extLst>
              </p:cNvPr>
              <p:cNvSpPr/>
              <p:nvPr>
                <p:custDataLst>
                  <p:tags r:id="rId37"/>
                </p:custDataLst>
              </p:nvPr>
            </p:nvSpPr>
            <p:spPr>
              <a:xfrm>
                <a:off x="-657082" y="3107308"/>
                <a:ext cx="746987" cy="723730"/>
              </a:xfrm>
              <a:prstGeom prst="ellipse">
                <a:avLst/>
              </a:prstGeom>
              <a:solidFill>
                <a:srgbClr val="FF5100"/>
              </a:solidFill>
              <a:ln w="6350" cap="flat" cmpd="sng" algn="ctr">
                <a:noFill/>
                <a:prstDash val="solid"/>
                <a:miter lim="800000"/>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73" name="TextBox 72">
                <a:extLst>
                  <a:ext uri="{FF2B5EF4-FFF2-40B4-BE49-F238E27FC236}">
                    <a16:creationId xmlns:a16="http://schemas.microsoft.com/office/drawing/2014/main" id="{08B68FA7-5133-3EA2-AEDF-0F893181864E}"/>
                  </a:ext>
                </a:extLst>
              </p:cNvPr>
              <p:cNvSpPr txBox="1"/>
              <p:nvPr>
                <p:custDataLst>
                  <p:tags r:id="rId38"/>
                </p:custDataLst>
              </p:nvPr>
            </p:nvSpPr>
            <p:spPr>
              <a:xfrm>
                <a:off x="-675900" y="3210545"/>
                <a:ext cx="782394" cy="605876"/>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0%</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CAGR</a:t>
                </a:r>
              </a:p>
            </p:txBody>
          </p:sp>
        </p:grpSp>
        <p:sp>
          <p:nvSpPr>
            <p:cNvPr id="46" name="Oval Callout 35">
              <a:extLst>
                <a:ext uri="{FF2B5EF4-FFF2-40B4-BE49-F238E27FC236}">
                  <a16:creationId xmlns:a16="http://schemas.microsoft.com/office/drawing/2014/main" id="{EDF3E6BA-4465-516F-64E6-6D27A5F7406C}"/>
                </a:ext>
              </a:extLst>
            </p:cNvPr>
            <p:cNvSpPr/>
            <p:nvPr>
              <p:custDataLst>
                <p:tags r:id="rId9"/>
              </p:custDataLst>
            </p:nvPr>
          </p:nvSpPr>
          <p:spPr>
            <a:xfrm>
              <a:off x="6584680" y="3809298"/>
              <a:ext cx="746987" cy="739278"/>
            </a:xfrm>
            <a:prstGeom prst="wedgeEllipseCallout">
              <a:avLst>
                <a:gd name="adj1" fmla="val 65108"/>
                <a:gd name="adj2" fmla="val 16759"/>
              </a:avLst>
            </a:prstGeom>
            <a:solidFill>
              <a:srgbClr val="0D074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grpSp>
          <p:nvGrpSpPr>
            <p:cNvPr id="47" name="Group 46">
              <a:extLst>
                <a:ext uri="{FF2B5EF4-FFF2-40B4-BE49-F238E27FC236}">
                  <a16:creationId xmlns:a16="http://schemas.microsoft.com/office/drawing/2014/main" id="{DFCFD8DA-3FBD-D055-E8E1-B7B53310B37A}"/>
                </a:ext>
              </a:extLst>
            </p:cNvPr>
            <p:cNvGrpSpPr/>
            <p:nvPr>
              <p:custDataLst>
                <p:tags r:id="rId10"/>
              </p:custDataLst>
            </p:nvPr>
          </p:nvGrpSpPr>
          <p:grpSpPr>
            <a:xfrm>
              <a:off x="6242392" y="4195462"/>
              <a:ext cx="4955194" cy="672931"/>
              <a:chOff x="-928928" y="3029348"/>
              <a:chExt cx="6371016" cy="897209"/>
            </a:xfrm>
          </p:grpSpPr>
          <p:sp>
            <p:nvSpPr>
              <p:cNvPr id="70" name="Oval 69">
                <a:extLst>
                  <a:ext uri="{FF2B5EF4-FFF2-40B4-BE49-F238E27FC236}">
                    <a16:creationId xmlns:a16="http://schemas.microsoft.com/office/drawing/2014/main" id="{78DB55B5-04C6-6269-BE86-D67DF049A26F}"/>
                  </a:ext>
                </a:extLst>
              </p:cNvPr>
              <p:cNvSpPr/>
              <p:nvPr>
                <p:custDataLst>
                  <p:tags r:id="rId33"/>
                </p:custDataLst>
              </p:nvPr>
            </p:nvSpPr>
            <p:spPr>
              <a:xfrm>
                <a:off x="-828860" y="3202827"/>
                <a:ext cx="746986" cy="723730"/>
              </a:xfrm>
              <a:prstGeom prst="ellipse">
                <a:avLst/>
              </a:prstGeom>
              <a:solidFill>
                <a:srgbClr val="FF5100"/>
              </a:solidFill>
              <a:ln w="6350" cap="flat" cmpd="sng" algn="ctr">
                <a:noFill/>
                <a:prstDash val="solid"/>
                <a:miter lim="800000"/>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71" name="TextBox 70">
                <a:extLst>
                  <a:ext uri="{FF2B5EF4-FFF2-40B4-BE49-F238E27FC236}">
                    <a16:creationId xmlns:a16="http://schemas.microsoft.com/office/drawing/2014/main" id="{58860872-599B-DDA7-24D0-300AB88A0D53}"/>
                  </a:ext>
                </a:extLst>
              </p:cNvPr>
              <p:cNvSpPr txBox="1"/>
              <p:nvPr>
                <p:custDataLst>
                  <p:tags r:id="rId34"/>
                </p:custDataLst>
              </p:nvPr>
            </p:nvSpPr>
            <p:spPr>
              <a:xfrm>
                <a:off x="-928928" y="3239079"/>
                <a:ext cx="900649" cy="66682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4%</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CAGR</a:t>
                </a:r>
              </a:p>
            </p:txBody>
          </p:sp>
          <p:sp>
            <p:nvSpPr>
              <p:cNvPr id="83" name="Oval 82">
                <a:extLst>
                  <a:ext uri="{FF2B5EF4-FFF2-40B4-BE49-F238E27FC236}">
                    <a16:creationId xmlns:a16="http://schemas.microsoft.com/office/drawing/2014/main" id="{15955FFC-8437-C632-1349-1F5BEA1082AB}"/>
                  </a:ext>
                </a:extLst>
              </p:cNvPr>
              <p:cNvSpPr/>
              <p:nvPr>
                <p:custDataLst>
                  <p:tags r:id="rId35"/>
                </p:custDataLst>
              </p:nvPr>
            </p:nvSpPr>
            <p:spPr>
              <a:xfrm>
                <a:off x="4639229" y="3029348"/>
                <a:ext cx="746987" cy="723730"/>
              </a:xfrm>
              <a:prstGeom prst="ellipse">
                <a:avLst/>
              </a:prstGeom>
              <a:solidFill>
                <a:srgbClr val="FF5100"/>
              </a:solidFill>
              <a:ln w="6350" cap="flat" cmpd="sng" algn="ctr">
                <a:noFill/>
                <a:prstDash val="solid"/>
                <a:miter lim="800000"/>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84" name="TextBox 83">
                <a:extLst>
                  <a:ext uri="{FF2B5EF4-FFF2-40B4-BE49-F238E27FC236}">
                    <a16:creationId xmlns:a16="http://schemas.microsoft.com/office/drawing/2014/main" id="{E90FDDC4-2D66-4C86-D695-90C02579DA9E}"/>
                  </a:ext>
                </a:extLst>
              </p:cNvPr>
              <p:cNvSpPr txBox="1"/>
              <p:nvPr>
                <p:custDataLst>
                  <p:tags r:id="rId36"/>
                </p:custDataLst>
              </p:nvPr>
            </p:nvSpPr>
            <p:spPr>
              <a:xfrm>
                <a:off x="4541439" y="3065780"/>
                <a:ext cx="900649" cy="66682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4%</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CAGR</a:t>
                </a:r>
              </a:p>
            </p:txBody>
          </p:sp>
        </p:grpSp>
        <p:sp>
          <p:nvSpPr>
            <p:cNvPr id="48" name="Oval Callout 35">
              <a:extLst>
                <a:ext uri="{FF2B5EF4-FFF2-40B4-BE49-F238E27FC236}">
                  <a16:creationId xmlns:a16="http://schemas.microsoft.com/office/drawing/2014/main" id="{1596B6B3-7208-E413-AE4F-66B6981E2602}"/>
                </a:ext>
              </a:extLst>
            </p:cNvPr>
            <p:cNvSpPr/>
            <p:nvPr>
              <p:custDataLst>
                <p:tags r:id="rId11"/>
              </p:custDataLst>
            </p:nvPr>
          </p:nvSpPr>
          <p:spPr>
            <a:xfrm flipH="1">
              <a:off x="10530189" y="2347843"/>
              <a:ext cx="950643" cy="925018"/>
            </a:xfrm>
            <a:prstGeom prst="wedgeEllipseCallout">
              <a:avLst>
                <a:gd name="adj1" fmla="val 49650"/>
                <a:gd name="adj2" fmla="val 46511"/>
              </a:avLst>
            </a:prstGeom>
            <a:solidFill>
              <a:srgbClr val="0D074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49" name="Text Placeholder 2">
              <a:extLst>
                <a:ext uri="{FF2B5EF4-FFF2-40B4-BE49-F238E27FC236}">
                  <a16:creationId xmlns:a16="http://schemas.microsoft.com/office/drawing/2014/main" id="{53EFC4EE-0B6B-61DA-30A6-F4F0BC16A0AE}"/>
                </a:ext>
              </a:extLst>
            </p:cNvPr>
            <p:cNvSpPr txBox="1"/>
            <p:nvPr>
              <p:custDataLst>
                <p:tags r:id="rId12"/>
              </p:custDataLst>
            </p:nvPr>
          </p:nvSpPr>
          <p:spPr>
            <a:xfrm flipH="1">
              <a:off x="10377834" y="2625575"/>
              <a:ext cx="1238080" cy="249164"/>
            </a:xfrm>
            <a:prstGeom prst="rect">
              <a:avLst/>
            </a:prstGeom>
            <a:noFill/>
          </p:spPr>
          <p:txBody>
            <a:bodyPr lIns="0" tIns="0" rIns="0" bIns="18000" anchor="ctr"/>
            <a:lstStyle>
              <a:lvl1pPr marL="0" indent="0" algn="ctr" defTabSz="914400" rtl="0" eaLnBrk="1" latinLnBrk="0" hangingPunct="1">
                <a:lnSpc>
                  <a:spcPts val="1700"/>
                </a:lnSpc>
                <a:spcBef>
                  <a:spcPct val="0"/>
                </a:spcBef>
                <a:buFont typeface="Arial" panose="020B0604020202020204" pitchFamily="34" charset="0"/>
                <a:buNone/>
                <a:defRPr sz="1500" b="1" kern="1200">
                  <a:solidFill>
                    <a:schemeClr val="bg1"/>
                  </a:solidFill>
                  <a:latin typeface="Proxima Nova Rg" panose="02000506030000020004"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ts val="1700"/>
                </a:lnSpc>
                <a:spcBef>
                  <a:spcPct val="0"/>
                </a:spcBef>
                <a:spcAft>
                  <a:spcPct val="0"/>
                </a:spcAft>
                <a:buClrTx/>
                <a:buSzTx/>
                <a:buFont typeface="Arial" panose="020B0604020202020204" pitchFamily="34" charset="0"/>
                <a:buNone/>
                <a:tabLst/>
                <a:defRPr/>
              </a:pPr>
              <a:r>
                <a:rPr kumimoji="0" lang="en-US" sz="13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PAC</a:t>
              </a:r>
            </a:p>
          </p:txBody>
        </p:sp>
        <p:sp>
          <p:nvSpPr>
            <p:cNvPr id="50" name="Text Placeholder 2">
              <a:extLst>
                <a:ext uri="{FF2B5EF4-FFF2-40B4-BE49-F238E27FC236}">
                  <a16:creationId xmlns:a16="http://schemas.microsoft.com/office/drawing/2014/main" id="{B21493DD-1CC2-C0CA-300C-435530E21CE6}"/>
                </a:ext>
              </a:extLst>
            </p:cNvPr>
            <p:cNvSpPr txBox="1"/>
            <p:nvPr>
              <p:custDataLst>
                <p:tags r:id="rId13"/>
              </p:custDataLst>
            </p:nvPr>
          </p:nvSpPr>
          <p:spPr>
            <a:xfrm flipH="1">
              <a:off x="10386470" y="2903510"/>
              <a:ext cx="1238080" cy="206835"/>
            </a:xfrm>
            <a:prstGeom prst="rect">
              <a:avLst/>
            </a:prstGeom>
            <a:noFill/>
          </p:spPr>
          <p:txBody>
            <a:bodyPr lIns="0" tIns="0" rIns="0" bIns="18000" anchor="t"/>
            <a:lstStyle>
              <a:lvl1pPr marL="0" indent="0" algn="ctr" defTabSz="914400" rtl="0" eaLnBrk="1" latinLnBrk="0" hangingPunct="1">
                <a:lnSpc>
                  <a:spcPts val="1700"/>
                </a:lnSpc>
                <a:spcBef>
                  <a:spcPct val="0"/>
                </a:spcBef>
                <a:buFont typeface="Arial" panose="020B0604020202020204" pitchFamily="34" charset="0"/>
                <a:buNone/>
                <a:defRPr sz="1500" b="0" kern="1200">
                  <a:solidFill>
                    <a:schemeClr val="bg1"/>
                  </a:solidFill>
                  <a:latin typeface="Proxima Nova Lt" panose="02000506030000020004" pitchFamily="2" charset="0"/>
                  <a:ea typeface="Open Sans Light" panose="020B0306030504020204" pitchFamily="34" charset="0"/>
                  <a:cs typeface="Open Sans Light" panose="020B03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ts val="1700"/>
                </a:lnSpc>
                <a:spcBef>
                  <a:spcPct val="0"/>
                </a:spcBef>
                <a:spcAft>
                  <a:spcPct val="0"/>
                </a:spcAft>
                <a:buClrTx/>
                <a:buSzTx/>
                <a:buFont typeface="Arial" panose="020B0604020202020204" pitchFamily="34" charset="0"/>
                <a:buNone/>
                <a:tabLst/>
                <a:defRPr/>
              </a:pPr>
              <a:r>
                <a:rPr kumimoji="0" lang="en-US" sz="1800" b="1" i="0" u="none" strike="noStrike" kern="1200" cap="none" spc="0" normalizeH="0" baseline="0" noProof="0">
                  <a:ln>
                    <a:noFill/>
                  </a:ln>
                  <a:solidFill>
                    <a:prstClr val="white"/>
                  </a:solidFill>
                  <a:effectLst/>
                  <a:uLnTx/>
                  <a:uFillTx/>
                  <a:latin typeface="Calibri" panose="020F0502020204030204" pitchFamily="34" charset="0"/>
                  <a:ea typeface="Open Sans Light" panose="020B0306030504020204" pitchFamily="34" charset="0"/>
                  <a:cs typeface="Calibri" panose="020F0502020204030204" pitchFamily="34" charset="0"/>
                </a:rPr>
                <a:t>52%</a:t>
              </a:r>
            </a:p>
          </p:txBody>
        </p:sp>
        <p:sp>
          <p:nvSpPr>
            <p:cNvPr id="53" name="Oval Callout 35">
              <a:extLst>
                <a:ext uri="{FF2B5EF4-FFF2-40B4-BE49-F238E27FC236}">
                  <a16:creationId xmlns:a16="http://schemas.microsoft.com/office/drawing/2014/main" id="{3D378259-A2E3-9B27-3FA7-E51BA63BA953}"/>
                </a:ext>
              </a:extLst>
            </p:cNvPr>
            <p:cNvSpPr/>
            <p:nvPr>
              <p:custDataLst>
                <p:tags r:id="rId14"/>
              </p:custDataLst>
            </p:nvPr>
          </p:nvSpPr>
          <p:spPr>
            <a:xfrm>
              <a:off x="8608553" y="3434092"/>
              <a:ext cx="897132" cy="832135"/>
            </a:xfrm>
            <a:prstGeom prst="wedgeEllipseCallout">
              <a:avLst>
                <a:gd name="adj1" fmla="val -16117"/>
                <a:gd name="adj2" fmla="val -62029"/>
              </a:avLst>
            </a:prstGeom>
            <a:solidFill>
              <a:srgbClr val="0D074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grpSp>
          <p:nvGrpSpPr>
            <p:cNvPr id="54" name="Group 53">
              <a:extLst>
                <a:ext uri="{FF2B5EF4-FFF2-40B4-BE49-F238E27FC236}">
                  <a16:creationId xmlns:a16="http://schemas.microsoft.com/office/drawing/2014/main" id="{7039CA62-94B5-A983-CBA8-A79FFDD57FE2}"/>
                </a:ext>
              </a:extLst>
            </p:cNvPr>
            <p:cNvGrpSpPr/>
            <p:nvPr>
              <p:custDataLst>
                <p:tags r:id="rId15"/>
              </p:custDataLst>
            </p:nvPr>
          </p:nvGrpSpPr>
          <p:grpSpPr>
            <a:xfrm>
              <a:off x="9097935" y="3090791"/>
              <a:ext cx="672872" cy="564513"/>
              <a:chOff x="532821" y="4306155"/>
              <a:chExt cx="782394" cy="723730"/>
            </a:xfrm>
          </p:grpSpPr>
          <p:sp>
            <p:nvSpPr>
              <p:cNvPr id="66" name="Oval 65">
                <a:extLst>
                  <a:ext uri="{FF2B5EF4-FFF2-40B4-BE49-F238E27FC236}">
                    <a16:creationId xmlns:a16="http://schemas.microsoft.com/office/drawing/2014/main" id="{DC1482C0-8E24-E4B1-F004-14840813AF89}"/>
                  </a:ext>
                </a:extLst>
              </p:cNvPr>
              <p:cNvSpPr/>
              <p:nvPr>
                <p:custDataLst>
                  <p:tags r:id="rId31"/>
                </p:custDataLst>
              </p:nvPr>
            </p:nvSpPr>
            <p:spPr>
              <a:xfrm>
                <a:off x="588323" y="4306155"/>
                <a:ext cx="676723" cy="723730"/>
              </a:xfrm>
              <a:prstGeom prst="ellipse">
                <a:avLst/>
              </a:prstGeom>
              <a:solidFill>
                <a:srgbClr val="FF5100"/>
              </a:solidFill>
              <a:ln w="6350" cap="flat" cmpd="sng" algn="ctr">
                <a:noFill/>
                <a:prstDash val="solid"/>
                <a:miter lim="800000"/>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67" name="TextBox 66">
                <a:extLst>
                  <a:ext uri="{FF2B5EF4-FFF2-40B4-BE49-F238E27FC236}">
                    <a16:creationId xmlns:a16="http://schemas.microsoft.com/office/drawing/2014/main" id="{4F98C270-6C35-7740-94A3-A69A124EA313}"/>
                  </a:ext>
                </a:extLst>
              </p:cNvPr>
              <p:cNvSpPr txBox="1"/>
              <p:nvPr>
                <p:custDataLst>
                  <p:tags r:id="rId32"/>
                </p:custDataLst>
              </p:nvPr>
            </p:nvSpPr>
            <p:spPr>
              <a:xfrm>
                <a:off x="532821" y="4334673"/>
                <a:ext cx="782394" cy="641196"/>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18%</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CAGR</a:t>
                </a:r>
              </a:p>
            </p:txBody>
          </p:sp>
        </p:grpSp>
        <p:grpSp>
          <p:nvGrpSpPr>
            <p:cNvPr id="55" name="Group 54">
              <a:extLst>
                <a:ext uri="{FF2B5EF4-FFF2-40B4-BE49-F238E27FC236}">
                  <a16:creationId xmlns:a16="http://schemas.microsoft.com/office/drawing/2014/main" id="{24A5574E-6517-D32D-5054-7CEA1C366571}"/>
                </a:ext>
              </a:extLst>
            </p:cNvPr>
            <p:cNvGrpSpPr/>
            <p:nvPr>
              <p:custDataLst>
                <p:tags r:id="rId16"/>
              </p:custDataLst>
            </p:nvPr>
          </p:nvGrpSpPr>
          <p:grpSpPr>
            <a:xfrm flipH="1">
              <a:off x="11065245" y="2229522"/>
              <a:ext cx="1635528" cy="2036705"/>
              <a:chOff x="-897154" y="2558270"/>
              <a:chExt cx="1769942" cy="2497763"/>
            </a:xfrm>
          </p:grpSpPr>
          <p:sp>
            <p:nvSpPr>
              <p:cNvPr id="64" name="Oval 63">
                <a:extLst>
                  <a:ext uri="{FF2B5EF4-FFF2-40B4-BE49-F238E27FC236}">
                    <a16:creationId xmlns:a16="http://schemas.microsoft.com/office/drawing/2014/main" id="{0CC9A9C1-5547-BCCD-3AE8-FAE9C6576C42}"/>
                  </a:ext>
                </a:extLst>
              </p:cNvPr>
              <p:cNvSpPr/>
              <p:nvPr>
                <p:custDataLst>
                  <p:tags r:id="rId27"/>
                </p:custDataLst>
              </p:nvPr>
            </p:nvSpPr>
            <p:spPr>
              <a:xfrm>
                <a:off x="213443" y="2558270"/>
                <a:ext cx="590518" cy="667713"/>
              </a:xfrm>
              <a:prstGeom prst="ellipse">
                <a:avLst/>
              </a:prstGeom>
              <a:solidFill>
                <a:srgbClr val="FF5100"/>
              </a:solidFill>
              <a:ln w="6350" cap="flat" cmpd="sng" algn="ctr">
                <a:noFill/>
                <a:prstDash val="solid"/>
                <a:miter lim="800000"/>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sp>
            <p:nvSpPr>
              <p:cNvPr id="65" name="TextBox 64">
                <a:extLst>
                  <a:ext uri="{FF2B5EF4-FFF2-40B4-BE49-F238E27FC236}">
                    <a16:creationId xmlns:a16="http://schemas.microsoft.com/office/drawing/2014/main" id="{B353BFA4-F5F9-593B-29A7-9CAAC3CCF65C}"/>
                  </a:ext>
                </a:extLst>
              </p:cNvPr>
              <p:cNvSpPr txBox="1"/>
              <p:nvPr>
                <p:custDataLst>
                  <p:tags r:id="rId28"/>
                </p:custDataLst>
              </p:nvPr>
            </p:nvSpPr>
            <p:spPr>
              <a:xfrm>
                <a:off x="144617" y="2604758"/>
                <a:ext cx="728171" cy="613355"/>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4%</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CAGR</a:t>
                </a:r>
              </a:p>
            </p:txBody>
          </p:sp>
          <p:sp>
            <p:nvSpPr>
              <p:cNvPr id="80" name="Oval 79">
                <a:extLst>
                  <a:ext uri="{FF2B5EF4-FFF2-40B4-BE49-F238E27FC236}">
                    <a16:creationId xmlns:a16="http://schemas.microsoft.com/office/drawing/2014/main" id="{CE3C9493-159C-4D7A-963A-67C18C122239}"/>
                  </a:ext>
                </a:extLst>
              </p:cNvPr>
              <p:cNvSpPr/>
              <p:nvPr>
                <p:custDataLst>
                  <p:tags r:id="rId29"/>
                </p:custDataLst>
              </p:nvPr>
            </p:nvSpPr>
            <p:spPr>
              <a:xfrm>
                <a:off x="-845011" y="4388320"/>
                <a:ext cx="590517" cy="667713"/>
              </a:xfrm>
              <a:prstGeom prst="ellipse">
                <a:avLst/>
              </a:prstGeom>
              <a:solidFill>
                <a:srgbClr val="FF5100"/>
              </a:solidFill>
              <a:ln w="6350" cap="flat" cmpd="sng" algn="ctr">
                <a:noFill/>
                <a:prstDash val="solid"/>
                <a:miter lim="800000"/>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sp>
            <p:nvSpPr>
              <p:cNvPr id="78" name="TextBox 77">
                <a:extLst>
                  <a:ext uri="{FF2B5EF4-FFF2-40B4-BE49-F238E27FC236}">
                    <a16:creationId xmlns:a16="http://schemas.microsoft.com/office/drawing/2014/main" id="{16D546E6-3EF9-8763-068D-EA08AC0CE66E}"/>
                  </a:ext>
                </a:extLst>
              </p:cNvPr>
              <p:cNvSpPr txBox="1"/>
              <p:nvPr>
                <p:custDataLst>
                  <p:tags r:id="rId30"/>
                </p:custDataLst>
              </p:nvPr>
            </p:nvSpPr>
            <p:spPr>
              <a:xfrm>
                <a:off x="-897154" y="4413667"/>
                <a:ext cx="728171" cy="613355"/>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15%</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CAGR</a:t>
                </a:r>
              </a:p>
            </p:txBody>
          </p:sp>
        </p:grpSp>
        <p:sp>
          <p:nvSpPr>
            <p:cNvPr id="58" name="Text Placeholder 2">
              <a:extLst>
                <a:ext uri="{FF2B5EF4-FFF2-40B4-BE49-F238E27FC236}">
                  <a16:creationId xmlns:a16="http://schemas.microsoft.com/office/drawing/2014/main" id="{90DD61E1-C76A-5592-1398-7F459386D6C7}"/>
                </a:ext>
              </a:extLst>
            </p:cNvPr>
            <p:cNvSpPr txBox="1"/>
            <p:nvPr>
              <p:custDataLst>
                <p:tags r:id="rId17"/>
              </p:custDataLst>
            </p:nvPr>
          </p:nvSpPr>
          <p:spPr>
            <a:xfrm>
              <a:off x="5550143" y="2579981"/>
              <a:ext cx="927492" cy="454793"/>
            </a:xfrm>
            <a:prstGeom prst="rect">
              <a:avLst/>
            </a:prstGeom>
            <a:noFill/>
          </p:spPr>
          <p:txBody>
            <a:bodyPr lIns="0" tIns="0" rIns="0" bIns="18000" anchor="ctr"/>
            <a:lstStyle>
              <a:lvl1pPr marL="0" indent="0" algn="ctr" defTabSz="914400" rtl="0" eaLnBrk="1" latinLnBrk="0" hangingPunct="1">
                <a:lnSpc>
                  <a:spcPts val="1700"/>
                </a:lnSpc>
                <a:spcBef>
                  <a:spcPct val="0"/>
                </a:spcBef>
                <a:buFont typeface="Arial" panose="020B0604020202020204" pitchFamily="34" charset="0"/>
                <a:buNone/>
                <a:defRPr sz="1500" b="1" kern="1200">
                  <a:solidFill>
                    <a:schemeClr val="bg1"/>
                  </a:solidFill>
                  <a:latin typeface="Proxima Nova Rg" panose="02000506030000020004"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ts val="1700"/>
                </a:lnSpc>
                <a:spcBef>
                  <a:spcPct val="0"/>
                </a:spcBef>
                <a:spcAft>
                  <a:spcPct val="0"/>
                </a:spcAft>
                <a:buClrTx/>
                <a:buSzTx/>
                <a:buFont typeface="Arial" panose="020B0604020202020204" pitchFamily="34" charset="0"/>
                <a:buNone/>
                <a:tabLst/>
                <a:defRPr/>
              </a:pPr>
              <a:r>
                <a:rPr kumimoji="0" lang="en-US" sz="13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NAM</a:t>
              </a:r>
            </a:p>
          </p:txBody>
        </p:sp>
        <p:sp>
          <p:nvSpPr>
            <p:cNvPr id="59" name="Text Placeholder 2">
              <a:extLst>
                <a:ext uri="{FF2B5EF4-FFF2-40B4-BE49-F238E27FC236}">
                  <a16:creationId xmlns:a16="http://schemas.microsoft.com/office/drawing/2014/main" id="{9AC2F048-296E-01D5-8B62-CFC0DD0D7B98}"/>
                </a:ext>
              </a:extLst>
            </p:cNvPr>
            <p:cNvSpPr txBox="1"/>
            <p:nvPr>
              <p:custDataLst>
                <p:tags r:id="rId18"/>
              </p:custDataLst>
            </p:nvPr>
          </p:nvSpPr>
          <p:spPr>
            <a:xfrm>
              <a:off x="5430776" y="2936067"/>
              <a:ext cx="1238080" cy="310392"/>
            </a:xfrm>
            <a:prstGeom prst="rect">
              <a:avLst/>
            </a:prstGeom>
            <a:noFill/>
          </p:spPr>
          <p:txBody>
            <a:bodyPr lIns="0" tIns="0" rIns="0" bIns="18000" anchor="t"/>
            <a:lstStyle>
              <a:lvl1pPr marL="0" indent="0" algn="ctr" defTabSz="914400" rtl="0" eaLnBrk="1" latinLnBrk="0" hangingPunct="1">
                <a:lnSpc>
                  <a:spcPts val="1700"/>
                </a:lnSpc>
                <a:spcBef>
                  <a:spcPct val="0"/>
                </a:spcBef>
                <a:buFont typeface="Arial" panose="020B0604020202020204" pitchFamily="34" charset="0"/>
                <a:buNone/>
                <a:defRPr sz="1500" b="0" kern="1200">
                  <a:solidFill>
                    <a:schemeClr val="bg1"/>
                  </a:solidFill>
                  <a:latin typeface="Proxima Nova Lt" panose="02000506030000020004" pitchFamily="2" charset="0"/>
                  <a:ea typeface="Open Sans Light" panose="020B0306030504020204" pitchFamily="34" charset="0"/>
                  <a:cs typeface="Open Sans Light" panose="020B03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ts val="1700"/>
                </a:lnSpc>
                <a:spcBef>
                  <a:spcPct val="0"/>
                </a:spcBef>
                <a:spcAft>
                  <a:spcPct val="0"/>
                </a:spcAft>
                <a:buClrTx/>
                <a:buSzTx/>
                <a:buFont typeface="Arial" panose="020B0604020202020204" pitchFamily="34" charset="0"/>
                <a:buNone/>
                <a:tabLst/>
                <a:defRPr/>
              </a:pPr>
              <a:r>
                <a:rPr kumimoji="0" lang="en-US" sz="1800" b="1" i="0" u="none" strike="noStrike" kern="1200" cap="none" spc="0" normalizeH="0" baseline="0" noProof="0">
                  <a:ln>
                    <a:noFill/>
                  </a:ln>
                  <a:solidFill>
                    <a:prstClr val="white"/>
                  </a:solidFill>
                  <a:effectLst/>
                  <a:uLnTx/>
                  <a:uFillTx/>
                  <a:latin typeface="Calibri" panose="020F0502020204030204" pitchFamily="34" charset="0"/>
                  <a:ea typeface="Open Sans Light" panose="020B0306030504020204" pitchFamily="34" charset="0"/>
                  <a:cs typeface="Calibri" panose="020F0502020204030204" pitchFamily="34" charset="0"/>
                </a:rPr>
                <a:t>81%</a:t>
              </a:r>
            </a:p>
          </p:txBody>
        </p:sp>
        <p:sp>
          <p:nvSpPr>
            <p:cNvPr id="60" name="Text Placeholder 2">
              <a:extLst>
                <a:ext uri="{FF2B5EF4-FFF2-40B4-BE49-F238E27FC236}">
                  <a16:creationId xmlns:a16="http://schemas.microsoft.com/office/drawing/2014/main" id="{C7FE1CD0-2437-B827-6AE1-56A1BDF4222E}"/>
                </a:ext>
              </a:extLst>
            </p:cNvPr>
            <p:cNvSpPr txBox="1"/>
            <p:nvPr>
              <p:custDataLst>
                <p:tags r:id="rId19"/>
              </p:custDataLst>
            </p:nvPr>
          </p:nvSpPr>
          <p:spPr>
            <a:xfrm>
              <a:off x="6333913" y="3776460"/>
              <a:ext cx="1238080" cy="510780"/>
            </a:xfrm>
            <a:prstGeom prst="rect">
              <a:avLst/>
            </a:prstGeom>
            <a:noFill/>
          </p:spPr>
          <p:txBody>
            <a:bodyPr lIns="0" tIns="0" rIns="0" bIns="18000" anchor="ctr"/>
            <a:lstStyle>
              <a:lvl1pPr marL="0" indent="0" algn="ctr" defTabSz="914400" rtl="0" eaLnBrk="1" latinLnBrk="0" hangingPunct="1">
                <a:lnSpc>
                  <a:spcPts val="1700"/>
                </a:lnSpc>
                <a:spcBef>
                  <a:spcPct val="0"/>
                </a:spcBef>
                <a:buFont typeface="Arial" panose="020B0604020202020204" pitchFamily="34" charset="0"/>
                <a:buNone/>
                <a:defRPr sz="1500" b="1" kern="1200">
                  <a:solidFill>
                    <a:schemeClr val="bg1"/>
                  </a:solidFill>
                  <a:latin typeface="Proxima Nova Rg" panose="02000506030000020004"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ts val="1700"/>
                </a:lnSpc>
                <a:spcBef>
                  <a:spcPct val="0"/>
                </a:spcBef>
                <a:spcAft>
                  <a:spcPct val="0"/>
                </a:spcAft>
                <a:buClrTx/>
                <a:buSzTx/>
                <a:buFont typeface="Arial" panose="020B0604020202020204" pitchFamily="34" charset="0"/>
                <a:buNone/>
                <a:tabLst/>
                <a:defRPr/>
              </a:pPr>
              <a:r>
                <a:rPr kumimoji="0" lang="en-US" sz="13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LATAM</a:t>
              </a:r>
            </a:p>
          </p:txBody>
        </p:sp>
        <p:sp>
          <p:nvSpPr>
            <p:cNvPr id="61" name="Text Placeholder 2">
              <a:extLst>
                <a:ext uri="{FF2B5EF4-FFF2-40B4-BE49-F238E27FC236}">
                  <a16:creationId xmlns:a16="http://schemas.microsoft.com/office/drawing/2014/main" id="{618235CE-0E06-B8E8-0A20-F45F85E51C41}"/>
                </a:ext>
              </a:extLst>
            </p:cNvPr>
            <p:cNvSpPr txBox="1"/>
            <p:nvPr>
              <p:custDataLst>
                <p:tags r:id="rId20"/>
              </p:custDataLst>
            </p:nvPr>
          </p:nvSpPr>
          <p:spPr>
            <a:xfrm>
              <a:off x="8445882" y="3526481"/>
              <a:ext cx="1238080" cy="510780"/>
            </a:xfrm>
            <a:prstGeom prst="rect">
              <a:avLst/>
            </a:prstGeom>
            <a:noFill/>
          </p:spPr>
          <p:txBody>
            <a:bodyPr lIns="0" tIns="0" rIns="0" bIns="18000" anchor="ctr"/>
            <a:lstStyle>
              <a:lvl1pPr marL="0" indent="0" algn="ctr" defTabSz="914400" rtl="0" eaLnBrk="1" latinLnBrk="0" hangingPunct="1">
                <a:lnSpc>
                  <a:spcPts val="1700"/>
                </a:lnSpc>
                <a:spcBef>
                  <a:spcPct val="0"/>
                </a:spcBef>
                <a:buFont typeface="Arial" panose="020B0604020202020204" pitchFamily="34" charset="0"/>
                <a:buNone/>
                <a:defRPr sz="1500" b="1" kern="1200">
                  <a:solidFill>
                    <a:schemeClr val="bg1"/>
                  </a:solidFill>
                  <a:latin typeface="Proxima Nova Rg" panose="02000506030000020004"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ts val="1700"/>
                </a:lnSpc>
                <a:spcBef>
                  <a:spcPct val="0"/>
                </a:spcBef>
                <a:spcAft>
                  <a:spcPct val="0"/>
                </a:spcAft>
                <a:buClrTx/>
                <a:buSzTx/>
                <a:buFont typeface="Arial" panose="020B0604020202020204" pitchFamily="34" charset="0"/>
                <a:buNone/>
                <a:tabLst/>
                <a:defRPr/>
              </a:pPr>
              <a:r>
                <a:rPr kumimoji="0" lang="en-US" sz="13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EUROPE</a:t>
              </a:r>
            </a:p>
          </p:txBody>
        </p:sp>
        <p:sp>
          <p:nvSpPr>
            <p:cNvPr id="62" name="Text Placeholder 2">
              <a:extLst>
                <a:ext uri="{FF2B5EF4-FFF2-40B4-BE49-F238E27FC236}">
                  <a16:creationId xmlns:a16="http://schemas.microsoft.com/office/drawing/2014/main" id="{A35C74B3-F1F7-35A9-735A-6D269982AFC6}"/>
                </a:ext>
              </a:extLst>
            </p:cNvPr>
            <p:cNvSpPr txBox="1"/>
            <p:nvPr>
              <p:custDataLst>
                <p:tags r:id="rId21"/>
              </p:custDataLst>
            </p:nvPr>
          </p:nvSpPr>
          <p:spPr>
            <a:xfrm>
              <a:off x="8432785" y="3927541"/>
              <a:ext cx="1238080" cy="242016"/>
            </a:xfrm>
            <a:prstGeom prst="rect">
              <a:avLst/>
            </a:prstGeom>
            <a:noFill/>
          </p:spPr>
          <p:txBody>
            <a:bodyPr lIns="0" tIns="0" rIns="0" bIns="18000" anchor="t"/>
            <a:lstStyle>
              <a:lvl1pPr marL="0" indent="0" algn="ctr" defTabSz="914400" rtl="0" eaLnBrk="1" latinLnBrk="0" hangingPunct="1">
                <a:lnSpc>
                  <a:spcPts val="1700"/>
                </a:lnSpc>
                <a:spcBef>
                  <a:spcPct val="0"/>
                </a:spcBef>
                <a:buFont typeface="Arial" panose="020B0604020202020204" pitchFamily="34" charset="0"/>
                <a:buNone/>
                <a:defRPr sz="1500" b="0" kern="1200">
                  <a:solidFill>
                    <a:schemeClr val="bg1"/>
                  </a:solidFill>
                  <a:latin typeface="Proxima Nova Lt" panose="02000506030000020004" pitchFamily="2" charset="0"/>
                  <a:ea typeface="Open Sans Light" panose="020B0306030504020204" pitchFamily="34" charset="0"/>
                  <a:cs typeface="Open Sans Light" panose="020B03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ts val="1700"/>
                </a:lnSpc>
                <a:spcBef>
                  <a:spcPct val="0"/>
                </a:spcBef>
                <a:spcAft>
                  <a:spcPct val="0"/>
                </a:spcAft>
                <a:buClrTx/>
                <a:buSzTx/>
                <a:buFont typeface="Arial" panose="020B0604020202020204" pitchFamily="34" charset="0"/>
                <a:buNone/>
                <a:tabLst/>
                <a:defRPr/>
              </a:pPr>
              <a:r>
                <a:rPr kumimoji="0" lang="en-US" sz="1800" b="1" i="0" u="none" strike="noStrike" kern="1200" cap="none" spc="0" normalizeH="0" baseline="0" noProof="0">
                  <a:ln>
                    <a:noFill/>
                  </a:ln>
                  <a:solidFill>
                    <a:prstClr val="white"/>
                  </a:solidFill>
                  <a:effectLst/>
                  <a:uLnTx/>
                  <a:uFillTx/>
                  <a:latin typeface="Calibri" panose="020F0502020204030204" pitchFamily="34" charset="0"/>
                  <a:ea typeface="Open Sans Light" panose="020B0306030504020204" pitchFamily="34" charset="0"/>
                  <a:cs typeface="Calibri" panose="020F0502020204030204" pitchFamily="34" charset="0"/>
                </a:rPr>
                <a:t>48%</a:t>
              </a:r>
            </a:p>
          </p:txBody>
        </p:sp>
        <p:sp>
          <p:nvSpPr>
            <p:cNvPr id="63" name="Text Placeholder 2">
              <a:extLst>
                <a:ext uri="{FF2B5EF4-FFF2-40B4-BE49-F238E27FC236}">
                  <a16:creationId xmlns:a16="http://schemas.microsoft.com/office/drawing/2014/main" id="{D4CB4AD4-4384-86C7-8AF5-4D3D92FC3349}"/>
                </a:ext>
              </a:extLst>
            </p:cNvPr>
            <p:cNvSpPr txBox="1"/>
            <p:nvPr>
              <p:custDataLst>
                <p:tags r:id="rId22"/>
              </p:custDataLst>
            </p:nvPr>
          </p:nvSpPr>
          <p:spPr>
            <a:xfrm>
              <a:off x="6364422" y="4171807"/>
              <a:ext cx="1238080" cy="197838"/>
            </a:xfrm>
            <a:prstGeom prst="rect">
              <a:avLst/>
            </a:prstGeom>
            <a:noFill/>
          </p:spPr>
          <p:txBody>
            <a:bodyPr lIns="0" tIns="0" rIns="0" bIns="18000" anchor="t"/>
            <a:lstStyle>
              <a:lvl1pPr marL="0" indent="0" algn="ctr" defTabSz="914400" rtl="0" eaLnBrk="1" latinLnBrk="0" hangingPunct="1">
                <a:lnSpc>
                  <a:spcPts val="1700"/>
                </a:lnSpc>
                <a:spcBef>
                  <a:spcPct val="0"/>
                </a:spcBef>
                <a:buFont typeface="Arial" panose="020B0604020202020204" pitchFamily="34" charset="0"/>
                <a:buNone/>
                <a:defRPr sz="1500" b="0" kern="1200">
                  <a:solidFill>
                    <a:schemeClr val="bg1"/>
                  </a:solidFill>
                  <a:latin typeface="Proxima Nova Lt" panose="02000506030000020004" pitchFamily="2" charset="0"/>
                  <a:ea typeface="Open Sans Light" panose="020B0306030504020204" pitchFamily="34" charset="0"/>
                  <a:cs typeface="Open Sans Light" panose="020B03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ts val="1700"/>
                </a:lnSpc>
                <a:spcBef>
                  <a:spcPct val="0"/>
                </a:spcBef>
                <a:spcAft>
                  <a:spcPct val="0"/>
                </a:spcAft>
                <a:buClrTx/>
                <a:buSzTx/>
                <a:buFont typeface="Arial" panose="020B0604020202020204" pitchFamily="34" charset="0"/>
                <a:buNone/>
                <a:tabLst/>
                <a:defRPr/>
              </a:pPr>
              <a:r>
                <a:rPr kumimoji="0" lang="en-US" sz="1800" b="1" i="0" u="none" strike="noStrike" kern="1200" cap="none" spc="0" normalizeH="0" baseline="0" noProof="0">
                  <a:ln>
                    <a:noFill/>
                  </a:ln>
                  <a:solidFill>
                    <a:prstClr val="white"/>
                  </a:solidFill>
                  <a:effectLst/>
                  <a:uLnTx/>
                  <a:uFillTx/>
                  <a:latin typeface="Calibri" panose="020F0502020204030204" pitchFamily="34" charset="0"/>
                  <a:ea typeface="Open Sans Light" panose="020B0306030504020204" pitchFamily="34" charset="0"/>
                  <a:cs typeface="Calibri" panose="020F0502020204030204" pitchFamily="34" charset="0"/>
                </a:rPr>
                <a:t>39%</a:t>
              </a:r>
            </a:p>
          </p:txBody>
        </p:sp>
        <p:sp>
          <p:nvSpPr>
            <p:cNvPr id="77" name="Text Placeholder 2">
              <a:extLst>
                <a:ext uri="{FF2B5EF4-FFF2-40B4-BE49-F238E27FC236}">
                  <a16:creationId xmlns:a16="http://schemas.microsoft.com/office/drawing/2014/main" id="{7CC89CAF-CF02-2E14-DC9F-ED8DE7250244}"/>
                </a:ext>
              </a:extLst>
            </p:cNvPr>
            <p:cNvSpPr txBox="1"/>
            <p:nvPr>
              <p:custDataLst>
                <p:tags r:id="rId23"/>
              </p:custDataLst>
            </p:nvPr>
          </p:nvSpPr>
          <p:spPr>
            <a:xfrm flipH="1">
              <a:off x="11537436" y="3192699"/>
              <a:ext cx="1238080" cy="249164"/>
            </a:xfrm>
            <a:prstGeom prst="rect">
              <a:avLst/>
            </a:prstGeom>
            <a:noFill/>
          </p:spPr>
          <p:txBody>
            <a:bodyPr lIns="0" tIns="0" rIns="0" bIns="18000" anchor="ctr"/>
            <a:lstStyle>
              <a:lvl1pPr marL="0" indent="0" algn="ctr" defTabSz="914400" rtl="0" eaLnBrk="1" latinLnBrk="0" hangingPunct="1">
                <a:lnSpc>
                  <a:spcPts val="1700"/>
                </a:lnSpc>
                <a:spcBef>
                  <a:spcPct val="0"/>
                </a:spcBef>
                <a:buFont typeface="Arial" panose="020B0604020202020204" pitchFamily="34" charset="0"/>
                <a:buNone/>
                <a:defRPr sz="1500" b="1" kern="1200">
                  <a:solidFill>
                    <a:schemeClr val="bg1"/>
                  </a:solidFill>
                  <a:latin typeface="Proxima Nova Rg" panose="02000506030000020004"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ts val="1700"/>
                </a:lnSpc>
                <a:spcBef>
                  <a:spcPct val="0"/>
                </a:spcBef>
                <a:spcAft>
                  <a:spcPct val="0"/>
                </a:spcAft>
                <a:buClrTx/>
                <a:buSzTx/>
                <a:buFont typeface="Arial" panose="020B0604020202020204" pitchFamily="34" charset="0"/>
                <a:buNone/>
                <a:tabLst/>
                <a:defRPr/>
              </a:pPr>
              <a:r>
                <a:rPr kumimoji="0" lang="en-US" sz="13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HINA</a:t>
              </a:r>
            </a:p>
          </p:txBody>
        </p:sp>
        <p:sp>
          <p:nvSpPr>
            <p:cNvPr id="79" name="Text Placeholder 2">
              <a:extLst>
                <a:ext uri="{FF2B5EF4-FFF2-40B4-BE49-F238E27FC236}">
                  <a16:creationId xmlns:a16="http://schemas.microsoft.com/office/drawing/2014/main" id="{903AC83A-2AD4-5C13-F20D-002500EA1E51}"/>
                </a:ext>
              </a:extLst>
            </p:cNvPr>
            <p:cNvSpPr txBox="1"/>
            <p:nvPr>
              <p:custDataLst>
                <p:tags r:id="rId24"/>
              </p:custDataLst>
            </p:nvPr>
          </p:nvSpPr>
          <p:spPr>
            <a:xfrm flipH="1">
              <a:off x="11549593" y="3441863"/>
              <a:ext cx="1238080" cy="206835"/>
            </a:xfrm>
            <a:prstGeom prst="rect">
              <a:avLst/>
            </a:prstGeom>
            <a:noFill/>
          </p:spPr>
          <p:txBody>
            <a:bodyPr lIns="0" tIns="0" rIns="0" bIns="18000" anchor="t"/>
            <a:lstStyle>
              <a:lvl1pPr marL="0" indent="0" algn="ctr" defTabSz="914400" rtl="0" eaLnBrk="1" latinLnBrk="0" hangingPunct="1">
                <a:lnSpc>
                  <a:spcPts val="1700"/>
                </a:lnSpc>
                <a:spcBef>
                  <a:spcPct val="0"/>
                </a:spcBef>
                <a:buFont typeface="Arial" panose="020B0604020202020204" pitchFamily="34" charset="0"/>
                <a:buNone/>
                <a:defRPr sz="1500" b="0" kern="1200">
                  <a:solidFill>
                    <a:schemeClr val="bg1"/>
                  </a:solidFill>
                  <a:latin typeface="Proxima Nova Lt" panose="02000506030000020004" pitchFamily="2" charset="0"/>
                  <a:ea typeface="Open Sans Light" panose="020B0306030504020204" pitchFamily="34" charset="0"/>
                  <a:cs typeface="Open Sans Light" panose="020B03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ts val="1700"/>
                </a:lnSpc>
                <a:spcBef>
                  <a:spcPct val="0"/>
                </a:spcBef>
                <a:spcAft>
                  <a:spcPct val="0"/>
                </a:spcAft>
                <a:buClrTx/>
                <a:buSzTx/>
                <a:buFont typeface="Arial" panose="020B0604020202020204" pitchFamily="34" charset="0"/>
                <a:buNone/>
                <a:tabLst/>
                <a:defRPr/>
              </a:pPr>
              <a:r>
                <a:rPr kumimoji="0" lang="en-US" sz="1800" b="1" i="0" u="none" strike="noStrike" kern="1200" cap="none" spc="0" normalizeH="0" baseline="0" noProof="0">
                  <a:ln>
                    <a:noFill/>
                  </a:ln>
                  <a:solidFill>
                    <a:prstClr val="white"/>
                  </a:solidFill>
                  <a:effectLst/>
                  <a:uLnTx/>
                  <a:uFillTx/>
                  <a:latin typeface="Calibri" panose="020F0502020204030204" pitchFamily="34" charset="0"/>
                  <a:ea typeface="Open Sans Light" panose="020B0306030504020204" pitchFamily="34" charset="0"/>
                  <a:cs typeface="Calibri" panose="020F0502020204030204" pitchFamily="34" charset="0"/>
                </a:rPr>
                <a:t>39%</a:t>
              </a:r>
            </a:p>
          </p:txBody>
        </p:sp>
        <p:sp>
          <p:nvSpPr>
            <p:cNvPr id="85" name="Text Placeholder 2">
              <a:extLst>
                <a:ext uri="{FF2B5EF4-FFF2-40B4-BE49-F238E27FC236}">
                  <a16:creationId xmlns:a16="http://schemas.microsoft.com/office/drawing/2014/main" id="{0696B6F8-32B2-D32B-1048-510A4F35ECEE}"/>
                </a:ext>
              </a:extLst>
            </p:cNvPr>
            <p:cNvSpPr txBox="1"/>
            <p:nvPr>
              <p:custDataLst>
                <p:tags r:id="rId25"/>
              </p:custDataLst>
            </p:nvPr>
          </p:nvSpPr>
          <p:spPr>
            <a:xfrm>
              <a:off x="10578687" y="4512127"/>
              <a:ext cx="1238080" cy="510780"/>
            </a:xfrm>
            <a:prstGeom prst="rect">
              <a:avLst/>
            </a:prstGeom>
            <a:noFill/>
          </p:spPr>
          <p:txBody>
            <a:bodyPr lIns="0" tIns="0" rIns="0" bIns="18000" anchor="ctr"/>
            <a:lstStyle>
              <a:lvl1pPr marL="0" indent="0" algn="ctr" defTabSz="914400" rtl="0" eaLnBrk="1" latinLnBrk="0" hangingPunct="1">
                <a:lnSpc>
                  <a:spcPts val="1700"/>
                </a:lnSpc>
                <a:spcBef>
                  <a:spcPct val="0"/>
                </a:spcBef>
                <a:buFont typeface="Arial" panose="020B0604020202020204" pitchFamily="34" charset="0"/>
                <a:buNone/>
                <a:defRPr sz="1500" b="1" kern="1200">
                  <a:solidFill>
                    <a:schemeClr val="bg1"/>
                  </a:solidFill>
                  <a:latin typeface="Proxima Nova Rg" panose="02000506030000020004"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ts val="1700"/>
                </a:lnSpc>
                <a:spcBef>
                  <a:spcPct val="0"/>
                </a:spcBef>
                <a:spcAft>
                  <a:spcPct val="0"/>
                </a:spcAft>
                <a:buClrTx/>
                <a:buSzTx/>
                <a:buFont typeface="Arial" panose="020B0604020202020204" pitchFamily="34" charset="0"/>
                <a:buNone/>
                <a:tabLst/>
                <a:defRPr/>
              </a:pPr>
              <a:r>
                <a:rPr kumimoji="0" lang="en-US" sz="13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Z</a:t>
              </a:r>
            </a:p>
          </p:txBody>
        </p:sp>
        <p:sp>
          <p:nvSpPr>
            <p:cNvPr id="86" name="Text Placeholder 2">
              <a:extLst>
                <a:ext uri="{FF2B5EF4-FFF2-40B4-BE49-F238E27FC236}">
                  <a16:creationId xmlns:a16="http://schemas.microsoft.com/office/drawing/2014/main" id="{8803ABAC-0AA6-7EA8-95E9-E5FBF1CB6562}"/>
                </a:ext>
              </a:extLst>
            </p:cNvPr>
            <p:cNvSpPr txBox="1"/>
            <p:nvPr>
              <p:custDataLst>
                <p:tags r:id="rId26"/>
              </p:custDataLst>
            </p:nvPr>
          </p:nvSpPr>
          <p:spPr>
            <a:xfrm>
              <a:off x="10594096" y="4878693"/>
              <a:ext cx="1238080" cy="197838"/>
            </a:xfrm>
            <a:prstGeom prst="rect">
              <a:avLst/>
            </a:prstGeom>
            <a:noFill/>
          </p:spPr>
          <p:txBody>
            <a:bodyPr lIns="0" tIns="0" rIns="0" bIns="18000" anchor="t"/>
            <a:lstStyle>
              <a:lvl1pPr marL="0" indent="0" algn="ctr" defTabSz="914400" rtl="0" eaLnBrk="1" latinLnBrk="0" hangingPunct="1">
                <a:lnSpc>
                  <a:spcPts val="1700"/>
                </a:lnSpc>
                <a:spcBef>
                  <a:spcPct val="0"/>
                </a:spcBef>
                <a:buFont typeface="Arial" panose="020B0604020202020204" pitchFamily="34" charset="0"/>
                <a:buNone/>
                <a:defRPr sz="1500" b="0" kern="1200">
                  <a:solidFill>
                    <a:schemeClr val="bg1"/>
                  </a:solidFill>
                  <a:latin typeface="Proxima Nova Lt" panose="02000506030000020004" pitchFamily="2" charset="0"/>
                  <a:ea typeface="Open Sans Light" panose="020B0306030504020204" pitchFamily="34" charset="0"/>
                  <a:cs typeface="Open Sans Light" panose="020B03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ts val="1700"/>
                </a:lnSpc>
                <a:spcBef>
                  <a:spcPct val="0"/>
                </a:spcBef>
                <a:spcAft>
                  <a:spcPct val="0"/>
                </a:spcAft>
                <a:buClrTx/>
                <a:buSzTx/>
                <a:buFont typeface="Arial" panose="020B0604020202020204" pitchFamily="34" charset="0"/>
                <a:buNone/>
                <a:tabLst/>
                <a:defRPr/>
              </a:pPr>
              <a:r>
                <a:rPr kumimoji="0" lang="en-US" sz="1800" b="1" i="0" u="none" strike="noStrike" kern="1200" cap="none" spc="0" normalizeH="0" baseline="0" noProof="0">
                  <a:ln>
                    <a:noFill/>
                  </a:ln>
                  <a:solidFill>
                    <a:prstClr val="white"/>
                  </a:solidFill>
                  <a:effectLst/>
                  <a:uLnTx/>
                  <a:uFillTx/>
                  <a:latin typeface="Calibri" panose="020F0502020204030204" pitchFamily="34" charset="0"/>
                  <a:ea typeface="Open Sans Light" panose="020B0306030504020204" pitchFamily="34" charset="0"/>
                  <a:cs typeface="Calibri" panose="020F0502020204030204" pitchFamily="34" charset="0"/>
                </a:rPr>
                <a:t>60%</a:t>
              </a:r>
            </a:p>
          </p:txBody>
        </p:sp>
      </p:grpSp>
      <p:sp>
        <p:nvSpPr>
          <p:cNvPr id="74" name="TextBox 73">
            <a:extLst>
              <a:ext uri="{FF2B5EF4-FFF2-40B4-BE49-F238E27FC236}">
                <a16:creationId xmlns:a16="http://schemas.microsoft.com/office/drawing/2014/main" id="{3197F503-0C31-A3BC-E5F6-565EFFAA5EF8}"/>
              </a:ext>
            </a:extLst>
          </p:cNvPr>
          <p:cNvSpPr txBox="1"/>
          <p:nvPr>
            <p:custDataLst>
              <p:tags r:id="rId2"/>
            </p:custDataLst>
          </p:nvPr>
        </p:nvSpPr>
        <p:spPr>
          <a:xfrm>
            <a:off x="1104376" y="1322621"/>
            <a:ext cx="9317528" cy="261610"/>
          </a:xfrm>
          <a:prstGeom prst="rect">
            <a:avLst/>
          </a:prstGeom>
          <a:noFill/>
        </p:spPr>
        <p:txBody>
          <a:bodyPr wrap="square">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t>% of yogurt launches with one or more functional claims within overall yogurt launches (Global 2024; CAGR 2024 vs 2020)</a:t>
            </a:r>
            <a:br/>
            <a:r>
              <a:t>具有一个或多个功能性声明的酸奶新品发布在全球酸奶新品发布中的占比（全球2024年；2024年对比2020年的复合年增长率）</a:t>
            </a:r>
            <a:endParaRPr kumimoji="0" lang="en-NL" sz="1100" b="0" i="0" u="none" strike="noStrike" kern="1200" cap="none" spc="0" normalizeH="0" baseline="0" noProof="0">
              <a:ln>
                <a:noFill/>
              </a:ln>
              <a:solidFill>
                <a:srgbClr val="0D0740"/>
              </a:solidFill>
              <a:effectLst/>
              <a:uLnTx/>
              <a:uFillTx/>
              <a:ea typeface="+mn-ea"/>
              <a:cs typeface="Arial"/>
            </a:endParaRPr>
          </a:p>
        </p:txBody>
      </p:sp>
      <p:sp>
        <p:nvSpPr>
          <p:cNvPr id="75" name="Text Placeholder 8">
            <a:extLst>
              <a:ext uri="{FF2B5EF4-FFF2-40B4-BE49-F238E27FC236}">
                <a16:creationId xmlns:a16="http://schemas.microsoft.com/office/drawing/2014/main" id="{2961FA4C-9A04-23CB-26BD-6B4B71614456}"/>
              </a:ext>
            </a:extLst>
          </p:cNvPr>
          <p:cNvSpPr txBox="1"/>
          <p:nvPr>
            <p:custDataLst>
              <p:tags r:id="rId3"/>
            </p:custDataLst>
          </p:nvPr>
        </p:nvSpPr>
        <p:spPr>
          <a:xfrm>
            <a:off x="492454" y="1334019"/>
            <a:ext cx="779490" cy="360362"/>
          </a:xfrm>
          <a:prstGeom prst="rect">
            <a:avLst/>
          </a:prstGeom>
        </p:spPr>
        <p:txBody>
          <a:bodyPr>
            <a:normAutofit/>
          </a:bodyPr>
          <a:lstStyle>
            <a:lvl1pPr marL="171450" indent="-171450" algn="l" defTabSz="914400" rtl="0" eaLnBrk="1" latinLnBrk="0" hangingPunct="1">
              <a:lnSpc>
                <a:spcPts val="1400"/>
              </a:lnSpc>
              <a:spcBef>
                <a:spcPts val="600"/>
              </a:spcBef>
              <a:spcAft>
                <a:spcPts val="600"/>
              </a:spcAft>
              <a:buClr>
                <a:schemeClr val="bg2"/>
              </a:buClr>
              <a:buFont typeface="Arial" panose="020B0604020202020204" pitchFamily="34" charset="0"/>
              <a:buChar char="•"/>
              <a:defRPr sz="1200" kern="1200">
                <a:solidFill>
                  <a:schemeClr val="tx2"/>
                </a:solidFill>
                <a:latin typeface="+mn-lt"/>
                <a:ea typeface="+mn-ea"/>
                <a:cs typeface="+mn-cs"/>
              </a:defRPr>
            </a:lvl1pPr>
            <a:lvl2pPr marL="685800" indent="-228600" algn="l" defTabSz="914400" rtl="0" eaLnBrk="1" latinLnBrk="0" hangingPunct="1">
              <a:lnSpc>
                <a:spcPct val="100000"/>
              </a:lnSpc>
              <a:spcBef>
                <a:spcPts val="600"/>
              </a:spcBef>
              <a:buClr>
                <a:schemeClr val="accent1"/>
              </a:buClr>
              <a:buFont typeface="Arial" panose="020B0604020202020204" pitchFamily="34" charset="0"/>
              <a:buChar char="•"/>
              <a:defRPr sz="1200" kern="1200">
                <a:solidFill>
                  <a:schemeClr val="tx2"/>
                </a:solidFill>
                <a:latin typeface="+mn-lt"/>
                <a:ea typeface="+mn-ea"/>
                <a:cs typeface="+mn-cs"/>
              </a:defRPr>
            </a:lvl2pPr>
            <a:lvl3pPr marL="1143000" indent="-228600" algn="l" defTabSz="914400" rtl="0" eaLnBrk="1" latinLnBrk="0" hangingPunct="1">
              <a:lnSpc>
                <a:spcPct val="100000"/>
              </a:lnSpc>
              <a:spcBef>
                <a:spcPts val="600"/>
              </a:spcBef>
              <a:buClr>
                <a:schemeClr val="accent1"/>
              </a:buClr>
              <a:buFont typeface="Arial" panose="020B0604020202020204" pitchFamily="34" charset="0"/>
              <a:buChar char="•"/>
              <a:defRPr sz="1200" kern="1200">
                <a:solidFill>
                  <a:schemeClr val="tx2"/>
                </a:solidFill>
                <a:latin typeface="+mn-lt"/>
                <a:ea typeface="+mn-ea"/>
                <a:cs typeface="+mn-cs"/>
              </a:defRPr>
            </a:lvl3pPr>
            <a:lvl4pPr marL="1543050" indent="-171450" algn="l" defTabSz="914400" rtl="0" eaLnBrk="1" latinLnBrk="0" hangingPunct="1">
              <a:lnSpc>
                <a:spcPct val="100000"/>
              </a:lnSpc>
              <a:spcBef>
                <a:spcPts val="600"/>
              </a:spcBef>
              <a:buClr>
                <a:schemeClr val="accent1"/>
              </a:buClr>
              <a:buFont typeface="Arial" panose="020B0604020202020204" pitchFamily="34" charset="0"/>
              <a:buChar char="•"/>
              <a:defRPr sz="1200" kern="1200">
                <a:solidFill>
                  <a:schemeClr val="tx2"/>
                </a:solidFill>
                <a:latin typeface="+mn-lt"/>
                <a:ea typeface="+mn-ea"/>
                <a:cs typeface="+mn-cs"/>
              </a:defRPr>
            </a:lvl4pPr>
            <a:lvl5pPr marL="2057400" indent="-228600"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1400"/>
              </a:lnSpc>
              <a:spcBef>
                <a:spcPts val="600"/>
              </a:spcBef>
              <a:spcAft>
                <a:spcPts val="600"/>
              </a:spcAft>
              <a:buClr>
                <a:srgbClr val="E7E6E6"/>
              </a:buClr>
              <a:buSzTx/>
              <a:buFont typeface="Arial" panose="020B0604020202020204" pitchFamily="34" charset="0"/>
              <a:buNone/>
              <a:tabLst/>
              <a:defRPr/>
            </a:pPr>
            <a:r>
              <a:t>Figure:</a:t>
            </a:r>
            <a:br/>
            <a:r>
              <a:t>图：</a:t>
            </a:r>
            <a:endParaRPr kumimoji="0" lang="en-IN" sz="1100" b="1" i="0" u="none" strike="noStrike" kern="1200" cap="none" spc="0" normalizeH="0" baseline="0" noProof="0">
              <a:ln>
                <a:noFill/>
              </a:ln>
              <a:solidFill>
                <a:srgbClr val="0D0740"/>
              </a:solidFill>
              <a:effectLst/>
              <a:uLnTx/>
              <a:uFillTx/>
              <a:ea typeface="+mn-ea"/>
              <a:cs typeface="Arial"/>
            </a:endParaRPr>
          </a:p>
        </p:txBody>
      </p:sp>
      <p:pic>
        <p:nvPicPr>
          <p:cNvPr id="41" name="Afbeelding 34">
            <a:extLst>
              <a:ext uri="{FF2B5EF4-FFF2-40B4-BE49-F238E27FC236}">
                <a16:creationId xmlns:a16="http://schemas.microsoft.com/office/drawing/2014/main" id="{D1343B1F-B127-4148-F8CF-56975D6F2E44}"/>
              </a:ext>
            </a:extLst>
          </p:cNvPr>
          <p:cNvPicPr>
            <a:picLocks noChangeAspect="1"/>
          </p:cNvPicPr>
          <p:nvPr>
            <p:custDataLst>
              <p:tags r:id="rId4"/>
            </p:custDataLst>
          </p:nvPr>
        </p:nvPicPr>
        <p:blipFill>
          <a:blip r:embed="rId40">
            <a:duotone>
              <a:prstClr val="black"/>
              <a:srgbClr val="2B2399">
                <a:tint val="45000"/>
                <a:satMod val="400000"/>
              </a:srgbClr>
            </a:duotone>
            <a:alphaModFix amt="30000"/>
          </a:blip>
          <a:stretch>
            <a:fillRect/>
          </a:stretch>
        </p:blipFill>
        <p:spPr>
          <a:xfrm>
            <a:off x="1594556" y="1731070"/>
            <a:ext cx="8827348" cy="4472347"/>
          </a:xfrm>
          <a:prstGeom prst="rect">
            <a:avLst/>
          </a:prstGeom>
        </p:spPr>
      </p:pic>
      <p:sp>
        <p:nvSpPr>
          <p:cNvPr id="7" name="Footer Placeholder 21">
            <a:extLst>
              <a:ext uri="{FF2B5EF4-FFF2-40B4-BE49-F238E27FC236}">
                <a16:creationId xmlns:a16="http://schemas.microsoft.com/office/drawing/2014/main" id="{A0DF7FF4-742E-37C6-1E58-EEFEE044EA7C}"/>
              </a:ext>
            </a:extLst>
          </p:cNvPr>
          <p:cNvSpPr>
            <a:spLocks noGrp="1"/>
          </p:cNvSpPr>
          <p:nvPr>
            <p:ph type="ftr" sz="quarter" idx="11"/>
          </p:nvPr>
        </p:nvSpPr>
        <p:spPr>
          <a:xfrm>
            <a:off x="936000" y="6547173"/>
            <a:ext cx="3391954" cy="102657"/>
          </a:xfrm>
        </p:spPr>
        <p:txBody>
          <a:bodyPr>
            <a:normAutofit/>
          </a:bodyPr>
          <a:lstStyle/>
          <a:p>
            <a:r>
              <a:t>FrieslandCampina Ingredients  | Confidential | Source: Innova database, 2025</a:t>
            </a:r>
            <a:br/>
            <a:r>
              <a:t>FrieslandCampina Ingredients  | 机密 | 资料来源：Innova数据库，2025年</a:t>
            </a:r>
          </a:p>
        </p:txBody>
      </p:sp>
      <p:pic>
        <p:nvPicPr>
          <p:cNvPr id="3" name="Picture Placeholder 27">
            <a:extLst>
              <a:ext uri="{FF2B5EF4-FFF2-40B4-BE49-F238E27FC236}">
                <a16:creationId xmlns:a16="http://schemas.microsoft.com/office/drawing/2014/main" id="{147EBC7A-8E40-7FA1-BE8F-DA57891F3AC5}"/>
              </a:ext>
            </a:extLst>
          </p:cNvPr>
          <p:cNvPicPr>
            <a:picLocks noChangeAspect="1"/>
          </p:cNvPicPr>
          <p:nvPr/>
        </p:nvPicPr>
        <p:blipFill>
          <a:blip r:embed="rId41">
            <a:extLst>
              <a:ext uri="{28A0092B-C50C-407E-A947-70E740481C1C}">
                <a14:useLocalDpi xmlns:a14="http://schemas.microsoft.com/office/drawing/2010/main" val="0"/>
              </a:ext>
            </a:extLst>
          </a:blip>
          <a:srcRect t="3909" b="3909"/>
          <a:stretch/>
        </p:blipFill>
        <p:spPr>
          <a:xfrm>
            <a:off x="10279063" y="0"/>
            <a:ext cx="1912937" cy="1870075"/>
          </a:xfrm>
          <a:prstGeom prst="rect">
            <a:avLst/>
          </a:prstGeom>
        </p:spPr>
      </p:pic>
    </p:spTree>
    <p:extLst>
      <p:ext uri="{BB962C8B-B14F-4D97-AF65-F5344CB8AC3E}">
        <p14:creationId xmlns:p14="http://schemas.microsoft.com/office/powerpoint/2010/main" val="2312278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D237B84-D430-03B0-D812-FC586BCD9E5F}"/>
              </a:ext>
            </a:extLst>
          </p:cNvPr>
          <p:cNvGraphicFramePr>
            <a:graphicFrameLocks noChangeAspect="1"/>
          </p:cNvGraphicFramePr>
          <p:nvPr>
            <p:custDataLst>
              <p:tags r:id="rId1"/>
            </p:custDataLst>
            <p:extLst>
              <p:ext uri="{D42A27DB-BD31-4B8C-83A1-F6EECF244321}">
                <p14:modId xmlns:p14="http://schemas.microsoft.com/office/powerpoint/2010/main" val="2046822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id="{8D237B84-D430-03B0-D812-FC586BCD9E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descr="New study confirms GLP-1 medications are safe for mental health in diabetes">
            <a:extLst>
              <a:ext uri="{FF2B5EF4-FFF2-40B4-BE49-F238E27FC236}">
                <a16:creationId xmlns:a16="http://schemas.microsoft.com/office/drawing/2014/main" id="{685FCB58-4896-0E76-3489-E89A72740E3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200" y="-538923"/>
            <a:ext cx="12268200" cy="7887873"/>
          </a:xfrm>
          <a:prstGeom prst="rect">
            <a:avLst/>
          </a:prstGeom>
          <a:noFill/>
          <a:extLst>
            <a:ext uri="{909E8E84-426E-40DD-AFC4-6F175D3DCCD1}">
              <a14:hiddenFill xmlns:a14="http://schemas.microsoft.com/office/drawing/2010/main">
                <a:solidFill>
                  <a:srgbClr val="FFFFFF"/>
                </a:solidFill>
              </a14:hiddenFill>
            </a:ext>
          </a:extLst>
        </p:spPr>
      </p:pic>
      <p:sp>
        <p:nvSpPr>
          <p:cNvPr id="3" name="Footer Placeholder 2">
            <a:extLst>
              <a:ext uri="{FF2B5EF4-FFF2-40B4-BE49-F238E27FC236}">
                <a16:creationId xmlns:a16="http://schemas.microsoft.com/office/drawing/2014/main" id="{6AAB2D72-280F-7E41-C672-003FA1243790}"/>
              </a:ext>
            </a:extLst>
          </p:cNvPr>
          <p:cNvSpPr>
            <a:spLocks noGrp="1"/>
          </p:cNvSpPr>
          <p:nvPr>
            <p:ph type="ftr" sz="quarter" idx="11"/>
          </p:nvPr>
        </p:nvSpPr>
        <p:spPr/>
        <p:txBody>
          <a:bodyPr>
            <a:normAutofit/>
          </a:bodyPr>
          <a:lstStyle/>
          <a:p>
            <a:r>
              <a:t>Source: Innova Market Insights</a:t>
            </a:r>
            <a:br/>
            <a:r>
              <a:t>来源：Innova Market Insights</a:t>
            </a:r>
            <a:endParaRPr lang="en-US" b="0">
              <a:solidFill>
                <a:srgbClr val="555555"/>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47577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DD9EAE3-3640-445C-7188-D55F2E609A9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2" name="think-cell data - do not delete" hidden="1">
                        <a:extLst>
                          <a:ext uri="{FF2B5EF4-FFF2-40B4-BE49-F238E27FC236}">
                            <a16:creationId xmlns:a16="http://schemas.microsoft.com/office/drawing/2014/main" id="{3DD9EAE3-3640-445C-7188-D55F2E609A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79FAEC2-1F71-1A27-A318-A36E0A304FA7}"/>
              </a:ext>
            </a:extLst>
          </p:cNvPr>
          <p:cNvSpPr>
            <a:spLocks noGrp="1"/>
          </p:cNvSpPr>
          <p:nvPr>
            <p:ph type="title"/>
          </p:nvPr>
        </p:nvSpPr>
        <p:spPr>
          <a:xfrm>
            <a:off x="5303521" y="402495"/>
            <a:ext cx="6133228" cy="1036965"/>
          </a:xfrm>
        </p:spPr>
        <p:txBody>
          <a:bodyPr vert="horz">
            <a:normAutofit/>
          </a:bodyPr>
          <a:lstStyle/>
          <a:p>
            <a:r>
              <a:t>The Anti Obesity Medicines (AOMs): market is much bigger and growing faster than anticipated</a:t>
            </a:r>
            <a:br/>
            <a:r>
              <a:t>抗肥胖药物（AOMs）市场比预期的更大且增长更快</a:t>
            </a:r>
            <a:endParaRPr lang="en-NL"/>
          </a:p>
        </p:txBody>
      </p:sp>
      <p:sp>
        <p:nvSpPr>
          <p:cNvPr id="3" name="Slide Number Placeholder 2">
            <a:extLst>
              <a:ext uri="{FF2B5EF4-FFF2-40B4-BE49-F238E27FC236}">
                <a16:creationId xmlns:a16="http://schemas.microsoft.com/office/drawing/2014/main" id="{1152306D-5ED6-35A3-1841-C6D2AD6673A8}"/>
              </a:ext>
            </a:extLst>
          </p:cNvPr>
          <p:cNvSpPr>
            <a:spLocks noGrp="1"/>
          </p:cNvSpPr>
          <p:nvPr>
            <p:ph type="sldNum" sz="quarter" idx="11"/>
          </p:nvPr>
        </p:nvSpPr>
        <p:spPr>
          <a:xfrm>
            <a:off x="889600" y="8746673"/>
            <a:ext cx="54502" cy="102657"/>
          </a:xfrm>
        </p:spPr>
        <p:txBody>
          <a:bodyPr>
            <a:norm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fld id="{9BE0E23E-9022-4929-B297-EB2777CDBB1F}" type="slidenum">
              <a:rPr kumimoji="0" lang="en-US" sz="667" b="0" i="0" u="none" strike="noStrike" kern="1200" cap="none" spc="0" normalizeH="0" baseline="0" noProof="0">
                <a:ln>
                  <a:noFill/>
                </a:ln>
                <a:solidFill>
                  <a:srgbClr val="2C353A">
                    <a:tint val="75000"/>
                  </a:srgbClr>
                </a:solidFill>
                <a:effectLst/>
                <a:uLnTx/>
                <a:uFillTx/>
                <a:latin typeface="Verdana"/>
                <a:ea typeface="+mn-ea"/>
                <a:cs typeface="+mn-cs"/>
              </a:rPr>
              <a:pPr marL="0" marR="0" lvl="0" indent="0" algn="l" defTabSz="609585" rtl="0" eaLnBrk="1" fontAlgn="auto" latinLnBrk="0" hangingPunct="1">
                <a:lnSpc>
                  <a:spcPct val="100000"/>
                </a:lnSpc>
                <a:spcBef>
                  <a:spcPts val="0"/>
                </a:spcBef>
                <a:spcAft>
                  <a:spcPts val="0"/>
                </a:spcAft>
                <a:buClrTx/>
                <a:buSzTx/>
                <a:buFontTx/>
                <a:buNone/>
                <a:tabLst/>
                <a:defRPr/>
              </a:pPr>
              <a:t>17</a:t>
            </a:fld>
            <a:endParaRPr kumimoji="0" lang="en-US" sz="667" b="0" i="0" u="none" strike="noStrike" kern="1200" cap="none" spc="0" normalizeH="0" baseline="0" noProof="0">
              <a:ln>
                <a:noFill/>
              </a:ln>
              <a:solidFill>
                <a:srgbClr val="2C353A">
                  <a:tint val="75000"/>
                </a:srgbClr>
              </a:solidFill>
              <a:effectLst/>
              <a:uLnTx/>
              <a:uFillTx/>
              <a:latin typeface="Verdana"/>
              <a:ea typeface="+mn-ea"/>
              <a:cs typeface="+mn-cs"/>
            </a:endParaRPr>
          </a:p>
        </p:txBody>
      </p:sp>
      <p:pic>
        <p:nvPicPr>
          <p:cNvPr id="7" name="Picture Placeholder 6">
            <a:extLst>
              <a:ext uri="{FF2B5EF4-FFF2-40B4-BE49-F238E27FC236}">
                <a16:creationId xmlns:a16="http://schemas.microsoft.com/office/drawing/2014/main" id="{9F8890DA-D2FB-C0DA-9779-BE50E6FA32FE}"/>
              </a:ext>
            </a:extLst>
          </p:cNvPr>
          <p:cNvPicPr>
            <a:picLocks noGrp="1" noChangeAspect="1"/>
          </p:cNvPicPr>
          <p:nvPr>
            <p:ph type="pic" sz="quarter" idx="14"/>
          </p:nvPr>
        </p:nvPicPr>
        <p:blipFill rotWithShape="1">
          <a:blip r:embed="rId6" cstate="print">
            <a:extLst>
              <a:ext uri="{28A0092B-C50C-407E-A947-70E740481C1C}">
                <a14:useLocalDpi xmlns:a14="http://schemas.microsoft.com/office/drawing/2010/main"/>
              </a:ext>
            </a:extLst>
          </a:blip>
          <a:srcRect/>
          <a:stretch/>
        </p:blipFill>
        <p:spPr>
          <a:xfrm flipH="1">
            <a:off x="-1738460" y="1027"/>
            <a:ext cx="7123261" cy="6868924"/>
          </a:xfrm>
        </p:spPr>
      </p:pic>
      <p:sp>
        <p:nvSpPr>
          <p:cNvPr id="14" name="TextBox 13">
            <a:extLst>
              <a:ext uri="{FF2B5EF4-FFF2-40B4-BE49-F238E27FC236}">
                <a16:creationId xmlns:a16="http://schemas.microsoft.com/office/drawing/2014/main" id="{1509B6B2-1D4F-FD83-C7FB-DB1F090D843B}"/>
              </a:ext>
            </a:extLst>
          </p:cNvPr>
          <p:cNvSpPr txBox="1"/>
          <p:nvPr/>
        </p:nvSpPr>
        <p:spPr>
          <a:xfrm>
            <a:off x="7746549" y="1846827"/>
            <a:ext cx="3606265" cy="571247"/>
          </a:xfrm>
          <a:prstGeom prst="rect">
            <a:avLst/>
          </a:prstGeom>
          <a:noFill/>
        </p:spPr>
        <p:txBody>
          <a:bodyPr wrap="square" lIns="0" tIns="0" rIns="0" bIns="0" rtlCol="0">
            <a:normAutofit/>
          </a:bodyPr>
          <a:lstStyle/>
          <a:p>
            <a:pPr marL="0" marR="0" lvl="0" indent="0" algn="l" defTabSz="609585" rtl="0" eaLnBrk="1" fontAlgn="auto" latinLnBrk="0" hangingPunct="1">
              <a:lnSpc>
                <a:spcPct val="112000"/>
              </a:lnSpc>
              <a:spcBef>
                <a:spcPts val="0"/>
              </a:spcBef>
              <a:spcAft>
                <a:spcPts val="0"/>
              </a:spcAft>
              <a:buClrTx/>
              <a:buSzTx/>
              <a:buFontTx/>
              <a:buNone/>
              <a:tabLst/>
              <a:defRPr/>
            </a:pPr>
            <a:r>
              <a:t>~40% Americans1 ~1 bln people 20302</a:t>
            </a:r>
            <a:br/>
            <a:r>
              <a:t>约40%的美国人1 2030年约10亿人2</a:t>
            </a:r>
          </a:p>
        </p:txBody>
      </p:sp>
      <p:sp>
        <p:nvSpPr>
          <p:cNvPr id="15" name="TextBox 14">
            <a:extLst>
              <a:ext uri="{FF2B5EF4-FFF2-40B4-BE49-F238E27FC236}">
                <a16:creationId xmlns:a16="http://schemas.microsoft.com/office/drawing/2014/main" id="{6D817548-835F-34B1-46EA-64E69067AF5A}"/>
              </a:ext>
            </a:extLst>
          </p:cNvPr>
          <p:cNvSpPr txBox="1"/>
          <p:nvPr/>
        </p:nvSpPr>
        <p:spPr>
          <a:xfrm>
            <a:off x="7746549" y="2932374"/>
            <a:ext cx="4214447" cy="571247"/>
          </a:xfrm>
          <a:prstGeom prst="rect">
            <a:avLst/>
          </a:prstGeom>
          <a:noFill/>
        </p:spPr>
        <p:txBody>
          <a:bodyPr wrap="square" lIns="0" tIns="0" rIns="0" bIns="0" rtlCol="0">
            <a:normAutofit/>
          </a:bodyPr>
          <a:lstStyle/>
          <a:p>
            <a:pPr marL="0" marR="0" lvl="0" indent="0" algn="l" defTabSz="609585" rtl="0" eaLnBrk="1" fontAlgn="auto" latinLnBrk="0" hangingPunct="1">
              <a:lnSpc>
                <a:spcPct val="112000"/>
              </a:lnSpc>
              <a:spcBef>
                <a:spcPts val="0"/>
              </a:spcBef>
              <a:spcAft>
                <a:spcPts val="0"/>
              </a:spcAft>
              <a:buClrTx/>
              <a:buSzTx/>
              <a:buFontTx/>
              <a:buNone/>
              <a:tabLst/>
              <a:defRPr/>
            </a:pPr>
            <a:r>
              <a:t>10-12% adults2 (25-30 mln.)</a:t>
            </a:r>
            <a:br/>
            <a:r>
              <a:t>10-12%的成年人2 （2500万-3000万人）</a:t>
            </a:r>
          </a:p>
        </p:txBody>
      </p:sp>
      <p:sp>
        <p:nvSpPr>
          <p:cNvPr id="16" name="TextBox 15">
            <a:extLst>
              <a:ext uri="{FF2B5EF4-FFF2-40B4-BE49-F238E27FC236}">
                <a16:creationId xmlns:a16="http://schemas.microsoft.com/office/drawing/2014/main" id="{6DC80A7F-C2C3-EBEA-D426-40930156844E}"/>
              </a:ext>
            </a:extLst>
          </p:cNvPr>
          <p:cNvSpPr txBox="1"/>
          <p:nvPr/>
        </p:nvSpPr>
        <p:spPr>
          <a:xfrm>
            <a:off x="7746549" y="4074685"/>
            <a:ext cx="3606265" cy="571247"/>
          </a:xfrm>
          <a:prstGeom prst="rect">
            <a:avLst/>
          </a:prstGeom>
          <a:noFill/>
        </p:spPr>
        <p:txBody>
          <a:bodyPr wrap="square" lIns="0" tIns="0" rIns="0" bIns="0" rtlCol="0">
            <a:normAutofit/>
          </a:bodyPr>
          <a:lstStyle/>
          <a:p>
            <a:pPr marL="0" marR="0" lvl="0" indent="0" algn="l" defTabSz="609585" rtl="0" eaLnBrk="1" fontAlgn="auto" latinLnBrk="0" hangingPunct="1">
              <a:lnSpc>
                <a:spcPct val="112000"/>
              </a:lnSpc>
              <a:spcBef>
                <a:spcPts val="0"/>
              </a:spcBef>
              <a:spcAft>
                <a:spcPts val="0"/>
              </a:spcAft>
              <a:buClrTx/>
              <a:buSzTx/>
              <a:buFontTx/>
              <a:buNone/>
              <a:tabLst/>
              <a:defRPr/>
            </a:pPr>
            <a:r>
              <a:rPr kumimoji="0" lang="en-US" sz="1867" b="1" i="0" u="none" strike="noStrike" kern="1200" cap="none" spc="0" normalizeH="0" baseline="0" noProof="0">
                <a:ln>
                  <a:noFill/>
                </a:ln>
                <a:solidFill>
                  <a:srgbClr val="0094D9"/>
                </a:solidFill>
                <a:effectLst/>
                <a:uLnTx/>
                <a:uFillTx/>
                <a:latin typeface="Verdana"/>
                <a:ea typeface="+mn-ea"/>
                <a:cs typeface="+mn-cs"/>
              </a:rPr>
              <a:t>+ &gt; 300%</a:t>
            </a:r>
            <a:r>
              <a:rPr kumimoji="0" lang="en-US" sz="1867" b="1" i="0" u="none" strike="noStrike" kern="1200" cap="none" spc="0" normalizeH="0" baseline="30000" noProof="0">
                <a:ln>
                  <a:noFill/>
                </a:ln>
                <a:solidFill>
                  <a:srgbClr val="0094D9"/>
                </a:solidFill>
                <a:effectLst/>
                <a:uLnTx/>
                <a:uFillTx/>
                <a:latin typeface="Verdana"/>
                <a:ea typeface="+mn-ea"/>
                <a:cs typeface="+mn-cs"/>
              </a:rPr>
              <a:t>4</a:t>
            </a:r>
            <a:r>
              <a:rPr kumimoji="0" lang="en-US" sz="1867" b="1" i="0" u="none" strike="noStrike" kern="1200" cap="none" spc="0" normalizeH="0" baseline="0" noProof="0">
                <a:ln>
                  <a:noFill/>
                </a:ln>
                <a:solidFill>
                  <a:srgbClr val="0094D9"/>
                </a:solidFill>
                <a:effectLst/>
                <a:uLnTx/>
                <a:uFillTx/>
                <a:latin typeface="Verdana"/>
                <a:ea typeface="+mn-ea"/>
                <a:cs typeface="+mn-cs"/>
              </a:rPr>
              <a:t> </a:t>
            </a:r>
          </a:p>
          <a:p>
            <a:pPr marL="0" marR="0" lvl="0" indent="0" algn="l" defTabSz="609585" rtl="0" eaLnBrk="1" fontAlgn="auto" latinLnBrk="0" hangingPunct="1">
              <a:lnSpc>
                <a:spcPct val="112000"/>
              </a:lnSpc>
              <a:spcBef>
                <a:spcPts val="0"/>
              </a:spcBef>
              <a:spcAft>
                <a:spcPts val="0"/>
              </a:spcAft>
              <a:buClrTx/>
              <a:buSzTx/>
              <a:buFontTx/>
              <a:buNone/>
              <a:tabLst/>
              <a:defRPr/>
            </a:pPr>
            <a:r>
              <a:t>US 2020-2023</a:t>
            </a:r>
            <a:br/>
            <a:r>
              <a:t>美国 2020-2023年</a:t>
            </a:r>
          </a:p>
        </p:txBody>
      </p:sp>
      <p:sp>
        <p:nvSpPr>
          <p:cNvPr id="17" name="TextBox 16">
            <a:extLst>
              <a:ext uri="{FF2B5EF4-FFF2-40B4-BE49-F238E27FC236}">
                <a16:creationId xmlns:a16="http://schemas.microsoft.com/office/drawing/2014/main" id="{F8CF10F9-AE6F-5D6F-7255-2579CB233B47}"/>
              </a:ext>
            </a:extLst>
          </p:cNvPr>
          <p:cNvSpPr txBox="1"/>
          <p:nvPr/>
        </p:nvSpPr>
        <p:spPr>
          <a:xfrm>
            <a:off x="7746549" y="5286937"/>
            <a:ext cx="4445452" cy="571247"/>
          </a:xfrm>
          <a:prstGeom prst="rect">
            <a:avLst/>
          </a:prstGeom>
          <a:noFill/>
        </p:spPr>
        <p:txBody>
          <a:bodyPr wrap="square" lIns="0" tIns="0" rIns="0" bIns="0" rtlCol="0">
            <a:normAutofit/>
          </a:bodyPr>
          <a:lstStyle/>
          <a:p>
            <a:pPr marL="0" marR="0" lvl="0" indent="0" algn="l" defTabSz="609585" rtl="0" eaLnBrk="1" fontAlgn="auto" latinLnBrk="0" hangingPunct="1">
              <a:lnSpc>
                <a:spcPct val="112000"/>
              </a:lnSpc>
              <a:spcBef>
                <a:spcPts val="0"/>
              </a:spcBef>
              <a:spcAft>
                <a:spcPts val="0"/>
              </a:spcAft>
              <a:buClrTx/>
              <a:buSzTx/>
              <a:buFontTx/>
              <a:buNone/>
              <a:tabLst/>
              <a:defRPr/>
            </a:pPr>
            <a:r>
              <a:t>$14 bln2 Ozempic &amp; Wevogy #1 drug sales</a:t>
            </a:r>
            <a:br/>
            <a:r>
              <a:t>140亿美元2 诺美亭和韦沃吉药物销售额排名第一</a:t>
            </a:r>
            <a:endParaRPr kumimoji="0" lang="en-US" sz="1600" b="0" i="0" u="none" strike="noStrike" kern="1200" cap="none" spc="0" normalizeH="0" baseline="0" noProof="0">
              <a:ln>
                <a:noFill/>
              </a:ln>
              <a:solidFill>
                <a:srgbClr val="0094D9"/>
              </a:solidFill>
              <a:effectLst/>
              <a:uLnTx/>
              <a:uFillTx/>
              <a:latin typeface="Verdana"/>
              <a:ea typeface="+mn-ea"/>
              <a:cs typeface="+mn-cs"/>
            </a:endParaRPr>
          </a:p>
        </p:txBody>
      </p:sp>
      <p:sp>
        <p:nvSpPr>
          <p:cNvPr id="5" name="Oval 4">
            <a:extLst>
              <a:ext uri="{FF2B5EF4-FFF2-40B4-BE49-F238E27FC236}">
                <a16:creationId xmlns:a16="http://schemas.microsoft.com/office/drawing/2014/main" id="{7F2D3EE2-391D-73F7-9FD3-8AB823E79103}"/>
              </a:ext>
            </a:extLst>
          </p:cNvPr>
          <p:cNvSpPr/>
          <p:nvPr/>
        </p:nvSpPr>
        <p:spPr>
          <a:xfrm>
            <a:off x="6597282" y="5526704"/>
            <a:ext cx="1003580" cy="331329"/>
          </a:xfrm>
          <a:prstGeom prst="ellipse">
            <a:avLst/>
          </a:prstGeom>
          <a:solidFill>
            <a:srgbClr val="EEF3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609585" rtl="0" eaLnBrk="1" fontAlgn="auto" latinLnBrk="0" hangingPunct="1">
              <a:lnSpc>
                <a:spcPct val="112000"/>
              </a:lnSpc>
              <a:spcBef>
                <a:spcPts val="0"/>
              </a:spcBef>
              <a:spcAft>
                <a:spcPts val="0"/>
              </a:spcAft>
              <a:buClrTx/>
              <a:buSzTx/>
              <a:buFontTx/>
              <a:buNone/>
              <a:tabLst/>
              <a:defRPr/>
            </a:pPr>
            <a:endParaRPr kumimoji="0" lang="en-NL" sz="1867" b="0" i="0" u="none" strike="noStrike" kern="1200" cap="none" spc="0" normalizeH="0" baseline="0" noProof="0">
              <a:ln>
                <a:noFill/>
              </a:ln>
              <a:solidFill>
                <a:srgbClr val="FFFFFF"/>
              </a:solidFill>
              <a:effectLst/>
              <a:uLnTx/>
              <a:uFillTx/>
              <a:latin typeface="Verdana"/>
              <a:ea typeface="+mn-ea"/>
              <a:cs typeface="+mn-cs"/>
            </a:endParaRPr>
          </a:p>
        </p:txBody>
      </p:sp>
      <p:sp>
        <p:nvSpPr>
          <p:cNvPr id="6" name="Oval 5">
            <a:extLst>
              <a:ext uri="{FF2B5EF4-FFF2-40B4-BE49-F238E27FC236}">
                <a16:creationId xmlns:a16="http://schemas.microsoft.com/office/drawing/2014/main" id="{F084A3A4-6BF0-E1D9-6606-970F9D7F64CE}"/>
              </a:ext>
            </a:extLst>
          </p:cNvPr>
          <p:cNvSpPr/>
          <p:nvPr/>
        </p:nvSpPr>
        <p:spPr>
          <a:xfrm>
            <a:off x="6597282" y="4355033"/>
            <a:ext cx="1003580" cy="331329"/>
          </a:xfrm>
          <a:prstGeom prst="ellipse">
            <a:avLst/>
          </a:prstGeom>
          <a:solidFill>
            <a:srgbClr val="EEF3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609585" rtl="0" eaLnBrk="1" fontAlgn="auto" latinLnBrk="0" hangingPunct="1">
              <a:lnSpc>
                <a:spcPct val="112000"/>
              </a:lnSpc>
              <a:spcBef>
                <a:spcPts val="0"/>
              </a:spcBef>
              <a:spcAft>
                <a:spcPts val="0"/>
              </a:spcAft>
              <a:buClrTx/>
              <a:buSzTx/>
              <a:buFontTx/>
              <a:buNone/>
              <a:tabLst/>
              <a:defRPr/>
            </a:pPr>
            <a:endParaRPr kumimoji="0" lang="en-NL" sz="1867" b="0" i="0" u="none" strike="noStrike" kern="1200" cap="none" spc="0" normalizeH="0" baseline="0" noProof="0">
              <a:ln>
                <a:noFill/>
              </a:ln>
              <a:solidFill>
                <a:srgbClr val="FFFFFF"/>
              </a:solidFill>
              <a:effectLst/>
              <a:uLnTx/>
              <a:uFillTx/>
              <a:latin typeface="Verdana"/>
              <a:ea typeface="+mn-ea"/>
              <a:cs typeface="+mn-cs"/>
            </a:endParaRPr>
          </a:p>
        </p:txBody>
      </p:sp>
      <p:sp>
        <p:nvSpPr>
          <p:cNvPr id="9" name="Oval 8">
            <a:extLst>
              <a:ext uri="{FF2B5EF4-FFF2-40B4-BE49-F238E27FC236}">
                <a16:creationId xmlns:a16="http://schemas.microsoft.com/office/drawing/2014/main" id="{EE828B93-C60C-9A48-B642-D47A5EAF1E24}"/>
              </a:ext>
            </a:extLst>
          </p:cNvPr>
          <p:cNvSpPr/>
          <p:nvPr/>
        </p:nvSpPr>
        <p:spPr>
          <a:xfrm>
            <a:off x="6597282" y="3188545"/>
            <a:ext cx="1003580" cy="331329"/>
          </a:xfrm>
          <a:prstGeom prst="ellipse">
            <a:avLst/>
          </a:prstGeom>
          <a:solidFill>
            <a:srgbClr val="EEF3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609585" rtl="0" eaLnBrk="1" fontAlgn="auto" latinLnBrk="0" hangingPunct="1">
              <a:lnSpc>
                <a:spcPct val="112000"/>
              </a:lnSpc>
              <a:spcBef>
                <a:spcPts val="0"/>
              </a:spcBef>
              <a:spcAft>
                <a:spcPts val="0"/>
              </a:spcAft>
              <a:buClrTx/>
              <a:buSzTx/>
              <a:buFontTx/>
              <a:buNone/>
              <a:tabLst/>
              <a:defRPr/>
            </a:pPr>
            <a:endParaRPr kumimoji="0" lang="en-NL" sz="1867" b="0" i="0" u="none" strike="noStrike" kern="1200" cap="none" spc="0" normalizeH="0" baseline="0" noProof="0">
              <a:ln>
                <a:noFill/>
              </a:ln>
              <a:solidFill>
                <a:srgbClr val="FFFFFF"/>
              </a:solidFill>
              <a:effectLst/>
              <a:uLnTx/>
              <a:uFillTx/>
              <a:latin typeface="Verdana"/>
              <a:ea typeface="+mn-ea"/>
              <a:cs typeface="+mn-cs"/>
            </a:endParaRPr>
          </a:p>
        </p:txBody>
      </p:sp>
      <p:sp>
        <p:nvSpPr>
          <p:cNvPr id="18" name="Oval 17">
            <a:extLst>
              <a:ext uri="{FF2B5EF4-FFF2-40B4-BE49-F238E27FC236}">
                <a16:creationId xmlns:a16="http://schemas.microsoft.com/office/drawing/2014/main" id="{424F6030-FCE9-0DEC-4B87-E9F2989C473D}"/>
              </a:ext>
            </a:extLst>
          </p:cNvPr>
          <p:cNvSpPr/>
          <p:nvPr/>
        </p:nvSpPr>
        <p:spPr>
          <a:xfrm>
            <a:off x="6597282" y="2092781"/>
            <a:ext cx="1003580" cy="331329"/>
          </a:xfrm>
          <a:prstGeom prst="ellipse">
            <a:avLst/>
          </a:prstGeom>
          <a:solidFill>
            <a:srgbClr val="EEF3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609585" rtl="0" eaLnBrk="1" fontAlgn="auto" latinLnBrk="0" hangingPunct="1">
              <a:lnSpc>
                <a:spcPct val="112000"/>
              </a:lnSpc>
              <a:spcBef>
                <a:spcPts val="0"/>
              </a:spcBef>
              <a:spcAft>
                <a:spcPts val="0"/>
              </a:spcAft>
              <a:buClrTx/>
              <a:buSzTx/>
              <a:buFontTx/>
              <a:buNone/>
              <a:tabLst/>
              <a:defRPr/>
            </a:pPr>
            <a:endParaRPr kumimoji="0" lang="en-NL" sz="1867" b="0" i="0" u="none" strike="noStrike" kern="1200" cap="none" spc="0" normalizeH="0" baseline="0" noProof="0">
              <a:ln>
                <a:noFill/>
              </a:ln>
              <a:solidFill>
                <a:srgbClr val="FFFFFF"/>
              </a:solidFill>
              <a:effectLst/>
              <a:uLnTx/>
              <a:uFillTx/>
              <a:latin typeface="Verdana"/>
              <a:ea typeface="+mn-ea"/>
              <a:cs typeface="+mn-cs"/>
            </a:endParaRPr>
          </a:p>
        </p:txBody>
      </p:sp>
      <p:pic>
        <p:nvPicPr>
          <p:cNvPr id="20" name="Picture 19">
            <a:extLst>
              <a:ext uri="{FF2B5EF4-FFF2-40B4-BE49-F238E27FC236}">
                <a16:creationId xmlns:a16="http://schemas.microsoft.com/office/drawing/2014/main" id="{8CE1B52C-6DA0-4539-CB28-A56F1EF0FB79}"/>
              </a:ext>
            </a:extLst>
          </p:cNvPr>
          <p:cNvPicPr>
            <a:picLocks noChangeAspect="1"/>
          </p:cNvPicPr>
          <p:nvPr/>
        </p:nvPicPr>
        <p:blipFill>
          <a:blip r:embed="rId7" cstate="print">
            <a:biLevel thresh="75000"/>
            <a:extLst>
              <a:ext uri="{28A0092B-C50C-407E-A947-70E740481C1C}">
                <a14:useLocalDpi xmlns:a14="http://schemas.microsoft.com/office/drawing/2010/main" val="0"/>
              </a:ext>
            </a:extLst>
          </a:blip>
          <a:stretch>
            <a:fillRect/>
          </a:stretch>
        </p:blipFill>
        <p:spPr>
          <a:xfrm>
            <a:off x="6616811" y="1559503"/>
            <a:ext cx="964519" cy="803767"/>
          </a:xfrm>
          <a:prstGeom prst="rect">
            <a:avLst/>
          </a:prstGeom>
        </p:spPr>
      </p:pic>
      <p:pic>
        <p:nvPicPr>
          <p:cNvPr id="22" name="Picture 21">
            <a:extLst>
              <a:ext uri="{FF2B5EF4-FFF2-40B4-BE49-F238E27FC236}">
                <a16:creationId xmlns:a16="http://schemas.microsoft.com/office/drawing/2014/main" id="{D4C6C49A-16A6-BAEF-BDDA-F339C9249222}"/>
              </a:ext>
            </a:extLst>
          </p:cNvPr>
          <p:cNvPicPr>
            <a:picLocks noChangeAspect="1"/>
          </p:cNvPicPr>
          <p:nvPr/>
        </p:nvPicPr>
        <p:blipFill>
          <a:blip r:embed="rId8" cstate="print">
            <a:biLevel thresh="75000"/>
            <a:extLst>
              <a:ext uri="{28A0092B-C50C-407E-A947-70E740481C1C}">
                <a14:useLocalDpi xmlns:a14="http://schemas.microsoft.com/office/drawing/2010/main" val="0"/>
              </a:ext>
            </a:extLst>
          </a:blip>
          <a:stretch>
            <a:fillRect/>
          </a:stretch>
        </p:blipFill>
        <p:spPr>
          <a:xfrm>
            <a:off x="6525475" y="2523381"/>
            <a:ext cx="1055855" cy="879879"/>
          </a:xfrm>
          <a:prstGeom prst="rect">
            <a:avLst/>
          </a:prstGeom>
        </p:spPr>
      </p:pic>
      <p:pic>
        <p:nvPicPr>
          <p:cNvPr id="24" name="Picture 23">
            <a:extLst>
              <a:ext uri="{FF2B5EF4-FFF2-40B4-BE49-F238E27FC236}">
                <a16:creationId xmlns:a16="http://schemas.microsoft.com/office/drawing/2014/main" id="{57C68B92-F955-17A1-DDC6-EEF6BE36D941}"/>
              </a:ext>
            </a:extLst>
          </p:cNvPr>
          <p:cNvPicPr>
            <a:picLocks noChangeAspect="1"/>
          </p:cNvPicPr>
          <p:nvPr/>
        </p:nvPicPr>
        <p:blipFill>
          <a:blip r:embed="rId9" cstate="print">
            <a:biLevel thresh="75000"/>
            <a:extLst>
              <a:ext uri="{28A0092B-C50C-407E-A947-70E740481C1C}">
                <a14:useLocalDpi xmlns:a14="http://schemas.microsoft.com/office/drawing/2010/main" val="0"/>
              </a:ext>
            </a:extLst>
          </a:blip>
          <a:stretch>
            <a:fillRect/>
          </a:stretch>
        </p:blipFill>
        <p:spPr>
          <a:xfrm>
            <a:off x="6670125" y="3808822"/>
            <a:ext cx="1003580" cy="836316"/>
          </a:xfrm>
          <a:prstGeom prst="rect">
            <a:avLst/>
          </a:prstGeom>
        </p:spPr>
      </p:pic>
      <p:pic>
        <p:nvPicPr>
          <p:cNvPr id="26" name="Picture 25">
            <a:extLst>
              <a:ext uri="{FF2B5EF4-FFF2-40B4-BE49-F238E27FC236}">
                <a16:creationId xmlns:a16="http://schemas.microsoft.com/office/drawing/2014/main" id="{81511D03-F8CD-1167-C52A-8CFB66EE874E}"/>
              </a:ext>
            </a:extLst>
          </p:cNvPr>
          <p:cNvPicPr>
            <a:picLocks noChangeAspect="1"/>
          </p:cNvPicPr>
          <p:nvPr/>
        </p:nvPicPr>
        <p:blipFill>
          <a:blip r:embed="rId10" cstate="print">
            <a:biLevel thresh="75000"/>
            <a:extLst>
              <a:ext uri="{28A0092B-C50C-407E-A947-70E740481C1C}">
                <a14:useLocalDpi xmlns:a14="http://schemas.microsoft.com/office/drawing/2010/main" val="0"/>
              </a:ext>
            </a:extLst>
          </a:blip>
          <a:stretch>
            <a:fillRect/>
          </a:stretch>
        </p:blipFill>
        <p:spPr>
          <a:xfrm>
            <a:off x="6616811" y="4954731"/>
            <a:ext cx="1003581" cy="836317"/>
          </a:xfrm>
          <a:prstGeom prst="rect">
            <a:avLst/>
          </a:prstGeom>
        </p:spPr>
      </p:pic>
      <p:sp>
        <p:nvSpPr>
          <p:cNvPr id="4" name="Footer Placeholder 3">
            <a:extLst>
              <a:ext uri="{FF2B5EF4-FFF2-40B4-BE49-F238E27FC236}">
                <a16:creationId xmlns:a16="http://schemas.microsoft.com/office/drawing/2014/main" id="{C766EBA6-473B-3612-CAA1-C62117737DC9}"/>
              </a:ext>
            </a:extLst>
          </p:cNvPr>
          <p:cNvSpPr txBox="1">
            <a:spLocks/>
          </p:cNvSpPr>
          <p:nvPr/>
        </p:nvSpPr>
        <p:spPr>
          <a:xfrm>
            <a:off x="5652322" y="6178782"/>
            <a:ext cx="6308673" cy="736847"/>
          </a:xfrm>
          <a:prstGeom prst="rect">
            <a:avLst/>
          </a:prstGeom>
        </p:spPr>
        <p:txBody>
          <a:bodyP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t>Source1  CDC, 09-2024 National Health and Nutrition Examination Survey</a:t>
            </a:r>
            <a:br/>
            <a:r>
              <a:t>资料来源1 疾控中心，2024年9月全国健康与营养调查</a:t>
            </a:r>
          </a:p>
          <a:p>
            <a:pPr marL="0" marR="0" lvl="0" indent="0" algn="l" defTabSz="914377" rtl="0" eaLnBrk="1" fontAlgn="auto" latinLnBrk="0" hangingPunct="1">
              <a:lnSpc>
                <a:spcPct val="100000"/>
              </a:lnSpc>
              <a:spcBef>
                <a:spcPts val="0"/>
              </a:spcBef>
              <a:spcAft>
                <a:spcPts val="0"/>
              </a:spcAft>
              <a:buClrTx/>
              <a:buSzTx/>
              <a:buFontTx/>
              <a:buNone/>
              <a:tabLst/>
              <a:defRPr/>
            </a:pPr>
            <a:r>
              <a:t>2.iSearch-DNA - Rabobank: Anti-obesity medications - Will the food industry be the biggest loser? (Dec 2024)</a:t>
            </a:r>
            <a:br/>
            <a:r>
              <a:t>2.iSearch-DNA - 拉博银行：抗肥胖药物 —— 食品行业会成为最大的输家吗？（2024年12月）</a:t>
            </a:r>
            <a:endParaRPr kumimoji="0" lang="nl-NL" altLang="nl-NL" sz="600" b="0" i="0" u="none" strike="noStrike" kern="1200" cap="none" spc="0" normalizeH="0" baseline="0" noProof="0">
              <a:ln>
                <a:noFill/>
              </a:ln>
              <a:solidFill>
                <a:srgbClr val="FFFFFF">
                  <a:lumMod val="50000"/>
                </a:srgbClr>
              </a:solidFill>
              <a:effectLst/>
              <a:uLnTx/>
              <a:uFillTx/>
              <a:latin typeface="Verdana"/>
              <a:ea typeface="+mn-ea"/>
              <a:cs typeface="+mn-cs"/>
            </a:endParaRPr>
          </a:p>
          <a:p>
            <a:pPr marL="0" marR="0" lvl="0" indent="0" algn="l" defTabSz="914377" rtl="0" eaLnBrk="1" fontAlgn="auto" latinLnBrk="0" hangingPunct="1">
              <a:lnSpc>
                <a:spcPct val="100000"/>
              </a:lnSpc>
              <a:spcBef>
                <a:spcPts val="0"/>
              </a:spcBef>
              <a:spcAft>
                <a:spcPts val="0"/>
              </a:spcAft>
              <a:buClrTx/>
              <a:buSzTx/>
              <a:buFontTx/>
              <a:buNone/>
              <a:tabLst/>
              <a:defRPr/>
            </a:pPr>
            <a:r>
              <a:t>3. CNN 2024, KFF Survey Health Tracking Poll May 2024: The Public’s Use and Views of GLP-1 Drugs</a:t>
            </a:r>
            <a:br/>
            <a:r>
              <a:t>3. CNN 2024年，KFF健康追踪民意调查2024年5月：公众对抗肥胖药物GLP-1的使用和看法</a:t>
            </a:r>
          </a:p>
          <a:p>
            <a:pPr marL="0" marR="0" lvl="0" indent="0" algn="l" defTabSz="914377" rtl="0" eaLnBrk="1" fontAlgn="auto" latinLnBrk="0" hangingPunct="1">
              <a:lnSpc>
                <a:spcPct val="100000"/>
              </a:lnSpc>
              <a:spcBef>
                <a:spcPts val="0"/>
              </a:spcBef>
              <a:spcAft>
                <a:spcPts val="0"/>
              </a:spcAft>
              <a:buClrTx/>
              <a:buSzTx/>
              <a:buFontTx/>
              <a:buNone/>
              <a:tabLst/>
              <a:defRPr/>
            </a:pPr>
            <a:r>
              <a:t>4. IQVIA MIDAS, Jun 2023; IQVIA Institute, Dec 2023</a:t>
            </a:r>
            <a:br/>
            <a:r>
              <a:t>4. IQVIA MIDAS，2023年6月；IQVIA研究所，2023年12月</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600" b="0" i="1" u="none" strike="noStrike" kern="1200" cap="none" spc="0" normalizeH="0" baseline="0" noProof="0">
              <a:ln>
                <a:noFill/>
              </a:ln>
              <a:solidFill>
                <a:srgbClr val="FFFFFF">
                  <a:lumMod val="50000"/>
                </a:srgbClr>
              </a:solidFill>
              <a:effectLst/>
              <a:uLnTx/>
              <a:uFillTx/>
              <a:latin typeface="Verdana"/>
              <a:ea typeface="+mn-ea"/>
              <a:cs typeface="+mn-cs"/>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600" b="0" i="1" u="none" strike="noStrike" kern="1200" cap="none" spc="0" normalizeH="0" baseline="0" noProof="0">
              <a:ln>
                <a:noFill/>
              </a:ln>
              <a:solidFill>
                <a:srgbClr val="FFFFFF">
                  <a:lumMod val="50000"/>
                </a:srgbClr>
              </a:solidFill>
              <a:effectLst/>
              <a:uLnTx/>
              <a:uFillTx/>
              <a:latin typeface="Verdana"/>
              <a:ea typeface="+mn-ea"/>
              <a:cs typeface="+mn-cs"/>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600" b="0" i="1" u="none" strike="noStrike" kern="1200" cap="none" spc="0" normalizeH="0" baseline="0" noProof="0">
              <a:ln>
                <a:noFill/>
              </a:ln>
              <a:solidFill>
                <a:srgbClr val="FFFFFF">
                  <a:lumMod val="50000"/>
                </a:srgbClr>
              </a:solidFill>
              <a:effectLst/>
              <a:uLnTx/>
              <a:uFillTx/>
              <a:latin typeface="Verdana"/>
              <a:ea typeface="+mn-ea"/>
              <a:cs typeface="+mn-cs"/>
            </a:endParaRPr>
          </a:p>
        </p:txBody>
      </p:sp>
    </p:spTree>
    <p:extLst>
      <p:ext uri="{BB962C8B-B14F-4D97-AF65-F5344CB8AC3E}">
        <p14:creationId xmlns:p14="http://schemas.microsoft.com/office/powerpoint/2010/main" val="3291394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P spid="16" grpId="0"/>
      <p:bldP spid="17" grpId="0"/>
      <p:bldP spid="5" grpId="0" animBg="1"/>
      <p:bldP spid="6" grpId="0" animBg="1"/>
      <p:bldP spid="9" grpId="0" animBg="1"/>
      <p:bldP spid="1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Oval 13">
            <a:extLst>
              <a:ext uri="{FF2B5EF4-FFF2-40B4-BE49-F238E27FC236}">
                <a16:creationId xmlns:a16="http://schemas.microsoft.com/office/drawing/2014/main" id="{5176405A-7985-93E7-0FA1-3D06C12B486B}"/>
              </a:ext>
            </a:extLst>
          </p:cNvPr>
          <p:cNvSpPr/>
          <p:nvPr/>
        </p:nvSpPr>
        <p:spPr>
          <a:xfrm>
            <a:off x="526865" y="2707852"/>
            <a:ext cx="1003580" cy="331329"/>
          </a:xfrm>
          <a:prstGeom prst="ellipse">
            <a:avLst/>
          </a:prstGeom>
          <a:solidFill>
            <a:srgbClr val="EEF3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609585" rtl="0" eaLnBrk="1" fontAlgn="auto" latinLnBrk="0" hangingPunct="1">
              <a:lnSpc>
                <a:spcPct val="112000"/>
              </a:lnSpc>
              <a:spcBef>
                <a:spcPts val="0"/>
              </a:spcBef>
              <a:spcAft>
                <a:spcPts val="0"/>
              </a:spcAft>
              <a:buClrTx/>
              <a:buSzTx/>
              <a:buFontTx/>
              <a:buNone/>
              <a:tabLst/>
              <a:defRPr/>
            </a:pPr>
            <a:endParaRPr kumimoji="0" lang="en-NL" sz="1867" b="0" i="0" u="none" strike="noStrike" kern="1200" cap="none" spc="0" normalizeH="0" baseline="0" noProof="0">
              <a:ln>
                <a:noFill/>
              </a:ln>
              <a:solidFill>
                <a:srgbClr val="FFFFFF"/>
              </a:solidFill>
              <a:effectLst/>
              <a:uLnTx/>
              <a:uFillTx/>
              <a:latin typeface="Verdana"/>
              <a:ea typeface="+mn-ea"/>
              <a:cs typeface="+mn-cs"/>
            </a:endParaRPr>
          </a:p>
        </p:txBody>
      </p:sp>
      <p:graphicFrame>
        <p:nvGraphicFramePr>
          <p:cNvPr id="7" name="think-cell data - do not delete" hidden="1">
            <a:extLst>
              <a:ext uri="{FF2B5EF4-FFF2-40B4-BE49-F238E27FC236}">
                <a16:creationId xmlns:a16="http://schemas.microsoft.com/office/drawing/2014/main" id="{E4DCA636-B748-8260-5FAD-6E7620BE0760}"/>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7" name="think-cell data - do not delete" hidden="1">
                        <a:extLst>
                          <a:ext uri="{FF2B5EF4-FFF2-40B4-BE49-F238E27FC236}">
                            <a16:creationId xmlns:a16="http://schemas.microsoft.com/office/drawing/2014/main" id="{E4DCA636-B748-8260-5FAD-6E7620BE0760}"/>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E0B98964-FAB1-DF61-A7B4-98BB5110C6FC}"/>
              </a:ext>
            </a:extLst>
          </p:cNvPr>
          <p:cNvSpPr>
            <a:spLocks noGrp="1"/>
          </p:cNvSpPr>
          <p:nvPr>
            <p:ph type="title"/>
          </p:nvPr>
        </p:nvSpPr>
        <p:spPr>
          <a:xfrm>
            <a:off x="652131" y="548219"/>
            <a:ext cx="6443615" cy="476509"/>
          </a:xfrm>
          <a:solidFill>
            <a:schemeClr val="bg2"/>
          </a:solidFill>
        </p:spPr>
        <p:txBody>
          <a:bodyPr vert="horz">
            <a:normAutofit/>
          </a:bodyPr>
          <a:lstStyle/>
          <a:p>
            <a:r>
              <a:t>Anti Obesity Medicines (AOMs):</a:t>
            </a:r>
            <a:br/>
            <a:r>
              <a:t>抗肥胖药物 (AOMs):</a:t>
            </a:r>
            <a:endParaRPr lang="en-NL"/>
          </a:p>
        </p:txBody>
      </p:sp>
      <p:sp>
        <p:nvSpPr>
          <p:cNvPr id="2" name="Footer Placeholder 3">
            <a:extLst>
              <a:ext uri="{FF2B5EF4-FFF2-40B4-BE49-F238E27FC236}">
                <a16:creationId xmlns:a16="http://schemas.microsoft.com/office/drawing/2014/main" id="{8190F827-E04F-6CF9-493F-BD1BCCD11F2D}"/>
              </a:ext>
            </a:extLst>
          </p:cNvPr>
          <p:cNvSpPr txBox="1">
            <a:spLocks/>
          </p:cNvSpPr>
          <p:nvPr/>
        </p:nvSpPr>
        <p:spPr>
          <a:xfrm>
            <a:off x="473476" y="6376242"/>
            <a:ext cx="7150213" cy="272981"/>
          </a:xfrm>
          <a:prstGeom prst="rect">
            <a:avLst/>
          </a:prstGeom>
        </p:spPr>
        <p:txBody>
          <a:bodyP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t>Source: 1: GLP-1 Agonists: What They Are, How They Work &amp; Side Effects (clevelandclinic.org)</a:t>
            </a:r>
            <a:br/>
            <a:r>
              <a:t>来源: 1: GLP-1 激动剂：它们是什么，如何工作及副作用 (clevelandclinic.org)</a:t>
            </a:r>
            <a:endParaRPr kumimoji="0" lang="en-US" sz="933" b="0" i="0" u="none" strike="noStrike" kern="1200" cap="none" spc="0" normalizeH="0" baseline="0" noProof="0">
              <a:ln>
                <a:noFill/>
              </a:ln>
              <a:solidFill>
                <a:srgbClr val="FFFFFF">
                  <a:lumMod val="50000"/>
                </a:srgbClr>
              </a:solidFill>
              <a:effectLst/>
              <a:uLnTx/>
              <a:uFillTx/>
              <a:latin typeface="Verdana"/>
              <a:ea typeface="+mn-ea"/>
              <a:cs typeface="+mn-cs"/>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933" b="0" i="0" u="none" strike="noStrike" kern="1200" cap="none" spc="0" normalizeH="0" baseline="0" noProof="0">
              <a:ln>
                <a:noFill/>
              </a:ln>
              <a:solidFill>
                <a:srgbClr val="FFFFFF">
                  <a:lumMod val="50000"/>
                </a:srgbClr>
              </a:solidFill>
              <a:effectLst/>
              <a:uLnTx/>
              <a:uFillTx/>
              <a:latin typeface="Verdana"/>
              <a:ea typeface="+mn-ea"/>
              <a:cs typeface="+mn-cs"/>
            </a:endParaRPr>
          </a:p>
        </p:txBody>
      </p:sp>
      <p:sp>
        <p:nvSpPr>
          <p:cNvPr id="8" name="TextBox 7">
            <a:extLst>
              <a:ext uri="{FF2B5EF4-FFF2-40B4-BE49-F238E27FC236}">
                <a16:creationId xmlns:a16="http://schemas.microsoft.com/office/drawing/2014/main" id="{F2B9957C-8D19-7E22-F36D-077089150B3A}"/>
              </a:ext>
            </a:extLst>
          </p:cNvPr>
          <p:cNvSpPr txBox="1"/>
          <p:nvPr/>
        </p:nvSpPr>
        <p:spPr>
          <a:xfrm>
            <a:off x="600087" y="1206238"/>
            <a:ext cx="8117193" cy="807722"/>
          </a:xfrm>
          <a:prstGeom prst="rect">
            <a:avLst/>
          </a:prstGeom>
          <a:noFill/>
        </p:spPr>
        <p:txBody>
          <a:bodyPr wrap="square" lIns="0" tIns="0" rIns="0" bIns="0" rtlCol="0">
            <a:normAutofit/>
          </a:bodyPr>
          <a:lstStyle/>
          <a:p>
            <a:pPr marL="0" marR="0" lvl="0" indent="0" algn="l" defTabSz="914354" rtl="0" eaLnBrk="1" fontAlgn="auto" latinLnBrk="0" hangingPunct="1">
              <a:lnSpc>
                <a:spcPct val="113000"/>
              </a:lnSpc>
              <a:spcBef>
                <a:spcPts val="1600"/>
              </a:spcBef>
              <a:spcAft>
                <a:spcPts val="0"/>
              </a:spcAft>
              <a:buClr>
                <a:srgbClr val="3F4043"/>
              </a:buClr>
              <a:buSzTx/>
              <a:buFontTx/>
              <a:buNone/>
              <a:tabLst/>
              <a:defRPr/>
            </a:pPr>
            <a:r>
              <a:t>GLP 1:glucagon-like peptide-1 is a naturally occurring hormone. Its role is to increase insulin after a meal, to break down sugar in the body.</a:t>
            </a:r>
            <a:br/>
            <a:r>
              <a:t>GLP 1: 胰高血糖素样肽-1 是一种天然存在的激素。其作用是在餐后增加胰岛素，以分解体内的糖分。</a:t>
            </a:r>
            <a:endParaRPr kumimoji="0" lang="en-US" sz="1600" b="0" i="0" u="none" strike="noStrike" kern="1200" cap="none" spc="0" normalizeH="0" baseline="0" noProof="0">
              <a:ln>
                <a:noFill/>
              </a:ln>
              <a:solidFill>
                <a:srgbClr val="2C353A"/>
              </a:solidFill>
              <a:effectLst/>
              <a:uLnTx/>
              <a:uFillTx/>
              <a:latin typeface="Verdana"/>
              <a:ea typeface="+mn-ea"/>
              <a:cs typeface="+mn-cs"/>
            </a:endParaRPr>
          </a:p>
        </p:txBody>
      </p:sp>
      <p:sp>
        <p:nvSpPr>
          <p:cNvPr id="9" name="TextBox 8">
            <a:extLst>
              <a:ext uri="{FF2B5EF4-FFF2-40B4-BE49-F238E27FC236}">
                <a16:creationId xmlns:a16="http://schemas.microsoft.com/office/drawing/2014/main" id="{77E191EA-76C7-BAAC-A81E-F82A586BB8BF}"/>
              </a:ext>
            </a:extLst>
          </p:cNvPr>
          <p:cNvSpPr txBox="1"/>
          <p:nvPr/>
        </p:nvSpPr>
        <p:spPr>
          <a:xfrm>
            <a:off x="2502501" y="3630378"/>
            <a:ext cx="5764136" cy="526619"/>
          </a:xfrm>
          <a:prstGeom prst="rect">
            <a:avLst/>
          </a:prstGeom>
          <a:noFill/>
        </p:spPr>
        <p:txBody>
          <a:bodyPr wrap="square" lIns="0" tIns="0" rIns="0" bIns="0" rtlCol="0">
            <a:normAutofit/>
          </a:bodyPr>
          <a:lstStyle/>
          <a:p>
            <a:pPr marL="118530" marR="0" lvl="2" indent="366175" algn="l" defTabSz="914354" rtl="0" eaLnBrk="1" fontAlgn="auto" latinLnBrk="0" hangingPunct="1">
              <a:lnSpc>
                <a:spcPct val="100000"/>
              </a:lnSpc>
              <a:spcBef>
                <a:spcPts val="500"/>
              </a:spcBef>
              <a:spcAft>
                <a:spcPts val="0"/>
              </a:spcAft>
              <a:buClr>
                <a:srgbClr val="3F4043"/>
              </a:buClr>
              <a:buSzTx/>
              <a:buFontTx/>
              <a:buNone/>
              <a:tabLst/>
              <a:defRPr/>
            </a:pPr>
            <a:r>
              <a:t>Suppresses appetite</a:t>
            </a:r>
            <a:br/>
            <a:r>
              <a:t>抑制食欲</a:t>
            </a:r>
          </a:p>
          <a:p>
            <a:pPr marL="0" marR="0" lvl="0" indent="0" algn="l" defTabSz="609585" rtl="0" eaLnBrk="1" fontAlgn="auto" latinLnBrk="0" hangingPunct="1">
              <a:lnSpc>
                <a:spcPct val="112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2C353A"/>
              </a:solidFill>
              <a:effectLst/>
              <a:uLnTx/>
              <a:uFillTx/>
              <a:latin typeface="Verdana"/>
              <a:ea typeface="+mn-ea"/>
              <a:cs typeface="+mn-cs"/>
            </a:endParaRPr>
          </a:p>
        </p:txBody>
      </p:sp>
      <p:sp>
        <p:nvSpPr>
          <p:cNvPr id="12" name="TextBox 11">
            <a:extLst>
              <a:ext uri="{FF2B5EF4-FFF2-40B4-BE49-F238E27FC236}">
                <a16:creationId xmlns:a16="http://schemas.microsoft.com/office/drawing/2014/main" id="{7270FCF8-49EE-3597-9653-DCE1AFE50DCD}"/>
              </a:ext>
            </a:extLst>
          </p:cNvPr>
          <p:cNvSpPr txBox="1"/>
          <p:nvPr/>
        </p:nvSpPr>
        <p:spPr>
          <a:xfrm>
            <a:off x="3260805" y="4603091"/>
            <a:ext cx="5764136" cy="261610"/>
          </a:xfrm>
          <a:prstGeom prst="rect">
            <a:avLst/>
          </a:prstGeom>
          <a:noFill/>
        </p:spPr>
        <p:txBody>
          <a:bodyPr wrap="square" lIns="0" tIns="0" rIns="0" bIns="0" rtlCol="0">
            <a:normAutofit/>
          </a:bodyPr>
          <a:lstStyle/>
          <a:p>
            <a:pPr marL="118530" marR="0" lvl="2" indent="366175" algn="l" defTabSz="914354" rtl="0" eaLnBrk="1" fontAlgn="auto" latinLnBrk="0" hangingPunct="1">
              <a:lnSpc>
                <a:spcPct val="100000"/>
              </a:lnSpc>
              <a:spcBef>
                <a:spcPts val="500"/>
              </a:spcBef>
              <a:spcAft>
                <a:spcPts val="0"/>
              </a:spcAft>
              <a:buClr>
                <a:srgbClr val="3F4043"/>
              </a:buClr>
              <a:buSzTx/>
              <a:buFontTx/>
              <a:buNone/>
              <a:tabLst/>
              <a:defRPr/>
            </a:pPr>
            <a:r>
              <a:t>Increases satiety after a meal</a:t>
            </a:r>
            <a:br/>
            <a:r>
              <a:t>增加餐后的饱腹感</a:t>
            </a:r>
            <a:endParaRPr kumimoji="0" lang="en-US" sz="1700" b="0" i="0" u="none" strike="noStrike" kern="1200" cap="none" spc="0" normalizeH="0" baseline="0" noProof="0">
              <a:ln>
                <a:noFill/>
              </a:ln>
              <a:solidFill>
                <a:srgbClr val="2C353A"/>
              </a:solidFill>
              <a:effectLst/>
              <a:uLnTx/>
              <a:uFillTx/>
              <a:latin typeface="Verdana"/>
              <a:ea typeface="+mn-ea"/>
              <a:cs typeface="+mn-cs"/>
            </a:endParaRPr>
          </a:p>
        </p:txBody>
      </p:sp>
      <p:pic>
        <p:nvPicPr>
          <p:cNvPr id="19" name="Picture Placeholder 18">
            <a:extLst>
              <a:ext uri="{FF2B5EF4-FFF2-40B4-BE49-F238E27FC236}">
                <a16:creationId xmlns:a16="http://schemas.microsoft.com/office/drawing/2014/main" id="{C8E6B86E-B652-19F2-B503-2F6441AB3F1C}"/>
              </a:ext>
            </a:extLst>
          </p:cNvPr>
          <p:cNvPicPr>
            <a:picLocks noGrp="1" noChangeAspect="1"/>
          </p:cNvPicPr>
          <p:nvPr>
            <p:ph type="pic" sz="quarter" idx="10"/>
          </p:nvPr>
        </p:nvPicPr>
        <p:blipFill rotWithShape="1">
          <a:blip r:embed="rId8" cstate="print">
            <a:extLst>
              <a:ext uri="{28A0092B-C50C-407E-A947-70E740481C1C}">
                <a14:useLocalDpi xmlns:a14="http://schemas.microsoft.com/office/drawing/2010/main"/>
              </a:ext>
            </a:extLst>
          </a:blip>
          <a:srcRect/>
          <a:stretch/>
        </p:blipFill>
        <p:spPr>
          <a:xfrm flipH="1">
            <a:off x="8266638" y="-15693"/>
            <a:ext cx="3925361" cy="4516574"/>
          </a:xfrm>
        </p:spPr>
      </p:pic>
      <p:sp>
        <p:nvSpPr>
          <p:cNvPr id="20" name="Oval 19">
            <a:extLst>
              <a:ext uri="{FF2B5EF4-FFF2-40B4-BE49-F238E27FC236}">
                <a16:creationId xmlns:a16="http://schemas.microsoft.com/office/drawing/2014/main" id="{F5E2E932-23FF-5D9B-E18E-7F345FBFA833}"/>
              </a:ext>
            </a:extLst>
          </p:cNvPr>
          <p:cNvSpPr/>
          <p:nvPr/>
        </p:nvSpPr>
        <p:spPr>
          <a:xfrm>
            <a:off x="1221091" y="3714771"/>
            <a:ext cx="1003580" cy="331329"/>
          </a:xfrm>
          <a:prstGeom prst="ellipse">
            <a:avLst/>
          </a:prstGeom>
          <a:solidFill>
            <a:srgbClr val="EEF3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609585" rtl="0" eaLnBrk="1" fontAlgn="auto" latinLnBrk="0" hangingPunct="1">
              <a:lnSpc>
                <a:spcPct val="112000"/>
              </a:lnSpc>
              <a:spcBef>
                <a:spcPts val="0"/>
              </a:spcBef>
              <a:spcAft>
                <a:spcPts val="0"/>
              </a:spcAft>
              <a:buClrTx/>
              <a:buSzTx/>
              <a:buFontTx/>
              <a:buNone/>
              <a:tabLst/>
              <a:defRPr/>
            </a:pPr>
            <a:endParaRPr kumimoji="0" lang="en-NL" sz="1867" b="0" i="0" u="none" strike="noStrike" kern="1200" cap="none" spc="0" normalizeH="0" baseline="0" noProof="0">
              <a:ln>
                <a:noFill/>
              </a:ln>
              <a:solidFill>
                <a:srgbClr val="FFFFFF"/>
              </a:solidFill>
              <a:effectLst/>
              <a:uLnTx/>
              <a:uFillTx/>
              <a:latin typeface="Verdana"/>
              <a:ea typeface="+mn-ea"/>
              <a:cs typeface="+mn-cs"/>
            </a:endParaRPr>
          </a:p>
        </p:txBody>
      </p:sp>
      <p:sp>
        <p:nvSpPr>
          <p:cNvPr id="21" name="Oval 20">
            <a:extLst>
              <a:ext uri="{FF2B5EF4-FFF2-40B4-BE49-F238E27FC236}">
                <a16:creationId xmlns:a16="http://schemas.microsoft.com/office/drawing/2014/main" id="{E6322BEA-1EB4-29B6-CD26-EB6E17F9353B}"/>
              </a:ext>
            </a:extLst>
          </p:cNvPr>
          <p:cNvSpPr/>
          <p:nvPr/>
        </p:nvSpPr>
        <p:spPr>
          <a:xfrm>
            <a:off x="1946240" y="4767347"/>
            <a:ext cx="1003580" cy="331329"/>
          </a:xfrm>
          <a:prstGeom prst="ellipse">
            <a:avLst/>
          </a:prstGeom>
          <a:solidFill>
            <a:srgbClr val="EEF3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609585" rtl="0" eaLnBrk="1" fontAlgn="auto" latinLnBrk="0" hangingPunct="1">
              <a:lnSpc>
                <a:spcPct val="112000"/>
              </a:lnSpc>
              <a:spcBef>
                <a:spcPts val="0"/>
              </a:spcBef>
              <a:spcAft>
                <a:spcPts val="0"/>
              </a:spcAft>
              <a:buClrTx/>
              <a:buSzTx/>
              <a:buFontTx/>
              <a:buNone/>
              <a:tabLst/>
              <a:defRPr/>
            </a:pPr>
            <a:endParaRPr kumimoji="0" lang="en-NL" sz="1867" b="0" i="0" u="none" strike="noStrike" kern="1200" cap="none" spc="0" normalizeH="0" baseline="0" noProof="0">
              <a:ln>
                <a:noFill/>
              </a:ln>
              <a:solidFill>
                <a:srgbClr val="FFFFFF"/>
              </a:solidFill>
              <a:effectLst/>
              <a:uLnTx/>
              <a:uFillTx/>
              <a:latin typeface="Verdana"/>
              <a:ea typeface="+mn-ea"/>
              <a:cs typeface="+mn-cs"/>
            </a:endParaRPr>
          </a:p>
        </p:txBody>
      </p:sp>
      <p:pic>
        <p:nvPicPr>
          <p:cNvPr id="24" name="Picture 23">
            <a:extLst>
              <a:ext uri="{FF2B5EF4-FFF2-40B4-BE49-F238E27FC236}">
                <a16:creationId xmlns:a16="http://schemas.microsoft.com/office/drawing/2014/main" id="{98F38DAF-1772-17FE-4750-7C797966B4D3}"/>
              </a:ext>
            </a:extLst>
          </p:cNvPr>
          <p:cNvPicPr>
            <a:picLocks noChangeAspect="1"/>
          </p:cNvPicPr>
          <p:nvPr/>
        </p:nvPicPr>
        <p:blipFill>
          <a:blip r:embed="rId9" cstate="print">
            <a:biLevel thresh="75000"/>
            <a:extLst>
              <a:ext uri="{28A0092B-C50C-407E-A947-70E740481C1C}">
                <a14:useLocalDpi xmlns:a14="http://schemas.microsoft.com/office/drawing/2010/main" val="0"/>
              </a:ext>
            </a:extLst>
          </a:blip>
          <a:stretch>
            <a:fillRect/>
          </a:stretch>
        </p:blipFill>
        <p:spPr>
          <a:xfrm>
            <a:off x="1169047" y="3320181"/>
            <a:ext cx="865440" cy="721200"/>
          </a:xfrm>
          <a:prstGeom prst="rect">
            <a:avLst/>
          </a:prstGeom>
        </p:spPr>
      </p:pic>
      <p:pic>
        <p:nvPicPr>
          <p:cNvPr id="26" name="Picture 25">
            <a:extLst>
              <a:ext uri="{FF2B5EF4-FFF2-40B4-BE49-F238E27FC236}">
                <a16:creationId xmlns:a16="http://schemas.microsoft.com/office/drawing/2014/main" id="{8E3542B3-DEE3-DDF9-C489-AA12B571432D}"/>
              </a:ext>
            </a:extLst>
          </p:cNvPr>
          <p:cNvPicPr>
            <a:picLocks noChangeAspect="1"/>
          </p:cNvPicPr>
          <p:nvPr/>
        </p:nvPicPr>
        <p:blipFill>
          <a:blip r:embed="rId10" cstate="print">
            <a:biLevel thresh="75000"/>
            <a:extLst>
              <a:ext uri="{28A0092B-C50C-407E-A947-70E740481C1C}">
                <a14:useLocalDpi xmlns:a14="http://schemas.microsoft.com/office/drawing/2010/main" val="0"/>
              </a:ext>
            </a:extLst>
          </a:blip>
          <a:stretch>
            <a:fillRect/>
          </a:stretch>
        </p:blipFill>
        <p:spPr>
          <a:xfrm>
            <a:off x="2002052" y="4380599"/>
            <a:ext cx="771628" cy="643024"/>
          </a:xfrm>
          <a:prstGeom prst="rect">
            <a:avLst/>
          </a:prstGeom>
        </p:spPr>
      </p:pic>
      <p:pic>
        <p:nvPicPr>
          <p:cNvPr id="32" name="Picture 31">
            <a:extLst>
              <a:ext uri="{FF2B5EF4-FFF2-40B4-BE49-F238E27FC236}">
                <a16:creationId xmlns:a16="http://schemas.microsoft.com/office/drawing/2014/main" id="{3B45CBF4-9934-C4F9-33BB-83026AA435DD}"/>
              </a:ext>
            </a:extLst>
          </p:cNvPr>
          <p:cNvPicPr>
            <a:picLocks noChangeAspect="1"/>
          </p:cNvPicPr>
          <p:nvPr/>
        </p:nvPicPr>
        <p:blipFill>
          <a:blip r:embed="rId11" cstate="print">
            <a:biLevel thresh="75000"/>
            <a:extLst>
              <a:ext uri="{28A0092B-C50C-407E-A947-70E740481C1C}">
                <a14:useLocalDpi xmlns:a14="http://schemas.microsoft.com/office/drawing/2010/main" val="0"/>
              </a:ext>
            </a:extLst>
          </a:blip>
          <a:stretch>
            <a:fillRect/>
          </a:stretch>
        </p:blipFill>
        <p:spPr>
          <a:xfrm>
            <a:off x="373012" y="2286718"/>
            <a:ext cx="883932" cy="736610"/>
          </a:xfrm>
          <a:prstGeom prst="rect">
            <a:avLst/>
          </a:prstGeom>
        </p:spPr>
      </p:pic>
      <p:sp>
        <p:nvSpPr>
          <p:cNvPr id="3" name="Rectangle 2">
            <a:extLst>
              <a:ext uri="{FF2B5EF4-FFF2-40B4-BE49-F238E27FC236}">
                <a16:creationId xmlns:a16="http://schemas.microsoft.com/office/drawing/2014/main" id="{5D80D999-ADDC-B92C-C84D-6C1BA472D62D}"/>
              </a:ext>
            </a:extLst>
          </p:cNvPr>
          <p:cNvSpPr/>
          <p:nvPr/>
        </p:nvSpPr>
        <p:spPr>
          <a:xfrm>
            <a:off x="12192000" y="-543972"/>
            <a:ext cx="2635624" cy="8247304"/>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609585" rtl="0" eaLnBrk="1" fontAlgn="auto" latinLnBrk="0" hangingPunct="1">
              <a:lnSpc>
                <a:spcPct val="112000"/>
              </a:lnSpc>
              <a:spcBef>
                <a:spcPts val="0"/>
              </a:spcBef>
              <a:spcAft>
                <a:spcPts val="0"/>
              </a:spcAft>
              <a:buClrTx/>
              <a:buSzTx/>
              <a:buFontTx/>
              <a:buNone/>
              <a:tabLst/>
              <a:defRPr/>
            </a:pPr>
            <a:endParaRPr kumimoji="0" lang="en-NL" sz="1867" b="0" i="0" u="none" strike="noStrike" kern="1200" cap="none" spc="0" normalizeH="0" baseline="0" noProof="0">
              <a:ln>
                <a:noFill/>
              </a:ln>
              <a:solidFill>
                <a:srgbClr val="FFFFFF"/>
              </a:solidFill>
              <a:effectLst/>
              <a:uLnTx/>
              <a:uFillTx/>
              <a:latin typeface="Verdana"/>
              <a:ea typeface="+mn-ea"/>
              <a:cs typeface="+mn-cs"/>
            </a:endParaRPr>
          </a:p>
        </p:txBody>
      </p:sp>
      <p:sp>
        <p:nvSpPr>
          <p:cNvPr id="15" name="TextBox 14">
            <a:extLst>
              <a:ext uri="{FF2B5EF4-FFF2-40B4-BE49-F238E27FC236}">
                <a16:creationId xmlns:a16="http://schemas.microsoft.com/office/drawing/2014/main" id="{C7C3130D-C829-B710-AB3A-65D44164268E}"/>
              </a:ext>
            </a:extLst>
          </p:cNvPr>
          <p:cNvSpPr txBox="1"/>
          <p:nvPr/>
        </p:nvSpPr>
        <p:spPr>
          <a:xfrm>
            <a:off x="1255360" y="5490131"/>
            <a:ext cx="8234080" cy="615553"/>
          </a:xfrm>
          <a:prstGeom prst="rect">
            <a:avLst/>
          </a:prstGeom>
          <a:noFill/>
        </p:spPr>
        <p:txBody>
          <a:bodyPr wrap="square" lIns="0" tIns="0" rIns="0" bIns="0" rtlCol="0">
            <a:normAutofit/>
          </a:bodyPr>
          <a:lstStyle/>
          <a:p>
            <a:pPr marL="118530" marR="0" lvl="2" indent="366175" algn="ctr" defTabSz="914354" rtl="0" eaLnBrk="1" fontAlgn="auto" latinLnBrk="0" hangingPunct="1">
              <a:lnSpc>
                <a:spcPct val="100000"/>
              </a:lnSpc>
              <a:spcBef>
                <a:spcPts val="500"/>
              </a:spcBef>
              <a:spcAft>
                <a:spcPts val="0"/>
              </a:spcAft>
              <a:buClr>
                <a:srgbClr val="3F4043"/>
              </a:buClr>
              <a:buSzTx/>
              <a:buFontTx/>
              <a:buNone/>
              <a:tabLst/>
              <a:defRPr/>
            </a:pPr>
            <a:r>
              <a:t>Resulting in weight loss, including loss of muscle mass, and possible dehydration and gut health issues.</a:t>
            </a:r>
            <a:br/>
            <a:r>
              <a:t>导致体重减轻，包括肌肉质量的减少，以及可能的脱水和肠道健康问题。</a:t>
            </a:r>
            <a:endParaRPr kumimoji="0" lang="en-US" sz="2000" b="0" i="0" u="none" strike="noStrike" kern="1200" cap="none" spc="0" normalizeH="0" baseline="0" noProof="0">
              <a:ln>
                <a:noFill/>
              </a:ln>
              <a:solidFill>
                <a:srgbClr val="2C353A"/>
              </a:solidFill>
              <a:effectLst/>
              <a:uLnTx/>
              <a:uFillTx/>
              <a:latin typeface="Verdana"/>
              <a:ea typeface="+mn-ea"/>
              <a:cs typeface="+mn-cs"/>
            </a:endParaRPr>
          </a:p>
        </p:txBody>
      </p:sp>
      <p:sp>
        <p:nvSpPr>
          <p:cNvPr id="5" name="TextBox 4">
            <a:extLst>
              <a:ext uri="{FF2B5EF4-FFF2-40B4-BE49-F238E27FC236}">
                <a16:creationId xmlns:a16="http://schemas.microsoft.com/office/drawing/2014/main" id="{CEEF1C1A-DF55-4E25-7F06-D86CEC3045C2}"/>
              </a:ext>
            </a:extLst>
          </p:cNvPr>
          <p:cNvSpPr txBox="1"/>
          <p:nvPr/>
        </p:nvSpPr>
        <p:spPr>
          <a:xfrm>
            <a:off x="1645147" y="2477401"/>
            <a:ext cx="7623715" cy="621837"/>
          </a:xfrm>
          <a:prstGeom prst="rect">
            <a:avLst/>
          </a:prstGeom>
          <a:noFill/>
        </p:spPr>
        <p:txBody>
          <a:bodyPr wrap="square">
            <a:normAutofit/>
          </a:bodyPr>
          <a:lstStyle/>
          <a:p>
            <a:pPr marL="0" marR="0" lvl="0" indent="0" algn="l" defTabSz="914354" rtl="0" eaLnBrk="1" fontAlgn="auto" latinLnBrk="0" hangingPunct="1">
              <a:lnSpc>
                <a:spcPct val="113000"/>
              </a:lnSpc>
              <a:spcBef>
                <a:spcPts val="1600"/>
              </a:spcBef>
              <a:spcAft>
                <a:spcPts val="0"/>
              </a:spcAft>
              <a:buClr>
                <a:srgbClr val="3F4043"/>
              </a:buClr>
              <a:buSzTx/>
              <a:buFontTx/>
              <a:buNone/>
              <a:tabLst/>
              <a:defRPr/>
            </a:pPr>
            <a:r>
              <a:t>GLP 1 Agonists: Medication that mimics GLP-1 in the body, and supports the management of type 2 diabetes (&amp; more recently obesity)1</a:t>
            </a:r>
            <a:br/>
            <a:r>
              <a:t>GLP 1 激动剂：模仿体内 GLP-1 的药物，支持 2 型糖尿病的管理（最近也用于肥胖症）1</a:t>
            </a:r>
          </a:p>
        </p:txBody>
      </p:sp>
    </p:spTree>
    <p:extLst>
      <p:ext uri="{BB962C8B-B14F-4D97-AF65-F5344CB8AC3E}">
        <p14:creationId xmlns:p14="http://schemas.microsoft.com/office/powerpoint/2010/main" val="3375824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9" grpId="0"/>
      <p:bldP spid="12" grpId="0"/>
      <p:bldP spid="20" grpId="0" animBg="1"/>
      <p:bldP spid="21" grpId="0" animBg="1"/>
      <p:bldP spid="15" grpId="0"/>
    </p:bldLst>
  </p:timing>
  <p:extLst>
    <p:ext uri="{6950BFC3-D8DA-4A85-94F7-54DA5524770B}">
      <p188:commentRel xmlns:p188="http://schemas.microsoft.com/office/powerpoint/2018/8/main" r:id="rId4"/>
    </p:ext>
  </p:extLs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Placeholder 33" descr="A person lying on a couch holding their stomach&#10;&#10;Description automatically generated">
            <a:extLst>
              <a:ext uri="{FF2B5EF4-FFF2-40B4-BE49-F238E27FC236}">
                <a16:creationId xmlns:a16="http://schemas.microsoft.com/office/drawing/2014/main" id="{477B4A2D-33EC-140E-9134-CC1EF7E16AD8}"/>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l="46427" t="8346" r="-225" b="-1201"/>
          <a:stretch/>
        </p:blipFill>
        <p:spPr>
          <a:xfrm flipH="1">
            <a:off x="7345957" y="-15694"/>
            <a:ext cx="4846043" cy="5575923"/>
          </a:xfrm>
        </p:spPr>
      </p:pic>
      <p:sp>
        <p:nvSpPr>
          <p:cNvPr id="8" name="Title 7">
            <a:extLst>
              <a:ext uri="{FF2B5EF4-FFF2-40B4-BE49-F238E27FC236}">
                <a16:creationId xmlns:a16="http://schemas.microsoft.com/office/drawing/2014/main" id="{FC029B02-7FAF-51CB-F018-237ED55D0B82}"/>
              </a:ext>
            </a:extLst>
          </p:cNvPr>
          <p:cNvSpPr>
            <a:spLocks noGrp="1"/>
          </p:cNvSpPr>
          <p:nvPr>
            <p:ph type="title"/>
          </p:nvPr>
        </p:nvSpPr>
        <p:spPr>
          <a:xfrm>
            <a:off x="580292" y="514453"/>
            <a:ext cx="6421399" cy="1036965"/>
          </a:xfrm>
        </p:spPr>
        <p:txBody>
          <a:bodyPr>
            <a:normAutofit/>
          </a:bodyPr>
          <a:lstStyle/>
          <a:p>
            <a:r>
              <a:t>The impact of GLP-1 drugs beyond diabetes and weight loss opportunities for companion products</a:t>
            </a:r>
            <a:br/>
            <a:r>
              <a:t>GLP-1药物在糖尿病和减肥之外的影响及伴随产品的机会</a:t>
            </a:r>
            <a:endParaRPr lang="nl-NL"/>
          </a:p>
        </p:txBody>
      </p:sp>
      <p:sp>
        <p:nvSpPr>
          <p:cNvPr id="16" name="Footer Placeholder 3">
            <a:extLst>
              <a:ext uri="{FF2B5EF4-FFF2-40B4-BE49-F238E27FC236}">
                <a16:creationId xmlns:a16="http://schemas.microsoft.com/office/drawing/2014/main" id="{202271E5-E851-E264-4CD8-E323B87EC32C}"/>
              </a:ext>
            </a:extLst>
          </p:cNvPr>
          <p:cNvSpPr>
            <a:spLocks noGrp="1"/>
          </p:cNvSpPr>
          <p:nvPr>
            <p:ph type="ftr" sz="quarter" idx="4294967295"/>
          </p:nvPr>
        </p:nvSpPr>
        <p:spPr>
          <a:xfrm>
            <a:off x="801188" y="6547115"/>
            <a:ext cx="4661533" cy="102657"/>
          </a:xfrm>
        </p:spPr>
        <p:txBody>
          <a:bodyPr>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t>Draft | Internal use only | Confidential | Source: Consumer research, Lumina Intelligence – February 2025</a:t>
            </a:r>
            <a:br/>
            <a:r>
              <a:t>草稿 | 仅限内部使用 | 保密 | 资料来源：消费者研究，Lumina Intelligence – 2025年2月</a:t>
            </a:r>
          </a:p>
        </p:txBody>
      </p:sp>
      <p:sp>
        <p:nvSpPr>
          <p:cNvPr id="18" name="Slide Number Placeholder 4">
            <a:extLst>
              <a:ext uri="{FF2B5EF4-FFF2-40B4-BE49-F238E27FC236}">
                <a16:creationId xmlns:a16="http://schemas.microsoft.com/office/drawing/2014/main" id="{9C0A18FF-ACBB-F111-D3CC-78CDCDF46C37}"/>
              </a:ext>
            </a:extLst>
          </p:cNvPr>
          <p:cNvSpPr>
            <a:spLocks noGrp="1"/>
          </p:cNvSpPr>
          <p:nvPr>
            <p:ph type="sldNum" sz="quarter" idx="4294967295"/>
          </p:nvPr>
        </p:nvSpPr>
        <p:spPr>
          <a:xfrm>
            <a:off x="580292" y="6546850"/>
            <a:ext cx="147638" cy="103188"/>
          </a:xfrm>
        </p:spPr>
        <p:txBody>
          <a:bodyPr>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9BE0E23E-9022-4929-B297-EB2777CDBB1F}" type="slidenum">
              <a:rPr kumimoji="0" lang="en-GB" sz="667" b="0" i="0" u="none" strike="noStrike" kern="1200" cap="none" spc="0" normalizeH="0" baseline="0" noProof="0" smtClean="0">
                <a:ln>
                  <a:noFill/>
                </a:ln>
                <a:solidFill>
                  <a:srgbClr val="3F4043">
                    <a:tint val="75000"/>
                  </a:srgbClr>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600"/>
                </a:spcAft>
                <a:buClrTx/>
                <a:buSzTx/>
                <a:buFontTx/>
                <a:buNone/>
                <a:tabLst/>
                <a:defRPr/>
              </a:pPr>
              <a:t>19</a:t>
            </a:fld>
            <a:endParaRPr kumimoji="0" lang="en-GB" sz="667" b="0" i="0" u="none" strike="noStrike" kern="1200" cap="none" spc="0" normalizeH="0" baseline="0" noProof="0">
              <a:ln>
                <a:noFill/>
              </a:ln>
              <a:solidFill>
                <a:srgbClr val="3F4043">
                  <a:tint val="75000"/>
                </a:srgbClr>
              </a:solidFill>
              <a:effectLst/>
              <a:uLnTx/>
              <a:uFillTx/>
              <a:latin typeface="Verdana"/>
              <a:ea typeface="+mn-ea"/>
              <a:cs typeface="+mn-cs"/>
            </a:endParaRPr>
          </a:p>
        </p:txBody>
      </p:sp>
      <p:sp>
        <p:nvSpPr>
          <p:cNvPr id="19" name="TextBox 18">
            <a:extLst>
              <a:ext uri="{FF2B5EF4-FFF2-40B4-BE49-F238E27FC236}">
                <a16:creationId xmlns:a16="http://schemas.microsoft.com/office/drawing/2014/main" id="{1DB1E23D-E385-9D16-6C9C-C156ED8A4AC2}"/>
              </a:ext>
            </a:extLst>
          </p:cNvPr>
          <p:cNvSpPr txBox="1"/>
          <p:nvPr/>
        </p:nvSpPr>
        <p:spPr>
          <a:xfrm>
            <a:off x="1961250" y="2021124"/>
            <a:ext cx="5040441" cy="249427"/>
          </a:xfrm>
          <a:prstGeom prst="rect">
            <a:avLst/>
          </a:prstGeom>
          <a:noFill/>
        </p:spPr>
        <p:txBody>
          <a:bodyPr wrap="square" lIns="0" tIns="0" rIns="0" bIns="0" rtlCol="0">
            <a:normAutofit/>
          </a:bodyPr>
          <a:lstStyle/>
          <a:p>
            <a:pPr marL="0" marR="0" lvl="0" indent="0" algn="l" defTabSz="914400" rtl="0" eaLnBrk="1" fontAlgn="auto" latinLnBrk="0" hangingPunct="1">
              <a:lnSpc>
                <a:spcPct val="112000"/>
              </a:lnSpc>
              <a:spcBef>
                <a:spcPts val="0"/>
              </a:spcBef>
              <a:spcAft>
                <a:spcPts val="0"/>
              </a:spcAft>
              <a:buClrTx/>
              <a:buSzTx/>
              <a:buFontTx/>
              <a:buNone/>
              <a:tabLst/>
              <a:defRPr/>
            </a:pPr>
            <a:r>
              <a:t>Nausea occurrence in ~40% of users</a:t>
            </a:r>
            <a:br/>
            <a:r>
              <a:t>约40%的用户出现恶心</a:t>
            </a:r>
            <a:endParaRPr kumimoji="0" lang="nl-NL" sz="1600" b="0" i="0" u="none" strike="noStrike" kern="1200" cap="none" spc="0" normalizeH="0" baseline="0" noProof="0">
              <a:ln>
                <a:noFill/>
              </a:ln>
              <a:solidFill>
                <a:srgbClr val="3F4043"/>
              </a:solidFill>
              <a:effectLst/>
              <a:uLnTx/>
              <a:uFillTx/>
              <a:latin typeface="Verdana"/>
              <a:ea typeface="+mn-ea"/>
              <a:cs typeface="+mn-cs"/>
            </a:endParaRPr>
          </a:p>
        </p:txBody>
      </p:sp>
      <p:sp>
        <p:nvSpPr>
          <p:cNvPr id="21" name="TextBox 20">
            <a:extLst>
              <a:ext uri="{FF2B5EF4-FFF2-40B4-BE49-F238E27FC236}">
                <a16:creationId xmlns:a16="http://schemas.microsoft.com/office/drawing/2014/main" id="{C0D6CF96-6719-9148-C03D-ADB62A54C5B6}"/>
              </a:ext>
            </a:extLst>
          </p:cNvPr>
          <p:cNvSpPr txBox="1"/>
          <p:nvPr/>
        </p:nvSpPr>
        <p:spPr>
          <a:xfrm>
            <a:off x="2325823" y="2450762"/>
            <a:ext cx="5040441" cy="249427"/>
          </a:xfrm>
          <a:prstGeom prst="rect">
            <a:avLst/>
          </a:prstGeom>
          <a:noFill/>
        </p:spPr>
        <p:txBody>
          <a:bodyPr wrap="square" lIns="0" tIns="0" rIns="0" bIns="0" rtlCol="0">
            <a:normAutofit/>
          </a:bodyPr>
          <a:lstStyle/>
          <a:p>
            <a:pPr marL="0" marR="0" lvl="0" indent="0" algn="l" defTabSz="914400" rtl="0" eaLnBrk="1" fontAlgn="auto" latinLnBrk="0" hangingPunct="1">
              <a:lnSpc>
                <a:spcPct val="112000"/>
              </a:lnSpc>
              <a:spcBef>
                <a:spcPts val="0"/>
              </a:spcBef>
              <a:spcAft>
                <a:spcPts val="0"/>
              </a:spcAft>
              <a:buClrTx/>
              <a:buSzTx/>
              <a:buFontTx/>
              <a:buNone/>
              <a:tabLst/>
              <a:defRPr/>
            </a:pPr>
            <a:r>
              <a:t>Vomiting ~20% of users</a:t>
            </a:r>
            <a:br/>
            <a:r>
              <a:t>约20%的用户出现呕吐</a:t>
            </a:r>
            <a:endParaRPr kumimoji="0" lang="nl-NL" sz="1600" b="0" i="0" u="none" strike="noStrike" kern="1200" cap="none" spc="0" normalizeH="0" baseline="0" noProof="0">
              <a:ln>
                <a:noFill/>
              </a:ln>
              <a:solidFill>
                <a:srgbClr val="3F4043"/>
              </a:solidFill>
              <a:effectLst/>
              <a:uLnTx/>
              <a:uFillTx/>
              <a:latin typeface="Verdana"/>
              <a:ea typeface="+mn-ea"/>
              <a:cs typeface="+mn-cs"/>
            </a:endParaRPr>
          </a:p>
        </p:txBody>
      </p:sp>
      <p:sp>
        <p:nvSpPr>
          <p:cNvPr id="22" name="TextBox 21">
            <a:extLst>
              <a:ext uri="{FF2B5EF4-FFF2-40B4-BE49-F238E27FC236}">
                <a16:creationId xmlns:a16="http://schemas.microsoft.com/office/drawing/2014/main" id="{AA77C562-67C8-CD82-114B-9AFEFD808DAE}"/>
              </a:ext>
            </a:extLst>
          </p:cNvPr>
          <p:cNvSpPr txBox="1"/>
          <p:nvPr/>
        </p:nvSpPr>
        <p:spPr>
          <a:xfrm>
            <a:off x="2668222" y="2877853"/>
            <a:ext cx="5040441" cy="249427"/>
          </a:xfrm>
          <a:prstGeom prst="rect">
            <a:avLst/>
          </a:prstGeom>
          <a:noFill/>
        </p:spPr>
        <p:txBody>
          <a:bodyPr wrap="square" lIns="0" tIns="0" rIns="0" bIns="0" rtlCol="0">
            <a:normAutofit/>
          </a:bodyPr>
          <a:lstStyle/>
          <a:p>
            <a:pPr marL="0" marR="0" lvl="0" indent="0" algn="l" defTabSz="914400" rtl="0" eaLnBrk="1" fontAlgn="auto" latinLnBrk="0" hangingPunct="1">
              <a:lnSpc>
                <a:spcPct val="112000"/>
              </a:lnSpc>
              <a:spcBef>
                <a:spcPts val="0"/>
              </a:spcBef>
              <a:spcAft>
                <a:spcPts val="0"/>
              </a:spcAft>
              <a:buClrTx/>
              <a:buSzTx/>
              <a:buFontTx/>
              <a:buNone/>
              <a:tabLst/>
              <a:defRPr/>
            </a:pPr>
            <a:r>
              <a:t>Diarrhea ~20% of users</a:t>
            </a:r>
            <a:br/>
            <a:r>
              <a:t>约20%的用户出现腹泻</a:t>
            </a:r>
            <a:endParaRPr kumimoji="0" lang="nl-NL" sz="1600" b="0" i="0" u="none" strike="noStrike" kern="1200" cap="none" spc="0" normalizeH="0" baseline="0" noProof="0">
              <a:ln>
                <a:noFill/>
              </a:ln>
              <a:solidFill>
                <a:srgbClr val="3F4043"/>
              </a:solidFill>
              <a:effectLst/>
              <a:uLnTx/>
              <a:uFillTx/>
              <a:latin typeface="Verdana"/>
              <a:ea typeface="+mn-ea"/>
              <a:cs typeface="+mn-cs"/>
            </a:endParaRPr>
          </a:p>
        </p:txBody>
      </p:sp>
      <p:sp>
        <p:nvSpPr>
          <p:cNvPr id="23" name="TextBox 22">
            <a:extLst>
              <a:ext uri="{FF2B5EF4-FFF2-40B4-BE49-F238E27FC236}">
                <a16:creationId xmlns:a16="http://schemas.microsoft.com/office/drawing/2014/main" id="{22FC62DC-0284-57B7-0FD2-AAA4B3600F92}"/>
              </a:ext>
            </a:extLst>
          </p:cNvPr>
          <p:cNvSpPr txBox="1"/>
          <p:nvPr/>
        </p:nvSpPr>
        <p:spPr>
          <a:xfrm>
            <a:off x="2942500" y="3296528"/>
            <a:ext cx="5040441" cy="249427"/>
          </a:xfrm>
          <a:prstGeom prst="rect">
            <a:avLst/>
          </a:prstGeom>
          <a:noFill/>
        </p:spPr>
        <p:txBody>
          <a:bodyPr wrap="square" lIns="0" tIns="0" rIns="0" bIns="0" rtlCol="0">
            <a:normAutofit/>
          </a:bodyPr>
          <a:lstStyle/>
          <a:p>
            <a:pPr marL="0" marR="0" lvl="0" indent="0" algn="l" defTabSz="914400" rtl="0" eaLnBrk="1" fontAlgn="auto" latinLnBrk="0" hangingPunct="1">
              <a:lnSpc>
                <a:spcPct val="112000"/>
              </a:lnSpc>
              <a:spcBef>
                <a:spcPts val="0"/>
              </a:spcBef>
              <a:spcAft>
                <a:spcPts val="0"/>
              </a:spcAft>
              <a:buClrTx/>
              <a:buSzTx/>
              <a:buFontTx/>
              <a:buNone/>
              <a:tabLst/>
              <a:defRPr/>
            </a:pPr>
            <a:r>
              <a:t>Constipation 4-12% of users</a:t>
            </a:r>
            <a:br/>
            <a:r>
              <a:t>4-12%的用户出现便秘</a:t>
            </a:r>
            <a:endParaRPr kumimoji="0" lang="nl-NL" sz="1600" b="0" i="0" u="none" strike="noStrike" kern="1200" cap="none" spc="0" normalizeH="0" baseline="0" noProof="0">
              <a:ln>
                <a:noFill/>
              </a:ln>
              <a:solidFill>
                <a:srgbClr val="3F4043"/>
              </a:solidFill>
              <a:effectLst/>
              <a:uLnTx/>
              <a:uFillTx/>
              <a:latin typeface="Verdana"/>
              <a:ea typeface="+mn-ea"/>
              <a:cs typeface="+mn-cs"/>
            </a:endParaRPr>
          </a:p>
        </p:txBody>
      </p:sp>
      <p:sp>
        <p:nvSpPr>
          <p:cNvPr id="24" name="TextBox 23">
            <a:extLst>
              <a:ext uri="{FF2B5EF4-FFF2-40B4-BE49-F238E27FC236}">
                <a16:creationId xmlns:a16="http://schemas.microsoft.com/office/drawing/2014/main" id="{E9DB1731-0756-3C1F-51CB-74D96669F462}"/>
              </a:ext>
            </a:extLst>
          </p:cNvPr>
          <p:cNvSpPr txBox="1"/>
          <p:nvPr/>
        </p:nvSpPr>
        <p:spPr>
          <a:xfrm>
            <a:off x="3030928" y="4706047"/>
            <a:ext cx="5040441" cy="249427"/>
          </a:xfrm>
          <a:prstGeom prst="rect">
            <a:avLst/>
          </a:prstGeom>
          <a:noFill/>
        </p:spPr>
        <p:txBody>
          <a:bodyPr wrap="square" lIns="0" tIns="0" rIns="0" bIns="0" rtlCol="0">
            <a:normAutofit/>
          </a:bodyPr>
          <a:lstStyle/>
          <a:p>
            <a:pPr marL="0" marR="0" lvl="0" indent="0" algn="l" defTabSz="914400" rtl="0" eaLnBrk="1" fontAlgn="auto" latinLnBrk="0" hangingPunct="1">
              <a:lnSpc>
                <a:spcPct val="112000"/>
              </a:lnSpc>
              <a:spcBef>
                <a:spcPts val="0"/>
              </a:spcBef>
              <a:spcAft>
                <a:spcPts val="0"/>
              </a:spcAft>
              <a:buClrTx/>
              <a:buSzTx/>
              <a:buFontTx/>
              <a:buNone/>
              <a:tabLst/>
              <a:defRPr/>
            </a:pPr>
            <a:r>
              <a:t>Smaller portions</a:t>
            </a:r>
            <a:br/>
            <a:r>
              <a:t>减少食量</a:t>
            </a:r>
            <a:endParaRPr kumimoji="0" lang="nl-NL" sz="1600" b="0" i="0" u="none" strike="noStrike" kern="1200" cap="none" spc="0" normalizeH="0" baseline="0" noProof="0">
              <a:ln>
                <a:noFill/>
              </a:ln>
              <a:solidFill>
                <a:srgbClr val="3F4043"/>
              </a:solidFill>
              <a:effectLst/>
              <a:uLnTx/>
              <a:uFillTx/>
              <a:latin typeface="Verdana"/>
              <a:ea typeface="+mn-ea"/>
              <a:cs typeface="+mn-cs"/>
            </a:endParaRPr>
          </a:p>
        </p:txBody>
      </p:sp>
      <p:sp>
        <p:nvSpPr>
          <p:cNvPr id="25" name="TextBox 24">
            <a:extLst>
              <a:ext uri="{FF2B5EF4-FFF2-40B4-BE49-F238E27FC236}">
                <a16:creationId xmlns:a16="http://schemas.microsoft.com/office/drawing/2014/main" id="{8528A4ED-6432-4EAC-4754-87F7D3958A18}"/>
              </a:ext>
            </a:extLst>
          </p:cNvPr>
          <p:cNvSpPr txBox="1"/>
          <p:nvPr/>
        </p:nvSpPr>
        <p:spPr>
          <a:xfrm>
            <a:off x="2668222" y="5198038"/>
            <a:ext cx="5040441" cy="249427"/>
          </a:xfrm>
          <a:prstGeom prst="rect">
            <a:avLst/>
          </a:prstGeom>
          <a:noFill/>
        </p:spPr>
        <p:txBody>
          <a:bodyPr wrap="square" lIns="0" tIns="0" rIns="0" bIns="0" rtlCol="0">
            <a:normAutofit/>
          </a:bodyPr>
          <a:lstStyle/>
          <a:p>
            <a:pPr marL="0" marR="0" lvl="0" indent="0" algn="l" defTabSz="914400" rtl="0" eaLnBrk="1" fontAlgn="auto" latinLnBrk="0" hangingPunct="1">
              <a:lnSpc>
                <a:spcPct val="112000"/>
              </a:lnSpc>
              <a:spcBef>
                <a:spcPts val="0"/>
              </a:spcBef>
              <a:spcAft>
                <a:spcPts val="0"/>
              </a:spcAft>
              <a:buClrTx/>
              <a:buSzTx/>
              <a:buFontTx/>
              <a:buNone/>
              <a:tabLst/>
              <a:defRPr/>
            </a:pPr>
            <a:r>
              <a:t>Healthier food choices</a:t>
            </a:r>
            <a:br/>
            <a:r>
              <a:t>更健康的食物选择</a:t>
            </a:r>
            <a:endParaRPr kumimoji="0" lang="nl-NL" sz="1600" b="0" i="0" u="none" strike="noStrike" kern="1200" cap="none" spc="0" normalizeH="0" baseline="0" noProof="0">
              <a:ln>
                <a:noFill/>
              </a:ln>
              <a:solidFill>
                <a:srgbClr val="3F4043"/>
              </a:solidFill>
              <a:effectLst/>
              <a:uLnTx/>
              <a:uFillTx/>
              <a:latin typeface="Verdana"/>
              <a:ea typeface="+mn-ea"/>
              <a:cs typeface="+mn-cs"/>
            </a:endParaRPr>
          </a:p>
        </p:txBody>
      </p:sp>
      <p:sp>
        <p:nvSpPr>
          <p:cNvPr id="26" name="TextBox 25">
            <a:extLst>
              <a:ext uri="{FF2B5EF4-FFF2-40B4-BE49-F238E27FC236}">
                <a16:creationId xmlns:a16="http://schemas.microsoft.com/office/drawing/2014/main" id="{30D748F3-5C10-2992-90B7-90701BABA142}"/>
              </a:ext>
            </a:extLst>
          </p:cNvPr>
          <p:cNvSpPr txBox="1"/>
          <p:nvPr/>
        </p:nvSpPr>
        <p:spPr>
          <a:xfrm>
            <a:off x="2158274" y="5732313"/>
            <a:ext cx="5040441" cy="249427"/>
          </a:xfrm>
          <a:prstGeom prst="rect">
            <a:avLst/>
          </a:prstGeom>
          <a:noFill/>
        </p:spPr>
        <p:txBody>
          <a:bodyPr wrap="square" lIns="0" tIns="0" rIns="0" bIns="0" rtlCol="0">
            <a:normAutofit/>
          </a:bodyPr>
          <a:lstStyle/>
          <a:p>
            <a:pPr marL="0" marR="0" lvl="0" indent="0" algn="l" defTabSz="914400" rtl="0" eaLnBrk="1" fontAlgn="auto" latinLnBrk="0" hangingPunct="1">
              <a:lnSpc>
                <a:spcPct val="112000"/>
              </a:lnSpc>
              <a:spcBef>
                <a:spcPts val="0"/>
              </a:spcBef>
              <a:spcAft>
                <a:spcPts val="0"/>
              </a:spcAft>
              <a:buClrTx/>
              <a:buSzTx/>
              <a:buFontTx/>
              <a:buNone/>
              <a:tabLst/>
              <a:defRPr/>
            </a:pPr>
            <a:r>
              <a:t>Changing food &amp; beverage spending</a:t>
            </a:r>
            <a:br/>
            <a:r>
              <a:t>改变食品和饮料支出</a:t>
            </a:r>
            <a:endParaRPr kumimoji="0" lang="nl-NL" sz="1600" b="0" i="0" u="none" strike="noStrike" kern="1200" cap="none" spc="0" normalizeH="0" baseline="0" noProof="0">
              <a:ln>
                <a:noFill/>
              </a:ln>
              <a:solidFill>
                <a:srgbClr val="3F4043"/>
              </a:solidFill>
              <a:effectLst/>
              <a:uLnTx/>
              <a:uFillTx/>
              <a:latin typeface="Verdana"/>
              <a:ea typeface="+mn-ea"/>
              <a:cs typeface="+mn-cs"/>
            </a:endParaRPr>
          </a:p>
        </p:txBody>
      </p:sp>
      <p:sp>
        <p:nvSpPr>
          <p:cNvPr id="28" name="Chord 27">
            <a:extLst>
              <a:ext uri="{FF2B5EF4-FFF2-40B4-BE49-F238E27FC236}">
                <a16:creationId xmlns:a16="http://schemas.microsoft.com/office/drawing/2014/main" id="{6D87B23A-59B8-FB13-4113-6EA6D9953270}"/>
              </a:ext>
            </a:extLst>
          </p:cNvPr>
          <p:cNvSpPr/>
          <p:nvPr/>
        </p:nvSpPr>
        <p:spPr>
          <a:xfrm rot="13851899">
            <a:off x="-2716158" y="1566049"/>
            <a:ext cx="4903270" cy="5236779"/>
          </a:xfrm>
          <a:prstGeom prst="chord">
            <a:avLst>
              <a:gd name="adj1" fmla="val 2700000"/>
              <a:gd name="adj2" fmla="val 12834707"/>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112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Verdana"/>
              <a:ea typeface="+mn-ea"/>
              <a:cs typeface="+mn-cs"/>
            </a:endParaRPr>
          </a:p>
        </p:txBody>
      </p:sp>
      <p:sp>
        <p:nvSpPr>
          <p:cNvPr id="27" name="TextBox 26">
            <a:extLst>
              <a:ext uri="{FF2B5EF4-FFF2-40B4-BE49-F238E27FC236}">
                <a16:creationId xmlns:a16="http://schemas.microsoft.com/office/drawing/2014/main" id="{6FF9BA70-F8A0-3800-971E-867156AA83E1}"/>
              </a:ext>
            </a:extLst>
          </p:cNvPr>
          <p:cNvSpPr txBox="1"/>
          <p:nvPr/>
        </p:nvSpPr>
        <p:spPr>
          <a:xfrm>
            <a:off x="576287" y="3025768"/>
            <a:ext cx="1200693" cy="740267"/>
          </a:xfrm>
          <a:prstGeom prst="rect">
            <a:avLst/>
          </a:prstGeom>
          <a:noFill/>
        </p:spPr>
        <p:txBody>
          <a:bodyPr wrap="square" lIns="0" tIns="0" rIns="0" bIns="0" rtlCol="0">
            <a:normAutofit/>
          </a:bodyPr>
          <a:lstStyle/>
          <a:p>
            <a:pPr marL="0" marR="0" lvl="0" indent="0" algn="l" defTabSz="914400" rtl="0" eaLnBrk="1" fontAlgn="auto" latinLnBrk="0" hangingPunct="1">
              <a:lnSpc>
                <a:spcPct val="112000"/>
              </a:lnSpc>
              <a:spcBef>
                <a:spcPts val="0"/>
              </a:spcBef>
              <a:spcAft>
                <a:spcPts val="0"/>
              </a:spcAft>
              <a:buClrTx/>
              <a:buSzTx/>
              <a:buFontTx/>
              <a:buNone/>
              <a:tabLst/>
              <a:defRPr/>
            </a:pPr>
            <a:r>
              <a:t>PHYSICAL SIDE EFFECTS OF GLP-1 DIETS</a:t>
            </a:r>
            <a:br/>
            <a:r>
              <a:t>GLP-1饮食的物理副作用</a:t>
            </a:r>
            <a:endParaRPr kumimoji="0" lang="nl-NL" sz="1100" b="1" i="0" u="none" strike="noStrike" kern="1200" cap="none" spc="0" normalizeH="0" baseline="0" noProof="0">
              <a:ln>
                <a:noFill/>
              </a:ln>
              <a:solidFill>
                <a:srgbClr val="3F4043"/>
              </a:solidFill>
              <a:effectLst/>
              <a:uLnTx/>
              <a:uFillTx/>
              <a:latin typeface="Verdana"/>
              <a:ea typeface="+mn-ea"/>
              <a:cs typeface="+mn-cs"/>
            </a:endParaRPr>
          </a:p>
        </p:txBody>
      </p:sp>
      <p:sp>
        <p:nvSpPr>
          <p:cNvPr id="30" name="TextBox 29">
            <a:extLst>
              <a:ext uri="{FF2B5EF4-FFF2-40B4-BE49-F238E27FC236}">
                <a16:creationId xmlns:a16="http://schemas.microsoft.com/office/drawing/2014/main" id="{41102F1B-21D1-5613-740E-97CE9D426244}"/>
              </a:ext>
            </a:extLst>
          </p:cNvPr>
          <p:cNvSpPr txBox="1"/>
          <p:nvPr/>
        </p:nvSpPr>
        <p:spPr>
          <a:xfrm>
            <a:off x="519310" y="5011226"/>
            <a:ext cx="1200693" cy="550664"/>
          </a:xfrm>
          <a:prstGeom prst="rect">
            <a:avLst/>
          </a:prstGeom>
          <a:noFill/>
        </p:spPr>
        <p:txBody>
          <a:bodyPr wrap="square" lIns="0" tIns="0" rIns="0" bIns="0" rtlCol="0">
            <a:normAutofit/>
          </a:bodyPr>
          <a:lstStyle/>
          <a:p>
            <a:pPr marL="0" marR="0" lvl="0" indent="0" algn="l" defTabSz="914400" rtl="0" eaLnBrk="1" fontAlgn="auto" latinLnBrk="0" hangingPunct="1">
              <a:lnSpc>
                <a:spcPct val="112000"/>
              </a:lnSpc>
              <a:spcBef>
                <a:spcPts val="0"/>
              </a:spcBef>
              <a:spcAft>
                <a:spcPts val="0"/>
              </a:spcAft>
              <a:buClrTx/>
              <a:buSzTx/>
              <a:buFontTx/>
              <a:buNone/>
              <a:tabLst/>
              <a:defRPr/>
            </a:pPr>
            <a:r>
              <a:t>SOCIAL IMPACT OF GLP-1 DIETS</a:t>
            </a:r>
            <a:br/>
            <a:r>
              <a:t>GLP-1饮食的社会影响</a:t>
            </a:r>
            <a:endParaRPr kumimoji="0" lang="nl-NL" sz="1100" b="1" i="0" u="none" strike="noStrike" kern="1200" cap="none" spc="0" normalizeH="0" baseline="0" noProof="0">
              <a:ln>
                <a:noFill/>
              </a:ln>
              <a:solidFill>
                <a:srgbClr val="3F4043"/>
              </a:solidFill>
              <a:effectLst/>
              <a:uLnTx/>
              <a:uFillTx/>
              <a:latin typeface="Verdana"/>
              <a:ea typeface="+mn-ea"/>
              <a:cs typeface="+mn-cs"/>
            </a:endParaRPr>
          </a:p>
        </p:txBody>
      </p:sp>
      <p:sp>
        <p:nvSpPr>
          <p:cNvPr id="32" name="TextBox 31">
            <a:extLst>
              <a:ext uri="{FF2B5EF4-FFF2-40B4-BE49-F238E27FC236}">
                <a16:creationId xmlns:a16="http://schemas.microsoft.com/office/drawing/2014/main" id="{ED5F6DB2-111C-F08F-035E-9E7459028BC9}"/>
              </a:ext>
            </a:extLst>
          </p:cNvPr>
          <p:cNvSpPr txBox="1"/>
          <p:nvPr/>
        </p:nvSpPr>
        <p:spPr>
          <a:xfrm>
            <a:off x="3131954" y="3743043"/>
            <a:ext cx="5040441" cy="249427"/>
          </a:xfrm>
          <a:prstGeom prst="rect">
            <a:avLst/>
          </a:prstGeom>
          <a:noFill/>
        </p:spPr>
        <p:txBody>
          <a:bodyPr wrap="square" lIns="0" tIns="0" rIns="0" bIns="0" rtlCol="0">
            <a:normAutofit/>
          </a:bodyPr>
          <a:lstStyle/>
          <a:p>
            <a:pPr marL="0" marR="0" lvl="0" indent="0" algn="l" defTabSz="914400" rtl="0" eaLnBrk="1" fontAlgn="auto" latinLnBrk="0" hangingPunct="1">
              <a:lnSpc>
                <a:spcPct val="112000"/>
              </a:lnSpc>
              <a:spcBef>
                <a:spcPts val="0"/>
              </a:spcBef>
              <a:spcAft>
                <a:spcPts val="0"/>
              </a:spcAft>
              <a:buClrTx/>
              <a:buSzTx/>
              <a:buFontTx/>
              <a:buNone/>
              <a:tabLst/>
              <a:defRPr/>
            </a:pPr>
            <a:r>
              <a:t>Concerns of muscle mass loss</a:t>
            </a:r>
            <a:br/>
            <a:r>
              <a:t>担心肌肉质量损失</a:t>
            </a:r>
            <a:endParaRPr kumimoji="0" lang="nl-NL" sz="1600" b="0" i="0" u="none" strike="noStrike" kern="1200" cap="none" spc="0" normalizeH="0" baseline="0" noProof="0">
              <a:ln>
                <a:noFill/>
              </a:ln>
              <a:solidFill>
                <a:srgbClr val="3F4043"/>
              </a:solidFill>
              <a:effectLst/>
              <a:uLnTx/>
              <a:uFillTx/>
              <a:latin typeface="Verdana"/>
              <a:ea typeface="+mn-ea"/>
              <a:cs typeface="+mn-cs"/>
            </a:endParaRPr>
          </a:p>
        </p:txBody>
      </p:sp>
    </p:spTree>
    <p:extLst>
      <p:ext uri="{BB962C8B-B14F-4D97-AF65-F5344CB8AC3E}">
        <p14:creationId xmlns:p14="http://schemas.microsoft.com/office/powerpoint/2010/main" val="1131152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5E79DA3-C56A-D9CF-E04C-EE34722F3BB2}"/>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think-cell data - do not delete" hidden="1">
                        <a:extLst>
                          <a:ext uri="{FF2B5EF4-FFF2-40B4-BE49-F238E27FC236}">
                            <a16:creationId xmlns:a16="http://schemas.microsoft.com/office/drawing/2014/main" id="{35E79DA3-C56A-D9CF-E04C-EE34722F3BB2}"/>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35B68BA4-ADBD-E3B4-4247-E6A4C1C48AF0}"/>
              </a:ext>
            </a:extLst>
          </p:cNvPr>
          <p:cNvSpPr>
            <a:spLocks noGrp="1"/>
          </p:cNvSpPr>
          <p:nvPr>
            <p:ph type="title"/>
          </p:nvPr>
        </p:nvSpPr>
        <p:spPr>
          <a:xfrm>
            <a:off x="4897291" y="548218"/>
            <a:ext cx="6718975" cy="1036965"/>
          </a:xfrm>
        </p:spPr>
        <p:txBody>
          <a:bodyPr>
            <a:normAutofit/>
          </a:bodyPr>
          <a:lstStyle/>
          <a:p>
            <a:r>
              <a:rPr lang="en-US" sz="3200">
                <a:solidFill/>
                <a:ea typeface="Verdana"/>
              </a:rPr>
              <a:t>Katie Verlaan</a:t>
            </a:r>
          </a:p>
        </p:txBody>
      </p:sp>
      <p:sp>
        <p:nvSpPr>
          <p:cNvPr id="4" name="Slide Number Placeholder 3">
            <a:extLst>
              <a:ext uri="{FF2B5EF4-FFF2-40B4-BE49-F238E27FC236}">
                <a16:creationId xmlns:a16="http://schemas.microsoft.com/office/drawing/2014/main" id="{AA3F0F27-FE5C-3240-56E2-3761333A91DE}"/>
              </a:ext>
            </a:extLst>
          </p:cNvPr>
          <p:cNvSpPr>
            <a:spLocks noGrp="1"/>
          </p:cNvSpPr>
          <p:nvPr>
            <p:ph type="sldNum" sz="quarter" idx="12"/>
          </p:nvPr>
        </p:nvSpPr>
        <p:spPr>
          <a:xfrm>
            <a:off x="773722" y="8672309"/>
            <a:ext cx="54502" cy="102657"/>
          </a:xfrm>
        </p:spPr>
        <p:txBody>
          <a:bodyPr>
            <a:normAutofit/>
          </a:bodyPr>
          <a:lstStyle/>
          <a:p>
            <a:pPr defTabSz="609570"/>
            <a:fld id="{3BE58A4F-56FA-4785-B92C-B133CC8F1038}" type="slidenum">
              <a:rPr lang="en-GB">
                <a:solidFill>
                  <a:srgbClr val="3F4043">
                    <a:tint val="75000"/>
                  </a:srgbClr>
                </a:solidFill>
                <a:latin typeface="Verdana"/>
              </a:rPr>
              <a:pPr defTabSz="609570"/>
              <a:t>2</a:t>
            </a:fld>
            <a:endParaRPr lang="en-GB">
              <a:solidFill>
                <a:srgbClr val="3F4043">
                  <a:tint val="75000"/>
                </a:srgbClr>
              </a:solidFill>
              <a:latin typeface="Verdana"/>
            </a:endParaRPr>
          </a:p>
        </p:txBody>
      </p:sp>
      <p:sp>
        <p:nvSpPr>
          <p:cNvPr id="9" name="TextBox 8">
            <a:extLst>
              <a:ext uri="{FF2B5EF4-FFF2-40B4-BE49-F238E27FC236}">
                <a16:creationId xmlns:a16="http://schemas.microsoft.com/office/drawing/2014/main" id="{7CBC5B90-49CB-E367-6B57-176745CC1164}"/>
              </a:ext>
            </a:extLst>
          </p:cNvPr>
          <p:cNvSpPr txBox="1"/>
          <p:nvPr/>
        </p:nvSpPr>
        <p:spPr>
          <a:xfrm>
            <a:off x="4814359" y="1667506"/>
            <a:ext cx="6293635" cy="4078039"/>
          </a:xfrm>
          <a:prstGeom prst="rect">
            <a:avLst/>
          </a:prstGeom>
          <a:noFill/>
        </p:spPr>
        <p:txBody>
          <a:bodyPr wrap="square" lIns="0" tIns="0" rIns="0" bIns="0" rtlCol="0" anchor="t">
            <a:normAutofit/>
          </a:bodyPr>
          <a:lstStyle/>
          <a:p>
            <a:pPr marL="457189" indent="-457189" defTabSz="609570">
              <a:spcAft>
                <a:spcPts val="600"/>
              </a:spcAft>
              <a:buFont typeface="Arial"/>
              <a:buChar char="•"/>
            </a:pPr>
            <a:r>
              <a:t>Global Marketing Lead for Protein ingredients - FrieslandCampina Ingredients</a:t>
            </a:r>
            <a:br/>
            <a:r>
              <a:t>全球蛋白质原料营销负责人 - FrieslandCampina Ingredients</a:t>
            </a:r>
            <a:endParaRPr lang="en-US">
              <a:ea typeface="Verdana"/>
            </a:endParaRPr>
          </a:p>
          <a:p>
            <a:pPr marL="457189" indent="-457189" defTabSz="609570">
              <a:spcAft>
                <a:spcPts val="600"/>
              </a:spcAft>
              <a:buFont typeface="Arial"/>
              <a:buChar char="•"/>
            </a:pPr>
            <a:endParaRPr lang="en-US" sz="2800">
              <a:solidFill>
                <a:srgbClr val="000000"/>
              </a:solidFill>
              <a:latin typeface="Calibri"/>
              <a:cs typeface="Calibri"/>
            </a:endParaRPr>
          </a:p>
          <a:p>
            <a:pPr marL="457189" indent="-457189" defTabSz="609570">
              <a:spcAft>
                <a:spcPts val="600"/>
              </a:spcAft>
              <a:buFont typeface="Arial"/>
              <a:buChar char="•"/>
            </a:pPr>
            <a:r>
              <a:t>Responsible for Marketing, Strategy, Innovation &amp; NPD</a:t>
            </a:r>
            <a:br/>
            <a:r>
              <a:t>负责市场营销、战略、创新及新产品开发 (NPD)</a:t>
            </a:r>
            <a:endParaRPr lang="en-US">
              <a:ea typeface="Verdana"/>
            </a:endParaRPr>
          </a:p>
          <a:p>
            <a:pPr marL="457189" indent="-457189" defTabSz="609570">
              <a:spcAft>
                <a:spcPts val="600"/>
              </a:spcAft>
              <a:buFont typeface="Arial"/>
              <a:buChar char="•"/>
            </a:pPr>
            <a:endParaRPr lang="en-US" sz="2800">
              <a:solidFill>
                <a:srgbClr val="000000"/>
              </a:solidFill>
              <a:latin typeface="Calibri"/>
              <a:cs typeface="Calibri"/>
            </a:endParaRPr>
          </a:p>
          <a:p>
            <a:pPr marL="457189" indent="-457189" defTabSz="609570">
              <a:spcAft>
                <a:spcPts val="600"/>
              </a:spcAft>
              <a:buFont typeface="Arial"/>
              <a:buChar char="•"/>
            </a:pPr>
            <a:r>
              <a:t>…. years' experience with focus on ….</a:t>
            </a:r>
            <a:br/>
            <a:r>
              <a:t>……年专注于……的经验</a:t>
            </a:r>
            <a:endParaRPr lang="en-US">
              <a:ea typeface="Verdana"/>
            </a:endParaRPr>
          </a:p>
          <a:p>
            <a:pPr defTabSz="609570"/>
            <a:endParaRPr lang="en-US" sz="1600">
              <a:solidFill>
                <a:srgbClr val="3F4043"/>
              </a:solidFill>
              <a:latin typeface="Verdana"/>
              <a:ea typeface="Verdana"/>
            </a:endParaRPr>
          </a:p>
        </p:txBody>
      </p:sp>
      <p:sp>
        <p:nvSpPr>
          <p:cNvPr id="5" name="TextBox 4">
            <a:extLst>
              <a:ext uri="{FF2B5EF4-FFF2-40B4-BE49-F238E27FC236}">
                <a16:creationId xmlns:a16="http://schemas.microsoft.com/office/drawing/2014/main" id="{98295561-EB7A-8372-F94B-B4694185E319}"/>
              </a:ext>
            </a:extLst>
          </p:cNvPr>
          <p:cNvSpPr txBox="1"/>
          <p:nvPr/>
        </p:nvSpPr>
        <p:spPr>
          <a:xfrm>
            <a:off x="828224" y="2447365"/>
            <a:ext cx="2712835" cy="218265"/>
          </a:xfrm>
          <a:prstGeom prst="rect">
            <a:avLst/>
          </a:prstGeom>
          <a:noFill/>
        </p:spPr>
        <p:txBody>
          <a:bodyPr wrap="square" lIns="0" tIns="0" rIns="0" bIns="0" rtlCol="0">
            <a:normAutofit/>
          </a:bodyPr>
          <a:lstStyle/>
          <a:p>
            <a:pPr algn="l">
              <a:lnSpc>
                <a:spcPct val="112000"/>
              </a:lnSpc>
            </a:pPr>
            <a:r>
              <a:t>Include photo Katie</a:t>
            </a:r>
            <a:br/>
            <a:r>
              <a:t>包含Katie的照片</a:t>
            </a:r>
          </a:p>
        </p:txBody>
      </p:sp>
      <p:sp>
        <p:nvSpPr>
          <p:cNvPr id="3" name="Rectangle 2">
            <a:extLst>
              <a:ext uri="{FF2B5EF4-FFF2-40B4-BE49-F238E27FC236}">
                <a16:creationId xmlns:a16="http://schemas.microsoft.com/office/drawing/2014/main" id="{B246051F-F0FE-A2C0-10EA-A0C48ACDE2C5}"/>
              </a:ext>
            </a:extLst>
          </p:cNvPr>
          <p:cNvSpPr/>
          <p:nvPr/>
        </p:nvSpPr>
        <p:spPr>
          <a:xfrm>
            <a:off x="-771181" y="3084723"/>
            <a:ext cx="3745735" cy="21593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112000"/>
              </a:lnSpc>
            </a:pPr>
            <a:r>
              <a:t>@Olivia- would you be able to make a page here that is in line with other presentations that have been given?</a:t>
            </a:r>
            <a:br/>
            <a:r>
              <a:t>@Olivia- 你能否制作一个与此处其他已提交的演示文稿一致的页面？</a:t>
            </a:r>
          </a:p>
        </p:txBody>
      </p:sp>
    </p:spTree>
    <p:extLst>
      <p:ext uri="{BB962C8B-B14F-4D97-AF65-F5344CB8AC3E}">
        <p14:creationId xmlns:p14="http://schemas.microsoft.com/office/powerpoint/2010/main" val="20058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8BCAB25A-78C8-792D-16CB-4CAAD3C2B918}"/>
              </a:ext>
            </a:extLst>
          </p:cNvPr>
          <p:cNvSpPr>
            <a:spLocks noGrp="1"/>
          </p:cNvSpPr>
          <p:nvPr>
            <p:ph type="pic" sz="quarter" idx="10"/>
          </p:nvPr>
        </p:nvSpPr>
        <p:spPr/>
        <p:txBody>
          <a:bodyPr>
            <a:normAutofit/>
          </a:bodyPr>
          <a:lstStyle/>
          <a:p>
            <a:endParaRPr lang="nl-NL"/>
          </a:p>
        </p:txBody>
      </p:sp>
      <p:sp>
        <p:nvSpPr>
          <p:cNvPr id="3" name="Title 2">
            <a:extLst>
              <a:ext uri="{FF2B5EF4-FFF2-40B4-BE49-F238E27FC236}">
                <a16:creationId xmlns:a16="http://schemas.microsoft.com/office/drawing/2014/main" id="{412F7464-163F-274C-55F3-71F966A65E7F}"/>
              </a:ext>
            </a:extLst>
          </p:cNvPr>
          <p:cNvSpPr>
            <a:spLocks noGrp="1"/>
          </p:cNvSpPr>
          <p:nvPr>
            <p:ph type="title"/>
          </p:nvPr>
        </p:nvSpPr>
        <p:spPr/>
        <p:txBody>
          <a:bodyPr>
            <a:normAutofit/>
          </a:bodyPr>
          <a:lstStyle/>
          <a:p>
            <a:endParaRPr lang="nl-NL"/>
          </a:p>
        </p:txBody>
      </p:sp>
      <p:sp>
        <p:nvSpPr>
          <p:cNvPr id="4" name="Content Placeholder 3">
            <a:extLst>
              <a:ext uri="{FF2B5EF4-FFF2-40B4-BE49-F238E27FC236}">
                <a16:creationId xmlns:a16="http://schemas.microsoft.com/office/drawing/2014/main" id="{974F19E6-D2F2-83E8-04EC-298FD2DDB740}"/>
              </a:ext>
            </a:extLst>
          </p:cNvPr>
          <p:cNvSpPr>
            <a:spLocks noGrp="1"/>
          </p:cNvSpPr>
          <p:nvPr>
            <p:ph idx="1"/>
          </p:nvPr>
        </p:nvSpPr>
        <p:spPr/>
        <p:txBody>
          <a:bodyPr>
            <a:normAutofit/>
          </a:bodyPr>
          <a:lstStyle/>
          <a:p>
            <a:endParaRPr lang="nl-NL"/>
          </a:p>
        </p:txBody>
      </p:sp>
      <p:pic>
        <p:nvPicPr>
          <p:cNvPr id="1026" name="Picture 2" descr="Thumbnail Image yoghurt being stirred and poured">
            <a:extLst>
              <a:ext uri="{FF2B5EF4-FFF2-40B4-BE49-F238E27FC236}">
                <a16:creationId xmlns:a16="http://schemas.microsoft.com/office/drawing/2014/main" id="{22CED287-B5C5-E654-1957-783C5587F8B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2667000"/>
            <a:ext cx="12192000" cy="121920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13DC088B-B7C2-4BFA-0FF1-6966D7BA424F}"/>
              </a:ext>
            </a:extLst>
          </p:cNvPr>
          <p:cNvSpPr txBox="1"/>
          <p:nvPr/>
        </p:nvSpPr>
        <p:spPr>
          <a:xfrm>
            <a:off x="7348180" y="2828322"/>
            <a:ext cx="4263528" cy="1614994"/>
          </a:xfrm>
          <a:prstGeom prst="rect">
            <a:avLst/>
          </a:prstGeom>
          <a:noFill/>
          <a:effectLst>
            <a:outerShdw blurRad="50800" dist="38100" dir="5400000" algn="t" rotWithShape="0">
              <a:prstClr val="black">
                <a:alpha val="40000"/>
              </a:prstClr>
            </a:outerShdw>
          </a:effectLst>
        </p:spPr>
        <p:txBody>
          <a:bodyPr wrap="square" lIns="0" tIns="0" rIns="0" bIns="0" rtlCol="0">
            <a:normAutofit/>
          </a:bodyPr>
          <a:lstStyle/>
          <a:p>
            <a:pPr>
              <a:lnSpc>
                <a:spcPct val="112000"/>
              </a:lnSpc>
            </a:pPr>
            <a:r>
              <a:t>Responding to the changing consumer needs can be challenging</a:t>
            </a:r>
            <a:br/>
            <a:r>
              <a:t>应对不断变化的消费者需求可能具有挑战性</a:t>
            </a:r>
            <a:endParaRPr lang="nl-NL" sz="2400" b="1">
              <a:solidFill>
                <a:schemeClr val="bg2"/>
              </a:solidFill>
            </a:endParaRPr>
          </a:p>
        </p:txBody>
      </p:sp>
    </p:spTree>
    <p:extLst>
      <p:ext uri="{BB962C8B-B14F-4D97-AF65-F5344CB8AC3E}">
        <p14:creationId xmlns:p14="http://schemas.microsoft.com/office/powerpoint/2010/main" val="1286566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594E715-BDD4-6DA3-E3D9-650288141C27}"/>
              </a:ext>
            </a:extLst>
          </p:cNvPr>
          <p:cNvGraphicFramePr>
            <a:graphicFrameLocks noChangeAspect="1"/>
          </p:cNvGraphicFramePr>
          <p:nvPr>
            <p:custDataLst>
              <p:tags r:id="rId1"/>
            </p:custDataLst>
            <p:extLst>
              <p:ext uri="{D42A27DB-BD31-4B8C-83A1-F6EECF244321}">
                <p14:modId xmlns:p14="http://schemas.microsoft.com/office/powerpoint/2010/main" val="3331326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think-cell data - do not delete" hidden="1">
                        <a:extLst>
                          <a:ext uri="{FF2B5EF4-FFF2-40B4-BE49-F238E27FC236}">
                            <a16:creationId xmlns:a16="http://schemas.microsoft.com/office/drawing/2014/main" id="{4594E715-BDD4-6DA3-E3D9-650288141C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1" name="Picture Placeholder 20" descr="A bowl of yogurt with fruit&#10;&#10;AI-generated content may be incorrect.">
            <a:extLst>
              <a:ext uri="{FF2B5EF4-FFF2-40B4-BE49-F238E27FC236}">
                <a16:creationId xmlns:a16="http://schemas.microsoft.com/office/drawing/2014/main" id="{5C580A62-A396-407F-6CA8-1FDFAB5437C6}"/>
              </a:ext>
            </a:extLst>
          </p:cNvPr>
          <p:cNvPicPr>
            <a:picLocks noGrp="1" noChangeAspect="1"/>
          </p:cNvPicPr>
          <p:nvPr>
            <p:ph type="pic" sz="quarter" idx="10"/>
          </p:nvPr>
        </p:nvPicPr>
        <p:blipFill>
          <a:blip r:embed="rId6">
            <a:extLst>
              <a:ext uri="{28A0092B-C50C-407E-A947-70E740481C1C}">
                <a14:useLocalDpi xmlns:a14="http://schemas.microsoft.com/office/drawing/2010/main" val="0"/>
              </a:ext>
            </a:extLst>
          </a:blip>
          <a:srcRect l="6547" r="6547"/>
          <a:stretch>
            <a:fillRect/>
          </a:stretch>
        </p:blipFill>
        <p:spPr/>
      </p:pic>
      <p:sp>
        <p:nvSpPr>
          <p:cNvPr id="3" name="Title 2">
            <a:extLst>
              <a:ext uri="{FF2B5EF4-FFF2-40B4-BE49-F238E27FC236}">
                <a16:creationId xmlns:a16="http://schemas.microsoft.com/office/drawing/2014/main" id="{E8E13D86-99EC-B35C-90E5-67DFB6AF4E68}"/>
              </a:ext>
            </a:extLst>
          </p:cNvPr>
          <p:cNvSpPr>
            <a:spLocks noGrp="1"/>
          </p:cNvSpPr>
          <p:nvPr>
            <p:ph type="title"/>
          </p:nvPr>
        </p:nvSpPr>
        <p:spPr>
          <a:xfrm>
            <a:off x="594911" y="203916"/>
            <a:ext cx="5982159" cy="1036965"/>
          </a:xfrm>
        </p:spPr>
        <p:txBody>
          <a:bodyPr vert="horz">
            <a:normAutofit/>
          </a:bodyPr>
          <a:lstStyle/>
          <a:p>
            <a:r>
              <a:t>These are a few of the challenges we hear about</a:t>
            </a:r>
            <a:br/>
            <a:r>
              <a:t>这是我们听到的一些挑战</a:t>
            </a:r>
            <a:endParaRPr lang="nl-NL" sz="2400" b="1"/>
          </a:p>
        </p:txBody>
      </p:sp>
      <p:sp>
        <p:nvSpPr>
          <p:cNvPr id="13" name="Rectangle 12">
            <a:extLst>
              <a:ext uri="{FF2B5EF4-FFF2-40B4-BE49-F238E27FC236}">
                <a16:creationId xmlns:a16="http://schemas.microsoft.com/office/drawing/2014/main" id="{25FA130B-188A-A7E8-8414-BAA9CDF5DCBC}"/>
              </a:ext>
            </a:extLst>
          </p:cNvPr>
          <p:cNvSpPr/>
          <p:nvPr/>
        </p:nvSpPr>
        <p:spPr>
          <a:xfrm>
            <a:off x="369820" y="1565636"/>
            <a:ext cx="2340902" cy="120663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eaLnBrk="1" fontAlgn="auto" latinLnBrk="0" hangingPunct="1">
              <a:lnSpc>
                <a:spcPct val="112000"/>
              </a:lnSpc>
              <a:spcBef>
                <a:spcPts val="0"/>
              </a:spcBef>
              <a:spcAft>
                <a:spcPts val="0"/>
              </a:spcAft>
              <a:buClrTx/>
              <a:buSzTx/>
              <a:buFontTx/>
              <a:buNone/>
              <a:tabLst/>
              <a:defRPr/>
            </a:pPr>
            <a:r>
              <a:t>High levels of protein can negatively impact taste &amp; viscosity</a:t>
            </a:r>
            <a:br/>
            <a:r>
              <a:t>高蛋白水平可能对口感和粘度产生负面影响</a:t>
            </a:r>
          </a:p>
        </p:txBody>
      </p:sp>
      <p:sp>
        <p:nvSpPr>
          <p:cNvPr id="14" name="Rectangle 13">
            <a:extLst>
              <a:ext uri="{FF2B5EF4-FFF2-40B4-BE49-F238E27FC236}">
                <a16:creationId xmlns:a16="http://schemas.microsoft.com/office/drawing/2014/main" id="{AA0DD2C0-B38C-7C83-1998-245257B6076D}"/>
              </a:ext>
            </a:extLst>
          </p:cNvPr>
          <p:cNvSpPr/>
          <p:nvPr/>
        </p:nvSpPr>
        <p:spPr>
          <a:xfrm>
            <a:off x="695972" y="4085734"/>
            <a:ext cx="2340902" cy="120663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eaLnBrk="1" fontAlgn="auto" latinLnBrk="0" hangingPunct="1">
              <a:lnSpc>
                <a:spcPct val="112000"/>
              </a:lnSpc>
              <a:spcBef>
                <a:spcPts val="0"/>
              </a:spcBef>
              <a:spcAft>
                <a:spcPts val="0"/>
              </a:spcAft>
              <a:buClrTx/>
              <a:buSzTx/>
              <a:buFontTx/>
              <a:buNone/>
              <a:tabLst/>
              <a:defRPr/>
            </a:pPr>
            <a:r>
              <a:t>Different proteins for different processes, drinks and spoonable yoghurts</a:t>
            </a:r>
            <a:br/>
            <a:r>
              <a:t>不同的蛋白质适用于不同的工艺、饮料和可勺食酸奶</a:t>
            </a:r>
          </a:p>
        </p:txBody>
      </p:sp>
      <p:sp>
        <p:nvSpPr>
          <p:cNvPr id="15" name="Rectangle 14">
            <a:extLst>
              <a:ext uri="{FF2B5EF4-FFF2-40B4-BE49-F238E27FC236}">
                <a16:creationId xmlns:a16="http://schemas.microsoft.com/office/drawing/2014/main" id="{8C10C4F3-6BF3-A8E3-7ACB-A7ECBBFD4D0E}"/>
              </a:ext>
            </a:extLst>
          </p:cNvPr>
          <p:cNvSpPr/>
          <p:nvPr/>
        </p:nvSpPr>
        <p:spPr>
          <a:xfrm>
            <a:off x="3169873" y="1907536"/>
            <a:ext cx="2340902" cy="120663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eaLnBrk="1" fontAlgn="auto" latinLnBrk="0" hangingPunct="1">
              <a:lnSpc>
                <a:spcPct val="112000"/>
              </a:lnSpc>
              <a:spcBef>
                <a:spcPts val="0"/>
              </a:spcBef>
              <a:spcAft>
                <a:spcPts val="0"/>
              </a:spcAft>
              <a:buClrTx/>
              <a:buSzTx/>
              <a:buFontTx/>
              <a:buNone/>
              <a:tabLst/>
              <a:defRPr/>
            </a:pPr>
            <a:r>
              <a:t>Different proteins for different protein levels</a:t>
            </a:r>
            <a:br/>
            <a:r>
              <a:t>不同蛋白质水平需要不同的蛋白质</a:t>
            </a:r>
          </a:p>
        </p:txBody>
      </p:sp>
      <p:sp>
        <p:nvSpPr>
          <p:cNvPr id="16" name="Rectangle 15">
            <a:extLst>
              <a:ext uri="{FF2B5EF4-FFF2-40B4-BE49-F238E27FC236}">
                <a16:creationId xmlns:a16="http://schemas.microsoft.com/office/drawing/2014/main" id="{EC1F2C69-914D-775A-9858-05410FDC0E31}"/>
              </a:ext>
            </a:extLst>
          </p:cNvPr>
          <p:cNvSpPr/>
          <p:nvPr/>
        </p:nvSpPr>
        <p:spPr>
          <a:xfrm>
            <a:off x="3675593" y="4956913"/>
            <a:ext cx="2340902" cy="120663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112000"/>
              </a:lnSpc>
              <a:spcBef>
                <a:spcPts val="0"/>
              </a:spcBef>
              <a:spcAft>
                <a:spcPts val="0"/>
              </a:spcAft>
              <a:buClrTx/>
              <a:buSzTx/>
              <a:buFontTx/>
              <a:buNone/>
              <a:tabLst/>
              <a:defRPr/>
            </a:pPr>
            <a:r>
              <a:t>Regulatory framework can be difficult to navigate</a:t>
            </a:r>
            <a:br/>
            <a:r>
              <a:t>监管框架可能难以驾驭</a:t>
            </a:r>
            <a:endParaRPr kumimoji="0" lang="nl-NL" sz="1400" b="0" i="0" u="none" strike="noStrike" kern="1200" cap="none" spc="0" normalizeH="0" baseline="0" noProof="0">
              <a:ln>
                <a:noFill/>
              </a:ln>
              <a:solidFill>
                <a:srgbClr val="FFFFFF"/>
              </a:solidFill>
              <a:effectLst/>
              <a:uLnTx/>
              <a:uFillTx/>
              <a:latin typeface="Verdana"/>
              <a:ea typeface="+mn-ea"/>
              <a:cs typeface="+mn-cs"/>
            </a:endParaRPr>
          </a:p>
        </p:txBody>
      </p:sp>
      <p:sp>
        <p:nvSpPr>
          <p:cNvPr id="17" name="Rectangle 16">
            <a:extLst>
              <a:ext uri="{FF2B5EF4-FFF2-40B4-BE49-F238E27FC236}">
                <a16:creationId xmlns:a16="http://schemas.microsoft.com/office/drawing/2014/main" id="{4786D46B-F988-84F9-11A9-59768551110A}"/>
              </a:ext>
            </a:extLst>
          </p:cNvPr>
          <p:cNvSpPr/>
          <p:nvPr/>
        </p:nvSpPr>
        <p:spPr>
          <a:xfrm>
            <a:off x="5849354" y="2645250"/>
            <a:ext cx="2340902" cy="120663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112000"/>
              </a:lnSpc>
              <a:spcBef>
                <a:spcPts val="0"/>
              </a:spcBef>
              <a:spcAft>
                <a:spcPts val="0"/>
              </a:spcAft>
              <a:buClrTx/>
              <a:buSzTx/>
              <a:buFontTx/>
              <a:buNone/>
              <a:tabLst/>
              <a:defRPr/>
            </a:pPr>
            <a:r>
              <a:t>Some ingredients, f.e DHA, can really impact taste negatively</a:t>
            </a:r>
            <a:br/>
            <a:r>
              <a:t>某些成分，例如DHA，可能会严重影响口感</a:t>
            </a:r>
            <a:endParaRPr kumimoji="0" lang="nl-NL" sz="1400" b="0" i="0" u="none" strike="noStrike" kern="1200" cap="none" spc="0" normalizeH="0" baseline="0" noProof="0">
              <a:ln>
                <a:noFill/>
              </a:ln>
              <a:solidFill>
                <a:srgbClr val="FFFFFF"/>
              </a:solidFill>
              <a:effectLst/>
              <a:uLnTx/>
              <a:uFillTx/>
              <a:latin typeface="Verdana"/>
              <a:ea typeface="+mn-ea"/>
              <a:cs typeface="+mn-cs"/>
            </a:endParaRPr>
          </a:p>
        </p:txBody>
      </p:sp>
      <p:sp>
        <p:nvSpPr>
          <p:cNvPr id="18" name="Rectangle 17">
            <a:extLst>
              <a:ext uri="{FF2B5EF4-FFF2-40B4-BE49-F238E27FC236}">
                <a16:creationId xmlns:a16="http://schemas.microsoft.com/office/drawing/2014/main" id="{6A1434FD-CB33-ED6E-94B8-0BD24F27F43F}"/>
              </a:ext>
            </a:extLst>
          </p:cNvPr>
          <p:cNvSpPr/>
          <p:nvPr/>
        </p:nvSpPr>
        <p:spPr>
          <a:xfrm>
            <a:off x="6438969" y="4515975"/>
            <a:ext cx="2340902" cy="120663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112000"/>
              </a:lnSpc>
              <a:spcBef>
                <a:spcPts val="0"/>
              </a:spcBef>
              <a:spcAft>
                <a:spcPts val="0"/>
              </a:spcAft>
              <a:buClrTx/>
              <a:buSzTx/>
              <a:buFontTx/>
              <a:buNone/>
              <a:tabLst/>
              <a:defRPr/>
            </a:pPr>
            <a:r>
              <a:t>Different ingredients need to work together in the end solution</a:t>
            </a:r>
            <a:br/>
            <a:r>
              <a:t>不同的成分最终需要协同工作</a:t>
            </a:r>
          </a:p>
        </p:txBody>
      </p:sp>
      <p:sp>
        <p:nvSpPr>
          <p:cNvPr id="23" name="Rectangle 22">
            <a:extLst>
              <a:ext uri="{FF2B5EF4-FFF2-40B4-BE49-F238E27FC236}">
                <a16:creationId xmlns:a16="http://schemas.microsoft.com/office/drawing/2014/main" id="{7F028616-EAE7-E092-90C8-D733A5533017}"/>
              </a:ext>
            </a:extLst>
          </p:cNvPr>
          <p:cNvSpPr/>
          <p:nvPr/>
        </p:nvSpPr>
        <p:spPr>
          <a:xfrm>
            <a:off x="-2467778" y="1057619"/>
            <a:ext cx="2181339" cy="187007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p>
            <a:pPr algn="ctr">
              <a:spcBef>
                <a:spcPts val="300"/>
              </a:spcBef>
              <a:spcAft>
                <a:spcPts val="300"/>
              </a:spcAft>
            </a:pPr>
            <a:r>
              <a:t>@Olivia- this slide needs some attention from a formatting perspective.</a:t>
            </a:r>
            <a:br/>
            <a:r>
              <a:t>@Olivia- 这张幻灯片在格式方面需要一些关注。</a:t>
            </a:r>
          </a:p>
        </p:txBody>
      </p:sp>
    </p:spTree>
    <p:extLst>
      <p:ext uri="{BB962C8B-B14F-4D97-AF65-F5344CB8AC3E}">
        <p14:creationId xmlns:p14="http://schemas.microsoft.com/office/powerpoint/2010/main" val="3367798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9DA0E6F-B0B9-EB34-B13B-D43B06DD175C}"/>
              </a:ext>
            </a:extLst>
          </p:cNvPr>
          <p:cNvSpPr/>
          <p:nvPr/>
        </p:nvSpPr>
        <p:spPr>
          <a:xfrm>
            <a:off x="4933426" y="-3096"/>
            <a:ext cx="7258574" cy="68490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457200" rtl="0" eaLnBrk="1" fontAlgn="auto" latinLnBrk="0" hangingPunct="1">
              <a:lnSpc>
                <a:spcPct val="112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Verdana"/>
              <a:ea typeface="+mn-ea"/>
              <a:cs typeface="+mn-cs"/>
            </a:endParaRPr>
          </a:p>
        </p:txBody>
      </p:sp>
      <p:pic>
        <p:nvPicPr>
          <p:cNvPr id="5" name="Picture 4">
            <a:extLst>
              <a:ext uri="{FF2B5EF4-FFF2-40B4-BE49-F238E27FC236}">
                <a16:creationId xmlns:a16="http://schemas.microsoft.com/office/drawing/2014/main" id="{D4AF41AF-25A3-FCF9-F9CA-FA04F0F38AA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541439" y="3358729"/>
            <a:ext cx="3022068" cy="2678764"/>
          </a:xfrm>
          <a:prstGeom prst="rect">
            <a:avLst/>
          </a:prstGeom>
        </p:spPr>
      </p:pic>
      <p:pic>
        <p:nvPicPr>
          <p:cNvPr id="7" name="Picture 6">
            <a:extLst>
              <a:ext uri="{FF2B5EF4-FFF2-40B4-BE49-F238E27FC236}">
                <a16:creationId xmlns:a16="http://schemas.microsoft.com/office/drawing/2014/main" id="{105C7CCE-97BA-565F-6A88-8D2667F518C1}"/>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8799026" y="340260"/>
            <a:ext cx="3011605" cy="2674608"/>
          </a:xfrm>
          <a:prstGeom prst="rect">
            <a:avLst/>
          </a:prstGeom>
        </p:spPr>
      </p:pic>
      <p:sp>
        <p:nvSpPr>
          <p:cNvPr id="2" name="Title 1">
            <a:extLst>
              <a:ext uri="{FF2B5EF4-FFF2-40B4-BE49-F238E27FC236}">
                <a16:creationId xmlns:a16="http://schemas.microsoft.com/office/drawing/2014/main" id="{6040E0D0-C772-8739-CB6E-35069F8D86AC}"/>
              </a:ext>
            </a:extLst>
          </p:cNvPr>
          <p:cNvSpPr>
            <a:spLocks noGrp="1"/>
          </p:cNvSpPr>
          <p:nvPr>
            <p:ph type="title"/>
          </p:nvPr>
        </p:nvSpPr>
        <p:spPr>
          <a:xfrm>
            <a:off x="575735" y="548219"/>
            <a:ext cx="3951446" cy="1036965"/>
          </a:xfrm>
        </p:spPr>
        <p:txBody>
          <a:bodyPr>
            <a:normAutofit/>
          </a:bodyPr>
          <a:lstStyle/>
          <a:p>
            <a:pPr algn="ctr"/>
            <a:r>
              <a:t>So, what's the secret to success?</a:t>
            </a:r>
            <a:br/>
            <a:r>
              <a:t>那么，成功的秘诀是什么？</a:t>
            </a:r>
            <a:endParaRPr lang="nl-NL" sz="2800"/>
          </a:p>
        </p:txBody>
      </p:sp>
      <p:sp>
        <p:nvSpPr>
          <p:cNvPr id="19" name="AutoShape 6" descr="Focused, serious medical scientists analyzing research scans on a computer, working late in the laboratory. Lab workers examine and talk about results from a checkup while working overtime Medical researchers looking at and examining a brain scan on a computer while working late in an office together. Lab workers analyzing and talking about results from a checkup while working overtime Healthcare And Medicine Stock Photo">
            <a:extLst>
              <a:ext uri="{FF2B5EF4-FFF2-40B4-BE49-F238E27FC236}">
                <a16:creationId xmlns:a16="http://schemas.microsoft.com/office/drawing/2014/main" id="{04EB7ACE-739A-95B6-A198-70F50C8F9213}"/>
              </a:ext>
            </a:extLst>
          </p:cNvPr>
          <p:cNvSpPr>
            <a:spLocks noChangeAspect="1" noChangeArrowheads="1"/>
          </p:cNvSpPr>
          <p:nvPr/>
        </p:nvSpPr>
        <p:spPr bwMode="auto">
          <a:xfrm>
            <a:off x="14350509" y="3798032"/>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L" sz="1800" b="0" i="0" u="none" strike="noStrike" kern="1200" cap="none" spc="0" normalizeH="0" baseline="0" noProof="0">
              <a:ln>
                <a:noFill/>
              </a:ln>
              <a:solidFill>
                <a:srgbClr val="3F4043"/>
              </a:solidFill>
              <a:effectLst/>
              <a:uLnTx/>
              <a:uFillTx/>
              <a:latin typeface="Verdana"/>
              <a:ea typeface="+mn-ea"/>
              <a:cs typeface="+mn-cs"/>
            </a:endParaRPr>
          </a:p>
        </p:txBody>
      </p:sp>
      <p:pic>
        <p:nvPicPr>
          <p:cNvPr id="10" name="Picture 9">
            <a:extLst>
              <a:ext uri="{FF2B5EF4-FFF2-40B4-BE49-F238E27FC236}">
                <a16:creationId xmlns:a16="http://schemas.microsoft.com/office/drawing/2014/main" id="{8CEBE4B8-DE40-DE09-CC6D-18F8F5A4B631}"/>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794904" y="3129350"/>
            <a:ext cx="3022068" cy="2645802"/>
          </a:xfrm>
          <a:prstGeom prst="rect">
            <a:avLst/>
          </a:prstGeom>
        </p:spPr>
      </p:pic>
      <p:pic>
        <p:nvPicPr>
          <p:cNvPr id="12" name="Picture 11">
            <a:extLst>
              <a:ext uri="{FF2B5EF4-FFF2-40B4-BE49-F238E27FC236}">
                <a16:creationId xmlns:a16="http://schemas.microsoft.com/office/drawing/2014/main" id="{204B83AB-33C6-A2B6-9809-80252CD0EE8E}"/>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5541509" y="551093"/>
            <a:ext cx="3031145" cy="2644672"/>
          </a:xfrm>
          <a:prstGeom prst="rect">
            <a:avLst/>
          </a:prstGeom>
        </p:spPr>
      </p:pic>
      <p:grpSp>
        <p:nvGrpSpPr>
          <p:cNvPr id="44" name="Group 43">
            <a:extLst>
              <a:ext uri="{FF2B5EF4-FFF2-40B4-BE49-F238E27FC236}">
                <a16:creationId xmlns:a16="http://schemas.microsoft.com/office/drawing/2014/main" id="{863FCF21-98F4-183D-9EC0-1EA3A678A44A}"/>
              </a:ext>
            </a:extLst>
          </p:cNvPr>
          <p:cNvGrpSpPr/>
          <p:nvPr/>
        </p:nvGrpSpPr>
        <p:grpSpPr>
          <a:xfrm>
            <a:off x="1586750" y="1703673"/>
            <a:ext cx="1990802" cy="3967294"/>
            <a:chOff x="1368493" y="2054681"/>
            <a:chExt cx="2075188" cy="4135460"/>
          </a:xfrm>
        </p:grpSpPr>
        <p:sp>
          <p:nvSpPr>
            <p:cNvPr id="22" name="Oval 21">
              <a:extLst>
                <a:ext uri="{FF2B5EF4-FFF2-40B4-BE49-F238E27FC236}">
                  <a16:creationId xmlns:a16="http://schemas.microsoft.com/office/drawing/2014/main" id="{D23637C5-E924-05AB-46F3-92E96BACD067}"/>
                </a:ext>
              </a:extLst>
            </p:cNvPr>
            <p:cNvSpPr/>
            <p:nvPr/>
          </p:nvSpPr>
          <p:spPr>
            <a:xfrm>
              <a:off x="1624322" y="2054681"/>
              <a:ext cx="1045029" cy="1045029"/>
            </a:xfrm>
            <a:prstGeom prst="ellipse">
              <a:avLst/>
            </a:prstGeom>
            <a:gradFill>
              <a:gsLst>
                <a:gs pos="48000">
                  <a:schemeClr val="accent2"/>
                </a:gs>
                <a:gs pos="100000">
                  <a:schemeClr val="accent2">
                    <a:lumMod val="75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2000"/>
                </a:lnSpc>
                <a:spcBef>
                  <a:spcPts val="0"/>
                </a:spcBef>
                <a:spcAft>
                  <a:spcPts val="0"/>
                </a:spcAft>
                <a:buClrTx/>
                <a:buSzTx/>
                <a:buFontTx/>
                <a:buNone/>
                <a:tabLst/>
                <a:defRPr/>
              </a:pPr>
              <a:endParaRPr kumimoji="0" lang="en-NL" sz="1400" b="0" i="0" u="none" strike="noStrike" kern="1200" cap="none" spc="0" normalizeH="0" baseline="0" noProof="0">
                <a:ln>
                  <a:noFill/>
                </a:ln>
                <a:solidFill>
                  <a:srgbClr val="FFFFFF"/>
                </a:solidFill>
                <a:effectLst/>
                <a:uLnTx/>
                <a:uFillTx/>
                <a:latin typeface="Verdana"/>
                <a:ea typeface="+mn-ea"/>
                <a:cs typeface="+mn-cs"/>
              </a:endParaRPr>
            </a:p>
          </p:txBody>
        </p:sp>
        <p:sp>
          <p:nvSpPr>
            <p:cNvPr id="23" name="TextBox 22">
              <a:extLst>
                <a:ext uri="{FF2B5EF4-FFF2-40B4-BE49-F238E27FC236}">
                  <a16:creationId xmlns:a16="http://schemas.microsoft.com/office/drawing/2014/main" id="{45E2C125-C7E9-4557-4FE1-CF66131AF4E3}"/>
                </a:ext>
              </a:extLst>
            </p:cNvPr>
            <p:cNvSpPr txBox="1"/>
            <p:nvPr/>
          </p:nvSpPr>
          <p:spPr>
            <a:xfrm>
              <a:off x="1629588" y="2479535"/>
              <a:ext cx="1045028" cy="227517"/>
            </a:xfrm>
            <a:prstGeom prst="rect">
              <a:avLst/>
            </a:prstGeom>
            <a:noFill/>
          </p:spPr>
          <p:txBody>
            <a:bodyPr wrap="square" lIns="0" tIns="0" rIns="0" bIns="0" rtlCol="0">
              <a:spAutoFit/>
            </a:bodyPr>
            <a:lstStyle/>
            <a:p>
              <a:pPr marL="0" marR="0" lvl="0" indent="0" algn="ctr" defTabSz="914400" rtl="0" eaLnBrk="1" fontAlgn="auto" latinLnBrk="0" hangingPunct="1">
                <a:lnSpc>
                  <a:spcPct val="112000"/>
                </a:lnSpc>
                <a:spcBef>
                  <a:spcPts val="0"/>
                </a:spcBef>
                <a:spcAft>
                  <a:spcPts val="0"/>
                </a:spcAft>
                <a:buClrTx/>
                <a:buSzTx/>
                <a:buFontTx/>
                <a:buNone/>
                <a:tabLst/>
                <a:defRPr/>
              </a:pPr>
              <a:r>
                <a:rPr kumimoji="0" lang="nl-NL" sz="1400" b="0" i="0" u="none" strike="noStrike" kern="1200" cap="none" spc="0" normalizeH="0" baseline="0" noProof="0">
                  <a:ln>
                    <a:noFill/>
                  </a:ln>
                  <a:solidFill>
                    <a:srgbClr val="FFFFFF"/>
                  </a:solidFill>
                  <a:effectLst/>
                  <a:uLnTx/>
                  <a:uFillTx/>
                  <a:latin typeface="Verdana"/>
                  <a:ea typeface="+mn-ea"/>
                  <a:cs typeface="+mn-cs"/>
                </a:rPr>
                <a:t>N</a:t>
              </a:r>
              <a:r>
                <a:rPr kumimoji="0" lang="en-NL" sz="1400" b="0" i="0" u="none" strike="noStrike" kern="1200" cap="none" spc="0" normalizeH="0" baseline="0" noProof="0">
                  <a:ln>
                    <a:noFill/>
                  </a:ln>
                  <a:solidFill>
                    <a:srgbClr val="FFFFFF"/>
                  </a:solidFill>
                  <a:effectLst/>
                  <a:uLnTx/>
                  <a:uFillTx/>
                  <a:latin typeface="Verdana"/>
                  <a:ea typeface="+mn-ea"/>
                  <a:cs typeface="+mn-cs"/>
                </a:rPr>
                <a:t>utrition</a:t>
              </a:r>
            </a:p>
          </p:txBody>
        </p:sp>
        <p:sp>
          <p:nvSpPr>
            <p:cNvPr id="24" name="Oval 23">
              <a:extLst>
                <a:ext uri="{FF2B5EF4-FFF2-40B4-BE49-F238E27FC236}">
                  <a16:creationId xmlns:a16="http://schemas.microsoft.com/office/drawing/2014/main" id="{1E3CC44A-C773-AC74-DE08-03A09B42A9DC}"/>
                </a:ext>
              </a:extLst>
            </p:cNvPr>
            <p:cNvSpPr/>
            <p:nvPr/>
          </p:nvSpPr>
          <p:spPr>
            <a:xfrm>
              <a:off x="2026328" y="2971456"/>
              <a:ext cx="1209708" cy="1209708"/>
            </a:xfrm>
            <a:prstGeom prst="ellipse">
              <a:avLst/>
            </a:prstGeom>
            <a:gradFill flip="none" rotWithShape="1">
              <a:gsLst>
                <a:gs pos="48000">
                  <a:schemeClr val="accent4"/>
                </a:gs>
                <a:gs pos="100000">
                  <a:schemeClr val="accent4">
                    <a:lumMod val="7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2000"/>
                </a:lnSpc>
                <a:spcBef>
                  <a:spcPts val="0"/>
                </a:spcBef>
                <a:spcAft>
                  <a:spcPts val="0"/>
                </a:spcAft>
                <a:buClrTx/>
                <a:buSzTx/>
                <a:buFontTx/>
                <a:buNone/>
                <a:tabLst/>
                <a:defRPr/>
              </a:pPr>
              <a:endParaRPr kumimoji="0" lang="en-NL" sz="1400" b="0" i="0" u="none" strike="noStrike" kern="1200" cap="none" spc="0" normalizeH="0" baseline="0" noProof="0">
                <a:ln>
                  <a:noFill/>
                </a:ln>
                <a:solidFill>
                  <a:srgbClr val="FFFFFF"/>
                </a:solidFill>
                <a:effectLst/>
                <a:uLnTx/>
                <a:uFillTx/>
                <a:latin typeface="Verdana"/>
                <a:ea typeface="+mn-ea"/>
                <a:cs typeface="+mn-cs"/>
              </a:endParaRPr>
            </a:p>
          </p:txBody>
        </p:sp>
        <p:sp>
          <p:nvSpPr>
            <p:cNvPr id="25" name="TextBox 24">
              <a:extLst>
                <a:ext uri="{FF2B5EF4-FFF2-40B4-BE49-F238E27FC236}">
                  <a16:creationId xmlns:a16="http://schemas.microsoft.com/office/drawing/2014/main" id="{8C777AFF-0924-1D3F-E47D-842EDCC8C11A}"/>
                </a:ext>
              </a:extLst>
            </p:cNvPr>
            <p:cNvSpPr txBox="1"/>
            <p:nvPr/>
          </p:nvSpPr>
          <p:spPr>
            <a:xfrm>
              <a:off x="2108668" y="3474874"/>
              <a:ext cx="1045028" cy="218201"/>
            </a:xfrm>
            <a:prstGeom prst="rect">
              <a:avLst/>
            </a:prstGeom>
            <a:noFill/>
          </p:spPr>
          <p:txBody>
            <a:bodyPr wrap="square" lIns="0" tIns="0" rIns="0" bIns="0" rtlCol="0">
              <a:spAutoFit/>
            </a:bodyPr>
            <a:lstStyle/>
            <a:p>
              <a:pPr marL="0" marR="0" lvl="0" indent="0" algn="ctr" defTabSz="914400" rtl="0" eaLnBrk="1" fontAlgn="auto" latinLnBrk="0" hangingPunct="1">
                <a:lnSpc>
                  <a:spcPct val="112000"/>
                </a:lnSpc>
                <a:spcBef>
                  <a:spcPts val="0"/>
                </a:spcBef>
                <a:spcAft>
                  <a:spcPts val="0"/>
                </a:spcAft>
                <a:buClrTx/>
                <a:buSzTx/>
                <a:buFontTx/>
                <a:buNone/>
                <a:tabLst/>
                <a:defRPr/>
              </a:pPr>
              <a:r>
                <a:rPr kumimoji="0" lang="en-NL" sz="1400" b="0" i="0" u="none" strike="noStrike" kern="1200" cap="none" spc="0" normalizeH="0" baseline="0" noProof="0">
                  <a:ln>
                    <a:noFill/>
                  </a:ln>
                  <a:solidFill>
                    <a:srgbClr val="FFFFFF"/>
                  </a:solidFill>
                  <a:effectLst/>
                  <a:uLnTx/>
                  <a:uFillTx/>
                  <a:latin typeface="Verdana"/>
                  <a:ea typeface="+mn-ea"/>
                  <a:cs typeface="+mn-cs"/>
                </a:rPr>
                <a:t>Taste</a:t>
              </a:r>
            </a:p>
          </p:txBody>
        </p:sp>
        <p:sp>
          <p:nvSpPr>
            <p:cNvPr id="26" name="Oval 25">
              <a:extLst>
                <a:ext uri="{FF2B5EF4-FFF2-40B4-BE49-F238E27FC236}">
                  <a16:creationId xmlns:a16="http://schemas.microsoft.com/office/drawing/2014/main" id="{A1FA122E-0039-5BAA-0DD8-05AB5DBC0119}"/>
                </a:ext>
              </a:extLst>
            </p:cNvPr>
            <p:cNvSpPr/>
            <p:nvPr/>
          </p:nvSpPr>
          <p:spPr>
            <a:xfrm>
              <a:off x="1584581" y="4000245"/>
              <a:ext cx="914400" cy="914400"/>
            </a:xfrm>
            <a:prstGeom prst="ellipse">
              <a:avLst/>
            </a:prstGeom>
            <a:gradFill>
              <a:gsLst>
                <a:gs pos="48000">
                  <a:schemeClr val="accent6"/>
                </a:gs>
                <a:gs pos="100000">
                  <a:schemeClr val="accent6">
                    <a:lumMod val="75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2000"/>
                </a:lnSpc>
                <a:spcBef>
                  <a:spcPts val="0"/>
                </a:spcBef>
                <a:spcAft>
                  <a:spcPts val="0"/>
                </a:spcAft>
                <a:buClrTx/>
                <a:buSzTx/>
                <a:buFontTx/>
                <a:buNone/>
                <a:tabLst/>
                <a:defRPr/>
              </a:pPr>
              <a:endParaRPr kumimoji="0" lang="en-NL" sz="1400" b="0" i="0" u="none" strike="noStrike" kern="1200" cap="none" spc="0" normalizeH="0" baseline="0" noProof="0">
                <a:ln>
                  <a:noFill/>
                </a:ln>
                <a:solidFill>
                  <a:srgbClr val="FFFFFF"/>
                </a:solidFill>
                <a:effectLst/>
                <a:uLnTx/>
                <a:uFillTx/>
                <a:latin typeface="Verdana"/>
                <a:ea typeface="+mn-ea"/>
                <a:cs typeface="+mn-cs"/>
              </a:endParaRPr>
            </a:p>
          </p:txBody>
        </p:sp>
        <p:sp>
          <p:nvSpPr>
            <p:cNvPr id="27" name="TextBox 26">
              <a:extLst>
                <a:ext uri="{FF2B5EF4-FFF2-40B4-BE49-F238E27FC236}">
                  <a16:creationId xmlns:a16="http://schemas.microsoft.com/office/drawing/2014/main" id="{5F96B10D-F784-061F-6571-38E11350EE5A}"/>
                </a:ext>
              </a:extLst>
            </p:cNvPr>
            <p:cNvSpPr txBox="1"/>
            <p:nvPr/>
          </p:nvSpPr>
          <p:spPr>
            <a:xfrm>
              <a:off x="1541039" y="4348344"/>
              <a:ext cx="1045028" cy="218201"/>
            </a:xfrm>
            <a:prstGeom prst="rect">
              <a:avLst/>
            </a:prstGeom>
            <a:noFill/>
          </p:spPr>
          <p:txBody>
            <a:bodyPr wrap="square" lIns="0" tIns="0" rIns="0" bIns="0" rtlCol="0">
              <a:spAutoFit/>
            </a:bodyPr>
            <a:lstStyle/>
            <a:p>
              <a:pPr marL="0" marR="0" lvl="0" indent="0" algn="ctr" defTabSz="914400" rtl="0" eaLnBrk="1" fontAlgn="auto" latinLnBrk="0" hangingPunct="1">
                <a:lnSpc>
                  <a:spcPct val="112000"/>
                </a:lnSpc>
                <a:spcBef>
                  <a:spcPts val="0"/>
                </a:spcBef>
                <a:spcAft>
                  <a:spcPts val="0"/>
                </a:spcAft>
                <a:buClrTx/>
                <a:buSzTx/>
                <a:buFontTx/>
                <a:buNone/>
                <a:tabLst/>
                <a:defRPr/>
              </a:pPr>
              <a:r>
                <a:rPr kumimoji="0" lang="en-NL" sz="1400" b="0" i="0" u="none" strike="noStrike" kern="1200" cap="none" spc="0" normalizeH="0" baseline="0" noProof="0">
                  <a:ln>
                    <a:noFill/>
                  </a:ln>
                  <a:solidFill>
                    <a:srgbClr val="FFFFFF"/>
                  </a:solidFill>
                  <a:effectLst/>
                  <a:uLnTx/>
                  <a:uFillTx/>
                  <a:latin typeface="Verdana"/>
                  <a:ea typeface="+mn-ea"/>
                  <a:cs typeface="+mn-cs"/>
                </a:rPr>
                <a:t>Cost</a:t>
              </a:r>
            </a:p>
          </p:txBody>
        </p:sp>
        <p:sp>
          <p:nvSpPr>
            <p:cNvPr id="28" name="Oval 27">
              <a:extLst>
                <a:ext uri="{FF2B5EF4-FFF2-40B4-BE49-F238E27FC236}">
                  <a16:creationId xmlns:a16="http://schemas.microsoft.com/office/drawing/2014/main" id="{9983B11F-6733-9AF1-B64B-BC4F544BB5A5}"/>
                </a:ext>
              </a:extLst>
            </p:cNvPr>
            <p:cNvSpPr/>
            <p:nvPr/>
          </p:nvSpPr>
          <p:spPr>
            <a:xfrm>
              <a:off x="2041781" y="4805544"/>
              <a:ext cx="914400" cy="914400"/>
            </a:xfrm>
            <a:prstGeom prst="ellipse">
              <a:avLst/>
            </a:prstGeom>
            <a:gradFill>
              <a:gsLst>
                <a:gs pos="48000">
                  <a:schemeClr val="accent1"/>
                </a:gs>
                <a:gs pos="100000">
                  <a:schemeClr val="accent1">
                    <a:lumMod val="75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2000"/>
                </a:lnSpc>
                <a:spcBef>
                  <a:spcPts val="0"/>
                </a:spcBef>
                <a:spcAft>
                  <a:spcPts val="0"/>
                </a:spcAft>
                <a:buClrTx/>
                <a:buSzTx/>
                <a:buFontTx/>
                <a:buNone/>
                <a:tabLst/>
                <a:defRPr/>
              </a:pPr>
              <a:endParaRPr kumimoji="0" lang="en-NL" sz="1400" b="0" i="0" u="none" strike="noStrike" kern="1200" cap="none" spc="0" normalizeH="0" baseline="0" noProof="0">
                <a:ln>
                  <a:noFill/>
                </a:ln>
                <a:solidFill>
                  <a:srgbClr val="FFFFFF"/>
                </a:solidFill>
                <a:effectLst/>
                <a:uLnTx/>
                <a:uFillTx/>
                <a:latin typeface="Verdana"/>
                <a:ea typeface="+mn-ea"/>
                <a:cs typeface="+mn-cs"/>
              </a:endParaRPr>
            </a:p>
          </p:txBody>
        </p:sp>
        <p:sp>
          <p:nvSpPr>
            <p:cNvPr id="29" name="TextBox 28">
              <a:extLst>
                <a:ext uri="{FF2B5EF4-FFF2-40B4-BE49-F238E27FC236}">
                  <a16:creationId xmlns:a16="http://schemas.microsoft.com/office/drawing/2014/main" id="{40B60AAC-025E-B6BA-3A79-6CD4C6A871BD}"/>
                </a:ext>
              </a:extLst>
            </p:cNvPr>
            <p:cNvSpPr txBox="1"/>
            <p:nvPr/>
          </p:nvSpPr>
          <p:spPr>
            <a:xfrm>
              <a:off x="1998239" y="5153643"/>
              <a:ext cx="1045028" cy="218201"/>
            </a:xfrm>
            <a:prstGeom prst="rect">
              <a:avLst/>
            </a:prstGeom>
            <a:noFill/>
          </p:spPr>
          <p:txBody>
            <a:bodyPr wrap="square" lIns="0" tIns="0" rIns="0" bIns="0" rtlCol="0">
              <a:spAutoFit/>
            </a:bodyPr>
            <a:lstStyle/>
            <a:p>
              <a:pPr marL="0" marR="0" lvl="0" indent="0" algn="ctr" defTabSz="914400" rtl="0" eaLnBrk="1" fontAlgn="auto" latinLnBrk="0" hangingPunct="1">
                <a:lnSpc>
                  <a:spcPct val="112000"/>
                </a:lnSpc>
                <a:spcBef>
                  <a:spcPts val="0"/>
                </a:spcBef>
                <a:spcAft>
                  <a:spcPts val="0"/>
                </a:spcAft>
                <a:buClrTx/>
                <a:buSzTx/>
                <a:buFontTx/>
                <a:buNone/>
                <a:tabLst/>
                <a:defRPr/>
              </a:pPr>
              <a:r>
                <a:rPr kumimoji="0" lang="en-NL" sz="1400" b="0" i="0" u="none" strike="noStrike" kern="1200" cap="none" spc="0" normalizeH="0" baseline="0" noProof="0">
                  <a:ln>
                    <a:noFill/>
                  </a:ln>
                  <a:solidFill>
                    <a:srgbClr val="FFFFFF"/>
                  </a:solidFill>
                  <a:effectLst/>
                  <a:uLnTx/>
                  <a:uFillTx/>
                  <a:latin typeface="Verdana"/>
                  <a:ea typeface="+mn-ea"/>
                  <a:cs typeface="+mn-cs"/>
                </a:rPr>
                <a:t>Appeal</a:t>
              </a:r>
            </a:p>
          </p:txBody>
        </p:sp>
        <p:sp>
          <p:nvSpPr>
            <p:cNvPr id="30" name="Oval 29">
              <a:extLst>
                <a:ext uri="{FF2B5EF4-FFF2-40B4-BE49-F238E27FC236}">
                  <a16:creationId xmlns:a16="http://schemas.microsoft.com/office/drawing/2014/main" id="{ABF9703B-3A3E-1B2F-D9A8-5830CEF62F63}"/>
                </a:ext>
              </a:extLst>
            </p:cNvPr>
            <p:cNvSpPr/>
            <p:nvPr/>
          </p:nvSpPr>
          <p:spPr>
            <a:xfrm>
              <a:off x="2271639" y="5848672"/>
              <a:ext cx="341469" cy="341469"/>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2000"/>
                </a:lnSpc>
                <a:spcBef>
                  <a:spcPts val="0"/>
                </a:spcBef>
                <a:spcAft>
                  <a:spcPts val="0"/>
                </a:spcAft>
                <a:buClrTx/>
                <a:buSzTx/>
                <a:buFontTx/>
                <a:buNone/>
                <a:tabLst/>
                <a:defRPr/>
              </a:pPr>
              <a:endParaRPr kumimoji="0" lang="en-NL" sz="1400" b="0" i="0" u="none" strike="noStrike" kern="1200" cap="none" spc="0" normalizeH="0" baseline="0" noProof="0">
                <a:ln>
                  <a:noFill/>
                </a:ln>
                <a:solidFill>
                  <a:srgbClr val="FFFFFF"/>
                </a:solidFill>
                <a:effectLst/>
                <a:uLnTx/>
                <a:uFillTx/>
                <a:latin typeface="Verdana"/>
                <a:ea typeface="+mn-ea"/>
                <a:cs typeface="+mn-cs"/>
              </a:endParaRPr>
            </a:p>
          </p:txBody>
        </p:sp>
        <p:sp>
          <p:nvSpPr>
            <p:cNvPr id="31" name="Rectangle 30">
              <a:extLst>
                <a:ext uri="{FF2B5EF4-FFF2-40B4-BE49-F238E27FC236}">
                  <a16:creationId xmlns:a16="http://schemas.microsoft.com/office/drawing/2014/main" id="{055ED4F7-9757-BA8F-B3B0-AB214B4ED1AB}"/>
                </a:ext>
              </a:extLst>
            </p:cNvPr>
            <p:cNvSpPr/>
            <p:nvPr/>
          </p:nvSpPr>
          <p:spPr>
            <a:xfrm rot="21360627">
              <a:off x="1368493" y="5735991"/>
              <a:ext cx="2075188" cy="10858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2000"/>
                </a:lnSpc>
                <a:spcBef>
                  <a:spcPts val="0"/>
                </a:spcBef>
                <a:spcAft>
                  <a:spcPts val="0"/>
                </a:spcAft>
                <a:buClrTx/>
                <a:buSzTx/>
                <a:buFontTx/>
                <a:buNone/>
                <a:tabLst/>
                <a:defRPr/>
              </a:pPr>
              <a:endParaRPr kumimoji="0" lang="en-NL" sz="1400" b="0" i="0" u="none" strike="noStrike" kern="1200" cap="none" spc="0" normalizeH="0" baseline="0" noProof="0">
                <a:ln>
                  <a:noFill/>
                </a:ln>
                <a:solidFill>
                  <a:srgbClr val="FFFFFF"/>
                </a:solidFill>
                <a:effectLst/>
                <a:uLnTx/>
                <a:uFillTx/>
                <a:latin typeface="Verdana"/>
                <a:ea typeface="+mn-ea"/>
                <a:cs typeface="+mn-cs"/>
              </a:endParaRPr>
            </a:p>
          </p:txBody>
        </p:sp>
      </p:grpSp>
      <p:sp>
        <p:nvSpPr>
          <p:cNvPr id="33" name="TextBox 32">
            <a:extLst>
              <a:ext uri="{FF2B5EF4-FFF2-40B4-BE49-F238E27FC236}">
                <a16:creationId xmlns:a16="http://schemas.microsoft.com/office/drawing/2014/main" id="{31F296D9-5B6B-99E6-4188-2415A58A6AA1}"/>
              </a:ext>
            </a:extLst>
          </p:cNvPr>
          <p:cNvSpPr txBox="1"/>
          <p:nvPr/>
        </p:nvSpPr>
        <p:spPr>
          <a:xfrm>
            <a:off x="5550584" y="2561561"/>
            <a:ext cx="3031145" cy="634204"/>
          </a:xfrm>
          <a:prstGeom prst="rect">
            <a:avLst/>
          </a:prstGeom>
          <a:gradFill>
            <a:gsLst>
              <a:gs pos="0">
                <a:schemeClr val="bg1">
                  <a:lumMod val="50000"/>
                  <a:alpha val="0"/>
                </a:schemeClr>
              </a:gs>
              <a:gs pos="59000">
                <a:schemeClr val="bg1">
                  <a:lumMod val="50000"/>
                  <a:alpha val="68618"/>
                </a:schemeClr>
              </a:gs>
            </a:gsLst>
            <a:lin ang="5400000" scaled="1"/>
          </a:gradFill>
        </p:spPr>
        <p:txBody>
          <a:bodyPr wrap="square" lIns="0" tIns="0" rIns="0" bIns="0" rtlCol="0" anchor="ctr">
            <a:normAutofit/>
          </a:bodyPr>
          <a:lstStyle/>
          <a:p>
            <a:pPr marL="0" marR="0" lvl="0" indent="0" algn="ctr" defTabSz="914400" rtl="0" eaLnBrk="1" fontAlgn="auto" latinLnBrk="0" hangingPunct="1">
              <a:lnSpc>
                <a:spcPct val="112000"/>
              </a:lnSpc>
              <a:spcBef>
                <a:spcPts val="0"/>
              </a:spcBef>
              <a:spcAft>
                <a:spcPts val="0"/>
              </a:spcAft>
              <a:buClrTx/>
              <a:buSzTx/>
              <a:buFontTx/>
              <a:buNone/>
              <a:tabLst/>
              <a:defRPr/>
            </a:pPr>
            <a:r>
              <a:t>Understanding the modern family</a:t>
            </a:r>
            <a:br/>
            <a:r>
              <a:t>理解现代家庭</a:t>
            </a:r>
          </a:p>
        </p:txBody>
      </p:sp>
      <p:sp>
        <p:nvSpPr>
          <p:cNvPr id="34" name="TextBox 33">
            <a:extLst>
              <a:ext uri="{FF2B5EF4-FFF2-40B4-BE49-F238E27FC236}">
                <a16:creationId xmlns:a16="http://schemas.microsoft.com/office/drawing/2014/main" id="{DD80754C-AA3C-3D47-1738-CF120626B0E3}"/>
              </a:ext>
            </a:extLst>
          </p:cNvPr>
          <p:cNvSpPr txBox="1"/>
          <p:nvPr/>
        </p:nvSpPr>
        <p:spPr>
          <a:xfrm>
            <a:off x="8789951" y="2353055"/>
            <a:ext cx="3027021" cy="634204"/>
          </a:xfrm>
          <a:prstGeom prst="rect">
            <a:avLst/>
          </a:prstGeom>
          <a:gradFill>
            <a:gsLst>
              <a:gs pos="0">
                <a:schemeClr val="bg1">
                  <a:lumMod val="50000"/>
                  <a:alpha val="0"/>
                </a:schemeClr>
              </a:gs>
              <a:gs pos="59000">
                <a:schemeClr val="bg1">
                  <a:lumMod val="50000"/>
                  <a:alpha val="68618"/>
                </a:schemeClr>
              </a:gs>
            </a:gsLst>
            <a:lin ang="5400000" scaled="1"/>
          </a:gradFill>
        </p:spPr>
        <p:txBody>
          <a:bodyPr wrap="square" lIns="0" tIns="0" rIns="0" bIns="0" rtlCol="0" anchor="ctr">
            <a:normAutofit/>
          </a:bodyPr>
          <a:lstStyle/>
          <a:p>
            <a:pPr marL="0" marR="0" lvl="0" indent="0" algn="ctr" defTabSz="914400" rtl="0" eaLnBrk="1" fontAlgn="auto" latinLnBrk="0" hangingPunct="1">
              <a:lnSpc>
                <a:spcPct val="112000"/>
              </a:lnSpc>
              <a:spcBef>
                <a:spcPts val="0"/>
              </a:spcBef>
              <a:spcAft>
                <a:spcPts val="0"/>
              </a:spcAft>
              <a:buClrTx/>
              <a:buSzTx/>
              <a:buFontTx/>
              <a:buNone/>
              <a:tabLst/>
              <a:defRPr/>
            </a:pPr>
            <a:r>
              <a:t>Science-backed ingredients</a:t>
            </a:r>
            <a:br/>
            <a:r>
              <a:t>科学支持的成分</a:t>
            </a:r>
          </a:p>
        </p:txBody>
      </p:sp>
      <p:sp>
        <p:nvSpPr>
          <p:cNvPr id="35" name="TextBox 34">
            <a:extLst>
              <a:ext uri="{FF2B5EF4-FFF2-40B4-BE49-F238E27FC236}">
                <a16:creationId xmlns:a16="http://schemas.microsoft.com/office/drawing/2014/main" id="{666816A4-FDA7-2A81-67D4-213687FB81E8}"/>
              </a:ext>
            </a:extLst>
          </p:cNvPr>
          <p:cNvSpPr txBox="1"/>
          <p:nvPr/>
        </p:nvSpPr>
        <p:spPr>
          <a:xfrm>
            <a:off x="5550584" y="5322513"/>
            <a:ext cx="3031145" cy="696909"/>
          </a:xfrm>
          <a:prstGeom prst="rect">
            <a:avLst/>
          </a:prstGeom>
          <a:gradFill>
            <a:gsLst>
              <a:gs pos="0">
                <a:schemeClr val="bg1">
                  <a:lumMod val="50000"/>
                  <a:alpha val="0"/>
                </a:schemeClr>
              </a:gs>
              <a:gs pos="59000">
                <a:schemeClr val="bg1">
                  <a:lumMod val="50000"/>
                  <a:alpha val="68618"/>
                </a:schemeClr>
              </a:gs>
            </a:gsLst>
            <a:lin ang="5400000" scaled="1"/>
          </a:gradFill>
        </p:spPr>
        <p:txBody>
          <a:bodyPr wrap="square" lIns="0" tIns="0" rIns="0" bIns="0" rtlCol="0" anchor="ctr">
            <a:normAutofit/>
          </a:bodyPr>
          <a:lstStyle/>
          <a:p>
            <a:pPr marL="0" marR="0" lvl="0" indent="0" algn="ctr" defTabSz="914400" rtl="0" eaLnBrk="1" fontAlgn="auto" latinLnBrk="0" hangingPunct="1">
              <a:lnSpc>
                <a:spcPct val="112000"/>
              </a:lnSpc>
              <a:spcBef>
                <a:spcPts val="0"/>
              </a:spcBef>
              <a:spcAft>
                <a:spcPts val="0"/>
              </a:spcAft>
              <a:buClrTx/>
              <a:buSzTx/>
              <a:buFontTx/>
              <a:buNone/>
              <a:tabLst/>
              <a:defRPr/>
            </a:pPr>
            <a:r>
              <a:t>Regulatory guidance</a:t>
            </a:r>
            <a:br/>
            <a:r>
              <a:t>监管指导</a:t>
            </a:r>
          </a:p>
        </p:txBody>
      </p:sp>
      <p:sp>
        <p:nvSpPr>
          <p:cNvPr id="36" name="TextBox 35">
            <a:extLst>
              <a:ext uri="{FF2B5EF4-FFF2-40B4-BE49-F238E27FC236}">
                <a16:creationId xmlns:a16="http://schemas.microsoft.com/office/drawing/2014/main" id="{BA9F00D9-DBC0-E1F1-0D97-4F5FEA8BF03D}"/>
              </a:ext>
            </a:extLst>
          </p:cNvPr>
          <p:cNvSpPr txBox="1"/>
          <p:nvPr/>
        </p:nvSpPr>
        <p:spPr>
          <a:xfrm>
            <a:off x="8785828" y="5099856"/>
            <a:ext cx="3031144" cy="696909"/>
          </a:xfrm>
          <a:prstGeom prst="rect">
            <a:avLst/>
          </a:prstGeom>
          <a:gradFill>
            <a:gsLst>
              <a:gs pos="0">
                <a:schemeClr val="bg1">
                  <a:lumMod val="50000"/>
                  <a:alpha val="0"/>
                </a:schemeClr>
              </a:gs>
              <a:gs pos="59000">
                <a:schemeClr val="bg1">
                  <a:lumMod val="50000"/>
                  <a:alpha val="68618"/>
                </a:schemeClr>
              </a:gs>
            </a:gsLst>
            <a:lin ang="5400000" scaled="1"/>
          </a:gradFill>
        </p:spPr>
        <p:txBody>
          <a:bodyPr wrap="square" lIns="0" tIns="0" rIns="0" bIns="0" rtlCol="0" anchor="ctr">
            <a:normAutofit/>
          </a:bodyPr>
          <a:lstStyle/>
          <a:p>
            <a:pPr marL="0" marR="0" lvl="0" indent="0" algn="ctr" defTabSz="914400" rtl="0" eaLnBrk="1" fontAlgn="auto" latinLnBrk="0" hangingPunct="1">
              <a:lnSpc>
                <a:spcPct val="112000"/>
              </a:lnSpc>
              <a:spcBef>
                <a:spcPts val="0"/>
              </a:spcBef>
              <a:spcAft>
                <a:spcPts val="0"/>
              </a:spcAft>
              <a:buClrTx/>
              <a:buSzTx/>
              <a:buFontTx/>
              <a:buNone/>
              <a:tabLst/>
              <a:defRPr/>
            </a:pPr>
            <a:r>
              <a:t>Recipe design</a:t>
            </a:r>
            <a:br/>
            <a:r>
              <a:t>配方设计</a:t>
            </a:r>
          </a:p>
        </p:txBody>
      </p:sp>
      <p:grpSp>
        <p:nvGrpSpPr>
          <p:cNvPr id="42" name="Group 41">
            <a:extLst>
              <a:ext uri="{FF2B5EF4-FFF2-40B4-BE49-F238E27FC236}">
                <a16:creationId xmlns:a16="http://schemas.microsoft.com/office/drawing/2014/main" id="{2A8C9DA5-A5F5-E70F-802A-6A5CE08F5BE9}"/>
              </a:ext>
            </a:extLst>
          </p:cNvPr>
          <p:cNvGrpSpPr/>
          <p:nvPr/>
        </p:nvGrpSpPr>
        <p:grpSpPr>
          <a:xfrm>
            <a:off x="8253188" y="2732005"/>
            <a:ext cx="927549" cy="927549"/>
            <a:chOff x="-763617" y="2857051"/>
            <a:chExt cx="927549" cy="927549"/>
          </a:xfrm>
          <a:effectLst>
            <a:outerShdw blurRad="241300" sx="102000" sy="102000" algn="ctr" rotWithShape="0">
              <a:prstClr val="black">
                <a:alpha val="20000"/>
              </a:prstClr>
            </a:outerShdw>
          </a:effectLst>
        </p:grpSpPr>
        <p:sp>
          <p:nvSpPr>
            <p:cNvPr id="40" name="Oval 39">
              <a:extLst>
                <a:ext uri="{FF2B5EF4-FFF2-40B4-BE49-F238E27FC236}">
                  <a16:creationId xmlns:a16="http://schemas.microsoft.com/office/drawing/2014/main" id="{DF144958-81AE-4CC1-F3C7-F5B8BDF840C3}"/>
                </a:ext>
              </a:extLst>
            </p:cNvPr>
            <p:cNvSpPr/>
            <p:nvPr/>
          </p:nvSpPr>
          <p:spPr>
            <a:xfrm>
              <a:off x="-763617" y="2857051"/>
              <a:ext cx="927549" cy="92754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2000"/>
                </a:lnSpc>
                <a:spcBef>
                  <a:spcPts val="0"/>
                </a:spcBef>
                <a:spcAft>
                  <a:spcPts val="0"/>
                </a:spcAft>
                <a:buClrTx/>
                <a:buSzTx/>
                <a:buFontTx/>
                <a:buNone/>
                <a:tabLst/>
                <a:defRPr/>
              </a:pPr>
              <a:endParaRPr kumimoji="0" lang="en-NL" sz="1400" b="0" i="0" u="none" strike="noStrike" kern="1200" cap="none" spc="0" normalizeH="0" baseline="0" noProof="0">
                <a:ln>
                  <a:noFill/>
                </a:ln>
                <a:solidFill>
                  <a:srgbClr val="FFFFFF"/>
                </a:solidFill>
                <a:effectLst/>
                <a:uLnTx/>
                <a:uFillTx/>
                <a:latin typeface="Verdana"/>
                <a:ea typeface="+mn-ea"/>
                <a:cs typeface="+mn-cs"/>
              </a:endParaRPr>
            </a:p>
          </p:txBody>
        </p:sp>
        <p:pic>
          <p:nvPicPr>
            <p:cNvPr id="41" name="Graphic 40" descr="Mining tools">
              <a:extLst>
                <a:ext uri="{FF2B5EF4-FFF2-40B4-BE49-F238E27FC236}">
                  <a16:creationId xmlns:a16="http://schemas.microsoft.com/office/drawing/2014/main" id="{F28D98C3-E84B-25CB-8736-D0D5003C5060}"/>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04643" y="3015049"/>
              <a:ext cx="609600" cy="609600"/>
            </a:xfrm>
            <a:prstGeom prst="rect">
              <a:avLst/>
            </a:prstGeom>
          </p:spPr>
        </p:pic>
      </p:grpSp>
      <p:sp>
        <p:nvSpPr>
          <p:cNvPr id="43" name="TextBox 42">
            <a:extLst>
              <a:ext uri="{FF2B5EF4-FFF2-40B4-BE49-F238E27FC236}">
                <a16:creationId xmlns:a16="http://schemas.microsoft.com/office/drawing/2014/main" id="{0C10A583-D950-5520-5602-D8CEB5C39455}"/>
              </a:ext>
            </a:extLst>
          </p:cNvPr>
          <p:cNvSpPr txBox="1"/>
          <p:nvPr/>
        </p:nvSpPr>
        <p:spPr>
          <a:xfrm>
            <a:off x="588052" y="6205070"/>
            <a:ext cx="4036796" cy="280526"/>
          </a:xfrm>
          <a:prstGeom prst="rect">
            <a:avLst/>
          </a:prstGeom>
          <a:noFill/>
        </p:spPr>
        <p:txBody>
          <a:bodyPr wrap="square" lIns="0" tIns="0" rIns="0" bIns="0" rtlCol="0">
            <a:normAutofit/>
          </a:bodyPr>
          <a:lstStyle/>
          <a:p>
            <a:pPr marL="0" marR="0" lvl="0" indent="0" algn="ctr" defTabSz="914400" rtl="0" eaLnBrk="1" fontAlgn="auto" latinLnBrk="0" hangingPunct="1">
              <a:lnSpc>
                <a:spcPct val="112000"/>
              </a:lnSpc>
              <a:spcBef>
                <a:spcPts val="0"/>
              </a:spcBef>
              <a:spcAft>
                <a:spcPts val="0"/>
              </a:spcAft>
              <a:buClrTx/>
              <a:buSzTx/>
              <a:buFontTx/>
              <a:buNone/>
              <a:tabLst/>
              <a:defRPr/>
            </a:pPr>
            <a:r>
              <a:t>It is a balancing act</a:t>
            </a:r>
            <a:br/>
            <a:r>
              <a:t>这是一个平衡的艺术</a:t>
            </a:r>
          </a:p>
        </p:txBody>
      </p:sp>
      <p:sp>
        <p:nvSpPr>
          <p:cNvPr id="45" name="TextBox 44">
            <a:extLst>
              <a:ext uri="{FF2B5EF4-FFF2-40B4-BE49-F238E27FC236}">
                <a16:creationId xmlns:a16="http://schemas.microsoft.com/office/drawing/2014/main" id="{229247FF-96F9-692D-5B8F-9427315CF2D9}"/>
              </a:ext>
            </a:extLst>
          </p:cNvPr>
          <p:cNvSpPr txBox="1"/>
          <p:nvPr/>
        </p:nvSpPr>
        <p:spPr>
          <a:xfrm>
            <a:off x="5550583" y="6218849"/>
            <a:ext cx="6266389" cy="280526"/>
          </a:xfrm>
          <a:prstGeom prst="rect">
            <a:avLst/>
          </a:prstGeom>
          <a:noFill/>
        </p:spPr>
        <p:txBody>
          <a:bodyPr wrap="square" lIns="0" tIns="0" rIns="0" bIns="0" rtlCol="0">
            <a:normAutofit/>
          </a:bodyPr>
          <a:lstStyle/>
          <a:p>
            <a:pPr marL="0" marR="0" lvl="0" indent="0" algn="ctr" defTabSz="914400" rtl="0" eaLnBrk="1" fontAlgn="auto" latinLnBrk="0" hangingPunct="1">
              <a:lnSpc>
                <a:spcPct val="112000"/>
              </a:lnSpc>
              <a:spcBef>
                <a:spcPts val="0"/>
              </a:spcBef>
              <a:spcAft>
                <a:spcPts val="0"/>
              </a:spcAft>
              <a:buClrTx/>
              <a:buSzTx/>
              <a:buFontTx/>
              <a:buNone/>
              <a:tabLst/>
              <a:defRPr/>
            </a:pPr>
            <a:r>
              <a:t>FCI has powerful tools to help you</a:t>
            </a:r>
            <a:br/>
            <a:r>
              <a:t>FCI 拥有强大的工具来帮助您</a:t>
            </a:r>
          </a:p>
        </p:txBody>
      </p:sp>
    </p:spTree>
    <p:extLst>
      <p:ext uri="{BB962C8B-B14F-4D97-AF65-F5344CB8AC3E}">
        <p14:creationId xmlns:p14="http://schemas.microsoft.com/office/powerpoint/2010/main" val="4167669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594E715-BDD4-6DA3-E3D9-650288141C27}"/>
              </a:ext>
            </a:extLst>
          </p:cNvPr>
          <p:cNvGraphicFramePr>
            <a:graphicFrameLocks noChangeAspect="1"/>
          </p:cNvGraphicFramePr>
          <p:nvPr>
            <p:custDataLst>
              <p:tags r:id="rId1"/>
            </p:custDataLst>
            <p:extLst>
              <p:ext uri="{D42A27DB-BD31-4B8C-83A1-F6EECF244321}">
                <p14:modId xmlns:p14="http://schemas.microsoft.com/office/powerpoint/2010/main" val="170303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think-cell data - do not delete" hidden="1">
                        <a:extLst>
                          <a:ext uri="{FF2B5EF4-FFF2-40B4-BE49-F238E27FC236}">
                            <a16:creationId xmlns:a16="http://schemas.microsoft.com/office/drawing/2014/main" id="{4594E715-BDD4-6DA3-E3D9-650288141C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 name="Rectangle 39">
            <a:extLst>
              <a:ext uri="{FF2B5EF4-FFF2-40B4-BE49-F238E27FC236}">
                <a16:creationId xmlns:a16="http://schemas.microsoft.com/office/drawing/2014/main" id="{BE434287-E670-214B-1F4C-BA7658FDDE7D}"/>
              </a:ext>
            </a:extLst>
          </p:cNvPr>
          <p:cNvSpPr/>
          <p:nvPr/>
        </p:nvSpPr>
        <p:spPr>
          <a:xfrm>
            <a:off x="0" y="4513951"/>
            <a:ext cx="9551624" cy="2344049"/>
          </a:xfrm>
          <a:prstGeom prst="rect">
            <a:avLst/>
          </a:prstGeom>
          <a:solidFill>
            <a:schemeClr val="bg2"/>
          </a:solidFill>
          <a:ln>
            <a:solidFill>
              <a:schemeClr val="bg2"/>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112000"/>
              </a:lnSpc>
            </a:pPr>
            <a:endParaRPr lang="nl-NL" sz="1400"/>
          </a:p>
        </p:txBody>
      </p:sp>
      <p:sp>
        <p:nvSpPr>
          <p:cNvPr id="39" name="Rectangle 38">
            <a:extLst>
              <a:ext uri="{FF2B5EF4-FFF2-40B4-BE49-F238E27FC236}">
                <a16:creationId xmlns:a16="http://schemas.microsoft.com/office/drawing/2014/main" id="{694AED70-2B6C-DC28-80B8-92E793382DE1}"/>
              </a:ext>
            </a:extLst>
          </p:cNvPr>
          <p:cNvSpPr/>
          <p:nvPr/>
        </p:nvSpPr>
        <p:spPr>
          <a:xfrm>
            <a:off x="0" y="1728639"/>
            <a:ext cx="9199084" cy="2698901"/>
          </a:xfrm>
          <a:prstGeom prst="rect">
            <a:avLst/>
          </a:prstGeom>
          <a:solidFill>
            <a:schemeClr val="bg2"/>
          </a:solidFill>
          <a:ln>
            <a:solidFill>
              <a:schemeClr val="bg2"/>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112000"/>
              </a:lnSpc>
            </a:pPr>
            <a:endParaRPr lang="nl-NL" sz="1400"/>
          </a:p>
        </p:txBody>
      </p:sp>
      <p:pic>
        <p:nvPicPr>
          <p:cNvPr id="21" name="Picture Placeholder 20">
            <a:extLst>
              <a:ext uri="{FF2B5EF4-FFF2-40B4-BE49-F238E27FC236}">
                <a16:creationId xmlns:a16="http://schemas.microsoft.com/office/drawing/2014/main" id="{5C580A62-A396-407F-6CA8-1FDFAB5437C6}"/>
              </a:ext>
            </a:extLst>
          </p:cNvPr>
          <p:cNvPicPr>
            <a:picLocks noGrp="1" noChangeAspect="1"/>
          </p:cNvPicPr>
          <p:nvPr>
            <p:ph type="pic" sz="quarter" idx="10"/>
          </p:nvPr>
        </p:nvPicPr>
        <p:blipFill>
          <a:blip r:embed="rId6">
            <a:extLst>
              <a:ext uri="{28A0092B-C50C-407E-A947-70E740481C1C}">
                <a14:useLocalDpi xmlns:a14="http://schemas.microsoft.com/office/drawing/2010/main" val="0"/>
              </a:ext>
            </a:extLst>
          </a:blip>
          <a:srcRect l="18410" r="18410"/>
          <a:stretch/>
        </p:blipFill>
        <p:spPr/>
      </p:pic>
      <p:sp>
        <p:nvSpPr>
          <p:cNvPr id="3" name="Title 2">
            <a:extLst>
              <a:ext uri="{FF2B5EF4-FFF2-40B4-BE49-F238E27FC236}">
                <a16:creationId xmlns:a16="http://schemas.microsoft.com/office/drawing/2014/main" id="{E8E13D86-99EC-B35C-90E5-67DFB6AF4E68}"/>
              </a:ext>
            </a:extLst>
          </p:cNvPr>
          <p:cNvSpPr>
            <a:spLocks noGrp="1"/>
          </p:cNvSpPr>
          <p:nvPr>
            <p:ph type="title"/>
          </p:nvPr>
        </p:nvSpPr>
        <p:spPr>
          <a:xfrm>
            <a:off x="288509" y="203916"/>
            <a:ext cx="7191944" cy="1036965"/>
          </a:xfrm>
        </p:spPr>
        <p:txBody>
          <a:bodyPr vert="horz">
            <a:normAutofit/>
          </a:bodyPr>
          <a:lstStyle/>
          <a:p>
            <a:r>
              <a:t>Casein Protein: from underdog to champion</a:t>
            </a:r>
            <a:br/>
            <a:r>
              <a:t>酪蛋白：从冷门到冠军</a:t>
            </a:r>
            <a:endParaRPr lang="nl-NL" sz="2400" b="1" i="1"/>
          </a:p>
        </p:txBody>
      </p:sp>
      <p:pic>
        <p:nvPicPr>
          <p:cNvPr id="9" name="Picture 8">
            <a:extLst>
              <a:ext uri="{FF2B5EF4-FFF2-40B4-BE49-F238E27FC236}">
                <a16:creationId xmlns:a16="http://schemas.microsoft.com/office/drawing/2014/main" id="{DB30052B-CCB4-84B5-AC29-A2D3EA7A1A27}"/>
              </a:ext>
            </a:extLst>
          </p:cNvPr>
          <p:cNvPicPr>
            <a:picLocks noChangeAspect="1"/>
          </p:cNvPicPr>
          <p:nvPr/>
        </p:nvPicPr>
        <p:blipFill rotWithShape="1">
          <a:blip r:embed="rId7">
            <a:extLst>
              <a:ext uri="{28A0092B-C50C-407E-A947-70E740481C1C}">
                <a14:useLocalDpi xmlns:a14="http://schemas.microsoft.com/office/drawing/2010/main" val="0"/>
              </a:ext>
            </a:extLst>
          </a:blip>
          <a:srcRect l="10001" t="18094" r="13981" b="17109"/>
          <a:stretch/>
        </p:blipFill>
        <p:spPr>
          <a:xfrm>
            <a:off x="288508" y="4558957"/>
            <a:ext cx="4414364" cy="2116559"/>
          </a:xfrm>
          <a:prstGeom prst="rect">
            <a:avLst/>
          </a:prstGeom>
        </p:spPr>
      </p:pic>
      <p:pic>
        <p:nvPicPr>
          <p:cNvPr id="11" name="Picture 10" descr="A graph of red and white bars&#10;&#10;AI-generated content may be incorrect.">
            <a:extLst>
              <a:ext uri="{FF2B5EF4-FFF2-40B4-BE49-F238E27FC236}">
                <a16:creationId xmlns:a16="http://schemas.microsoft.com/office/drawing/2014/main" id="{0D5BA284-04CF-C8EE-40DD-37CD7425D187}"/>
              </a:ext>
            </a:extLst>
          </p:cNvPr>
          <p:cNvPicPr>
            <a:picLocks noChangeAspect="1"/>
          </p:cNvPicPr>
          <p:nvPr/>
        </p:nvPicPr>
        <p:blipFill rotWithShape="1">
          <a:blip r:embed="rId8">
            <a:extLst>
              <a:ext uri="{28A0092B-C50C-407E-A947-70E740481C1C}">
                <a14:useLocalDpi xmlns:a14="http://schemas.microsoft.com/office/drawing/2010/main" val="0"/>
              </a:ext>
            </a:extLst>
          </a:blip>
          <a:srcRect l="15643" t="11206" r="31178" b="10639"/>
          <a:stretch/>
        </p:blipFill>
        <p:spPr>
          <a:xfrm>
            <a:off x="288508" y="1780786"/>
            <a:ext cx="3847374" cy="2581773"/>
          </a:xfrm>
          <a:prstGeom prst="rect">
            <a:avLst/>
          </a:prstGeom>
        </p:spPr>
      </p:pic>
      <p:sp>
        <p:nvSpPr>
          <p:cNvPr id="25" name="TextBox 24">
            <a:extLst>
              <a:ext uri="{FF2B5EF4-FFF2-40B4-BE49-F238E27FC236}">
                <a16:creationId xmlns:a16="http://schemas.microsoft.com/office/drawing/2014/main" id="{B668E78D-FFD8-F54D-80D0-F10B2DBD3296}"/>
              </a:ext>
            </a:extLst>
          </p:cNvPr>
          <p:cNvSpPr txBox="1"/>
          <p:nvPr/>
        </p:nvSpPr>
        <p:spPr>
          <a:xfrm>
            <a:off x="4245989" y="1844450"/>
            <a:ext cx="3847374" cy="2554545"/>
          </a:xfrm>
          <a:prstGeom prst="rect">
            <a:avLst/>
          </a:prstGeom>
          <a:noFill/>
        </p:spPr>
        <p:txBody>
          <a:bodyPr wrap="square">
            <a:normAutofit/>
          </a:bodyPr>
          <a:lstStyle/>
          <a:p>
            <a:pPr algn="l"/>
            <a:r>
              <a:t>Whey protein works fast, but casein protein wins over time</a:t>
            </a:r>
            <a:br/>
            <a:r>
              <a:t>乳清蛋白快速起效，但酪蛋白长期获胜</a:t>
            </a:r>
          </a:p>
          <a:p>
            <a:pPr marL="342900" indent="-342900" algn="l">
              <a:buAutoNum type="arabicPeriod"/>
            </a:pPr>
            <a:endParaRPr lang="en-US" sz="1600" b="0" i="0">
              <a:solidFill>
                <a:srgbClr val="2C353A"/>
              </a:solidFill>
              <a:effectLst/>
              <a:latin typeface="CentraNo1"/>
            </a:endParaRPr>
          </a:p>
          <a:p>
            <a:pPr marL="285750" indent="-285750" algn="l">
              <a:buFont typeface="Arial" panose="020B0604020202020204" pitchFamily="34" charset="0"/>
              <a:buChar char="•"/>
            </a:pPr>
            <a:r>
              <a:t>longer lasting muscle protein synthesis1</a:t>
            </a:r>
            <a:br/>
            <a:r>
              <a:t>更持久的肌肉蛋白质合成1</a:t>
            </a:r>
            <a:endParaRPr lang="en-GB" sz="1600" b="0" i="0">
              <a:solidFill>
                <a:srgbClr val="0A0A0A"/>
              </a:solidFill>
              <a:effectLst/>
              <a:latin typeface="Inter"/>
            </a:endParaRPr>
          </a:p>
          <a:p>
            <a:pPr marL="285750" indent="-285750" algn="l">
              <a:buFont typeface="Arial" panose="020B0604020202020204" pitchFamily="34" charset="0"/>
              <a:buChar char="•"/>
            </a:pPr>
            <a:r>
              <a:t>shown to stimulate a higher level of muscle protein synthesis over a 6-hour period2</a:t>
            </a:r>
            <a:br/>
            <a:r>
              <a:t>研究表明在6小时内能刺激更高水平的肌肉蛋白质合成2</a:t>
            </a:r>
            <a:endParaRPr lang="en-US" sz="1600" b="0" i="0">
              <a:solidFill>
                <a:srgbClr val="0A0A0A"/>
              </a:solidFill>
              <a:effectLst/>
              <a:latin typeface="Inter"/>
            </a:endParaRPr>
          </a:p>
          <a:p>
            <a:pPr marL="285750" indent="-285750" algn="l">
              <a:buFont typeface="Arial" panose="020B0604020202020204" pitchFamily="34" charset="0"/>
              <a:buChar char="•"/>
            </a:pPr>
            <a:r>
              <a:t>ideal protein to support prolonged muscle recovery overnight3</a:t>
            </a:r>
            <a:br/>
            <a:r>
              <a:t>理想的蛋白质，支持夜间长时间的肌肉恢复3</a:t>
            </a:r>
            <a:endParaRPr lang="en-GB" sz="1600" b="0" i="0">
              <a:solidFill>
                <a:srgbClr val="0A0A0A"/>
              </a:solidFill>
              <a:effectLst/>
              <a:latin typeface="Inter"/>
            </a:endParaRPr>
          </a:p>
          <a:p>
            <a:pPr marL="342900" indent="-342900" algn="l">
              <a:buAutoNum type="arabicPeriod"/>
            </a:pPr>
            <a:endParaRPr lang="en-US" sz="1600" b="0" i="0">
              <a:solidFill>
                <a:srgbClr val="2C353A"/>
              </a:solidFill>
              <a:effectLst/>
              <a:latin typeface="CentraNo1"/>
            </a:endParaRPr>
          </a:p>
        </p:txBody>
      </p:sp>
      <p:sp>
        <p:nvSpPr>
          <p:cNvPr id="27" name="TextBox 26">
            <a:extLst>
              <a:ext uri="{FF2B5EF4-FFF2-40B4-BE49-F238E27FC236}">
                <a16:creationId xmlns:a16="http://schemas.microsoft.com/office/drawing/2014/main" id="{E6F43002-BF39-3B61-DD5B-190DDD30FA7F}"/>
              </a:ext>
            </a:extLst>
          </p:cNvPr>
          <p:cNvSpPr txBox="1"/>
          <p:nvPr/>
        </p:nvSpPr>
        <p:spPr>
          <a:xfrm>
            <a:off x="4993395" y="4675570"/>
            <a:ext cx="4846043" cy="1354217"/>
          </a:xfrm>
          <a:prstGeom prst="rect">
            <a:avLst/>
          </a:prstGeom>
          <a:noFill/>
        </p:spPr>
        <p:txBody>
          <a:bodyPr wrap="square">
            <a:normAutofit/>
          </a:bodyPr>
          <a:lstStyle/>
          <a:p>
            <a:r>
              <a:t>High in key essential amino acids</a:t>
            </a:r>
            <a:br/>
            <a:r>
              <a:t>富含关键必需氨基酸</a:t>
            </a:r>
          </a:p>
          <a:p>
            <a:pPr algn="l"/>
            <a:endParaRPr lang="en-US" b="0" i="0">
              <a:solidFill>
                <a:srgbClr val="2C353A"/>
              </a:solidFill>
              <a:effectLst/>
              <a:latin typeface="CentraNo1"/>
            </a:endParaRPr>
          </a:p>
          <a:p>
            <a:pPr marL="285750" indent="-285750">
              <a:buFont typeface="Arial" panose="020B0604020202020204" pitchFamily="34" charset="0"/>
              <a:buChar char="•"/>
            </a:pPr>
            <a:r>
              <a:t>higher levels of several essential amino acids – histidine, methionine, phenylalanine and valine – than whey protein3</a:t>
            </a:r>
            <a:br/>
            <a:r>
              <a:t>几种必需氨基酸——组氨酸、蛋氨酸、苯丙氨酸和缬氨酸——的含量高于乳清蛋白3</a:t>
            </a:r>
            <a:endParaRPr lang="en-US" sz="1600">
              <a:solidFill>
                <a:srgbClr val="0A0A0A"/>
              </a:solidFill>
              <a:latin typeface="Inter"/>
            </a:endParaRPr>
          </a:p>
        </p:txBody>
      </p:sp>
      <p:pic>
        <p:nvPicPr>
          <p:cNvPr id="34" name="Picture 33">
            <a:extLst>
              <a:ext uri="{FF2B5EF4-FFF2-40B4-BE49-F238E27FC236}">
                <a16:creationId xmlns:a16="http://schemas.microsoft.com/office/drawing/2014/main" id="{3B3E2737-40DB-E292-6896-B6D822546A63}"/>
              </a:ext>
            </a:extLst>
          </p:cNvPr>
          <p:cNvPicPr>
            <a:picLocks noChangeAspect="1"/>
          </p:cNvPicPr>
          <p:nvPr/>
        </p:nvPicPr>
        <p:blipFill>
          <a:blip r:embed="rId9"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116860" y="735430"/>
            <a:ext cx="1007260" cy="839384"/>
          </a:xfrm>
          <a:prstGeom prst="rect">
            <a:avLst/>
          </a:prstGeom>
        </p:spPr>
      </p:pic>
      <p:pic>
        <p:nvPicPr>
          <p:cNvPr id="35" name="Picture 34">
            <a:extLst>
              <a:ext uri="{FF2B5EF4-FFF2-40B4-BE49-F238E27FC236}">
                <a16:creationId xmlns:a16="http://schemas.microsoft.com/office/drawing/2014/main" id="{EBCD6FF4-4A99-DDCD-F6F2-2532FBE1CC33}"/>
              </a:ext>
            </a:extLst>
          </p:cNvPr>
          <p:cNvPicPr>
            <a:picLocks noChangeAspect="1"/>
          </p:cNvPicPr>
          <p:nvPr/>
        </p:nvPicPr>
        <p:blipFill>
          <a:blip r:embed="rId10"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1566211" y="686862"/>
            <a:ext cx="1123824" cy="936520"/>
          </a:xfrm>
          <a:prstGeom prst="rect">
            <a:avLst/>
          </a:prstGeom>
        </p:spPr>
      </p:pic>
      <p:pic>
        <p:nvPicPr>
          <p:cNvPr id="36" name="Picture 35">
            <a:extLst>
              <a:ext uri="{FF2B5EF4-FFF2-40B4-BE49-F238E27FC236}">
                <a16:creationId xmlns:a16="http://schemas.microsoft.com/office/drawing/2014/main" id="{9C581317-A527-4696-43EB-42231AD39579}"/>
              </a:ext>
            </a:extLst>
          </p:cNvPr>
          <p:cNvPicPr>
            <a:picLocks noChangeAspect="1"/>
          </p:cNvPicPr>
          <p:nvPr/>
        </p:nvPicPr>
        <p:blipFill>
          <a:blip r:embed="rId11"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3678842" y="774256"/>
            <a:ext cx="914079" cy="761732"/>
          </a:xfrm>
          <a:prstGeom prst="rect">
            <a:avLst/>
          </a:prstGeom>
        </p:spPr>
      </p:pic>
      <p:pic>
        <p:nvPicPr>
          <p:cNvPr id="37" name="Picture 36">
            <a:extLst>
              <a:ext uri="{FF2B5EF4-FFF2-40B4-BE49-F238E27FC236}">
                <a16:creationId xmlns:a16="http://schemas.microsoft.com/office/drawing/2014/main" id="{873F229C-D31C-B8B0-B3B8-758D136D98A7}"/>
              </a:ext>
            </a:extLst>
          </p:cNvPr>
          <p:cNvPicPr>
            <a:picLocks noChangeAspect="1"/>
          </p:cNvPicPr>
          <p:nvPr/>
        </p:nvPicPr>
        <p:blipFill>
          <a:blip r:embed="rId12"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5022405" y="680116"/>
            <a:ext cx="1140016" cy="950013"/>
          </a:xfrm>
          <a:prstGeom prst="rect">
            <a:avLst/>
          </a:prstGeom>
        </p:spPr>
      </p:pic>
      <p:pic>
        <p:nvPicPr>
          <p:cNvPr id="38" name="Picture 37">
            <a:extLst>
              <a:ext uri="{FF2B5EF4-FFF2-40B4-BE49-F238E27FC236}">
                <a16:creationId xmlns:a16="http://schemas.microsoft.com/office/drawing/2014/main" id="{EFC6181C-EB41-EEF3-6D65-2FDCE48BCD61}"/>
              </a:ext>
            </a:extLst>
          </p:cNvPr>
          <p:cNvPicPr>
            <a:picLocks noChangeAspect="1"/>
          </p:cNvPicPr>
          <p:nvPr/>
        </p:nvPicPr>
        <p:blipFill>
          <a:blip r:embed="rId13"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5515100" y="680116"/>
            <a:ext cx="1140016" cy="950013"/>
          </a:xfrm>
          <a:prstGeom prst="rect">
            <a:avLst/>
          </a:prstGeom>
        </p:spPr>
      </p:pic>
      <p:sp>
        <p:nvSpPr>
          <p:cNvPr id="41" name="Content Placeholder 4">
            <a:extLst>
              <a:ext uri="{FF2B5EF4-FFF2-40B4-BE49-F238E27FC236}">
                <a16:creationId xmlns:a16="http://schemas.microsoft.com/office/drawing/2014/main" id="{6C5BAC7A-81E0-5E61-AD2C-5D4B9C48D400}"/>
              </a:ext>
            </a:extLst>
          </p:cNvPr>
          <p:cNvSpPr txBox="1">
            <a:spLocks/>
          </p:cNvSpPr>
          <p:nvPr/>
        </p:nvSpPr>
        <p:spPr>
          <a:xfrm>
            <a:off x="608341" y="972087"/>
            <a:ext cx="2875938" cy="366071"/>
          </a:xfrm>
          <a:prstGeom prst="rect">
            <a:avLst/>
          </a:prstGeom>
          <a:noFill/>
        </p:spPr>
        <p:txBody>
          <a:bodyPr vert="horz" lIns="192000" tIns="0" rIns="0" bIns="0" rtlCol="0">
            <a:normAutofit/>
          </a:bodyPr>
          <a:lstStyle>
            <a:lvl1pPr marL="176213" indent="-176213" algn="l" defTabSz="685800" rtl="0" eaLnBrk="1" latinLnBrk="0" hangingPunct="1">
              <a:lnSpc>
                <a:spcPct val="113000"/>
              </a:lnSpc>
              <a:spcBef>
                <a:spcPts val="1200"/>
              </a:spcBef>
              <a:buClr>
                <a:schemeClr val="tx1"/>
              </a:buClr>
              <a:buFont typeface="Arial" panose="020B0604020202020204" pitchFamily="34" charset="0"/>
              <a:buChar char="•"/>
              <a:defRPr sz="1400" kern="1200">
                <a:solidFill>
                  <a:schemeClr val="tx1"/>
                </a:solidFill>
                <a:latin typeface="+mn-lt"/>
                <a:ea typeface="+mn-ea"/>
                <a:cs typeface="+mn-cs"/>
              </a:defRPr>
            </a:lvl1pPr>
            <a:lvl2pPr marL="360363"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2pPr>
            <a:lvl3pPr marL="536575"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3pPr>
            <a:lvl4pPr marL="720725"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4pPr>
            <a:lvl5pPr marL="896938"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1219108">
              <a:lnSpc>
                <a:spcPct val="100000"/>
              </a:lnSpc>
              <a:spcBef>
                <a:spcPts val="0"/>
              </a:spcBef>
              <a:buClr>
                <a:srgbClr val="0094D9"/>
              </a:buClr>
              <a:buNone/>
              <a:defRPr/>
            </a:pPr>
            <a:r>
              <a:t>Heat</a:t>
            </a:r>
            <a:br/>
            <a:r>
              <a:t>热</a:t>
            </a:r>
          </a:p>
          <a:p>
            <a:pPr marL="0" indent="0" defTabSz="1219108">
              <a:lnSpc>
                <a:spcPct val="100000"/>
              </a:lnSpc>
              <a:spcBef>
                <a:spcPts val="0"/>
              </a:spcBef>
              <a:buClr>
                <a:srgbClr val="0094D9"/>
              </a:buClr>
              <a:buNone/>
              <a:defRPr/>
            </a:pPr>
            <a:r>
              <a:t>stability</a:t>
            </a:r>
            <a:br/>
            <a:r>
              <a:t>稳定性</a:t>
            </a:r>
          </a:p>
        </p:txBody>
      </p:sp>
      <p:sp>
        <p:nvSpPr>
          <p:cNvPr id="42" name="Content Placeholder 4">
            <a:extLst>
              <a:ext uri="{FF2B5EF4-FFF2-40B4-BE49-F238E27FC236}">
                <a16:creationId xmlns:a16="http://schemas.microsoft.com/office/drawing/2014/main" id="{E31F416B-72B0-26CF-A958-2A6EC9D226E0}"/>
              </a:ext>
            </a:extLst>
          </p:cNvPr>
          <p:cNvSpPr txBox="1">
            <a:spLocks/>
          </p:cNvSpPr>
          <p:nvPr/>
        </p:nvSpPr>
        <p:spPr>
          <a:xfrm>
            <a:off x="2366142" y="972087"/>
            <a:ext cx="2875938" cy="366071"/>
          </a:xfrm>
          <a:prstGeom prst="rect">
            <a:avLst/>
          </a:prstGeom>
          <a:noFill/>
        </p:spPr>
        <p:txBody>
          <a:bodyPr vert="horz" lIns="192000" tIns="0" rIns="0" bIns="0" rtlCol="0">
            <a:normAutofit/>
          </a:bodyPr>
          <a:lstStyle>
            <a:lvl1pPr marL="176213" indent="-176213" algn="l" defTabSz="685800" rtl="0" eaLnBrk="1" latinLnBrk="0" hangingPunct="1">
              <a:lnSpc>
                <a:spcPct val="113000"/>
              </a:lnSpc>
              <a:spcBef>
                <a:spcPts val="1200"/>
              </a:spcBef>
              <a:buClr>
                <a:schemeClr val="tx1"/>
              </a:buClr>
              <a:buFont typeface="Arial" panose="020B0604020202020204" pitchFamily="34" charset="0"/>
              <a:buChar char="•"/>
              <a:defRPr sz="1400" kern="1200">
                <a:solidFill>
                  <a:schemeClr val="tx1"/>
                </a:solidFill>
                <a:latin typeface="+mn-lt"/>
                <a:ea typeface="+mn-ea"/>
                <a:cs typeface="+mn-cs"/>
              </a:defRPr>
            </a:lvl1pPr>
            <a:lvl2pPr marL="360363"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2pPr>
            <a:lvl3pPr marL="536575"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3pPr>
            <a:lvl4pPr marL="720725"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4pPr>
            <a:lvl5pPr marL="896938"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1219108">
              <a:lnSpc>
                <a:spcPct val="100000"/>
              </a:lnSpc>
              <a:spcBef>
                <a:spcPts val="0"/>
              </a:spcBef>
              <a:buClr>
                <a:srgbClr val="0094D9"/>
              </a:buClr>
              <a:buNone/>
              <a:defRPr/>
            </a:pPr>
            <a:r>
              <a:t>Nutritional</a:t>
            </a:r>
            <a:br/>
            <a:r>
              <a:t>营养</a:t>
            </a:r>
          </a:p>
          <a:p>
            <a:pPr marL="0" indent="0" defTabSz="1219108">
              <a:lnSpc>
                <a:spcPct val="100000"/>
              </a:lnSpc>
              <a:spcBef>
                <a:spcPts val="0"/>
              </a:spcBef>
              <a:buClr>
                <a:srgbClr val="0094D9"/>
              </a:buClr>
              <a:buNone/>
              <a:defRPr/>
            </a:pPr>
            <a:r>
              <a:t>Value</a:t>
            </a:r>
            <a:br/>
            <a:r>
              <a:t>价值</a:t>
            </a:r>
          </a:p>
        </p:txBody>
      </p:sp>
      <p:sp>
        <p:nvSpPr>
          <p:cNvPr id="43" name="Content Placeholder 4">
            <a:extLst>
              <a:ext uri="{FF2B5EF4-FFF2-40B4-BE49-F238E27FC236}">
                <a16:creationId xmlns:a16="http://schemas.microsoft.com/office/drawing/2014/main" id="{885B25FC-14E3-3617-214D-F26DDC7D393D}"/>
              </a:ext>
            </a:extLst>
          </p:cNvPr>
          <p:cNvSpPr txBox="1">
            <a:spLocks/>
          </p:cNvSpPr>
          <p:nvPr/>
        </p:nvSpPr>
        <p:spPr>
          <a:xfrm>
            <a:off x="4330863" y="972087"/>
            <a:ext cx="2875938" cy="366071"/>
          </a:xfrm>
          <a:prstGeom prst="rect">
            <a:avLst/>
          </a:prstGeom>
          <a:noFill/>
        </p:spPr>
        <p:txBody>
          <a:bodyPr vert="horz" lIns="192000" tIns="0" rIns="0" bIns="0" rtlCol="0">
            <a:normAutofit/>
          </a:bodyPr>
          <a:lstStyle>
            <a:lvl1pPr marL="176213" indent="-176213" algn="l" defTabSz="685800" rtl="0" eaLnBrk="1" latinLnBrk="0" hangingPunct="1">
              <a:lnSpc>
                <a:spcPct val="113000"/>
              </a:lnSpc>
              <a:spcBef>
                <a:spcPts val="1200"/>
              </a:spcBef>
              <a:buClr>
                <a:schemeClr val="tx1"/>
              </a:buClr>
              <a:buFont typeface="Arial" panose="020B0604020202020204" pitchFamily="34" charset="0"/>
              <a:buChar char="•"/>
              <a:defRPr sz="1400" kern="1200">
                <a:solidFill>
                  <a:schemeClr val="tx1"/>
                </a:solidFill>
                <a:latin typeface="+mn-lt"/>
                <a:ea typeface="+mn-ea"/>
                <a:cs typeface="+mn-cs"/>
              </a:defRPr>
            </a:lvl1pPr>
            <a:lvl2pPr marL="360363"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2pPr>
            <a:lvl3pPr marL="536575"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3pPr>
            <a:lvl4pPr marL="720725"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4pPr>
            <a:lvl5pPr marL="896938"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1219108">
              <a:lnSpc>
                <a:spcPct val="100000"/>
              </a:lnSpc>
              <a:spcBef>
                <a:spcPts val="0"/>
              </a:spcBef>
              <a:buClr>
                <a:srgbClr val="0094D9"/>
              </a:buClr>
              <a:buNone/>
              <a:defRPr/>
            </a:pPr>
            <a:r>
              <a:t>Clean</a:t>
            </a:r>
            <a:br/>
            <a:r>
              <a:t>纯净</a:t>
            </a:r>
          </a:p>
          <a:p>
            <a:pPr marL="0" indent="0" defTabSz="1219108">
              <a:lnSpc>
                <a:spcPct val="100000"/>
              </a:lnSpc>
              <a:spcBef>
                <a:spcPts val="0"/>
              </a:spcBef>
              <a:buClr>
                <a:srgbClr val="0094D9"/>
              </a:buClr>
              <a:buNone/>
              <a:defRPr/>
            </a:pPr>
            <a:r>
              <a:t>Flavour</a:t>
            </a:r>
            <a:br/>
            <a:r>
              <a:t>风味</a:t>
            </a:r>
            <a:endParaRPr lang="en-US" b="1" kern="0">
              <a:solidFill>
                <a:srgbClr val="1D9F97">
                  <a:lumMod val="50000"/>
                </a:srgbClr>
              </a:solidFill>
              <a:latin typeface="Verdana"/>
            </a:endParaRPr>
          </a:p>
        </p:txBody>
      </p:sp>
      <p:sp>
        <p:nvSpPr>
          <p:cNvPr id="44" name="Content Placeholder 4">
            <a:extLst>
              <a:ext uri="{FF2B5EF4-FFF2-40B4-BE49-F238E27FC236}">
                <a16:creationId xmlns:a16="http://schemas.microsoft.com/office/drawing/2014/main" id="{F4E7370E-1AAA-3102-6DB0-839984B4CBB5}"/>
              </a:ext>
            </a:extLst>
          </p:cNvPr>
          <p:cNvSpPr txBox="1">
            <a:spLocks/>
          </p:cNvSpPr>
          <p:nvPr/>
        </p:nvSpPr>
        <p:spPr>
          <a:xfrm>
            <a:off x="6345610" y="1027236"/>
            <a:ext cx="2875938" cy="366071"/>
          </a:xfrm>
          <a:prstGeom prst="rect">
            <a:avLst/>
          </a:prstGeom>
          <a:noFill/>
        </p:spPr>
        <p:txBody>
          <a:bodyPr vert="horz" lIns="192000" tIns="0" rIns="0" bIns="0" rtlCol="0">
            <a:normAutofit/>
          </a:bodyPr>
          <a:lstStyle>
            <a:lvl1pPr marL="176213" indent="-176213" algn="l" defTabSz="685800" rtl="0" eaLnBrk="1" latinLnBrk="0" hangingPunct="1">
              <a:lnSpc>
                <a:spcPct val="113000"/>
              </a:lnSpc>
              <a:spcBef>
                <a:spcPts val="1200"/>
              </a:spcBef>
              <a:buClr>
                <a:schemeClr val="tx1"/>
              </a:buClr>
              <a:buFont typeface="Arial" panose="020B0604020202020204" pitchFamily="34" charset="0"/>
              <a:buChar char="•"/>
              <a:defRPr sz="1400" kern="1200">
                <a:solidFill>
                  <a:schemeClr val="tx1"/>
                </a:solidFill>
                <a:latin typeface="+mn-lt"/>
                <a:ea typeface="+mn-ea"/>
                <a:cs typeface="+mn-cs"/>
              </a:defRPr>
            </a:lvl1pPr>
            <a:lvl2pPr marL="360363"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2pPr>
            <a:lvl3pPr marL="536575"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3pPr>
            <a:lvl4pPr marL="720725"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4pPr>
            <a:lvl5pPr marL="896938"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1219108">
              <a:lnSpc>
                <a:spcPct val="100000"/>
              </a:lnSpc>
              <a:spcBef>
                <a:spcPts val="0"/>
              </a:spcBef>
              <a:buClr>
                <a:srgbClr val="0094D9"/>
              </a:buClr>
              <a:buNone/>
              <a:defRPr/>
            </a:pPr>
            <a:r>
              <a:t>Versatile</a:t>
            </a:r>
            <a:br/>
            <a:r>
              <a:t>多功能</a:t>
            </a:r>
          </a:p>
        </p:txBody>
      </p:sp>
      <p:sp>
        <p:nvSpPr>
          <p:cNvPr id="45" name="TextBox 44">
            <a:extLst>
              <a:ext uri="{FF2B5EF4-FFF2-40B4-BE49-F238E27FC236}">
                <a16:creationId xmlns:a16="http://schemas.microsoft.com/office/drawing/2014/main" id="{FBF295DD-3604-D4E6-BD61-E5A27544983F}"/>
              </a:ext>
            </a:extLst>
          </p:cNvPr>
          <p:cNvSpPr txBox="1"/>
          <p:nvPr/>
        </p:nvSpPr>
        <p:spPr>
          <a:xfrm>
            <a:off x="4903171" y="6383549"/>
            <a:ext cx="4715219" cy="617157"/>
          </a:xfrm>
          <a:prstGeom prst="rect">
            <a:avLst/>
          </a:prstGeom>
          <a:noFill/>
        </p:spPr>
        <p:txBody>
          <a:bodyPr wrap="square" lIns="0" tIns="0" rIns="0" bIns="0" rtlCol="0">
            <a:normAutofit/>
          </a:bodyPr>
          <a:lstStyle/>
          <a:p>
            <a:r>
              <a:t>1. Reitelseder et al., Am J Physiol Endocrinol Metab , 2011​</a:t>
            </a:r>
            <a:br/>
            <a:r>
              <a:t>1. Reitelseder 等人, Am J Physiol Endocrinol Metab, 2011</a:t>
            </a:r>
            <a:endParaRPr lang="en-GB" sz="800" baseline="30000">
              <a:effectLst/>
              <a:latin typeface="+mj-lt"/>
              <a:ea typeface="Calibri" panose="020F0502020204030204" pitchFamily="34" charset="0"/>
              <a:cs typeface="Times New Roman" panose="02020603050405020304" pitchFamily="18" charset="0"/>
            </a:endParaRPr>
          </a:p>
          <a:p>
            <a:r>
              <a:t>2. Lacroix, M., Bos, C., Léonil, J., Airinei, G., Luengo, C., Daré, S., Benamouzig, R., Fouillet, H., Fauquant, J., Tomé, D. and Gaudichon, C. (2006). Compared with casein or total milk protein, digestion of milk soluble proteins is too rapid to sustain the anabolic postprandial amino acid requirement. The American Journal of Clinical Nutrition, 84(5), pp.1070–1079. doi:https://doi.org/10.1093/ajcn/84.5.1070.</a:t>
            </a:r>
            <a:br/>
            <a:r>
              <a:t>2. Lacroix, M., Bos, C., Léonil, J., Airinei, G., Luengo, C., Daré, S., Benamouzig, R., Fouillet, H., Fauquant, J., Tomé, D. 和 Gaudichon, C. (2006). 与酪蛋白或全乳蛋白相比，乳溶性蛋白的消化速度过快，无法维持餐后合成代谢所需的氨基酸。《美国临床营养学杂志》，84(5)，第1070-1079页。doi:https://doi.org/10.1093/ajcn/84.5.1070.</a:t>
            </a:r>
            <a:endParaRPr lang="en-GB" sz="800" baseline="30000">
              <a:latin typeface="+mj-lt"/>
              <a:cs typeface="Times New Roman" panose="02020603050405020304" pitchFamily="18" charset="0"/>
            </a:endParaRPr>
          </a:p>
          <a:p>
            <a:r>
              <a:t>3. Gorissen, S.H.M., Crombag, J.J.R., Senden, J.M.G. et al. Protein content and amino acid composition of commercially available plant-based protein isolates. Amino Acids 50, 1685–1695 (2018). https://doi.org/10.1007/s00726-018-2640-5</a:t>
            </a:r>
            <a:br/>
            <a:r>
              <a:t>3. Gorissen, S.H.M., Crombag, J.J.R., Senden, J.M.G. 等人. 市售植物蛋白分离物的蛋白质含量和氨基酸组成。《氨基酸》50，1685-1695 (2018). https://doi.org/10.1007/s00726-018-2640-5</a:t>
            </a:r>
            <a:endParaRPr lang="en-GB" sz="800" baseline="30000">
              <a:latin typeface="+mj-lt"/>
              <a:cs typeface="Times New Roman" panose="02020603050405020304" pitchFamily="18" charset="0"/>
            </a:endParaRPr>
          </a:p>
          <a:p>
            <a:pPr algn="l">
              <a:lnSpc>
                <a:spcPct val="112000"/>
              </a:lnSpc>
            </a:pPr>
            <a:endParaRPr lang="nl-NL" sz="800">
              <a:latin typeface="+mj-lt"/>
            </a:endParaRPr>
          </a:p>
        </p:txBody>
      </p:sp>
    </p:spTree>
    <p:extLst>
      <p:ext uri="{BB962C8B-B14F-4D97-AF65-F5344CB8AC3E}">
        <p14:creationId xmlns:p14="http://schemas.microsoft.com/office/powerpoint/2010/main" val="3531094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8B69D6B-7766-84FC-B6B6-C553734FB640}"/>
              </a:ext>
            </a:extLst>
          </p:cNvPr>
          <p:cNvSpPr txBox="1">
            <a:spLocks/>
          </p:cNvSpPr>
          <p:nvPr/>
        </p:nvSpPr>
        <p:spPr>
          <a:xfrm>
            <a:off x="0" y="2938128"/>
            <a:ext cx="12192000" cy="3371653"/>
          </a:xfrm>
          <a:prstGeom prst="rect">
            <a:avLst/>
          </a:prstGeom>
          <a:solidFill>
            <a:srgbClr val="E0E2F3"/>
          </a:solidFill>
        </p:spPr>
        <p:txBody>
          <a:bodyPr vert="horz" lIns="624000" tIns="240000" rIns="144000" bIns="144000" rtlCol="0" anchor="t">
            <a:normAutofit/>
          </a:bodyPr>
          <a:lstStyle>
            <a:lvl1pPr marL="234945" indent="-234945" algn="l" defTabSz="914377" rtl="0" eaLnBrk="1" latinLnBrk="0" hangingPunct="1">
              <a:lnSpc>
                <a:spcPct val="113000"/>
              </a:lnSpc>
              <a:spcBef>
                <a:spcPts val="1600"/>
              </a:spcBef>
              <a:buClr>
                <a:schemeClr val="tx1"/>
              </a:buClr>
              <a:buFont typeface="Arial" panose="020B0604020202020204" pitchFamily="34" charset="0"/>
              <a:buChar char="•"/>
              <a:defRPr sz="1867" kern="1200">
                <a:solidFill>
                  <a:schemeClr val="tx1"/>
                </a:solidFill>
                <a:latin typeface="+mn-lt"/>
                <a:ea typeface="+mn-ea"/>
                <a:cs typeface="+mn-cs"/>
              </a:defRPr>
            </a:lvl1pPr>
            <a:lvl2pPr marL="480472" indent="-228594" algn="l" defTabSz="914377"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2pPr>
            <a:lvl3pPr marL="715415" indent="-228594" algn="l" defTabSz="914377"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3pPr>
            <a:lvl4pPr marL="960943" indent="-228594" algn="l" defTabSz="914377"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4pPr>
            <a:lvl5pPr marL="1195887" indent="-228594" algn="l" defTabSz="914377"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1219139" rtl="0" eaLnBrk="1" fontAlgn="auto" latinLnBrk="0" hangingPunct="1">
              <a:lnSpc>
                <a:spcPct val="113000"/>
              </a:lnSpc>
              <a:spcBef>
                <a:spcPts val="2133"/>
              </a:spcBef>
              <a:spcAft>
                <a:spcPts val="0"/>
              </a:spcAft>
              <a:buClr>
                <a:srgbClr val="3F4043"/>
              </a:buClr>
              <a:buSzTx/>
              <a:buFont typeface="Arial" panose="020B0604020202020204" pitchFamily="34" charset="0"/>
              <a:buNone/>
              <a:tabLst/>
              <a:defRPr/>
            </a:pPr>
            <a:r>
              <a:t>Nutri WheyTM ProHeat supports leveling up your high protein drinks</a:t>
            </a:r>
            <a:br/>
            <a:r>
              <a:t>Nutri WheyTM ProHeat 支持提升您的高蛋白饮品</a:t>
            </a:r>
          </a:p>
        </p:txBody>
      </p:sp>
      <p:graphicFrame>
        <p:nvGraphicFramePr>
          <p:cNvPr id="8" name="think-cell data - do not delete" hidden="1">
            <a:extLst>
              <a:ext uri="{FF2B5EF4-FFF2-40B4-BE49-F238E27FC236}">
                <a16:creationId xmlns:a16="http://schemas.microsoft.com/office/drawing/2014/main" id="{E20F2875-8CEB-A7E2-047D-334721D4D9E5}"/>
              </a:ext>
            </a:extLst>
          </p:cNvPr>
          <p:cNvGraphicFramePr>
            <a:graphicFrameLocks noChangeAspect="1"/>
          </p:cNvGraphicFramePr>
          <p:nvPr>
            <p:custDataLst>
              <p:tags r:id="rId1"/>
            </p:custDataLst>
            <p:extLst>
              <p:ext uri="{D42A27DB-BD31-4B8C-83A1-F6EECF244321}">
                <p14:modId xmlns:p14="http://schemas.microsoft.com/office/powerpoint/2010/main" val="3666127175"/>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think-cell data - do not delete" hidden="1">
                        <a:extLst>
                          <a:ext uri="{FF2B5EF4-FFF2-40B4-BE49-F238E27FC236}">
                            <a16:creationId xmlns:a16="http://schemas.microsoft.com/office/drawing/2014/main" id="{E20F2875-8CEB-A7E2-047D-334721D4D9E5}"/>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pic>
        <p:nvPicPr>
          <p:cNvPr id="5" name="Picture Placeholder 9">
            <a:extLst>
              <a:ext uri="{FF2B5EF4-FFF2-40B4-BE49-F238E27FC236}">
                <a16:creationId xmlns:a16="http://schemas.microsoft.com/office/drawing/2014/main" id="{47EE0FFE-7EE1-6114-9E39-52AEAF59543C}"/>
              </a:ext>
            </a:extLst>
          </p:cNvPr>
          <p:cNvPicPr>
            <a:picLocks noGrp="1" noChangeAspect="1"/>
          </p:cNvPicPr>
          <p:nvPr>
            <p:ph type="pic" sz="quarter" idx="13"/>
          </p:nvPr>
        </p:nvPicPr>
        <p:blipFill rotWithShape="1">
          <a:blip r:embed="rId6" cstate="print">
            <a:extLst>
              <a:ext uri="{28A0092B-C50C-407E-A947-70E740481C1C}">
                <a14:useLocalDpi xmlns:a14="http://schemas.microsoft.com/office/drawing/2010/main"/>
              </a:ext>
            </a:extLst>
          </a:blip>
          <a:srcRect r="-1768"/>
          <a:stretch/>
        </p:blipFill>
        <p:spPr>
          <a:xfrm>
            <a:off x="7399563" y="-10923"/>
            <a:ext cx="7123261" cy="6868924"/>
          </a:xfrm>
        </p:spPr>
      </p:pic>
      <p:sp>
        <p:nvSpPr>
          <p:cNvPr id="9" name="Title 1">
            <a:extLst>
              <a:ext uri="{FF2B5EF4-FFF2-40B4-BE49-F238E27FC236}">
                <a16:creationId xmlns:a16="http://schemas.microsoft.com/office/drawing/2014/main" id="{C59A441C-421F-0DA5-327B-97D97FBAADF1}"/>
              </a:ext>
            </a:extLst>
          </p:cNvPr>
          <p:cNvSpPr>
            <a:spLocks noGrp="1"/>
          </p:cNvSpPr>
          <p:nvPr>
            <p:ph type="title"/>
          </p:nvPr>
        </p:nvSpPr>
        <p:spPr>
          <a:xfrm>
            <a:off x="575734" y="548219"/>
            <a:ext cx="7123261" cy="1036965"/>
          </a:xfrm>
        </p:spPr>
        <p:txBody>
          <a:bodyPr vert="horz">
            <a:normAutofit/>
          </a:bodyPr>
          <a:lstStyle/>
          <a:p>
            <a:r>
              <a:t>How to level up your high protein drink/ yoghurt</a:t>
            </a:r>
            <a:br/>
            <a:r>
              <a:t>如何提升您的高蛋白饮品/酸奶</a:t>
            </a:r>
            <a:endParaRPr lang="nl-NL" sz="3200">
              <a:solidFill>
                <a:srgbClr val="1D9F97"/>
              </a:solidFill>
              <a:latin typeface="Verdana"/>
              <a:ea typeface="+mn-ea"/>
              <a:cs typeface="+mn-cs"/>
            </a:endParaRPr>
          </a:p>
        </p:txBody>
      </p:sp>
      <p:sp>
        <p:nvSpPr>
          <p:cNvPr id="10" name="Content Placeholder 2">
            <a:extLst>
              <a:ext uri="{FF2B5EF4-FFF2-40B4-BE49-F238E27FC236}">
                <a16:creationId xmlns:a16="http://schemas.microsoft.com/office/drawing/2014/main" id="{0ED823A7-7949-FE9C-68F8-2F340458F3AC}"/>
              </a:ext>
            </a:extLst>
          </p:cNvPr>
          <p:cNvSpPr>
            <a:spLocks noGrp="1"/>
          </p:cNvSpPr>
          <p:nvPr>
            <p:ph idx="1"/>
          </p:nvPr>
        </p:nvSpPr>
        <p:spPr>
          <a:xfrm>
            <a:off x="580293" y="1800282"/>
            <a:ext cx="6514471" cy="1236133"/>
          </a:xfrm>
        </p:spPr>
        <p:txBody>
          <a:bodyPr>
            <a:normAutofit/>
          </a:bodyPr>
          <a:lstStyle/>
          <a:p>
            <a:pPr marL="0" indent="0">
              <a:spcBef>
                <a:spcPts val="533"/>
              </a:spcBef>
              <a:buNone/>
            </a:pPr>
            <a:r>
              <a:t>Strong market push for high protein products</a:t>
            </a:r>
            <a:br/>
            <a:r>
              <a:t>高蛋白产品市场推动强劲</a:t>
            </a:r>
          </a:p>
          <a:p>
            <a:pPr marL="0" indent="0">
              <a:spcBef>
                <a:spcPts val="533"/>
              </a:spcBef>
              <a:buNone/>
            </a:pPr>
            <a:r>
              <a:t>High protein drinks can get more potential interest</a:t>
            </a:r>
            <a:br/>
            <a:r>
              <a:t>高蛋白饮品可获得更多潜在关注</a:t>
            </a:r>
          </a:p>
          <a:p>
            <a:pPr marL="0" indent="0">
              <a:spcBef>
                <a:spcPts val="533"/>
              </a:spcBef>
              <a:buNone/>
            </a:pPr>
            <a:r>
              <a:t>Challenges when formulating high protein drinks</a:t>
            </a:r>
            <a:br/>
            <a:r>
              <a:t>配制高蛋白饮品时的挑战</a:t>
            </a:r>
          </a:p>
        </p:txBody>
      </p:sp>
      <p:sp>
        <p:nvSpPr>
          <p:cNvPr id="2" name="Rectangle 1">
            <a:extLst>
              <a:ext uri="{FF2B5EF4-FFF2-40B4-BE49-F238E27FC236}">
                <a16:creationId xmlns:a16="http://schemas.microsoft.com/office/drawing/2014/main" id="{E3757586-5805-D852-695D-04E1692FDC28}"/>
              </a:ext>
            </a:extLst>
          </p:cNvPr>
          <p:cNvSpPr/>
          <p:nvPr/>
        </p:nvSpPr>
        <p:spPr>
          <a:xfrm>
            <a:off x="12192000" y="0"/>
            <a:ext cx="2635624" cy="8247304"/>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609585" rtl="0" eaLnBrk="1" fontAlgn="auto" latinLnBrk="0" hangingPunct="1">
              <a:lnSpc>
                <a:spcPct val="112000"/>
              </a:lnSpc>
              <a:spcBef>
                <a:spcPts val="0"/>
              </a:spcBef>
              <a:spcAft>
                <a:spcPts val="0"/>
              </a:spcAft>
              <a:buClrTx/>
              <a:buSzTx/>
              <a:buFontTx/>
              <a:buNone/>
              <a:tabLst/>
              <a:defRPr/>
            </a:pPr>
            <a:endParaRPr kumimoji="0" lang="en-NL" sz="1867" b="0" i="0" u="none" strike="noStrike" kern="1200" cap="none" spc="0" normalizeH="0" baseline="0" noProof="0">
              <a:ln>
                <a:noFill/>
              </a:ln>
              <a:solidFill>
                <a:srgbClr val="FFFFFF"/>
              </a:solidFill>
              <a:effectLst/>
              <a:uLnTx/>
              <a:uFillTx/>
              <a:latin typeface="Verdana"/>
              <a:ea typeface="+mn-ea"/>
              <a:cs typeface="+mn-cs"/>
            </a:endParaRPr>
          </a:p>
        </p:txBody>
      </p:sp>
      <p:sp>
        <p:nvSpPr>
          <p:cNvPr id="6" name="TextBox 5">
            <a:extLst>
              <a:ext uri="{FF2B5EF4-FFF2-40B4-BE49-F238E27FC236}">
                <a16:creationId xmlns:a16="http://schemas.microsoft.com/office/drawing/2014/main" id="{FD5017F6-CA69-429B-6B5F-445D9D8E5B35}"/>
              </a:ext>
            </a:extLst>
          </p:cNvPr>
          <p:cNvSpPr txBox="1"/>
          <p:nvPr/>
        </p:nvSpPr>
        <p:spPr>
          <a:xfrm>
            <a:off x="1609665" y="4453419"/>
            <a:ext cx="5214471" cy="830997"/>
          </a:xfrm>
          <a:prstGeom prst="rect">
            <a:avLst/>
          </a:prstGeom>
          <a:noFill/>
        </p:spPr>
        <p:txBody>
          <a:bodyPr wrap="square">
            <a:normAutofit/>
          </a:bodyPr>
          <a:lstStyle/>
          <a:p>
            <a:pPr marL="0" marR="0" lvl="0" indent="0" algn="l" defTabSz="609585" rtl="0" eaLnBrk="1" fontAlgn="auto" latinLnBrk="0" hangingPunct="1">
              <a:lnSpc>
                <a:spcPct val="100000"/>
              </a:lnSpc>
              <a:spcBef>
                <a:spcPts val="533"/>
              </a:spcBef>
              <a:spcAft>
                <a:spcPts val="0"/>
              </a:spcAft>
              <a:buClrTx/>
              <a:buSzTx/>
              <a:buFontTx/>
              <a:buNone/>
              <a:tabLst/>
              <a:defRPr/>
            </a:pPr>
            <a:r>
              <a:t>Delivering on superior sensory; maintaining drinkability in high protein drinks, great clean taste, no powdery and grainy mouthfeel</a:t>
            </a:r>
            <a:br/>
            <a:r>
              <a:t>提供卓越的感官体验；保持高蛋白饮品的可饮用性，口感清爽，无粉状和颗粒感</a:t>
            </a:r>
            <a:endParaRPr kumimoji="0" lang="en-US" sz="1600" b="0" i="0" u="none" strike="noStrike" kern="1200" cap="none" spc="0" normalizeH="0" baseline="0" noProof="0">
              <a:ln>
                <a:noFill/>
              </a:ln>
              <a:solidFill>
                <a:srgbClr val="3F4043"/>
              </a:solidFill>
              <a:effectLst/>
              <a:uLnTx/>
              <a:uFillTx/>
              <a:latin typeface="Verdana"/>
              <a:ea typeface="+mn-ea"/>
              <a:cs typeface="+mn-cs"/>
            </a:endParaRPr>
          </a:p>
        </p:txBody>
      </p:sp>
      <p:sp>
        <p:nvSpPr>
          <p:cNvPr id="7" name="TextBox 6">
            <a:extLst>
              <a:ext uri="{FF2B5EF4-FFF2-40B4-BE49-F238E27FC236}">
                <a16:creationId xmlns:a16="http://schemas.microsoft.com/office/drawing/2014/main" id="{3B8C906A-12EC-B3C4-8D16-750A7539B295}"/>
              </a:ext>
            </a:extLst>
          </p:cNvPr>
          <p:cNvSpPr txBox="1"/>
          <p:nvPr/>
        </p:nvSpPr>
        <p:spPr>
          <a:xfrm>
            <a:off x="1609665" y="3828699"/>
            <a:ext cx="4843929" cy="338554"/>
          </a:xfrm>
          <a:prstGeom prst="rect">
            <a:avLst/>
          </a:prstGeom>
          <a:noFill/>
        </p:spPr>
        <p:txBody>
          <a:bodyPr wrap="square">
            <a:normAutofit/>
          </a:bodyPr>
          <a:lstStyle/>
          <a:p>
            <a:pPr marL="0" marR="0" lvl="0" indent="0" algn="l" defTabSz="609585" rtl="0" eaLnBrk="1" fontAlgn="auto" latinLnBrk="0" hangingPunct="1">
              <a:lnSpc>
                <a:spcPct val="100000"/>
              </a:lnSpc>
              <a:spcBef>
                <a:spcPts val="533"/>
              </a:spcBef>
              <a:spcAft>
                <a:spcPts val="0"/>
              </a:spcAft>
              <a:buClrTx/>
              <a:buSzTx/>
              <a:buFontTx/>
              <a:buNone/>
              <a:tabLst/>
              <a:defRPr/>
            </a:pPr>
            <a:r>
              <a:t>Unlocking whey for high protein drinks</a:t>
            </a:r>
            <a:br/>
            <a:r>
              <a:t>解锁乳清用于高蛋白饮品</a:t>
            </a:r>
          </a:p>
        </p:txBody>
      </p:sp>
      <p:sp>
        <p:nvSpPr>
          <p:cNvPr id="11" name="TextBox 10">
            <a:extLst>
              <a:ext uri="{FF2B5EF4-FFF2-40B4-BE49-F238E27FC236}">
                <a16:creationId xmlns:a16="http://schemas.microsoft.com/office/drawing/2014/main" id="{A7850B73-FDAD-81BB-AD05-93DDBF3FDC5F}"/>
              </a:ext>
            </a:extLst>
          </p:cNvPr>
          <p:cNvSpPr txBox="1"/>
          <p:nvPr/>
        </p:nvSpPr>
        <p:spPr>
          <a:xfrm>
            <a:off x="1609665" y="5502373"/>
            <a:ext cx="4843929" cy="584775"/>
          </a:xfrm>
          <a:prstGeom prst="rect">
            <a:avLst/>
          </a:prstGeom>
          <a:noFill/>
        </p:spPr>
        <p:txBody>
          <a:bodyPr wrap="square">
            <a:normAutofit/>
          </a:bodyPr>
          <a:lstStyle/>
          <a:p>
            <a:pPr marL="0" marR="0" lvl="0" indent="0" algn="l" defTabSz="609585" rtl="0" eaLnBrk="1" fontAlgn="auto" latinLnBrk="0" hangingPunct="1">
              <a:lnSpc>
                <a:spcPct val="100000"/>
              </a:lnSpc>
              <a:spcBef>
                <a:spcPts val="533"/>
              </a:spcBef>
              <a:spcAft>
                <a:spcPts val="0"/>
              </a:spcAft>
              <a:buClrTx/>
              <a:buSzTx/>
              <a:buFontTx/>
              <a:buNone/>
              <a:tabLst/>
              <a:defRPr/>
            </a:pPr>
            <a:r>
              <a:t>Offering significant resistance to heat treatments at high protein concentrations</a:t>
            </a:r>
            <a:br/>
            <a:r>
              <a:t>在高蛋白浓度下提供显著的耐热性能</a:t>
            </a:r>
          </a:p>
        </p:txBody>
      </p:sp>
      <p:sp>
        <p:nvSpPr>
          <p:cNvPr id="14" name="Oval 13">
            <a:extLst>
              <a:ext uri="{FF2B5EF4-FFF2-40B4-BE49-F238E27FC236}">
                <a16:creationId xmlns:a16="http://schemas.microsoft.com/office/drawing/2014/main" id="{A209923F-4EB0-741F-479D-7F154888E961}"/>
              </a:ext>
            </a:extLst>
          </p:cNvPr>
          <p:cNvSpPr/>
          <p:nvPr/>
        </p:nvSpPr>
        <p:spPr>
          <a:xfrm>
            <a:off x="740271" y="5413541"/>
            <a:ext cx="735795" cy="735795"/>
          </a:xfrm>
          <a:prstGeom prst="ellipse">
            <a:avLst/>
          </a:prstGeom>
          <a:solidFill>
            <a:srgbClr val="6F74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609585" rtl="0" eaLnBrk="1" fontAlgn="auto" latinLnBrk="0" hangingPunct="1">
              <a:lnSpc>
                <a:spcPct val="112000"/>
              </a:lnSpc>
              <a:spcBef>
                <a:spcPts val="0"/>
              </a:spcBef>
              <a:spcAft>
                <a:spcPts val="0"/>
              </a:spcAft>
              <a:buClrTx/>
              <a:buSzTx/>
              <a:buFontTx/>
              <a:buNone/>
              <a:tabLst/>
              <a:defRPr/>
            </a:pPr>
            <a:endParaRPr kumimoji="0" lang="en-NL" sz="1867" b="0" i="0" u="none" strike="noStrike" kern="1200" cap="none" spc="0" normalizeH="0" baseline="0" noProof="0">
              <a:ln>
                <a:noFill/>
              </a:ln>
              <a:solidFill>
                <a:srgbClr val="FFFFFF"/>
              </a:solidFill>
              <a:effectLst/>
              <a:uLnTx/>
              <a:uFillTx/>
              <a:latin typeface="Verdana"/>
              <a:ea typeface="+mn-ea"/>
              <a:cs typeface="+mn-cs"/>
            </a:endParaRPr>
          </a:p>
        </p:txBody>
      </p:sp>
      <p:pic>
        <p:nvPicPr>
          <p:cNvPr id="15" name="Picture 14">
            <a:extLst>
              <a:ext uri="{FF2B5EF4-FFF2-40B4-BE49-F238E27FC236}">
                <a16:creationId xmlns:a16="http://schemas.microsoft.com/office/drawing/2014/main" id="{F0B3889B-4347-985E-E7F9-55F08CD9712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8812" y="5497051"/>
            <a:ext cx="735795" cy="613163"/>
          </a:xfrm>
          <a:prstGeom prst="rect">
            <a:avLst/>
          </a:prstGeom>
        </p:spPr>
      </p:pic>
      <p:sp>
        <p:nvSpPr>
          <p:cNvPr id="16" name="Oval 15">
            <a:extLst>
              <a:ext uri="{FF2B5EF4-FFF2-40B4-BE49-F238E27FC236}">
                <a16:creationId xmlns:a16="http://schemas.microsoft.com/office/drawing/2014/main" id="{392E263D-48D6-C9DE-91B0-A5563F95C77B}"/>
              </a:ext>
            </a:extLst>
          </p:cNvPr>
          <p:cNvSpPr/>
          <p:nvPr/>
        </p:nvSpPr>
        <p:spPr>
          <a:xfrm>
            <a:off x="740271" y="4510477"/>
            <a:ext cx="735795" cy="735795"/>
          </a:xfrm>
          <a:prstGeom prst="ellipse">
            <a:avLst/>
          </a:prstGeom>
          <a:solidFill>
            <a:srgbClr val="6F74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609585" rtl="0" eaLnBrk="1" fontAlgn="auto" latinLnBrk="0" hangingPunct="1">
              <a:lnSpc>
                <a:spcPct val="112000"/>
              </a:lnSpc>
              <a:spcBef>
                <a:spcPts val="0"/>
              </a:spcBef>
              <a:spcAft>
                <a:spcPts val="0"/>
              </a:spcAft>
              <a:buClrTx/>
              <a:buSzTx/>
              <a:buFontTx/>
              <a:buNone/>
              <a:tabLst/>
              <a:defRPr/>
            </a:pPr>
            <a:endParaRPr kumimoji="0" lang="en-NL" sz="1867" b="0" i="0" u="none" strike="noStrike" kern="1200" cap="none" spc="0" normalizeH="0" baseline="0" noProof="0">
              <a:ln>
                <a:noFill/>
              </a:ln>
              <a:solidFill>
                <a:srgbClr val="FFFFFF"/>
              </a:solidFill>
              <a:effectLst/>
              <a:uLnTx/>
              <a:uFillTx/>
              <a:latin typeface="Verdana"/>
              <a:ea typeface="+mn-ea"/>
              <a:cs typeface="+mn-cs"/>
            </a:endParaRPr>
          </a:p>
        </p:txBody>
      </p:sp>
      <p:sp>
        <p:nvSpPr>
          <p:cNvPr id="17" name="Oval 16">
            <a:extLst>
              <a:ext uri="{FF2B5EF4-FFF2-40B4-BE49-F238E27FC236}">
                <a16:creationId xmlns:a16="http://schemas.microsoft.com/office/drawing/2014/main" id="{E7C7DB5E-EAB5-7EEA-C104-B0A9DAD02880}"/>
              </a:ext>
            </a:extLst>
          </p:cNvPr>
          <p:cNvSpPr/>
          <p:nvPr/>
        </p:nvSpPr>
        <p:spPr>
          <a:xfrm>
            <a:off x="740271" y="3645468"/>
            <a:ext cx="735795" cy="735795"/>
          </a:xfrm>
          <a:prstGeom prst="ellipse">
            <a:avLst/>
          </a:prstGeom>
          <a:solidFill>
            <a:srgbClr val="6F74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609585" rtl="0" eaLnBrk="1" fontAlgn="auto" latinLnBrk="0" hangingPunct="1">
              <a:lnSpc>
                <a:spcPct val="112000"/>
              </a:lnSpc>
              <a:spcBef>
                <a:spcPts val="0"/>
              </a:spcBef>
              <a:spcAft>
                <a:spcPts val="0"/>
              </a:spcAft>
              <a:buClrTx/>
              <a:buSzTx/>
              <a:buFontTx/>
              <a:buNone/>
              <a:tabLst/>
              <a:defRPr/>
            </a:pPr>
            <a:endParaRPr kumimoji="0" lang="en-NL" sz="1867" b="0" i="0" u="none" strike="noStrike" kern="1200" cap="none" spc="0" normalizeH="0" baseline="0" noProof="0">
              <a:ln>
                <a:noFill/>
              </a:ln>
              <a:solidFill>
                <a:srgbClr val="FFFFFF"/>
              </a:solidFill>
              <a:effectLst/>
              <a:uLnTx/>
              <a:uFillTx/>
              <a:latin typeface="Verdana"/>
              <a:ea typeface="+mn-ea"/>
              <a:cs typeface="+mn-cs"/>
            </a:endParaRPr>
          </a:p>
        </p:txBody>
      </p:sp>
      <p:pic>
        <p:nvPicPr>
          <p:cNvPr id="19" name="Picture 18">
            <a:extLst>
              <a:ext uri="{FF2B5EF4-FFF2-40B4-BE49-F238E27FC236}">
                <a16:creationId xmlns:a16="http://schemas.microsoft.com/office/drawing/2014/main" id="{F2BA4364-68D9-EE09-D2DD-40FACFD4F68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55481" y="4622183"/>
            <a:ext cx="691811" cy="576509"/>
          </a:xfrm>
          <a:prstGeom prst="rect">
            <a:avLst/>
          </a:prstGeom>
        </p:spPr>
      </p:pic>
      <p:pic>
        <p:nvPicPr>
          <p:cNvPr id="21" name="Picture 20">
            <a:extLst>
              <a:ext uri="{FF2B5EF4-FFF2-40B4-BE49-F238E27FC236}">
                <a16:creationId xmlns:a16="http://schemas.microsoft.com/office/drawing/2014/main" id="{654E631E-4514-FFB0-89E2-720AF6DFF7C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45587" y="3737505"/>
            <a:ext cx="711600" cy="593000"/>
          </a:xfrm>
          <a:prstGeom prst="rect">
            <a:avLst/>
          </a:prstGeom>
        </p:spPr>
      </p:pic>
    </p:spTree>
    <p:extLst>
      <p:ext uri="{BB962C8B-B14F-4D97-AF65-F5344CB8AC3E}">
        <p14:creationId xmlns:p14="http://schemas.microsoft.com/office/powerpoint/2010/main" val="2281895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F36827DC-E84D-0E70-481A-E110EAA96E11}"/>
              </a:ext>
            </a:extLst>
          </p:cNvPr>
          <p:cNvSpPr/>
          <p:nvPr/>
        </p:nvSpPr>
        <p:spPr>
          <a:xfrm>
            <a:off x="-935347" y="4649359"/>
            <a:ext cx="7230533" cy="1753587"/>
          </a:xfrm>
          <a:prstGeom prst="roundRect">
            <a:avLst>
              <a:gd name="adj" fmla="val 9705"/>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609585" rtl="0" eaLnBrk="1" fontAlgn="auto" latinLnBrk="0" hangingPunct="1">
              <a:lnSpc>
                <a:spcPct val="112000"/>
              </a:lnSpc>
              <a:spcBef>
                <a:spcPts val="0"/>
              </a:spcBef>
              <a:spcAft>
                <a:spcPts val="0"/>
              </a:spcAft>
              <a:buClrTx/>
              <a:buSzTx/>
              <a:buFontTx/>
              <a:buNone/>
              <a:tabLst/>
              <a:defRPr/>
            </a:pPr>
            <a:endParaRPr kumimoji="0" lang="nl-NL" sz="1867" b="0" i="0" u="none" strike="noStrike" kern="1200" cap="none" spc="0" normalizeH="0" baseline="0" noProof="0">
              <a:ln>
                <a:noFill/>
              </a:ln>
              <a:solidFill>
                <a:srgbClr val="FFFFFF"/>
              </a:solidFill>
              <a:effectLst/>
              <a:uLnTx/>
              <a:uFillTx/>
              <a:latin typeface="Verdana"/>
              <a:ea typeface="+mn-ea"/>
              <a:cs typeface="+mn-cs"/>
            </a:endParaRPr>
          </a:p>
        </p:txBody>
      </p:sp>
      <p:sp>
        <p:nvSpPr>
          <p:cNvPr id="6" name="Rectangle: Rounded Corners 5">
            <a:extLst>
              <a:ext uri="{FF2B5EF4-FFF2-40B4-BE49-F238E27FC236}">
                <a16:creationId xmlns:a16="http://schemas.microsoft.com/office/drawing/2014/main" id="{342E1DC5-6E22-0AF8-0FE3-29E235DDC94B}"/>
              </a:ext>
            </a:extLst>
          </p:cNvPr>
          <p:cNvSpPr/>
          <p:nvPr/>
        </p:nvSpPr>
        <p:spPr>
          <a:xfrm>
            <a:off x="-935347" y="1496439"/>
            <a:ext cx="7230533" cy="3100356"/>
          </a:xfrm>
          <a:prstGeom prst="roundRect">
            <a:avLst>
              <a:gd name="adj" fmla="val 9705"/>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609585" rtl="0" eaLnBrk="1" fontAlgn="auto" latinLnBrk="0" hangingPunct="1">
              <a:lnSpc>
                <a:spcPct val="112000"/>
              </a:lnSpc>
              <a:spcBef>
                <a:spcPts val="0"/>
              </a:spcBef>
              <a:spcAft>
                <a:spcPts val="0"/>
              </a:spcAft>
              <a:buClrTx/>
              <a:buSzTx/>
              <a:buFontTx/>
              <a:buNone/>
              <a:tabLst/>
              <a:defRPr/>
            </a:pPr>
            <a:endParaRPr kumimoji="0" lang="nl-NL" sz="1867" b="0" i="0" u="none" strike="noStrike" kern="1200" cap="none" spc="0" normalizeH="0" baseline="0" noProof="0">
              <a:ln>
                <a:noFill/>
              </a:ln>
              <a:solidFill>
                <a:srgbClr val="FFFFFF"/>
              </a:solidFill>
              <a:effectLst/>
              <a:uLnTx/>
              <a:uFillTx/>
              <a:latin typeface="Verdana"/>
              <a:ea typeface="+mn-ea"/>
              <a:cs typeface="+mn-cs"/>
            </a:endParaRPr>
          </a:p>
        </p:txBody>
      </p:sp>
      <p:sp>
        <p:nvSpPr>
          <p:cNvPr id="2" name="Title 1">
            <a:extLst>
              <a:ext uri="{FF2B5EF4-FFF2-40B4-BE49-F238E27FC236}">
                <a16:creationId xmlns:a16="http://schemas.microsoft.com/office/drawing/2014/main" id="{8284913A-272A-74D4-FE68-2E897DB2D0F8}"/>
              </a:ext>
            </a:extLst>
          </p:cNvPr>
          <p:cNvSpPr>
            <a:spLocks noGrp="1"/>
          </p:cNvSpPr>
          <p:nvPr>
            <p:ph type="title"/>
          </p:nvPr>
        </p:nvSpPr>
        <p:spPr>
          <a:xfrm>
            <a:off x="572567" y="548218"/>
            <a:ext cx="11040532" cy="1036965"/>
          </a:xfrm>
        </p:spPr>
        <p:txBody>
          <a:bodyPr>
            <a:normAutofit/>
          </a:bodyPr>
          <a:lstStyle/>
          <a:p>
            <a:r>
              <a:t>GOS offers improved sensory experience</a:t>
            </a:r>
            <a:br/>
            <a:r>
              <a:t>GOS 提供了改进的感官体验</a:t>
            </a:r>
          </a:p>
        </p:txBody>
      </p:sp>
      <p:sp>
        <p:nvSpPr>
          <p:cNvPr id="3" name="TextBox 2">
            <a:extLst>
              <a:ext uri="{FF2B5EF4-FFF2-40B4-BE49-F238E27FC236}">
                <a16:creationId xmlns:a16="http://schemas.microsoft.com/office/drawing/2014/main" id="{9EB1F357-AFA6-1C52-DC31-EBF1751ECC43}"/>
              </a:ext>
            </a:extLst>
          </p:cNvPr>
          <p:cNvSpPr txBox="1"/>
          <p:nvPr/>
        </p:nvSpPr>
        <p:spPr>
          <a:xfrm>
            <a:off x="513301" y="1844563"/>
            <a:ext cx="6530967" cy="2596993"/>
          </a:xfrm>
          <a:prstGeom prst="rect">
            <a:avLst/>
          </a:prstGeom>
          <a:noFill/>
        </p:spPr>
        <p:txBody>
          <a:bodyPr wrap="square">
            <a:normAutofit/>
          </a:bodyPr>
          <a:lstStyle/>
          <a:p>
            <a:pPr marL="0" marR="0" lvl="0" indent="0" algn="l" defTabSz="609585" rtl="0" eaLnBrk="1" fontAlgn="auto" latinLnBrk="0" hangingPunct="1">
              <a:lnSpc>
                <a:spcPct val="112000"/>
              </a:lnSpc>
              <a:spcBef>
                <a:spcPts val="0"/>
              </a:spcBef>
              <a:spcAft>
                <a:spcPts val="0"/>
              </a:spcAft>
              <a:buClrTx/>
              <a:buSzTx/>
              <a:buFontTx/>
              <a:buNone/>
              <a:tabLst/>
              <a:defRPr/>
            </a:pPr>
            <a:r>
              <a:t>GOS sensory benefits:</a:t>
            </a:r>
            <a:br/>
            <a:r>
              <a:t>GOS 的感官优势：</a:t>
            </a:r>
          </a:p>
          <a:p>
            <a:pPr marL="0" marR="0" lvl="0" indent="0" algn="l" defTabSz="609585" rtl="0" eaLnBrk="1" fontAlgn="auto" latinLnBrk="0" hangingPunct="1">
              <a:lnSpc>
                <a:spcPct val="112000"/>
              </a:lnSpc>
              <a:spcBef>
                <a:spcPts val="0"/>
              </a:spcBef>
              <a:spcAft>
                <a:spcPts val="0"/>
              </a:spcAft>
              <a:buClrTx/>
              <a:buSzTx/>
              <a:buFontTx/>
              <a:buNone/>
              <a:tabLst/>
              <a:defRPr/>
            </a:pPr>
            <a:endParaRPr kumimoji="0" lang="en-US" sz="1467" b="0" i="0" u="none" strike="noStrike" kern="1200" cap="none" spc="0" normalizeH="0" baseline="0" noProof="0">
              <a:ln>
                <a:noFill/>
              </a:ln>
              <a:solidFill>
                <a:srgbClr val="3F4043"/>
              </a:solidFill>
              <a:effectLst/>
              <a:uLnTx/>
              <a:uFillTx/>
              <a:latin typeface="Verdana"/>
              <a:ea typeface="+mn-ea"/>
              <a:cs typeface="+mn-cs"/>
            </a:endParaRPr>
          </a:p>
          <a:p>
            <a:pPr marL="228594" marR="0" lvl="0" indent="-228594" algn="l" defTabSz="609585" rtl="0" eaLnBrk="1" fontAlgn="auto" latinLnBrk="0" hangingPunct="1">
              <a:lnSpc>
                <a:spcPct val="112000"/>
              </a:lnSpc>
              <a:spcBef>
                <a:spcPts val="0"/>
              </a:spcBef>
              <a:spcAft>
                <a:spcPts val="0"/>
              </a:spcAft>
              <a:buClrTx/>
              <a:buSzTx/>
              <a:buFont typeface="Arial" panose="020B0604020202020204" pitchFamily="34" charset="0"/>
              <a:buChar char="•"/>
              <a:tabLst/>
              <a:defRPr/>
            </a:pPr>
            <a:r>
              <a:t>High compatibility with dairy taste</a:t>
            </a:r>
            <a:br/>
            <a:r>
              <a:t>与乳制品口味高度兼容</a:t>
            </a:r>
          </a:p>
          <a:p>
            <a:pPr marL="228594" marR="0" lvl="0" indent="-228594" algn="l" defTabSz="609585" rtl="0" eaLnBrk="1" fontAlgn="auto" latinLnBrk="0" hangingPunct="1">
              <a:lnSpc>
                <a:spcPct val="112000"/>
              </a:lnSpc>
              <a:spcBef>
                <a:spcPts val="0"/>
              </a:spcBef>
              <a:spcAft>
                <a:spcPts val="0"/>
              </a:spcAft>
              <a:buClrTx/>
              <a:buSzTx/>
              <a:buFont typeface="Arial" panose="020B0604020202020204" pitchFamily="34" charset="0"/>
              <a:buChar char="•"/>
              <a:tabLst/>
              <a:defRPr/>
            </a:pPr>
            <a:endParaRPr kumimoji="0" lang="en-US" sz="1467" b="0" i="0" u="none" strike="noStrike" kern="1200" cap="none" spc="0" normalizeH="0" baseline="0" noProof="0">
              <a:ln>
                <a:noFill/>
              </a:ln>
              <a:solidFill>
                <a:srgbClr val="3F4043"/>
              </a:solidFill>
              <a:effectLst/>
              <a:uLnTx/>
              <a:uFillTx/>
              <a:latin typeface="Verdana"/>
              <a:ea typeface="+mn-ea"/>
              <a:cs typeface="+mn-cs"/>
            </a:endParaRPr>
          </a:p>
          <a:p>
            <a:pPr marL="228594" marR="0" lvl="0" indent="-228594" algn="l" defTabSz="609585" rtl="0" eaLnBrk="1" fontAlgn="auto" latinLnBrk="0" hangingPunct="1">
              <a:lnSpc>
                <a:spcPct val="112000"/>
              </a:lnSpc>
              <a:spcBef>
                <a:spcPts val="0"/>
              </a:spcBef>
              <a:spcAft>
                <a:spcPts val="0"/>
              </a:spcAft>
              <a:buClrTx/>
              <a:buSzTx/>
              <a:buFont typeface="Arial" panose="020B0604020202020204" pitchFamily="34" charset="0"/>
              <a:buChar char="•"/>
              <a:tabLst/>
              <a:defRPr/>
            </a:pPr>
            <a:r>
              <a:t>Improved creamy and sweet taste</a:t>
            </a:r>
            <a:br/>
            <a:r>
              <a:t>改善了奶油味和甜味</a:t>
            </a:r>
          </a:p>
          <a:p>
            <a:pPr marL="228594" marR="0" lvl="0" indent="-228594" algn="l" defTabSz="609585" rtl="0" eaLnBrk="1" fontAlgn="auto" latinLnBrk="0" hangingPunct="1">
              <a:lnSpc>
                <a:spcPct val="112000"/>
              </a:lnSpc>
              <a:spcBef>
                <a:spcPts val="0"/>
              </a:spcBef>
              <a:spcAft>
                <a:spcPts val="0"/>
              </a:spcAft>
              <a:buClrTx/>
              <a:buSzTx/>
              <a:buFont typeface="Arial" panose="020B0604020202020204" pitchFamily="34" charset="0"/>
              <a:buChar char="•"/>
              <a:tabLst/>
              <a:defRPr/>
            </a:pPr>
            <a:endParaRPr kumimoji="0" lang="en-US" sz="1467" b="0" i="0" u="none" strike="noStrike" kern="1200" cap="none" spc="0" normalizeH="0" baseline="0" noProof="0">
              <a:ln>
                <a:noFill/>
              </a:ln>
              <a:solidFill>
                <a:srgbClr val="3F4043"/>
              </a:solidFill>
              <a:effectLst/>
              <a:uLnTx/>
              <a:uFillTx/>
              <a:latin typeface="Verdana"/>
              <a:ea typeface="+mn-ea"/>
              <a:cs typeface="+mn-cs"/>
            </a:endParaRPr>
          </a:p>
          <a:p>
            <a:pPr marL="228594" marR="0" lvl="0" indent="-228594" algn="l" defTabSz="609585" rtl="0" eaLnBrk="1" fontAlgn="auto" latinLnBrk="0" hangingPunct="1">
              <a:lnSpc>
                <a:spcPct val="112000"/>
              </a:lnSpc>
              <a:spcBef>
                <a:spcPts val="0"/>
              </a:spcBef>
              <a:spcAft>
                <a:spcPts val="0"/>
              </a:spcAft>
              <a:buClrTx/>
              <a:buSzTx/>
              <a:buFont typeface="Arial" panose="020B0604020202020204" pitchFamily="34" charset="0"/>
              <a:buChar char="•"/>
              <a:tabLst/>
              <a:defRPr/>
            </a:pPr>
            <a:r>
              <a:t>Warm mouthfeel, low sandiness, less chalky</a:t>
            </a:r>
            <a:br/>
            <a:r>
              <a:t>温暖的口感，低砂感，较少的粉质感</a:t>
            </a:r>
          </a:p>
          <a:p>
            <a:pPr marL="228594" marR="0" lvl="0" indent="-228594" algn="l" defTabSz="609585" rtl="0" eaLnBrk="1" fontAlgn="auto" latinLnBrk="0" hangingPunct="1">
              <a:lnSpc>
                <a:spcPct val="112000"/>
              </a:lnSpc>
              <a:spcBef>
                <a:spcPts val="0"/>
              </a:spcBef>
              <a:spcAft>
                <a:spcPts val="0"/>
              </a:spcAft>
              <a:buClrTx/>
              <a:buSzTx/>
              <a:buFont typeface="Arial" panose="020B0604020202020204" pitchFamily="34" charset="0"/>
              <a:buChar char="•"/>
              <a:tabLst/>
              <a:defRPr/>
            </a:pPr>
            <a:endParaRPr kumimoji="0" lang="en-US" sz="1467" b="0" i="0" u="none" strike="noStrike" kern="1200" cap="none" spc="0" normalizeH="0" baseline="0" noProof="0">
              <a:ln>
                <a:noFill/>
              </a:ln>
              <a:solidFill>
                <a:srgbClr val="3F4043"/>
              </a:solidFill>
              <a:effectLst/>
              <a:uLnTx/>
              <a:uFillTx/>
              <a:latin typeface="Verdana"/>
              <a:ea typeface="+mn-ea"/>
              <a:cs typeface="+mn-cs"/>
            </a:endParaRPr>
          </a:p>
          <a:p>
            <a:pPr marL="228594" marR="0" lvl="0" indent="-228594" algn="l" defTabSz="609585" rtl="0" eaLnBrk="1" fontAlgn="auto" latinLnBrk="0" hangingPunct="1">
              <a:lnSpc>
                <a:spcPct val="112000"/>
              </a:lnSpc>
              <a:spcBef>
                <a:spcPts val="0"/>
              </a:spcBef>
              <a:spcAft>
                <a:spcPts val="0"/>
              </a:spcAft>
              <a:buClrTx/>
              <a:buSzTx/>
              <a:buFont typeface="Arial" panose="020B0604020202020204" pitchFamily="34" charset="0"/>
              <a:buChar char="•"/>
              <a:tabLst/>
              <a:defRPr/>
            </a:pPr>
            <a:r>
              <a:t>Low impact on thickness and viscosity of yoghurt</a:t>
            </a:r>
            <a:br/>
            <a:r>
              <a:t>对酸奶的厚度和粘度影响较小</a:t>
            </a:r>
          </a:p>
          <a:p>
            <a:pPr marL="228594" marR="0" lvl="0" indent="-228594" algn="l" defTabSz="609585" rtl="0" eaLnBrk="1" fontAlgn="auto" latinLnBrk="0" hangingPunct="1">
              <a:lnSpc>
                <a:spcPct val="112000"/>
              </a:lnSpc>
              <a:spcBef>
                <a:spcPts val="0"/>
              </a:spcBef>
              <a:spcAft>
                <a:spcPts val="0"/>
              </a:spcAft>
              <a:buClrTx/>
              <a:buSzTx/>
              <a:buFont typeface="Arial" panose="020B0604020202020204" pitchFamily="34" charset="0"/>
              <a:buChar char="•"/>
              <a:tabLst/>
              <a:defRPr/>
            </a:pPr>
            <a:endParaRPr kumimoji="0" lang="en-US" sz="1467" b="0" i="0" u="none" strike="noStrike" kern="1200" cap="none" spc="0" normalizeH="0" baseline="0" noProof="0">
              <a:ln>
                <a:noFill/>
              </a:ln>
              <a:solidFill>
                <a:srgbClr val="3F4043"/>
              </a:solidFill>
              <a:effectLst/>
              <a:uLnTx/>
              <a:uFillTx/>
              <a:latin typeface="Verdana"/>
              <a:ea typeface="+mn-ea"/>
              <a:cs typeface="+mn-cs"/>
            </a:endParaRPr>
          </a:p>
        </p:txBody>
      </p:sp>
      <p:pic>
        <p:nvPicPr>
          <p:cNvPr id="4" name="Picture 4">
            <a:extLst>
              <a:ext uri="{FF2B5EF4-FFF2-40B4-BE49-F238E27FC236}">
                <a16:creationId xmlns:a16="http://schemas.microsoft.com/office/drawing/2014/main" id="{A83EA0A9-FCD3-324E-8093-EBD6D345617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940" t="10015" r="4418" b="232"/>
          <a:stretch/>
        </p:blipFill>
        <p:spPr bwMode="auto">
          <a:xfrm>
            <a:off x="6700573" y="1647025"/>
            <a:ext cx="5072315" cy="3916313"/>
          </a:xfrm>
          <a:prstGeom prst="rect">
            <a:avLst/>
          </a:prstGeom>
          <a:solidFill>
            <a:srgbClr val="FFFFFF"/>
          </a:solidFill>
        </p:spPr>
      </p:pic>
      <p:sp>
        <p:nvSpPr>
          <p:cNvPr id="8" name="Rectangle 1">
            <a:extLst>
              <a:ext uri="{FF2B5EF4-FFF2-40B4-BE49-F238E27FC236}">
                <a16:creationId xmlns:a16="http://schemas.microsoft.com/office/drawing/2014/main" id="{6EA3A51D-E102-D28F-4B69-2CBBAACDE75E}"/>
              </a:ext>
            </a:extLst>
          </p:cNvPr>
          <p:cNvSpPr>
            <a:spLocks noChangeArrowheads="1"/>
          </p:cNvSpPr>
          <p:nvPr/>
        </p:nvSpPr>
        <p:spPr bwMode="auto">
          <a:xfrm>
            <a:off x="3448051" y="1262448"/>
            <a:ext cx="12192000"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20" tIns="60960" rIns="121920" bIns="60960" numCol="1" anchor="ctr" anchorCtr="0" compatLnSpc="1">
            <a:prstTxWarp prst="textNoShape">
              <a:avLst/>
            </a:prstTxWarp>
            <a:norm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170" rtl="0" eaLnBrk="0" fontAlgn="base" latinLnBrk="0" hangingPunct="0">
              <a:lnSpc>
                <a:spcPct val="100000"/>
              </a:lnSpc>
              <a:spcBef>
                <a:spcPct val="0"/>
              </a:spcBef>
              <a:spcAft>
                <a:spcPct val="0"/>
              </a:spcAft>
              <a:buClrTx/>
              <a:buSzTx/>
              <a:buFontTx/>
              <a:buNone/>
              <a:tabLst/>
              <a:defRPr/>
            </a:pPr>
            <a:r>
              <a:rPr kumimoji="0" lang="nl-NL" altLang="nl-NL" sz="24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 </a:t>
            </a:r>
            <a:endParaRPr kumimoji="0" lang="nl-NL" altLang="nl-NL" sz="2400" b="0" i="0" u="none" strike="noStrike" kern="1200" cap="none" spc="0" normalizeH="0" baseline="0" noProof="0">
              <a:ln>
                <a:noFill/>
              </a:ln>
              <a:solidFill>
                <a:srgbClr val="3F4043"/>
              </a:solidFill>
              <a:effectLst/>
              <a:uLnTx/>
              <a:uFillTx/>
              <a:latin typeface="Arial" panose="020B0604020202020204" pitchFamily="34" charset="0"/>
              <a:ea typeface="+mn-ea"/>
              <a:cs typeface="+mn-cs"/>
            </a:endParaRPr>
          </a:p>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nl-NL" altLang="nl-NL" sz="2400" b="0" i="0" u="none" strike="noStrike" kern="1200" cap="none" spc="0" normalizeH="0" baseline="0" noProof="0">
              <a:ln>
                <a:noFill/>
              </a:ln>
              <a:solidFill>
                <a:srgbClr val="3F4043"/>
              </a:solidFill>
              <a:effectLst/>
              <a:uLnTx/>
              <a:uFillTx/>
              <a:latin typeface="Arial" panose="020B0604020202020204" pitchFamily="34" charset="0"/>
              <a:ea typeface="+mn-ea"/>
              <a:cs typeface="+mn-cs"/>
            </a:endParaRPr>
          </a:p>
        </p:txBody>
      </p:sp>
      <p:sp>
        <p:nvSpPr>
          <p:cNvPr id="15" name="TextBox 14">
            <a:extLst>
              <a:ext uri="{FF2B5EF4-FFF2-40B4-BE49-F238E27FC236}">
                <a16:creationId xmlns:a16="http://schemas.microsoft.com/office/drawing/2014/main" id="{5FBF6E6F-1CB6-E133-8275-162C038AB58B}"/>
              </a:ext>
            </a:extLst>
          </p:cNvPr>
          <p:cNvSpPr txBox="1"/>
          <p:nvPr/>
        </p:nvSpPr>
        <p:spPr>
          <a:xfrm>
            <a:off x="199187" y="4873668"/>
            <a:ext cx="6096000" cy="1332544"/>
          </a:xfrm>
          <a:prstGeom prst="rect">
            <a:avLst/>
          </a:prstGeom>
          <a:noFill/>
        </p:spPr>
        <p:txBody>
          <a:bodyPr wrap="square">
            <a:normAutofit/>
          </a:bodyPr>
          <a:lstStyle/>
          <a:p>
            <a:pPr marL="359824" marR="0" lvl="0" indent="-122764" algn="l" defTabSz="609585" rtl="0" eaLnBrk="1" fontAlgn="auto" latinLnBrk="0" hangingPunct="1">
              <a:lnSpc>
                <a:spcPct val="112000"/>
              </a:lnSpc>
              <a:spcBef>
                <a:spcPts val="0"/>
              </a:spcBef>
              <a:spcAft>
                <a:spcPts val="0"/>
              </a:spcAft>
              <a:buClrTx/>
              <a:buSzTx/>
              <a:buFontTx/>
              <a:buNone/>
              <a:tabLst/>
              <a:defRPr/>
            </a:pPr>
            <a:r>
              <a:t>Compared to other commonly used prebiotics</a:t>
            </a:r>
            <a:br/>
            <a:r>
              <a:t>与其他常用的益生元相比</a:t>
            </a:r>
          </a:p>
          <a:p>
            <a:pPr marL="838179" marR="0" lvl="1" indent="-228594" algn="l" defTabSz="609585" rtl="0" eaLnBrk="1" fontAlgn="auto" latinLnBrk="0" hangingPunct="1">
              <a:lnSpc>
                <a:spcPct val="112000"/>
              </a:lnSpc>
              <a:spcBef>
                <a:spcPts val="0"/>
              </a:spcBef>
              <a:spcAft>
                <a:spcPts val="0"/>
              </a:spcAft>
              <a:buClrTx/>
              <a:buSzTx/>
              <a:buFont typeface="Arial" panose="020B0604020202020204" pitchFamily="34" charset="0"/>
              <a:buChar char="•"/>
              <a:tabLst/>
              <a:defRPr/>
            </a:pPr>
            <a:r>
              <a:t>improved creamy taste</a:t>
            </a:r>
            <a:br/>
            <a:r>
              <a:t>改善了奶油味</a:t>
            </a:r>
          </a:p>
          <a:p>
            <a:pPr marL="838179" marR="0" lvl="1" indent="-228594" algn="l" defTabSz="609585" rtl="0" eaLnBrk="1" fontAlgn="auto" latinLnBrk="0" hangingPunct="1">
              <a:lnSpc>
                <a:spcPct val="112000"/>
              </a:lnSpc>
              <a:spcBef>
                <a:spcPts val="0"/>
              </a:spcBef>
              <a:spcAft>
                <a:spcPts val="0"/>
              </a:spcAft>
              <a:buClrTx/>
              <a:buSzTx/>
              <a:buFont typeface="Arial" panose="020B0604020202020204" pitchFamily="34" charset="0"/>
              <a:buChar char="•"/>
              <a:tabLst/>
              <a:defRPr/>
            </a:pPr>
            <a:r>
              <a:t>more sweet taste</a:t>
            </a:r>
            <a:br/>
            <a:r>
              <a:t>更甜的口感</a:t>
            </a:r>
          </a:p>
          <a:p>
            <a:pPr marL="838179" marR="0" lvl="1" indent="-228594" algn="l" defTabSz="609585" rtl="0" eaLnBrk="1" fontAlgn="auto" latinLnBrk="0" hangingPunct="1">
              <a:lnSpc>
                <a:spcPct val="112000"/>
              </a:lnSpc>
              <a:spcBef>
                <a:spcPts val="0"/>
              </a:spcBef>
              <a:spcAft>
                <a:spcPts val="0"/>
              </a:spcAft>
              <a:buClrTx/>
              <a:buSzTx/>
              <a:buFont typeface="Arial" panose="020B0604020202020204" pitchFamily="34" charset="0"/>
              <a:buChar char="•"/>
              <a:tabLst/>
              <a:defRPr/>
            </a:pPr>
            <a:r>
              <a:t>improved mouthfeel with least sandiness and least impact on thickness</a:t>
            </a:r>
            <a:br/>
            <a:r>
              <a:t>改善了口感，砂感最少且对厚度的影响最小</a:t>
            </a:r>
          </a:p>
        </p:txBody>
      </p:sp>
      <p:pic>
        <p:nvPicPr>
          <p:cNvPr id="16" name="Graphic 15" descr="Exclamation mark with solid fill">
            <a:extLst>
              <a:ext uri="{FF2B5EF4-FFF2-40B4-BE49-F238E27FC236}">
                <a16:creationId xmlns:a16="http://schemas.microsoft.com/office/drawing/2014/main" id="{669AD48A-72BE-6E84-EBC2-CE1DD044782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 y="5147995"/>
            <a:ext cx="794039" cy="794039"/>
          </a:xfrm>
          <a:prstGeom prst="rect">
            <a:avLst/>
          </a:prstGeom>
        </p:spPr>
      </p:pic>
      <p:sp>
        <p:nvSpPr>
          <p:cNvPr id="17" name="TextBox 16">
            <a:extLst>
              <a:ext uri="{FF2B5EF4-FFF2-40B4-BE49-F238E27FC236}">
                <a16:creationId xmlns:a16="http://schemas.microsoft.com/office/drawing/2014/main" id="{8736B31E-0F55-CBE5-F415-0BE75D7AD63F}"/>
              </a:ext>
            </a:extLst>
          </p:cNvPr>
          <p:cNvSpPr txBox="1"/>
          <p:nvPr/>
        </p:nvSpPr>
        <p:spPr>
          <a:xfrm>
            <a:off x="180451" y="6677273"/>
            <a:ext cx="3598333" cy="124714"/>
          </a:xfrm>
          <a:prstGeom prst="rect">
            <a:avLst/>
          </a:prstGeom>
          <a:noFill/>
        </p:spPr>
        <p:txBody>
          <a:bodyPr wrap="square" lIns="0" tIns="0" rIns="0" bIns="0" rtlCol="0">
            <a:normAutofit/>
          </a:bodyPr>
          <a:lstStyle/>
          <a:p>
            <a:pPr marL="0" marR="0" lvl="0" indent="0" algn="l" defTabSz="609585" rtl="0" eaLnBrk="1" fontAlgn="auto" latinLnBrk="0" hangingPunct="1">
              <a:lnSpc>
                <a:spcPct val="112000"/>
              </a:lnSpc>
              <a:spcBef>
                <a:spcPts val="0"/>
              </a:spcBef>
              <a:spcAft>
                <a:spcPts val="0"/>
              </a:spcAft>
              <a:buClrTx/>
              <a:buSzTx/>
              <a:buFontTx/>
              <a:buNone/>
              <a:tabLst/>
              <a:defRPr/>
            </a:pPr>
            <a:r>
              <a:t>Source: FCI Internal Research data</a:t>
            </a:r>
            <a:br/>
            <a:r>
              <a:t>来源：FCI 内部研究数据</a:t>
            </a:r>
            <a:endParaRPr kumimoji="0" lang="nl-NL" sz="800" b="0" i="0" u="none" strike="noStrike" kern="1200" cap="none" spc="0" normalizeH="0" baseline="0" noProof="0">
              <a:ln>
                <a:noFill/>
              </a:ln>
              <a:solidFill>
                <a:srgbClr val="3F4043"/>
              </a:solidFill>
              <a:effectLst/>
              <a:uLnTx/>
              <a:uFillTx/>
              <a:latin typeface="Verdana"/>
              <a:ea typeface="+mn-ea"/>
              <a:cs typeface="+mn-cs"/>
            </a:endParaRPr>
          </a:p>
        </p:txBody>
      </p:sp>
    </p:spTree>
    <p:extLst>
      <p:ext uri="{BB962C8B-B14F-4D97-AF65-F5344CB8AC3E}">
        <p14:creationId xmlns:p14="http://schemas.microsoft.com/office/powerpoint/2010/main" val="167379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D19206C8-FCCA-2A1E-A49B-A883EBC9DD5A}"/>
              </a:ext>
            </a:extLst>
          </p:cNvPr>
          <p:cNvPicPr>
            <a:picLocks noGrp="1" noChangeAspect="1"/>
          </p:cNvPicPr>
          <p:nvPr>
            <p:ph type="pic" sz="quarter" idx="13"/>
          </p:nvPr>
        </p:nvPicPr>
        <p:blipFill>
          <a:blip r:embed="rId2" cstate="screen">
            <a:extLst>
              <a:ext uri="{28A0092B-C50C-407E-A947-70E740481C1C}">
                <a14:useLocalDpi xmlns:a14="http://schemas.microsoft.com/office/drawing/2010/main"/>
              </a:ext>
            </a:extLst>
          </a:blip>
          <a:srcRect/>
          <a:stretch>
            <a:fillRect/>
          </a:stretch>
        </p:blipFill>
        <p:spPr/>
      </p:pic>
      <p:sp>
        <p:nvSpPr>
          <p:cNvPr id="6" name="Text Placeholder 5">
            <a:extLst>
              <a:ext uri="{FF2B5EF4-FFF2-40B4-BE49-F238E27FC236}">
                <a16:creationId xmlns:a16="http://schemas.microsoft.com/office/drawing/2014/main" id="{252A5F57-15E2-E632-09CB-5887C1741773}"/>
              </a:ext>
            </a:extLst>
          </p:cNvPr>
          <p:cNvSpPr>
            <a:spLocks noGrp="1"/>
          </p:cNvSpPr>
          <p:nvPr>
            <p:ph type="body" sz="quarter" idx="18"/>
          </p:nvPr>
        </p:nvSpPr>
        <p:spPr/>
        <p:txBody>
          <a:bodyPr>
            <a:normAutofit/>
          </a:bodyPr>
          <a:lstStyle/>
          <a:p>
            <a:r>
              <a:t>Who we are, what makes us tick and our key figures</a:t>
            </a:r>
            <a:br/>
            <a:r>
              <a:t>我们是谁，我们的驱动力以及关键数据</a:t>
            </a:r>
            <a:endParaRPr lang="en-NL" sz="2133" b="1"/>
          </a:p>
          <a:p>
            <a:endParaRPr lang="en-NL"/>
          </a:p>
        </p:txBody>
      </p:sp>
    </p:spTree>
    <p:extLst>
      <p:ext uri="{BB962C8B-B14F-4D97-AF65-F5344CB8AC3E}">
        <p14:creationId xmlns:p14="http://schemas.microsoft.com/office/powerpoint/2010/main" val="207731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046AF080-C191-A3DF-AD31-AF39EAF190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6" name="think-cell data - do not delete" hidden="1">
                        <a:extLst>
                          <a:ext uri="{FF2B5EF4-FFF2-40B4-BE49-F238E27FC236}">
                            <a16:creationId xmlns:a16="http://schemas.microsoft.com/office/drawing/2014/main" id="{046AF080-C191-A3DF-AD31-AF39EAF1904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5B7884B-80F0-4B72-9541-047F34DA67A9}"/>
              </a:ext>
            </a:extLst>
          </p:cNvPr>
          <p:cNvSpPr>
            <a:spLocks noGrp="1"/>
          </p:cNvSpPr>
          <p:nvPr>
            <p:ph type="title"/>
          </p:nvPr>
        </p:nvSpPr>
        <p:spPr/>
        <p:txBody>
          <a:bodyPr vert="horz">
            <a:normAutofit/>
          </a:bodyPr>
          <a:lstStyle/>
          <a:p>
            <a:r>
              <a:t>Our facts &amp; figures 2024 – FrieslandCampina Ingredients</a:t>
            </a:r>
            <a:br/>
            <a:r>
              <a:t>我们的事实与数据 2024 – FrieslandCampina 成分</a:t>
            </a:r>
          </a:p>
        </p:txBody>
      </p:sp>
      <p:sp>
        <p:nvSpPr>
          <p:cNvPr id="4" name="Tijdelijke aanduiding voor dianummer 3">
            <a:extLst>
              <a:ext uri="{FF2B5EF4-FFF2-40B4-BE49-F238E27FC236}">
                <a16:creationId xmlns:a16="http://schemas.microsoft.com/office/drawing/2014/main" id="{958D2212-3B6D-4F8D-9A57-4294D11495A4}"/>
              </a:ext>
            </a:extLst>
          </p:cNvPr>
          <p:cNvSpPr>
            <a:spLocks noGrp="1"/>
          </p:cNvSpPr>
          <p:nvPr>
            <p:ph type="sldNum" sz="quarter" idx="12"/>
          </p:nvPr>
        </p:nvSpPr>
        <p:spPr>
          <a:xfrm>
            <a:off x="580291" y="6491400"/>
            <a:ext cx="54502" cy="102657"/>
          </a:xfrm>
        </p:spPr>
        <p:txBody>
          <a:bodyPr>
            <a:normAutofit/>
          </a:bodyPr>
          <a:lstStyle/>
          <a:p>
            <a:pPr defTabSz="609585">
              <a:defRPr/>
            </a:pPr>
            <a:fld id="{9BE0E23E-9022-4929-B297-EB2777CDBB1F}" type="slidenum">
              <a:rPr lang="en-GB">
                <a:solidFill>
                  <a:srgbClr val="3F4043">
                    <a:tint val="75000"/>
                  </a:srgbClr>
                </a:solidFill>
                <a:latin typeface="Verdana"/>
              </a:rPr>
              <a:pPr defTabSz="609585">
                <a:defRPr/>
              </a:pPr>
              <a:t>27</a:t>
            </a:fld>
            <a:endParaRPr lang="en-GB">
              <a:solidFill>
                <a:srgbClr val="3F4043">
                  <a:tint val="75000"/>
                </a:srgbClr>
              </a:solidFill>
              <a:latin typeface="Verdana"/>
            </a:endParaRPr>
          </a:p>
        </p:txBody>
      </p:sp>
      <p:grpSp>
        <p:nvGrpSpPr>
          <p:cNvPr id="6" name="Group 5">
            <a:extLst>
              <a:ext uri="{FF2B5EF4-FFF2-40B4-BE49-F238E27FC236}">
                <a16:creationId xmlns:a16="http://schemas.microsoft.com/office/drawing/2014/main" id="{BF1AA6C2-6733-4402-9968-426D9AD84442}"/>
              </a:ext>
            </a:extLst>
          </p:cNvPr>
          <p:cNvGrpSpPr/>
          <p:nvPr/>
        </p:nvGrpSpPr>
        <p:grpSpPr>
          <a:xfrm>
            <a:off x="575733" y="1483733"/>
            <a:ext cx="3937000" cy="4176183"/>
            <a:chOff x="431800" y="1276350"/>
            <a:chExt cx="2952750" cy="3132137"/>
          </a:xfrm>
        </p:grpSpPr>
        <p:sp>
          <p:nvSpPr>
            <p:cNvPr id="5" name="Rectangle 10">
              <a:extLst>
                <a:ext uri="{FF2B5EF4-FFF2-40B4-BE49-F238E27FC236}">
                  <a16:creationId xmlns:a16="http://schemas.microsoft.com/office/drawing/2014/main" id="{6F7D87F4-14D7-4E8D-B979-BA1BB9DDF8A0}"/>
                </a:ext>
              </a:extLst>
            </p:cNvPr>
            <p:cNvSpPr>
              <a:spLocks noChangeArrowheads="1"/>
            </p:cNvSpPr>
            <p:nvPr/>
          </p:nvSpPr>
          <p:spPr bwMode="gray">
            <a:xfrm>
              <a:off x="431800" y="1276350"/>
              <a:ext cx="2952750" cy="3132137"/>
            </a:xfrm>
            <a:prstGeom prst="rect">
              <a:avLst/>
            </a:prstGeom>
            <a:gradFill>
              <a:gsLst>
                <a:gs pos="0">
                  <a:srgbClr val="FFFFFF">
                    <a:lumMod val="95000"/>
                  </a:srgbClr>
                </a:gs>
                <a:gs pos="100000">
                  <a:srgbClr val="FFFFFF"/>
                </a:gs>
              </a:gsLst>
              <a:lin ang="5400000" scaled="1"/>
            </a:gradFill>
            <a:ln w="12700">
              <a:noFill/>
              <a:miter lim="800000"/>
              <a:headEnd/>
              <a:tailEnd/>
            </a:ln>
            <a:effectLst>
              <a:outerShdw blurRad="101600" dist="38100" dir="2700000" algn="tl" rotWithShape="0">
                <a:prstClr val="black">
                  <a:alpha val="20000"/>
                </a:prstClr>
              </a:outerShdw>
            </a:effectLst>
          </p:spPr>
          <p:txBody>
            <a:bodyPr lIns="181423" tIns="192000" rIns="96000" bIns="120948"/>
            <a:lstStyle>
              <a:lvl1pPr marL="190500" indent="-190500" algn="l">
                <a:defRPr>
                  <a:solidFill>
                    <a:schemeClr val="tx1"/>
                  </a:solidFill>
                  <a:latin typeface="Arial" pitchFamily="34" charset="0"/>
                </a:defRPr>
              </a:lvl1pPr>
              <a:lvl2pPr algn="l">
                <a:defRPr>
                  <a:solidFill>
                    <a:schemeClr val="tx1"/>
                  </a:solidFill>
                  <a:latin typeface="Arial" pitchFamily="34" charset="0"/>
                </a:defRPr>
              </a:lvl2pPr>
              <a:lvl3pPr algn="l">
                <a:defRPr>
                  <a:solidFill>
                    <a:schemeClr val="tx1"/>
                  </a:solidFill>
                  <a:latin typeface="Arial" pitchFamily="34" charset="0"/>
                </a:defRPr>
              </a:lvl3pPr>
              <a:lvl4pPr algn="l">
                <a:defRPr>
                  <a:solidFill>
                    <a:schemeClr val="tx1"/>
                  </a:solidFill>
                  <a:latin typeface="Arial" pitchFamily="34" charset="0"/>
                </a:defRPr>
              </a:lvl4pPr>
              <a:lvl5pPr algn="l">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pPr marL="243405" indent="-243405" defTabSz="1219140">
                <a:lnSpc>
                  <a:spcPts val="2400"/>
                </a:lnSpc>
                <a:spcBef>
                  <a:spcPts val="400"/>
                </a:spcBef>
                <a:buClr>
                  <a:srgbClr val="0094D9"/>
                </a:buClr>
                <a:buSzPct val="90000"/>
                <a:buFont typeface="Arial" panose="020B0604020202020204" pitchFamily="34" charset="0"/>
                <a:buChar char="●"/>
                <a:defRPr/>
              </a:pPr>
              <a:endParaRPr lang="en-GB" sz="2133" kern="0">
                <a:solidFill>
                  <a:srgbClr val="3F4043"/>
                </a:solidFill>
                <a:latin typeface="Verdana" pitchFamily="34" charset="0"/>
              </a:endParaRPr>
            </a:p>
          </p:txBody>
        </p:sp>
        <p:pic>
          <p:nvPicPr>
            <p:cNvPr id="12" name="Picture 3">
              <a:extLst>
                <a:ext uri="{FF2B5EF4-FFF2-40B4-BE49-F238E27FC236}">
                  <a16:creationId xmlns:a16="http://schemas.microsoft.com/office/drawing/2014/main" id="{A04FE8BC-FADA-4B8F-AABC-830DB62625DC}"/>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008804" y="2022233"/>
              <a:ext cx="1798742" cy="8562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ijdelijke aanduiding voor tekst 2">
              <a:extLst>
                <a:ext uri="{FF2B5EF4-FFF2-40B4-BE49-F238E27FC236}">
                  <a16:creationId xmlns:a16="http://schemas.microsoft.com/office/drawing/2014/main" id="{21CB786B-5426-4530-B9BA-538FE64CFC36}"/>
                </a:ext>
              </a:extLst>
            </p:cNvPr>
            <p:cNvSpPr txBox="1">
              <a:spLocks/>
            </p:cNvSpPr>
            <p:nvPr/>
          </p:nvSpPr>
          <p:spPr>
            <a:xfrm>
              <a:off x="714817" y="3178680"/>
              <a:ext cx="2386717" cy="459017"/>
            </a:xfrm>
            <a:prstGeom prst="rect">
              <a:avLst/>
            </a:prstGeom>
          </p:spPr>
          <p:txBody>
            <a:bodyPr lIns="121920" tIns="60960" rIns="121920" bIns="60960" anchor="t"/>
            <a:lstStyle>
              <a:lvl1pPr marL="0" indent="0" algn="l" defTabSz="914400" rtl="0" eaLnBrk="1" latinLnBrk="0" hangingPunct="1">
                <a:spcBef>
                  <a:spcPts val="300"/>
                </a:spcBef>
                <a:buFont typeface="Arial" pitchFamily="34" charset="0"/>
                <a:buNone/>
                <a:defRPr sz="2000" kern="1200">
                  <a:solidFill>
                    <a:schemeClr val="tx2"/>
                  </a:solidFill>
                  <a:latin typeface="Verdana" pitchFamily="34" charset="0"/>
                  <a:ea typeface="+mn-ea"/>
                  <a:cs typeface="+mn-cs"/>
                </a:defRPr>
              </a:lvl1pPr>
              <a:lvl2pPr marL="342900" indent="-342900" algn="l" defTabSz="914400" rtl="0" eaLnBrk="1" latinLnBrk="0" hangingPunct="1">
                <a:spcBef>
                  <a:spcPts val="300"/>
                </a:spcBef>
                <a:buClr>
                  <a:schemeClr val="tx1"/>
                </a:buClr>
                <a:buSzPct val="100000"/>
                <a:buFont typeface="Verdana" pitchFamily="34" charset="0"/>
                <a:buChar char="●"/>
                <a:defRPr sz="2000" kern="1200">
                  <a:solidFill>
                    <a:schemeClr val="tx2"/>
                  </a:solidFill>
                  <a:latin typeface="Verdana" pitchFamily="34" charset="0"/>
                  <a:ea typeface="+mn-ea"/>
                  <a:cs typeface="+mn-cs"/>
                </a:defRPr>
              </a:lvl2pPr>
              <a:lvl3pPr marL="720725" indent="-365125" algn="l" defTabSz="914400" rtl="0" eaLnBrk="1" latinLnBrk="0" hangingPunct="1">
                <a:spcBef>
                  <a:spcPts val="300"/>
                </a:spcBef>
                <a:buClr>
                  <a:schemeClr val="tx1"/>
                </a:buClr>
                <a:buFont typeface="Verdana" pitchFamily="34" charset="0"/>
                <a:buChar char="–"/>
                <a:defRPr sz="1800" kern="1200">
                  <a:solidFill>
                    <a:schemeClr val="tx2"/>
                  </a:solidFill>
                  <a:latin typeface="Verdana" pitchFamily="34" charset="0"/>
                  <a:ea typeface="+mn-ea"/>
                  <a:cs typeface="+mn-cs"/>
                </a:defRPr>
              </a:lvl3pPr>
              <a:lvl4pPr marL="1063625" indent="-342900" algn="l" defTabSz="914400" rtl="0" eaLnBrk="1" latinLnBrk="0" hangingPunct="1">
                <a:spcBef>
                  <a:spcPts val="300"/>
                </a:spcBef>
                <a:buClr>
                  <a:schemeClr val="tx1"/>
                </a:buClr>
                <a:buFont typeface="Verdana" pitchFamily="34" charset="0"/>
                <a:buChar char="»"/>
                <a:defRPr sz="1600" kern="1200">
                  <a:solidFill>
                    <a:schemeClr val="tx2"/>
                  </a:solidFill>
                  <a:latin typeface="Verdana" pitchFamily="34" charset="0"/>
                  <a:ea typeface="+mn-ea"/>
                  <a:cs typeface="+mn-cs"/>
                </a:defRPr>
              </a:lvl4pPr>
              <a:lvl5pPr marL="1431925" indent="-355600" algn="l" defTabSz="914400" rtl="0" eaLnBrk="1" latinLnBrk="0" hangingPunct="1">
                <a:spcBef>
                  <a:spcPts val="300"/>
                </a:spcBef>
                <a:buClr>
                  <a:schemeClr val="tx2"/>
                </a:buClr>
                <a:buFont typeface="Verdana" pitchFamily="34" charset="0"/>
                <a:buChar char="›"/>
                <a:defRPr sz="1600" kern="1200">
                  <a:solidFill>
                    <a:schemeClr val="tx2"/>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19140">
                <a:spcBef>
                  <a:spcPts val="400"/>
                </a:spcBef>
                <a:defRPr/>
              </a:pPr>
              <a:r>
                <a:rPr lang="en-GB" sz="3200" b="1">
                  <a:solidFill>
                    <a:srgbClr val="0094D9"/>
                  </a:solidFill>
                  <a:latin typeface="Verdana"/>
                  <a:ea typeface="Verdana"/>
                  <a:cs typeface="Verdana"/>
                </a:rPr>
                <a:t>1.45 billion</a:t>
              </a:r>
            </a:p>
          </p:txBody>
        </p:sp>
        <p:sp>
          <p:nvSpPr>
            <p:cNvPr id="14" name="Tijdelijke aanduiding voor tekst 2">
              <a:extLst>
                <a:ext uri="{FF2B5EF4-FFF2-40B4-BE49-F238E27FC236}">
                  <a16:creationId xmlns:a16="http://schemas.microsoft.com/office/drawing/2014/main" id="{5AA70E0F-EA53-4E7D-A269-667573C7F62D}"/>
                </a:ext>
              </a:extLst>
            </p:cNvPr>
            <p:cNvSpPr txBox="1">
              <a:spLocks/>
            </p:cNvSpPr>
            <p:nvPr/>
          </p:nvSpPr>
          <p:spPr>
            <a:xfrm>
              <a:off x="983477" y="3532488"/>
              <a:ext cx="1849396" cy="329593"/>
            </a:xfrm>
            <a:prstGeom prst="rect">
              <a:avLst/>
            </a:prstGeom>
          </p:spPr>
          <p:txBody>
            <a:bodyPr/>
            <a:lstStyle>
              <a:lvl1pPr marL="0" indent="0" algn="l" defTabSz="914400" rtl="0" eaLnBrk="1" latinLnBrk="0" hangingPunct="1">
                <a:spcBef>
                  <a:spcPts val="300"/>
                </a:spcBef>
                <a:buFont typeface="Arial" pitchFamily="34" charset="0"/>
                <a:buNone/>
                <a:defRPr sz="2000" kern="1200">
                  <a:solidFill>
                    <a:schemeClr val="tx2"/>
                  </a:solidFill>
                  <a:latin typeface="Verdana" pitchFamily="34" charset="0"/>
                  <a:ea typeface="+mn-ea"/>
                  <a:cs typeface="+mn-cs"/>
                </a:defRPr>
              </a:lvl1pPr>
              <a:lvl2pPr marL="342900" indent="-342900" algn="l" defTabSz="914400" rtl="0" eaLnBrk="1" latinLnBrk="0" hangingPunct="1">
                <a:spcBef>
                  <a:spcPts val="300"/>
                </a:spcBef>
                <a:buClr>
                  <a:schemeClr val="tx1"/>
                </a:buClr>
                <a:buSzPct val="100000"/>
                <a:buFont typeface="Verdana" pitchFamily="34" charset="0"/>
                <a:buChar char="●"/>
                <a:defRPr sz="2000" kern="1200">
                  <a:solidFill>
                    <a:schemeClr val="tx2"/>
                  </a:solidFill>
                  <a:latin typeface="Verdana" pitchFamily="34" charset="0"/>
                  <a:ea typeface="+mn-ea"/>
                  <a:cs typeface="+mn-cs"/>
                </a:defRPr>
              </a:lvl2pPr>
              <a:lvl3pPr marL="720725" indent="-365125" algn="l" defTabSz="914400" rtl="0" eaLnBrk="1" latinLnBrk="0" hangingPunct="1">
                <a:spcBef>
                  <a:spcPts val="300"/>
                </a:spcBef>
                <a:buClr>
                  <a:schemeClr val="tx1"/>
                </a:buClr>
                <a:buFont typeface="Verdana" pitchFamily="34" charset="0"/>
                <a:buChar char="–"/>
                <a:defRPr sz="1800" kern="1200">
                  <a:solidFill>
                    <a:schemeClr val="tx2"/>
                  </a:solidFill>
                  <a:latin typeface="Verdana" pitchFamily="34" charset="0"/>
                  <a:ea typeface="+mn-ea"/>
                  <a:cs typeface="+mn-cs"/>
                </a:defRPr>
              </a:lvl3pPr>
              <a:lvl4pPr marL="1063625" indent="-342900" algn="l" defTabSz="914400" rtl="0" eaLnBrk="1" latinLnBrk="0" hangingPunct="1">
                <a:spcBef>
                  <a:spcPts val="300"/>
                </a:spcBef>
                <a:buClr>
                  <a:schemeClr val="tx1"/>
                </a:buClr>
                <a:buFont typeface="Verdana" pitchFamily="34" charset="0"/>
                <a:buChar char="»"/>
                <a:defRPr sz="1600" kern="1200">
                  <a:solidFill>
                    <a:schemeClr val="tx2"/>
                  </a:solidFill>
                  <a:latin typeface="Verdana" pitchFamily="34" charset="0"/>
                  <a:ea typeface="+mn-ea"/>
                  <a:cs typeface="+mn-cs"/>
                </a:defRPr>
              </a:lvl4pPr>
              <a:lvl5pPr marL="1431925" indent="-355600" algn="l" defTabSz="914400" rtl="0" eaLnBrk="1" latinLnBrk="0" hangingPunct="1">
                <a:spcBef>
                  <a:spcPts val="300"/>
                </a:spcBef>
                <a:buClr>
                  <a:schemeClr val="tx2"/>
                </a:buClr>
                <a:buFont typeface="Verdana" pitchFamily="34" charset="0"/>
                <a:buChar char="›"/>
                <a:defRPr sz="1600" kern="1200">
                  <a:solidFill>
                    <a:schemeClr val="tx2"/>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19140">
                <a:spcBef>
                  <a:spcPts val="400"/>
                </a:spcBef>
                <a:defRPr/>
              </a:pPr>
              <a:r>
                <a:rPr lang="en-GB" sz="2133">
                  <a:solidFill>
                    <a:srgbClr val="0094D9"/>
                  </a:solidFill>
                </a:rPr>
                <a:t>euros revenue</a:t>
              </a:r>
            </a:p>
          </p:txBody>
        </p:sp>
      </p:grpSp>
      <p:grpSp>
        <p:nvGrpSpPr>
          <p:cNvPr id="17" name="Group 16">
            <a:extLst>
              <a:ext uri="{FF2B5EF4-FFF2-40B4-BE49-F238E27FC236}">
                <a16:creationId xmlns:a16="http://schemas.microsoft.com/office/drawing/2014/main" id="{A81C43E2-9D5D-400F-BF98-DB8890A58774}"/>
              </a:ext>
            </a:extLst>
          </p:cNvPr>
          <p:cNvGrpSpPr/>
          <p:nvPr/>
        </p:nvGrpSpPr>
        <p:grpSpPr>
          <a:xfrm>
            <a:off x="4797945" y="3649036"/>
            <a:ext cx="2160000" cy="2016000"/>
            <a:chOff x="3598459" y="2900328"/>
            <a:chExt cx="1620000" cy="1512000"/>
          </a:xfrm>
        </p:grpSpPr>
        <p:sp>
          <p:nvSpPr>
            <p:cNvPr id="7" name="Rectangle 8">
              <a:extLst>
                <a:ext uri="{FF2B5EF4-FFF2-40B4-BE49-F238E27FC236}">
                  <a16:creationId xmlns:a16="http://schemas.microsoft.com/office/drawing/2014/main" id="{0CEE2923-8EE8-4BD1-AC70-69E9F3D74E88}"/>
                </a:ext>
              </a:extLst>
            </p:cNvPr>
            <p:cNvSpPr>
              <a:spLocks noChangeArrowheads="1"/>
            </p:cNvSpPr>
            <p:nvPr/>
          </p:nvSpPr>
          <p:spPr bwMode="gray">
            <a:xfrm>
              <a:off x="3598459" y="2900328"/>
              <a:ext cx="1567487" cy="1512000"/>
            </a:xfrm>
            <a:prstGeom prst="rect">
              <a:avLst/>
            </a:prstGeom>
            <a:gradFill>
              <a:gsLst>
                <a:gs pos="0">
                  <a:srgbClr val="FFFFFF">
                    <a:lumMod val="95000"/>
                  </a:srgbClr>
                </a:gs>
                <a:gs pos="100000">
                  <a:srgbClr val="FFFFFF"/>
                </a:gs>
              </a:gsLst>
              <a:lin ang="5400000" scaled="1"/>
            </a:gradFill>
            <a:ln w="12700">
              <a:noFill/>
              <a:miter lim="800000"/>
              <a:headEnd/>
              <a:tailEnd/>
            </a:ln>
            <a:effectLst>
              <a:outerShdw blurRad="101600" dist="38100" dir="2700000" algn="tl" rotWithShape="0">
                <a:prstClr val="black">
                  <a:alpha val="20000"/>
                </a:prstClr>
              </a:outerShdw>
            </a:effectLst>
          </p:spPr>
          <p:txBody>
            <a:bodyPr lIns="181423" tIns="192000" rIns="96000" bIns="120948"/>
            <a:lstStyle>
              <a:lvl1pPr marL="190500" indent="-190500" algn="l">
                <a:defRPr>
                  <a:solidFill>
                    <a:schemeClr val="tx1"/>
                  </a:solidFill>
                  <a:latin typeface="Arial" pitchFamily="34" charset="0"/>
                </a:defRPr>
              </a:lvl1pPr>
              <a:lvl2pPr algn="l">
                <a:defRPr>
                  <a:solidFill>
                    <a:schemeClr val="tx1"/>
                  </a:solidFill>
                  <a:latin typeface="Arial" pitchFamily="34" charset="0"/>
                </a:defRPr>
              </a:lvl2pPr>
              <a:lvl3pPr algn="l">
                <a:defRPr>
                  <a:solidFill>
                    <a:schemeClr val="tx1"/>
                  </a:solidFill>
                  <a:latin typeface="Arial" pitchFamily="34" charset="0"/>
                </a:defRPr>
              </a:lvl3pPr>
              <a:lvl4pPr algn="l">
                <a:defRPr>
                  <a:solidFill>
                    <a:schemeClr val="tx1"/>
                  </a:solidFill>
                  <a:latin typeface="Arial" pitchFamily="34" charset="0"/>
                </a:defRPr>
              </a:lvl4pPr>
              <a:lvl5pPr algn="l">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pPr marL="243405" indent="-243405" defTabSz="1219140">
                <a:lnSpc>
                  <a:spcPts val="2400"/>
                </a:lnSpc>
                <a:spcBef>
                  <a:spcPts val="400"/>
                </a:spcBef>
                <a:buClr>
                  <a:srgbClr val="0094D9"/>
                </a:buClr>
                <a:buSzPct val="90000"/>
                <a:buFont typeface="Arial" panose="020B0604020202020204" pitchFamily="34" charset="0"/>
                <a:buChar char="●"/>
                <a:defRPr/>
              </a:pPr>
              <a:endParaRPr lang="en-GB" sz="2133" kern="0">
                <a:solidFill>
                  <a:srgbClr val="3F4043"/>
                </a:solidFill>
                <a:latin typeface="Verdana" pitchFamily="34" charset="0"/>
              </a:endParaRPr>
            </a:p>
          </p:txBody>
        </p:sp>
        <p:pic>
          <p:nvPicPr>
            <p:cNvPr id="19" name="Picture 4">
              <a:extLst>
                <a:ext uri="{FF2B5EF4-FFF2-40B4-BE49-F238E27FC236}">
                  <a16:creationId xmlns:a16="http://schemas.microsoft.com/office/drawing/2014/main" id="{A3C4FCB7-8654-4675-BFFF-66D09D541B11}"/>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4003088" y="3008151"/>
              <a:ext cx="810742" cy="5327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Tijdelijke aanduiding voor tekst 2">
              <a:extLst>
                <a:ext uri="{FF2B5EF4-FFF2-40B4-BE49-F238E27FC236}">
                  <a16:creationId xmlns:a16="http://schemas.microsoft.com/office/drawing/2014/main" id="{7B8AF69B-415F-4AC8-B829-9C04C8EC222E}"/>
                </a:ext>
              </a:extLst>
            </p:cNvPr>
            <p:cNvSpPr txBox="1">
              <a:spLocks/>
            </p:cNvSpPr>
            <p:nvPr/>
          </p:nvSpPr>
          <p:spPr>
            <a:xfrm>
              <a:off x="3598459" y="3282582"/>
              <a:ext cx="1620000" cy="973086"/>
            </a:xfrm>
            <a:prstGeom prst="rect">
              <a:avLst/>
            </a:prstGeom>
          </p:spPr>
          <p:txBody>
            <a:bodyPr lIns="121920" tIns="60960" rIns="121920" bIns="60960" anchor="b"/>
            <a:lstStyle>
              <a:lvl1pPr marL="0" indent="0" algn="l" defTabSz="914400" rtl="0" eaLnBrk="1" latinLnBrk="0" hangingPunct="1">
                <a:spcBef>
                  <a:spcPts val="300"/>
                </a:spcBef>
                <a:buFont typeface="Arial" pitchFamily="34" charset="0"/>
                <a:buNone/>
                <a:defRPr sz="2000" kern="1200">
                  <a:solidFill>
                    <a:schemeClr val="tx2"/>
                  </a:solidFill>
                  <a:latin typeface="Verdana" pitchFamily="34" charset="0"/>
                  <a:ea typeface="+mn-ea"/>
                  <a:cs typeface="+mn-cs"/>
                </a:defRPr>
              </a:lvl1pPr>
              <a:lvl2pPr marL="342900" indent="-342900" algn="l" defTabSz="914400" rtl="0" eaLnBrk="1" latinLnBrk="0" hangingPunct="1">
                <a:spcBef>
                  <a:spcPts val="300"/>
                </a:spcBef>
                <a:buClr>
                  <a:schemeClr val="tx1"/>
                </a:buClr>
                <a:buSzPct val="100000"/>
                <a:buFont typeface="Verdana" pitchFamily="34" charset="0"/>
                <a:buChar char="●"/>
                <a:defRPr sz="2000" kern="1200">
                  <a:solidFill>
                    <a:schemeClr val="tx2"/>
                  </a:solidFill>
                  <a:latin typeface="Verdana" pitchFamily="34" charset="0"/>
                  <a:ea typeface="+mn-ea"/>
                  <a:cs typeface="+mn-cs"/>
                </a:defRPr>
              </a:lvl2pPr>
              <a:lvl3pPr marL="720725" indent="-365125" algn="l" defTabSz="914400" rtl="0" eaLnBrk="1" latinLnBrk="0" hangingPunct="1">
                <a:spcBef>
                  <a:spcPts val="300"/>
                </a:spcBef>
                <a:buClr>
                  <a:schemeClr val="tx1"/>
                </a:buClr>
                <a:buFont typeface="Verdana" pitchFamily="34" charset="0"/>
                <a:buChar char="–"/>
                <a:defRPr sz="1800" kern="1200">
                  <a:solidFill>
                    <a:schemeClr val="tx2"/>
                  </a:solidFill>
                  <a:latin typeface="Verdana" pitchFamily="34" charset="0"/>
                  <a:ea typeface="+mn-ea"/>
                  <a:cs typeface="+mn-cs"/>
                </a:defRPr>
              </a:lvl3pPr>
              <a:lvl4pPr marL="1063625" indent="-342900" algn="l" defTabSz="914400" rtl="0" eaLnBrk="1" latinLnBrk="0" hangingPunct="1">
                <a:spcBef>
                  <a:spcPts val="300"/>
                </a:spcBef>
                <a:buClr>
                  <a:schemeClr val="tx1"/>
                </a:buClr>
                <a:buFont typeface="Verdana" pitchFamily="34" charset="0"/>
                <a:buChar char="»"/>
                <a:defRPr sz="1600" kern="1200">
                  <a:solidFill>
                    <a:schemeClr val="tx2"/>
                  </a:solidFill>
                  <a:latin typeface="Verdana" pitchFamily="34" charset="0"/>
                  <a:ea typeface="+mn-ea"/>
                  <a:cs typeface="+mn-cs"/>
                </a:defRPr>
              </a:lvl4pPr>
              <a:lvl5pPr marL="1431925" indent="-355600" algn="l" defTabSz="914400" rtl="0" eaLnBrk="1" latinLnBrk="0" hangingPunct="1">
                <a:spcBef>
                  <a:spcPts val="300"/>
                </a:spcBef>
                <a:buClr>
                  <a:schemeClr val="tx2"/>
                </a:buClr>
                <a:buFont typeface="Verdana" pitchFamily="34" charset="0"/>
                <a:buChar char="›"/>
                <a:defRPr sz="1600" kern="1200">
                  <a:solidFill>
                    <a:schemeClr val="tx2"/>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19140" fontAlgn="base">
                <a:spcBef>
                  <a:spcPts val="0"/>
                </a:spcBef>
                <a:spcAft>
                  <a:spcPct val="0"/>
                </a:spcAft>
                <a:defRPr/>
              </a:pPr>
              <a:endParaRPr lang="en-GB" sz="1867" b="1">
                <a:solidFill>
                  <a:srgbClr val="EC008C"/>
                </a:solidFill>
              </a:endParaRPr>
            </a:p>
            <a:p>
              <a:pPr algn="ctr" defTabSz="1219140" fontAlgn="base">
                <a:spcBef>
                  <a:spcPts val="0"/>
                </a:spcBef>
                <a:spcAft>
                  <a:spcPct val="0"/>
                </a:spcAft>
                <a:defRPr/>
              </a:pPr>
              <a:r>
                <a:rPr lang="en-GB" sz="2667" b="1">
                  <a:solidFill>
                    <a:srgbClr val="EC008C"/>
                  </a:solidFill>
                  <a:latin typeface="Verdana"/>
                  <a:ea typeface="Verdana"/>
                </a:rPr>
                <a:t>~1,700</a:t>
              </a:r>
              <a:br>
                <a:rPr lang="en-GB" sz="2667" b="1">
                  <a:solidFill>
                    <a:srgbClr val="3F4043"/>
                  </a:solidFill>
                </a:rPr>
              </a:br>
              <a:r>
                <a:rPr lang="en-GB" sz="1467">
                  <a:solidFill>
                    <a:srgbClr val="EC008C"/>
                  </a:solidFill>
                  <a:latin typeface="Verdana"/>
                  <a:ea typeface="Verdana"/>
                  <a:cs typeface="Verdana"/>
                </a:rPr>
                <a:t>employees</a:t>
              </a:r>
              <a:endParaRPr lang="en-GB" sz="1867" b="1">
                <a:solidFill>
                  <a:srgbClr val="EC008C"/>
                </a:solidFill>
                <a:latin typeface="Verdana"/>
                <a:ea typeface="Verdana"/>
                <a:cs typeface="Verdana"/>
              </a:endParaRPr>
            </a:p>
          </p:txBody>
        </p:sp>
      </p:grpSp>
      <p:grpSp>
        <p:nvGrpSpPr>
          <p:cNvPr id="36" name="Group 35">
            <a:extLst>
              <a:ext uri="{FF2B5EF4-FFF2-40B4-BE49-F238E27FC236}">
                <a16:creationId xmlns:a16="http://schemas.microsoft.com/office/drawing/2014/main" id="{1231AD48-8109-45D6-90E3-D8E420D6195A}"/>
              </a:ext>
            </a:extLst>
          </p:cNvPr>
          <p:cNvGrpSpPr/>
          <p:nvPr/>
        </p:nvGrpSpPr>
        <p:grpSpPr>
          <a:xfrm>
            <a:off x="9497855" y="3649036"/>
            <a:ext cx="2118413" cy="2016000"/>
            <a:chOff x="7123391" y="2900328"/>
            <a:chExt cx="1588810" cy="1512000"/>
          </a:xfrm>
        </p:grpSpPr>
        <p:sp>
          <p:nvSpPr>
            <p:cNvPr id="8" name="Rectangle 10">
              <a:extLst>
                <a:ext uri="{FF2B5EF4-FFF2-40B4-BE49-F238E27FC236}">
                  <a16:creationId xmlns:a16="http://schemas.microsoft.com/office/drawing/2014/main" id="{D184D601-DEA4-4BDF-B0E3-6579261A7222}"/>
                </a:ext>
              </a:extLst>
            </p:cNvPr>
            <p:cNvSpPr>
              <a:spLocks noChangeArrowheads="1"/>
            </p:cNvSpPr>
            <p:nvPr/>
          </p:nvSpPr>
          <p:spPr bwMode="gray">
            <a:xfrm>
              <a:off x="7123391" y="2900328"/>
              <a:ext cx="1581898" cy="1512000"/>
            </a:xfrm>
            <a:prstGeom prst="rect">
              <a:avLst/>
            </a:prstGeom>
            <a:gradFill>
              <a:gsLst>
                <a:gs pos="0">
                  <a:srgbClr val="FFFFFF">
                    <a:lumMod val="95000"/>
                  </a:srgbClr>
                </a:gs>
                <a:gs pos="100000">
                  <a:srgbClr val="FFFFFF"/>
                </a:gs>
              </a:gsLst>
              <a:lin ang="5400000" scaled="1"/>
            </a:gradFill>
            <a:ln w="12700">
              <a:noFill/>
              <a:miter lim="800000"/>
              <a:headEnd/>
              <a:tailEnd/>
            </a:ln>
            <a:effectLst>
              <a:outerShdw blurRad="101600" dist="38100" dir="2700000" algn="tl" rotWithShape="0">
                <a:prstClr val="black">
                  <a:alpha val="20000"/>
                </a:prstClr>
              </a:outerShdw>
            </a:effectLst>
          </p:spPr>
          <p:txBody>
            <a:bodyPr lIns="181423" tIns="192000" rIns="96000" bIns="120948"/>
            <a:lstStyle>
              <a:lvl1pPr marL="190500" indent="-190500" algn="l">
                <a:defRPr>
                  <a:solidFill>
                    <a:schemeClr val="tx1"/>
                  </a:solidFill>
                  <a:latin typeface="Arial" pitchFamily="34" charset="0"/>
                </a:defRPr>
              </a:lvl1pPr>
              <a:lvl2pPr algn="l">
                <a:defRPr>
                  <a:solidFill>
                    <a:schemeClr val="tx1"/>
                  </a:solidFill>
                  <a:latin typeface="Arial" pitchFamily="34" charset="0"/>
                </a:defRPr>
              </a:lvl2pPr>
              <a:lvl3pPr algn="l">
                <a:defRPr>
                  <a:solidFill>
                    <a:schemeClr val="tx1"/>
                  </a:solidFill>
                  <a:latin typeface="Arial" pitchFamily="34" charset="0"/>
                </a:defRPr>
              </a:lvl3pPr>
              <a:lvl4pPr algn="l">
                <a:defRPr>
                  <a:solidFill>
                    <a:schemeClr val="tx1"/>
                  </a:solidFill>
                  <a:latin typeface="Arial" pitchFamily="34" charset="0"/>
                </a:defRPr>
              </a:lvl4pPr>
              <a:lvl5pPr algn="l">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pPr marL="243405" indent="-243405" defTabSz="1219140">
                <a:lnSpc>
                  <a:spcPts val="2400"/>
                </a:lnSpc>
                <a:spcBef>
                  <a:spcPts val="400"/>
                </a:spcBef>
                <a:buClr>
                  <a:srgbClr val="0094D9"/>
                </a:buClr>
                <a:buSzPct val="90000"/>
                <a:buFont typeface="Arial" panose="020B0604020202020204" pitchFamily="34" charset="0"/>
                <a:buChar char="●"/>
                <a:defRPr/>
              </a:pPr>
              <a:endParaRPr lang="en-GB" sz="2133" kern="0">
                <a:solidFill>
                  <a:srgbClr val="3F4043"/>
                </a:solidFill>
                <a:latin typeface="Verdana" pitchFamily="34" charset="0"/>
              </a:endParaRPr>
            </a:p>
          </p:txBody>
        </p:sp>
        <p:sp>
          <p:nvSpPr>
            <p:cNvPr id="21" name="Tijdelijke aanduiding voor tekst 2">
              <a:extLst>
                <a:ext uri="{FF2B5EF4-FFF2-40B4-BE49-F238E27FC236}">
                  <a16:creationId xmlns:a16="http://schemas.microsoft.com/office/drawing/2014/main" id="{39D370B3-13B3-4A35-9549-B59B29D1A465}"/>
                </a:ext>
              </a:extLst>
            </p:cNvPr>
            <p:cNvSpPr txBox="1">
              <a:spLocks/>
            </p:cNvSpPr>
            <p:nvPr/>
          </p:nvSpPr>
          <p:spPr>
            <a:xfrm>
              <a:off x="7123391" y="3927753"/>
              <a:ext cx="1588810" cy="461665"/>
            </a:xfrm>
            <a:prstGeom prst="rect">
              <a:avLst/>
            </a:prstGeom>
          </p:spPr>
          <p:txBody>
            <a:bodyPr/>
            <a:lstStyle>
              <a:lvl1pPr marL="0" indent="0" algn="l" defTabSz="914400" rtl="0" eaLnBrk="1" latinLnBrk="0" hangingPunct="1">
                <a:spcBef>
                  <a:spcPts val="300"/>
                </a:spcBef>
                <a:buFont typeface="Arial" pitchFamily="34" charset="0"/>
                <a:buNone/>
                <a:defRPr sz="2000" kern="1200">
                  <a:solidFill>
                    <a:schemeClr val="tx2"/>
                  </a:solidFill>
                  <a:latin typeface="Verdana" pitchFamily="34" charset="0"/>
                  <a:ea typeface="+mn-ea"/>
                  <a:cs typeface="+mn-cs"/>
                </a:defRPr>
              </a:lvl1pPr>
              <a:lvl2pPr marL="342900" indent="-342900" algn="l" defTabSz="914400" rtl="0" eaLnBrk="1" latinLnBrk="0" hangingPunct="1">
                <a:spcBef>
                  <a:spcPts val="300"/>
                </a:spcBef>
                <a:buClr>
                  <a:schemeClr val="tx1"/>
                </a:buClr>
                <a:buSzPct val="100000"/>
                <a:buFont typeface="Verdana" pitchFamily="34" charset="0"/>
                <a:buChar char="●"/>
                <a:defRPr sz="2000" kern="1200">
                  <a:solidFill>
                    <a:schemeClr val="tx2"/>
                  </a:solidFill>
                  <a:latin typeface="Verdana" pitchFamily="34" charset="0"/>
                  <a:ea typeface="+mn-ea"/>
                  <a:cs typeface="+mn-cs"/>
                </a:defRPr>
              </a:lvl2pPr>
              <a:lvl3pPr marL="720725" indent="-365125" algn="l" defTabSz="914400" rtl="0" eaLnBrk="1" latinLnBrk="0" hangingPunct="1">
                <a:spcBef>
                  <a:spcPts val="300"/>
                </a:spcBef>
                <a:buClr>
                  <a:schemeClr val="tx1"/>
                </a:buClr>
                <a:buFont typeface="Verdana" pitchFamily="34" charset="0"/>
                <a:buChar char="–"/>
                <a:defRPr sz="1800" kern="1200">
                  <a:solidFill>
                    <a:schemeClr val="tx2"/>
                  </a:solidFill>
                  <a:latin typeface="Verdana" pitchFamily="34" charset="0"/>
                  <a:ea typeface="+mn-ea"/>
                  <a:cs typeface="+mn-cs"/>
                </a:defRPr>
              </a:lvl3pPr>
              <a:lvl4pPr marL="1063625" indent="-342900" algn="l" defTabSz="914400" rtl="0" eaLnBrk="1" latinLnBrk="0" hangingPunct="1">
                <a:spcBef>
                  <a:spcPts val="300"/>
                </a:spcBef>
                <a:buClr>
                  <a:schemeClr val="tx1"/>
                </a:buClr>
                <a:buFont typeface="Verdana" pitchFamily="34" charset="0"/>
                <a:buChar char="»"/>
                <a:defRPr sz="1600" kern="1200">
                  <a:solidFill>
                    <a:schemeClr val="tx2"/>
                  </a:solidFill>
                  <a:latin typeface="Verdana" pitchFamily="34" charset="0"/>
                  <a:ea typeface="+mn-ea"/>
                  <a:cs typeface="+mn-cs"/>
                </a:defRPr>
              </a:lvl4pPr>
              <a:lvl5pPr marL="1431925" indent="-355600" algn="l" defTabSz="914400" rtl="0" eaLnBrk="1" latinLnBrk="0" hangingPunct="1">
                <a:spcBef>
                  <a:spcPts val="300"/>
                </a:spcBef>
                <a:buClr>
                  <a:schemeClr val="tx2"/>
                </a:buClr>
                <a:buFont typeface="Verdana" pitchFamily="34" charset="0"/>
                <a:buChar char="›"/>
                <a:defRPr sz="1600" kern="1200">
                  <a:solidFill>
                    <a:schemeClr val="tx2"/>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19140">
                <a:spcBef>
                  <a:spcPts val="400"/>
                </a:spcBef>
                <a:defRPr/>
              </a:pPr>
              <a:r>
                <a:rPr lang="en-GB" sz="1467">
                  <a:solidFill>
                    <a:srgbClr val="3F4043"/>
                  </a:solidFill>
                </a:rPr>
                <a:t>offices for </a:t>
              </a:r>
              <a:r>
                <a:rPr lang="en-GB" sz="1467" b="1">
                  <a:solidFill>
                    <a:srgbClr val="3F4043"/>
                  </a:solidFill>
                </a:rPr>
                <a:t>local presence</a:t>
              </a:r>
              <a:endParaRPr lang="en-GB" sz="1400">
                <a:solidFill>
                  <a:srgbClr val="3F4043"/>
                </a:solidFill>
              </a:endParaRPr>
            </a:p>
          </p:txBody>
        </p:sp>
        <p:pic>
          <p:nvPicPr>
            <p:cNvPr id="23" name="Picture 25">
              <a:extLst>
                <a:ext uri="{FF2B5EF4-FFF2-40B4-BE49-F238E27FC236}">
                  <a16:creationId xmlns:a16="http://schemas.microsoft.com/office/drawing/2014/main" id="{F7A2BFE1-8F25-481E-99C0-CF825629692E}"/>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624165" y="3048368"/>
              <a:ext cx="618451" cy="468429"/>
            </a:xfrm>
            <a:prstGeom prst="rect">
              <a:avLst/>
            </a:prstGeom>
          </p:spPr>
        </p:pic>
        <p:grpSp>
          <p:nvGrpSpPr>
            <p:cNvPr id="25" name="Groep 24">
              <a:extLst>
                <a:ext uri="{FF2B5EF4-FFF2-40B4-BE49-F238E27FC236}">
                  <a16:creationId xmlns:a16="http://schemas.microsoft.com/office/drawing/2014/main" id="{41D6ADF4-5C91-4B49-BF39-D8B915D94EAB}"/>
                </a:ext>
              </a:extLst>
            </p:cNvPr>
            <p:cNvGrpSpPr/>
            <p:nvPr/>
          </p:nvGrpSpPr>
          <p:grpSpPr>
            <a:xfrm>
              <a:off x="7236419" y="3626716"/>
              <a:ext cx="1250835" cy="377074"/>
              <a:chOff x="7081349" y="2044232"/>
              <a:chExt cx="1250835" cy="377074"/>
            </a:xfrm>
          </p:grpSpPr>
          <p:sp>
            <p:nvSpPr>
              <p:cNvPr id="22" name="Tijdelijke aanduiding voor tekst 2">
                <a:extLst>
                  <a:ext uri="{FF2B5EF4-FFF2-40B4-BE49-F238E27FC236}">
                    <a16:creationId xmlns:a16="http://schemas.microsoft.com/office/drawing/2014/main" id="{C3484FB7-1FB6-433C-98AB-45E59591502B}"/>
                  </a:ext>
                </a:extLst>
              </p:cNvPr>
              <p:cNvSpPr txBox="1">
                <a:spLocks/>
              </p:cNvSpPr>
              <p:nvPr/>
            </p:nvSpPr>
            <p:spPr>
              <a:xfrm>
                <a:off x="7081349" y="2044232"/>
                <a:ext cx="321242" cy="377074"/>
              </a:xfrm>
              <a:prstGeom prst="rect">
                <a:avLst/>
              </a:prstGeom>
            </p:spPr>
            <p:txBody>
              <a:bodyPr wrap="none">
                <a:spAutoFit/>
              </a:bodyPr>
              <a:lstStyle>
                <a:lvl1pPr marL="0" indent="0" algn="l" defTabSz="914400" rtl="0" eaLnBrk="1" latinLnBrk="0" hangingPunct="1">
                  <a:spcBef>
                    <a:spcPts val="300"/>
                  </a:spcBef>
                  <a:buFont typeface="Arial" pitchFamily="34" charset="0"/>
                  <a:buNone/>
                  <a:defRPr sz="2000" kern="1200">
                    <a:solidFill>
                      <a:schemeClr val="tx2"/>
                    </a:solidFill>
                    <a:latin typeface="Verdana" pitchFamily="34" charset="0"/>
                    <a:ea typeface="+mn-ea"/>
                    <a:cs typeface="+mn-cs"/>
                  </a:defRPr>
                </a:lvl1pPr>
                <a:lvl2pPr marL="342900" indent="-342900" algn="l" defTabSz="914400" rtl="0" eaLnBrk="1" latinLnBrk="0" hangingPunct="1">
                  <a:spcBef>
                    <a:spcPts val="300"/>
                  </a:spcBef>
                  <a:buClr>
                    <a:schemeClr val="tx1"/>
                  </a:buClr>
                  <a:buSzPct val="100000"/>
                  <a:buFont typeface="Verdana" pitchFamily="34" charset="0"/>
                  <a:buChar char="●"/>
                  <a:defRPr sz="2000" kern="1200">
                    <a:solidFill>
                      <a:schemeClr val="tx2"/>
                    </a:solidFill>
                    <a:latin typeface="Verdana" pitchFamily="34" charset="0"/>
                    <a:ea typeface="+mn-ea"/>
                    <a:cs typeface="+mn-cs"/>
                  </a:defRPr>
                </a:lvl2pPr>
                <a:lvl3pPr marL="720725" indent="-365125" algn="l" defTabSz="914400" rtl="0" eaLnBrk="1" latinLnBrk="0" hangingPunct="1">
                  <a:spcBef>
                    <a:spcPts val="300"/>
                  </a:spcBef>
                  <a:buClr>
                    <a:schemeClr val="tx1"/>
                  </a:buClr>
                  <a:buFont typeface="Verdana" pitchFamily="34" charset="0"/>
                  <a:buChar char="–"/>
                  <a:defRPr sz="1800" kern="1200">
                    <a:solidFill>
                      <a:schemeClr val="tx2"/>
                    </a:solidFill>
                    <a:latin typeface="Verdana" pitchFamily="34" charset="0"/>
                    <a:ea typeface="+mn-ea"/>
                    <a:cs typeface="+mn-cs"/>
                  </a:defRPr>
                </a:lvl3pPr>
                <a:lvl4pPr marL="1063625" indent="-342900" algn="l" defTabSz="914400" rtl="0" eaLnBrk="1" latinLnBrk="0" hangingPunct="1">
                  <a:spcBef>
                    <a:spcPts val="300"/>
                  </a:spcBef>
                  <a:buClr>
                    <a:schemeClr val="tx1"/>
                  </a:buClr>
                  <a:buFont typeface="Verdana" pitchFamily="34" charset="0"/>
                  <a:buChar char="»"/>
                  <a:defRPr sz="1600" kern="1200">
                    <a:solidFill>
                      <a:schemeClr val="tx2"/>
                    </a:solidFill>
                    <a:latin typeface="Verdana" pitchFamily="34" charset="0"/>
                    <a:ea typeface="+mn-ea"/>
                    <a:cs typeface="+mn-cs"/>
                  </a:defRPr>
                </a:lvl4pPr>
                <a:lvl5pPr marL="1431925" indent="-355600" algn="l" defTabSz="914400" rtl="0" eaLnBrk="1" latinLnBrk="0" hangingPunct="1">
                  <a:spcBef>
                    <a:spcPts val="300"/>
                  </a:spcBef>
                  <a:buClr>
                    <a:schemeClr val="tx2"/>
                  </a:buClr>
                  <a:buFont typeface="Verdana" pitchFamily="34" charset="0"/>
                  <a:buChar char="›"/>
                  <a:defRPr sz="1600" kern="1200">
                    <a:solidFill>
                      <a:schemeClr val="tx2"/>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9140">
                  <a:spcBef>
                    <a:spcPts val="400"/>
                  </a:spcBef>
                  <a:defRPr/>
                </a:pPr>
                <a:r>
                  <a:rPr lang="en-GB" sz="2667" b="1">
                    <a:solidFill>
                      <a:srgbClr val="3F4043"/>
                    </a:solidFill>
                  </a:rPr>
                  <a:t>5</a:t>
                </a:r>
              </a:p>
            </p:txBody>
          </p:sp>
          <p:sp>
            <p:nvSpPr>
              <p:cNvPr id="24" name="Rechthoek 23">
                <a:extLst>
                  <a:ext uri="{FF2B5EF4-FFF2-40B4-BE49-F238E27FC236}">
                    <a16:creationId xmlns:a16="http://schemas.microsoft.com/office/drawing/2014/main" id="{4248A392-CE0B-4593-A90E-36F8F8E8BB6D}"/>
                  </a:ext>
                </a:extLst>
              </p:cNvPr>
              <p:cNvSpPr/>
              <p:nvPr/>
            </p:nvSpPr>
            <p:spPr>
              <a:xfrm>
                <a:off x="7302815" y="2150644"/>
                <a:ext cx="1029369" cy="238575"/>
              </a:xfrm>
              <a:prstGeom prst="rect">
                <a:avLst/>
              </a:prstGeom>
            </p:spPr>
            <p:txBody>
              <a:bodyPr wrap="none">
                <a:spAutoFit/>
              </a:bodyPr>
              <a:lstStyle/>
              <a:p>
                <a:pPr defTabSz="609585">
                  <a:defRPr/>
                </a:pPr>
                <a:r>
                  <a:rPr lang="en-GB" sz="1467">
                    <a:solidFill>
                      <a:srgbClr val="3F4043"/>
                    </a:solidFill>
                    <a:latin typeface="Verdana"/>
                  </a:rPr>
                  <a:t>international</a:t>
                </a:r>
              </a:p>
            </p:txBody>
          </p:sp>
        </p:grpSp>
      </p:grpSp>
      <p:grpSp>
        <p:nvGrpSpPr>
          <p:cNvPr id="10" name="Group 9">
            <a:extLst>
              <a:ext uri="{FF2B5EF4-FFF2-40B4-BE49-F238E27FC236}">
                <a16:creationId xmlns:a16="http://schemas.microsoft.com/office/drawing/2014/main" id="{C15238AC-526D-4444-B6B5-BCBF0D0DEDF3}"/>
              </a:ext>
            </a:extLst>
          </p:cNvPr>
          <p:cNvGrpSpPr/>
          <p:nvPr/>
        </p:nvGrpSpPr>
        <p:grpSpPr>
          <a:xfrm>
            <a:off x="4756359" y="1468304"/>
            <a:ext cx="6859908" cy="1882104"/>
            <a:chOff x="3598459" y="1276350"/>
            <a:chExt cx="5144931" cy="1411578"/>
          </a:xfrm>
        </p:grpSpPr>
        <p:sp>
          <p:nvSpPr>
            <p:cNvPr id="9" name="Rectangle 10">
              <a:extLst>
                <a:ext uri="{FF2B5EF4-FFF2-40B4-BE49-F238E27FC236}">
                  <a16:creationId xmlns:a16="http://schemas.microsoft.com/office/drawing/2014/main" id="{8E59329F-69F5-4DA4-9008-F8D0DC153AD8}"/>
                </a:ext>
              </a:extLst>
            </p:cNvPr>
            <p:cNvSpPr>
              <a:spLocks noChangeArrowheads="1"/>
            </p:cNvSpPr>
            <p:nvPr/>
          </p:nvSpPr>
          <p:spPr bwMode="gray">
            <a:xfrm>
              <a:off x="3598459" y="1276350"/>
              <a:ext cx="5144931" cy="1411578"/>
            </a:xfrm>
            <a:prstGeom prst="rect">
              <a:avLst/>
            </a:prstGeom>
            <a:gradFill>
              <a:gsLst>
                <a:gs pos="0">
                  <a:srgbClr val="FFFFFF">
                    <a:lumMod val="95000"/>
                  </a:srgbClr>
                </a:gs>
                <a:gs pos="100000">
                  <a:srgbClr val="FFFFFF"/>
                </a:gs>
              </a:gsLst>
              <a:lin ang="5400000" scaled="1"/>
            </a:gradFill>
            <a:ln w="12700">
              <a:noFill/>
              <a:miter lim="800000"/>
              <a:headEnd/>
              <a:tailEnd/>
            </a:ln>
            <a:effectLst>
              <a:outerShdw blurRad="101600" dist="38100" dir="2700000" algn="tl" rotWithShape="0">
                <a:prstClr val="black">
                  <a:alpha val="20000"/>
                </a:prstClr>
              </a:outerShdw>
            </a:effectLst>
          </p:spPr>
          <p:txBody>
            <a:bodyPr lIns="181423" tIns="192000" rIns="96000" bIns="120948"/>
            <a:lstStyle>
              <a:lvl1pPr marL="190500" indent="-190500" algn="l">
                <a:defRPr>
                  <a:solidFill>
                    <a:schemeClr val="tx1"/>
                  </a:solidFill>
                  <a:latin typeface="Arial" pitchFamily="34" charset="0"/>
                </a:defRPr>
              </a:lvl1pPr>
              <a:lvl2pPr algn="l">
                <a:defRPr>
                  <a:solidFill>
                    <a:schemeClr val="tx1"/>
                  </a:solidFill>
                  <a:latin typeface="Arial" pitchFamily="34" charset="0"/>
                </a:defRPr>
              </a:lvl2pPr>
              <a:lvl3pPr algn="l">
                <a:defRPr>
                  <a:solidFill>
                    <a:schemeClr val="tx1"/>
                  </a:solidFill>
                  <a:latin typeface="Arial" pitchFamily="34" charset="0"/>
                </a:defRPr>
              </a:lvl3pPr>
              <a:lvl4pPr algn="l">
                <a:defRPr>
                  <a:solidFill>
                    <a:schemeClr val="tx1"/>
                  </a:solidFill>
                  <a:latin typeface="Arial" pitchFamily="34" charset="0"/>
                </a:defRPr>
              </a:lvl4pPr>
              <a:lvl5pPr algn="l">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pPr marL="243405" indent="-243405" defTabSz="1219140">
                <a:lnSpc>
                  <a:spcPts val="2400"/>
                </a:lnSpc>
                <a:spcBef>
                  <a:spcPts val="400"/>
                </a:spcBef>
                <a:buClr>
                  <a:srgbClr val="0094D9"/>
                </a:buClr>
                <a:buSzPct val="90000"/>
                <a:buFont typeface="Arial" panose="020B0604020202020204" pitchFamily="34" charset="0"/>
                <a:buChar char="●"/>
                <a:defRPr/>
              </a:pPr>
              <a:endParaRPr lang="en-GB" sz="2133" kern="0">
                <a:solidFill>
                  <a:srgbClr val="3F4043"/>
                </a:solidFill>
                <a:latin typeface="Verdana" pitchFamily="34" charset="0"/>
              </a:endParaRPr>
            </a:p>
          </p:txBody>
        </p:sp>
        <p:sp>
          <p:nvSpPr>
            <p:cNvPr id="27" name="Tijdelijke aanduiding voor tekst 2">
              <a:extLst>
                <a:ext uri="{FF2B5EF4-FFF2-40B4-BE49-F238E27FC236}">
                  <a16:creationId xmlns:a16="http://schemas.microsoft.com/office/drawing/2014/main" id="{E22C6CE8-346B-45D3-A822-DFA94EA88F49}"/>
                </a:ext>
              </a:extLst>
            </p:cNvPr>
            <p:cNvSpPr txBox="1">
              <a:spLocks/>
            </p:cNvSpPr>
            <p:nvPr/>
          </p:nvSpPr>
          <p:spPr>
            <a:xfrm>
              <a:off x="6043415" y="1552647"/>
              <a:ext cx="2575365" cy="259432"/>
            </a:xfrm>
            <a:prstGeom prst="rect">
              <a:avLst/>
            </a:prstGeom>
          </p:spPr>
          <p:txBody>
            <a:bodyPr/>
            <a:lstStyle>
              <a:lvl1pPr marL="0" indent="0" algn="l" defTabSz="914400" rtl="0" eaLnBrk="1" latinLnBrk="0" hangingPunct="1">
                <a:spcBef>
                  <a:spcPts val="300"/>
                </a:spcBef>
                <a:buFont typeface="Arial" pitchFamily="34" charset="0"/>
                <a:buNone/>
                <a:defRPr sz="2000" kern="1200">
                  <a:solidFill>
                    <a:schemeClr val="tx2"/>
                  </a:solidFill>
                  <a:latin typeface="Verdana" pitchFamily="34" charset="0"/>
                  <a:ea typeface="+mn-ea"/>
                  <a:cs typeface="+mn-cs"/>
                </a:defRPr>
              </a:lvl1pPr>
              <a:lvl2pPr marL="342900" indent="-342900" algn="l" defTabSz="914400" rtl="0" eaLnBrk="1" latinLnBrk="0" hangingPunct="1">
                <a:spcBef>
                  <a:spcPts val="300"/>
                </a:spcBef>
                <a:buClr>
                  <a:schemeClr val="tx1"/>
                </a:buClr>
                <a:buSzPct val="100000"/>
                <a:buFont typeface="Verdana" pitchFamily="34" charset="0"/>
                <a:buChar char="●"/>
                <a:defRPr sz="2000" kern="1200">
                  <a:solidFill>
                    <a:schemeClr val="tx2"/>
                  </a:solidFill>
                  <a:latin typeface="Verdana" pitchFamily="34" charset="0"/>
                  <a:ea typeface="+mn-ea"/>
                  <a:cs typeface="+mn-cs"/>
                </a:defRPr>
              </a:lvl2pPr>
              <a:lvl3pPr marL="720725" indent="-365125" algn="l" defTabSz="914400" rtl="0" eaLnBrk="1" latinLnBrk="0" hangingPunct="1">
                <a:spcBef>
                  <a:spcPts val="300"/>
                </a:spcBef>
                <a:buClr>
                  <a:schemeClr val="tx1"/>
                </a:buClr>
                <a:buFont typeface="Verdana" pitchFamily="34" charset="0"/>
                <a:buChar char="–"/>
                <a:defRPr sz="1800" kern="1200">
                  <a:solidFill>
                    <a:schemeClr val="tx2"/>
                  </a:solidFill>
                  <a:latin typeface="Verdana" pitchFamily="34" charset="0"/>
                  <a:ea typeface="+mn-ea"/>
                  <a:cs typeface="+mn-cs"/>
                </a:defRPr>
              </a:lvl3pPr>
              <a:lvl4pPr marL="1063625" indent="-342900" algn="l" defTabSz="914400" rtl="0" eaLnBrk="1" latinLnBrk="0" hangingPunct="1">
                <a:spcBef>
                  <a:spcPts val="300"/>
                </a:spcBef>
                <a:buClr>
                  <a:schemeClr val="tx1"/>
                </a:buClr>
                <a:buFont typeface="Verdana" pitchFamily="34" charset="0"/>
                <a:buChar char="»"/>
                <a:defRPr sz="1600" kern="1200">
                  <a:solidFill>
                    <a:schemeClr val="tx2"/>
                  </a:solidFill>
                  <a:latin typeface="Verdana" pitchFamily="34" charset="0"/>
                  <a:ea typeface="+mn-ea"/>
                  <a:cs typeface="+mn-cs"/>
                </a:defRPr>
              </a:lvl4pPr>
              <a:lvl5pPr marL="1431925" indent="-355600" algn="l" defTabSz="914400" rtl="0" eaLnBrk="1" latinLnBrk="0" hangingPunct="1">
                <a:spcBef>
                  <a:spcPts val="300"/>
                </a:spcBef>
                <a:buClr>
                  <a:schemeClr val="tx2"/>
                </a:buClr>
                <a:buFont typeface="Verdana" pitchFamily="34" charset="0"/>
                <a:buChar char="›"/>
                <a:defRPr sz="1600" kern="1200">
                  <a:solidFill>
                    <a:schemeClr val="tx2"/>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19140">
                <a:spcBef>
                  <a:spcPts val="400"/>
                </a:spcBef>
                <a:defRPr/>
              </a:pPr>
              <a:r>
                <a:rPr lang="en-GB" sz="1867">
                  <a:solidFill>
                    <a:srgbClr val="F7931E"/>
                  </a:solidFill>
                </a:rPr>
                <a:t>Export to</a:t>
              </a:r>
            </a:p>
          </p:txBody>
        </p:sp>
        <p:grpSp>
          <p:nvGrpSpPr>
            <p:cNvPr id="30" name="Groep 29">
              <a:extLst>
                <a:ext uri="{FF2B5EF4-FFF2-40B4-BE49-F238E27FC236}">
                  <a16:creationId xmlns:a16="http://schemas.microsoft.com/office/drawing/2014/main" id="{4FCE1061-95A1-480E-8AB9-D51A001A62DF}"/>
                </a:ext>
              </a:extLst>
            </p:cNvPr>
            <p:cNvGrpSpPr/>
            <p:nvPr/>
          </p:nvGrpSpPr>
          <p:grpSpPr>
            <a:xfrm>
              <a:off x="6474248" y="1743541"/>
              <a:ext cx="1738674" cy="459017"/>
              <a:chOff x="4177087" y="3908827"/>
              <a:chExt cx="1738674" cy="459017"/>
            </a:xfrm>
          </p:grpSpPr>
          <p:sp>
            <p:nvSpPr>
              <p:cNvPr id="26" name="Tijdelijke aanduiding voor tekst 2">
                <a:extLst>
                  <a:ext uri="{FF2B5EF4-FFF2-40B4-BE49-F238E27FC236}">
                    <a16:creationId xmlns:a16="http://schemas.microsoft.com/office/drawing/2014/main" id="{F5630333-5DC4-42D0-9446-E5735E8561CC}"/>
                  </a:ext>
                </a:extLst>
              </p:cNvPr>
              <p:cNvSpPr txBox="1">
                <a:spLocks/>
              </p:cNvSpPr>
              <p:nvPr/>
            </p:nvSpPr>
            <p:spPr>
              <a:xfrm>
                <a:off x="4177087" y="3908827"/>
                <a:ext cx="850121" cy="459017"/>
              </a:xfrm>
              <a:prstGeom prst="rect">
                <a:avLst/>
              </a:prstGeom>
            </p:spPr>
            <p:txBody>
              <a:bodyPr lIns="121920" tIns="60960" rIns="121920" bIns="60960" anchor="t"/>
              <a:lstStyle>
                <a:lvl1pPr marL="0" indent="0" algn="l" defTabSz="914400" rtl="0" eaLnBrk="1" latinLnBrk="0" hangingPunct="1">
                  <a:spcBef>
                    <a:spcPts val="300"/>
                  </a:spcBef>
                  <a:buFont typeface="Arial" pitchFamily="34" charset="0"/>
                  <a:buNone/>
                  <a:defRPr sz="2000" kern="1200">
                    <a:solidFill>
                      <a:schemeClr val="tx2"/>
                    </a:solidFill>
                    <a:latin typeface="Verdana" pitchFamily="34" charset="0"/>
                    <a:ea typeface="+mn-ea"/>
                    <a:cs typeface="+mn-cs"/>
                  </a:defRPr>
                </a:lvl1pPr>
                <a:lvl2pPr marL="342900" indent="-342900" algn="l" defTabSz="914400" rtl="0" eaLnBrk="1" latinLnBrk="0" hangingPunct="1">
                  <a:spcBef>
                    <a:spcPts val="300"/>
                  </a:spcBef>
                  <a:buClr>
                    <a:schemeClr val="tx1"/>
                  </a:buClr>
                  <a:buSzPct val="100000"/>
                  <a:buFont typeface="Verdana" pitchFamily="34" charset="0"/>
                  <a:buChar char="●"/>
                  <a:defRPr sz="2000" kern="1200">
                    <a:solidFill>
                      <a:schemeClr val="tx2"/>
                    </a:solidFill>
                    <a:latin typeface="Verdana" pitchFamily="34" charset="0"/>
                    <a:ea typeface="+mn-ea"/>
                    <a:cs typeface="+mn-cs"/>
                  </a:defRPr>
                </a:lvl2pPr>
                <a:lvl3pPr marL="720725" indent="-365125" algn="l" defTabSz="914400" rtl="0" eaLnBrk="1" latinLnBrk="0" hangingPunct="1">
                  <a:spcBef>
                    <a:spcPts val="300"/>
                  </a:spcBef>
                  <a:buClr>
                    <a:schemeClr val="tx1"/>
                  </a:buClr>
                  <a:buFont typeface="Verdana" pitchFamily="34" charset="0"/>
                  <a:buChar char="–"/>
                  <a:defRPr sz="1800" kern="1200">
                    <a:solidFill>
                      <a:schemeClr val="tx2"/>
                    </a:solidFill>
                    <a:latin typeface="Verdana" pitchFamily="34" charset="0"/>
                    <a:ea typeface="+mn-ea"/>
                    <a:cs typeface="+mn-cs"/>
                  </a:defRPr>
                </a:lvl3pPr>
                <a:lvl4pPr marL="1063625" indent="-342900" algn="l" defTabSz="914400" rtl="0" eaLnBrk="1" latinLnBrk="0" hangingPunct="1">
                  <a:spcBef>
                    <a:spcPts val="300"/>
                  </a:spcBef>
                  <a:buClr>
                    <a:schemeClr val="tx1"/>
                  </a:buClr>
                  <a:buFont typeface="Verdana" pitchFamily="34" charset="0"/>
                  <a:buChar char="»"/>
                  <a:defRPr sz="1600" kern="1200">
                    <a:solidFill>
                      <a:schemeClr val="tx2"/>
                    </a:solidFill>
                    <a:latin typeface="Verdana" pitchFamily="34" charset="0"/>
                    <a:ea typeface="+mn-ea"/>
                    <a:cs typeface="+mn-cs"/>
                  </a:defRPr>
                </a:lvl4pPr>
                <a:lvl5pPr marL="1431925" indent="-355600" algn="l" defTabSz="914400" rtl="0" eaLnBrk="1" latinLnBrk="0" hangingPunct="1">
                  <a:spcBef>
                    <a:spcPts val="300"/>
                  </a:spcBef>
                  <a:buClr>
                    <a:schemeClr val="tx2"/>
                  </a:buClr>
                  <a:buFont typeface="Verdana" pitchFamily="34" charset="0"/>
                  <a:buChar char="›"/>
                  <a:defRPr sz="1600" kern="1200">
                    <a:solidFill>
                      <a:schemeClr val="tx2"/>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19140">
                  <a:spcBef>
                    <a:spcPts val="400"/>
                  </a:spcBef>
                  <a:defRPr/>
                </a:pPr>
                <a:r>
                  <a:rPr lang="en-GB" sz="3200" b="1">
                    <a:solidFill>
                      <a:srgbClr val="F7931E"/>
                    </a:solidFill>
                    <a:latin typeface="Verdana"/>
                    <a:ea typeface="Verdana"/>
                    <a:cs typeface="Verdana"/>
                  </a:rPr>
                  <a:t>73</a:t>
                </a:r>
                <a:endParaRPr lang="en-GB" sz="3200" b="1">
                  <a:solidFill>
                    <a:srgbClr val="F7931E"/>
                  </a:solidFill>
                </a:endParaRPr>
              </a:p>
            </p:txBody>
          </p:sp>
          <p:sp>
            <p:nvSpPr>
              <p:cNvPr id="28" name="Tijdelijke aanduiding voor tekst 2">
                <a:extLst>
                  <a:ext uri="{FF2B5EF4-FFF2-40B4-BE49-F238E27FC236}">
                    <a16:creationId xmlns:a16="http://schemas.microsoft.com/office/drawing/2014/main" id="{14EB2871-13B8-4143-97D4-C978CFEA176F}"/>
                  </a:ext>
                </a:extLst>
              </p:cNvPr>
              <p:cNvSpPr txBox="1">
                <a:spLocks/>
              </p:cNvSpPr>
              <p:nvPr/>
            </p:nvSpPr>
            <p:spPr>
              <a:xfrm>
                <a:off x="4696041" y="4030678"/>
                <a:ext cx="1219720" cy="329593"/>
              </a:xfrm>
              <a:prstGeom prst="rect">
                <a:avLst/>
              </a:prstGeom>
            </p:spPr>
            <p:txBody>
              <a:bodyPr/>
              <a:lstStyle>
                <a:lvl1pPr marL="0" indent="0" algn="l" defTabSz="914400" rtl="0" eaLnBrk="1" latinLnBrk="0" hangingPunct="1">
                  <a:spcBef>
                    <a:spcPts val="300"/>
                  </a:spcBef>
                  <a:buFont typeface="Arial" pitchFamily="34" charset="0"/>
                  <a:buNone/>
                  <a:defRPr sz="2000" kern="1200">
                    <a:solidFill>
                      <a:schemeClr val="tx2"/>
                    </a:solidFill>
                    <a:latin typeface="Verdana" pitchFamily="34" charset="0"/>
                    <a:ea typeface="+mn-ea"/>
                    <a:cs typeface="+mn-cs"/>
                  </a:defRPr>
                </a:lvl1pPr>
                <a:lvl2pPr marL="342900" indent="-342900" algn="l" defTabSz="914400" rtl="0" eaLnBrk="1" latinLnBrk="0" hangingPunct="1">
                  <a:spcBef>
                    <a:spcPts val="300"/>
                  </a:spcBef>
                  <a:buClr>
                    <a:schemeClr val="tx1"/>
                  </a:buClr>
                  <a:buSzPct val="100000"/>
                  <a:buFont typeface="Verdana" pitchFamily="34" charset="0"/>
                  <a:buChar char="●"/>
                  <a:defRPr sz="2000" kern="1200">
                    <a:solidFill>
                      <a:schemeClr val="tx2"/>
                    </a:solidFill>
                    <a:latin typeface="Verdana" pitchFamily="34" charset="0"/>
                    <a:ea typeface="+mn-ea"/>
                    <a:cs typeface="+mn-cs"/>
                  </a:defRPr>
                </a:lvl2pPr>
                <a:lvl3pPr marL="720725" indent="-365125" algn="l" defTabSz="914400" rtl="0" eaLnBrk="1" latinLnBrk="0" hangingPunct="1">
                  <a:spcBef>
                    <a:spcPts val="300"/>
                  </a:spcBef>
                  <a:buClr>
                    <a:schemeClr val="tx1"/>
                  </a:buClr>
                  <a:buFont typeface="Verdana" pitchFamily="34" charset="0"/>
                  <a:buChar char="–"/>
                  <a:defRPr sz="1800" kern="1200">
                    <a:solidFill>
                      <a:schemeClr val="tx2"/>
                    </a:solidFill>
                    <a:latin typeface="Verdana" pitchFamily="34" charset="0"/>
                    <a:ea typeface="+mn-ea"/>
                    <a:cs typeface="+mn-cs"/>
                  </a:defRPr>
                </a:lvl3pPr>
                <a:lvl4pPr marL="1063625" indent="-342900" algn="l" defTabSz="914400" rtl="0" eaLnBrk="1" latinLnBrk="0" hangingPunct="1">
                  <a:spcBef>
                    <a:spcPts val="300"/>
                  </a:spcBef>
                  <a:buClr>
                    <a:schemeClr val="tx1"/>
                  </a:buClr>
                  <a:buFont typeface="Verdana" pitchFamily="34" charset="0"/>
                  <a:buChar char="»"/>
                  <a:defRPr sz="1600" kern="1200">
                    <a:solidFill>
                      <a:schemeClr val="tx2"/>
                    </a:solidFill>
                    <a:latin typeface="Verdana" pitchFamily="34" charset="0"/>
                    <a:ea typeface="+mn-ea"/>
                    <a:cs typeface="+mn-cs"/>
                  </a:defRPr>
                </a:lvl4pPr>
                <a:lvl5pPr marL="1431925" indent="-355600" algn="l" defTabSz="914400" rtl="0" eaLnBrk="1" latinLnBrk="0" hangingPunct="1">
                  <a:spcBef>
                    <a:spcPts val="300"/>
                  </a:spcBef>
                  <a:buClr>
                    <a:schemeClr val="tx2"/>
                  </a:buClr>
                  <a:buFont typeface="Verdana" pitchFamily="34" charset="0"/>
                  <a:buChar char="›"/>
                  <a:defRPr sz="1600" kern="1200">
                    <a:solidFill>
                      <a:schemeClr val="tx2"/>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19140">
                  <a:spcBef>
                    <a:spcPts val="400"/>
                  </a:spcBef>
                  <a:defRPr/>
                </a:pPr>
                <a:r>
                  <a:rPr lang="en-GB" sz="1600">
                    <a:solidFill>
                      <a:srgbClr val="F7931E"/>
                    </a:solidFill>
                  </a:rPr>
                  <a:t> </a:t>
                </a:r>
                <a:r>
                  <a:rPr lang="en-GB" sz="1867">
                    <a:solidFill>
                      <a:srgbClr val="F7931E"/>
                    </a:solidFill>
                  </a:rPr>
                  <a:t>countries</a:t>
                </a:r>
                <a:endParaRPr lang="en-GB" sz="1600">
                  <a:solidFill>
                    <a:srgbClr val="F7931E"/>
                  </a:solidFill>
                </a:endParaRPr>
              </a:p>
            </p:txBody>
          </p:sp>
        </p:grpSp>
        <p:pic>
          <p:nvPicPr>
            <p:cNvPr id="29" name="Picture 6">
              <a:extLst>
                <a:ext uri="{FF2B5EF4-FFF2-40B4-BE49-F238E27FC236}">
                  <a16:creationId xmlns:a16="http://schemas.microsoft.com/office/drawing/2014/main" id="{70AEB5D8-151E-4B32-8E84-8F075DAAE1BD}"/>
                </a:ext>
              </a:extLst>
            </p:cNvPr>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4196074" y="1632159"/>
              <a:ext cx="1974850" cy="633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a:extLst>
              <a:ext uri="{FF2B5EF4-FFF2-40B4-BE49-F238E27FC236}">
                <a16:creationId xmlns:a16="http://schemas.microsoft.com/office/drawing/2014/main" id="{C02CE75C-B205-4222-A96B-50558BBD129F}"/>
              </a:ext>
            </a:extLst>
          </p:cNvPr>
          <p:cNvGrpSpPr/>
          <p:nvPr/>
        </p:nvGrpSpPr>
        <p:grpSpPr>
          <a:xfrm>
            <a:off x="7001487" y="3649037"/>
            <a:ext cx="2402020" cy="2016000"/>
            <a:chOff x="5251115" y="2900328"/>
            <a:chExt cx="1801515" cy="1512000"/>
          </a:xfrm>
        </p:grpSpPr>
        <p:sp>
          <p:nvSpPr>
            <p:cNvPr id="11" name="Rectangle 10">
              <a:extLst>
                <a:ext uri="{FF2B5EF4-FFF2-40B4-BE49-F238E27FC236}">
                  <a16:creationId xmlns:a16="http://schemas.microsoft.com/office/drawing/2014/main" id="{F07F8864-3B94-439F-953B-282B9D4C2704}"/>
                </a:ext>
              </a:extLst>
            </p:cNvPr>
            <p:cNvSpPr>
              <a:spLocks noChangeArrowheads="1"/>
            </p:cNvSpPr>
            <p:nvPr/>
          </p:nvSpPr>
          <p:spPr bwMode="gray">
            <a:xfrm>
              <a:off x="5387120" y="2900328"/>
              <a:ext cx="1529507" cy="1512000"/>
            </a:xfrm>
            <a:prstGeom prst="rect">
              <a:avLst/>
            </a:prstGeom>
            <a:gradFill>
              <a:gsLst>
                <a:gs pos="0">
                  <a:srgbClr val="FFFFFF">
                    <a:lumMod val="95000"/>
                  </a:srgbClr>
                </a:gs>
                <a:gs pos="100000">
                  <a:srgbClr val="FFFFFF"/>
                </a:gs>
              </a:gsLst>
              <a:lin ang="5400000" scaled="1"/>
            </a:gradFill>
            <a:ln w="12700">
              <a:noFill/>
              <a:miter lim="800000"/>
              <a:headEnd/>
              <a:tailEnd/>
            </a:ln>
            <a:effectLst>
              <a:outerShdw blurRad="101600" dist="38100" dir="2700000" algn="tl" rotWithShape="0">
                <a:prstClr val="black">
                  <a:alpha val="20000"/>
                </a:prstClr>
              </a:outerShdw>
            </a:effectLst>
          </p:spPr>
          <p:txBody>
            <a:bodyPr lIns="181423" tIns="192000" rIns="96000" bIns="120948"/>
            <a:lstStyle>
              <a:lvl1pPr marL="190500" indent="-190500" algn="l">
                <a:defRPr>
                  <a:solidFill>
                    <a:schemeClr val="tx1"/>
                  </a:solidFill>
                  <a:latin typeface="Arial" pitchFamily="34" charset="0"/>
                </a:defRPr>
              </a:lvl1pPr>
              <a:lvl2pPr algn="l">
                <a:defRPr>
                  <a:solidFill>
                    <a:schemeClr val="tx1"/>
                  </a:solidFill>
                  <a:latin typeface="Arial" pitchFamily="34" charset="0"/>
                </a:defRPr>
              </a:lvl2pPr>
              <a:lvl3pPr algn="l">
                <a:defRPr>
                  <a:solidFill>
                    <a:schemeClr val="tx1"/>
                  </a:solidFill>
                  <a:latin typeface="Arial" pitchFamily="34" charset="0"/>
                </a:defRPr>
              </a:lvl3pPr>
              <a:lvl4pPr algn="l">
                <a:defRPr>
                  <a:solidFill>
                    <a:schemeClr val="tx1"/>
                  </a:solidFill>
                  <a:latin typeface="Arial" pitchFamily="34" charset="0"/>
                </a:defRPr>
              </a:lvl4pPr>
              <a:lvl5pPr algn="l">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pPr marL="243405" indent="-243405" defTabSz="1219140">
                <a:lnSpc>
                  <a:spcPts val="2400"/>
                </a:lnSpc>
                <a:spcBef>
                  <a:spcPts val="400"/>
                </a:spcBef>
                <a:buClr>
                  <a:srgbClr val="0094D9"/>
                </a:buClr>
                <a:buSzPct val="90000"/>
                <a:buFont typeface="Arial" panose="020B0604020202020204" pitchFamily="34" charset="0"/>
                <a:buChar char="●"/>
                <a:defRPr/>
              </a:pPr>
              <a:endParaRPr lang="en-GB" sz="2133" kern="0">
                <a:solidFill>
                  <a:srgbClr val="3F4043"/>
                </a:solidFill>
                <a:latin typeface="Verdana" pitchFamily="34" charset="0"/>
              </a:endParaRPr>
            </a:p>
          </p:txBody>
        </p:sp>
        <p:pic>
          <p:nvPicPr>
            <p:cNvPr id="31" name="Picture 26">
              <a:extLst>
                <a:ext uri="{FF2B5EF4-FFF2-40B4-BE49-F238E27FC236}">
                  <a16:creationId xmlns:a16="http://schemas.microsoft.com/office/drawing/2014/main" id="{0D4224AC-90AA-42BD-800F-71A46B98C54D}"/>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905038" y="3040063"/>
              <a:ext cx="493670" cy="567814"/>
            </a:xfrm>
            <a:prstGeom prst="rect">
              <a:avLst/>
            </a:prstGeom>
          </p:spPr>
        </p:pic>
        <p:sp>
          <p:nvSpPr>
            <p:cNvPr id="32" name="Rechthoek 23">
              <a:extLst>
                <a:ext uri="{FF2B5EF4-FFF2-40B4-BE49-F238E27FC236}">
                  <a16:creationId xmlns:a16="http://schemas.microsoft.com/office/drawing/2014/main" id="{3E76EE08-818F-4F48-9CEE-B0548890818B}"/>
                </a:ext>
              </a:extLst>
            </p:cNvPr>
            <p:cNvSpPr/>
            <p:nvPr/>
          </p:nvSpPr>
          <p:spPr>
            <a:xfrm>
              <a:off x="5251115" y="3643059"/>
              <a:ext cx="1801515" cy="546400"/>
            </a:xfrm>
            <a:prstGeom prst="rect">
              <a:avLst/>
            </a:prstGeom>
          </p:spPr>
          <p:txBody>
            <a:bodyPr wrap="square">
              <a:spAutoFit/>
            </a:bodyPr>
            <a:lstStyle/>
            <a:p>
              <a:pPr algn="ctr" defTabSz="1219140" fontAlgn="base">
                <a:spcBef>
                  <a:spcPct val="0"/>
                </a:spcBef>
                <a:spcAft>
                  <a:spcPct val="0"/>
                </a:spcAft>
                <a:defRPr/>
              </a:pPr>
              <a:r>
                <a:rPr lang="en-GB" sz="2667" b="1">
                  <a:solidFill>
                    <a:srgbClr val="39B54A"/>
                  </a:solidFill>
                  <a:latin typeface="Verdana"/>
                  <a:ea typeface="MS PGothic" charset="0"/>
                </a:rPr>
                <a:t>1</a:t>
              </a:r>
              <a:r>
                <a:rPr lang="en-GB" sz="1600" b="1">
                  <a:solidFill>
                    <a:srgbClr val="39B54A"/>
                  </a:solidFill>
                  <a:latin typeface="Verdana"/>
                  <a:ea typeface="MS PGothic" charset="0"/>
                </a:rPr>
                <a:t> </a:t>
              </a:r>
              <a:r>
                <a:rPr lang="en-GB" sz="1467">
                  <a:solidFill>
                    <a:srgbClr val="39B54A"/>
                  </a:solidFill>
                  <a:latin typeface="Verdana"/>
                  <a:ea typeface="MS PGothic" charset="0"/>
                </a:rPr>
                <a:t>global</a:t>
              </a:r>
              <a:br>
                <a:rPr lang="en-GB" sz="1467" b="1">
                  <a:solidFill>
                    <a:srgbClr val="39B54A"/>
                  </a:solidFill>
                  <a:latin typeface="Verdana"/>
                  <a:ea typeface="MS PGothic" charset="0"/>
                </a:rPr>
              </a:br>
              <a:r>
                <a:rPr lang="en-GB" sz="1467" b="1">
                  <a:solidFill>
                    <a:srgbClr val="39B54A"/>
                  </a:solidFill>
                  <a:latin typeface="Verdana"/>
                  <a:ea typeface="MS PGothic" charset="0"/>
                </a:rPr>
                <a:t>innovation </a:t>
              </a:r>
              <a:r>
                <a:rPr lang="en-GB" sz="1467">
                  <a:solidFill>
                    <a:srgbClr val="39B54A"/>
                  </a:solidFill>
                  <a:latin typeface="Verdana"/>
                  <a:ea typeface="MS PGothic" charset="0"/>
                </a:rPr>
                <a:t>centre</a:t>
              </a:r>
              <a:endParaRPr lang="en-GB" sz="2133">
                <a:solidFill>
                  <a:srgbClr val="39B54A"/>
                </a:solidFill>
                <a:latin typeface="Verdana"/>
                <a:ea typeface="MS PGothic" charset="0"/>
              </a:endParaRPr>
            </a:p>
          </p:txBody>
        </p:sp>
      </p:grpSp>
      <p:sp>
        <p:nvSpPr>
          <p:cNvPr id="3" name="Footer Placeholder 2">
            <a:extLst>
              <a:ext uri="{FF2B5EF4-FFF2-40B4-BE49-F238E27FC236}">
                <a16:creationId xmlns:a16="http://schemas.microsoft.com/office/drawing/2014/main" id="{6898BD81-5410-93E3-6177-DA5F3D48B04A}"/>
              </a:ext>
            </a:extLst>
          </p:cNvPr>
          <p:cNvSpPr>
            <a:spLocks noGrp="1"/>
          </p:cNvSpPr>
          <p:nvPr>
            <p:ph type="ftr" sz="quarter" idx="11"/>
          </p:nvPr>
        </p:nvSpPr>
        <p:spPr/>
        <p:txBody>
          <a:bodyPr>
            <a:normAutofit/>
          </a:bodyPr>
          <a:lstStyle/>
          <a:p>
            <a:endParaRPr lang="en-GB"/>
          </a:p>
        </p:txBody>
      </p:sp>
    </p:spTree>
    <p:extLst>
      <p:ext uri="{BB962C8B-B14F-4D97-AF65-F5344CB8AC3E}">
        <p14:creationId xmlns:p14="http://schemas.microsoft.com/office/powerpoint/2010/main" val="2412632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4"/>
    </p:ext>
  </p:extLs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156A2BD-E181-664A-B5BB-98799D0799CF}"/>
              </a:ext>
            </a:extLst>
          </p:cNvPr>
          <p:cNvSpPr>
            <a:spLocks noGrp="1"/>
          </p:cNvSpPr>
          <p:nvPr>
            <p:ph type="title"/>
          </p:nvPr>
        </p:nvSpPr>
        <p:spPr>
          <a:xfrm>
            <a:off x="2417884" y="548218"/>
            <a:ext cx="9198381" cy="1036965"/>
          </a:xfrm>
        </p:spPr>
        <p:txBody>
          <a:bodyPr>
            <a:normAutofit/>
          </a:bodyPr>
          <a:lstStyle/>
          <a:p>
            <a:r>
              <a:t>We are FrieslandCampina Ingredients</a:t>
            </a:r>
            <a:br/>
            <a:r>
              <a:t>我们是FrieslandCampina Ingredients</a:t>
            </a:r>
            <a:endParaRPr lang="en-NL"/>
          </a:p>
        </p:txBody>
      </p:sp>
      <p:sp>
        <p:nvSpPr>
          <p:cNvPr id="9" name="Content Placeholder 8">
            <a:extLst>
              <a:ext uri="{FF2B5EF4-FFF2-40B4-BE49-F238E27FC236}">
                <a16:creationId xmlns:a16="http://schemas.microsoft.com/office/drawing/2014/main" id="{1E88F1AF-138B-3A4C-A974-B9B6FBD02718}"/>
              </a:ext>
            </a:extLst>
          </p:cNvPr>
          <p:cNvSpPr>
            <a:spLocks noGrp="1"/>
          </p:cNvSpPr>
          <p:nvPr>
            <p:ph idx="1"/>
          </p:nvPr>
        </p:nvSpPr>
        <p:spPr/>
        <p:txBody>
          <a:bodyPr>
            <a:normAutofit/>
          </a:bodyPr>
          <a:lstStyle/>
          <a:p>
            <a:pPr marL="0" indent="0">
              <a:buNone/>
            </a:pPr>
            <a:r>
              <a:t>We bring expertise and insights in a wide range of markets. We collaborate with our partners to develop nutritional health and well-being solutions for people in all life stages.</a:t>
            </a:r>
            <a:br/>
            <a:r>
              <a:t>我们在广泛的市场中提供专业知识和洞察。我们与合作伙伴共同开发适用于各个生命周期阶段的营养健康和福祉解决方案。</a:t>
            </a:r>
          </a:p>
          <a:p>
            <a:pPr marL="0" indent="0">
              <a:buNone/>
            </a:pPr>
            <a:r>
              <a:t>We offer nutrition to get the most out of life. Always.</a:t>
            </a:r>
            <a:br/>
            <a:r>
              <a:t>我们提供营养，帮助人们充分享受生活。始终如一。</a:t>
            </a:r>
          </a:p>
          <a:p>
            <a:pPr marL="0" indent="0">
              <a:buNone/>
            </a:pPr>
            <a:endParaRPr lang="en-NL" sz="1830"/>
          </a:p>
        </p:txBody>
      </p:sp>
      <p:sp>
        <p:nvSpPr>
          <p:cNvPr id="4" name="Slide Number Placeholder 3">
            <a:extLst>
              <a:ext uri="{FF2B5EF4-FFF2-40B4-BE49-F238E27FC236}">
                <a16:creationId xmlns:a16="http://schemas.microsoft.com/office/drawing/2014/main" id="{4711DB36-B504-4444-A332-23CFF5796DC9}"/>
              </a:ext>
            </a:extLst>
          </p:cNvPr>
          <p:cNvSpPr>
            <a:spLocks noGrp="1"/>
          </p:cNvSpPr>
          <p:nvPr>
            <p:ph type="sldNum" sz="quarter" idx="12"/>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BE0E23E-9022-4929-B297-EB2777CDBB1F}" type="slidenum">
              <a:rPr kumimoji="0" lang="en-US" sz="667" b="0" i="0" u="none" strike="noStrike" kern="1200" cap="none" spc="0" normalizeH="0" baseline="0" noProof="0" smtClean="0">
                <a:ln>
                  <a:noFill/>
                </a:ln>
                <a:solidFill>
                  <a:srgbClr val="3F4043">
                    <a:tint val="75000"/>
                  </a:srgbClr>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US" sz="667" b="0" i="0" u="none" strike="noStrike" kern="1200" cap="none" spc="0" normalizeH="0" baseline="0" noProof="0">
              <a:ln>
                <a:noFill/>
              </a:ln>
              <a:solidFill>
                <a:srgbClr val="3F4043">
                  <a:tint val="75000"/>
                </a:srgbClr>
              </a:solidFill>
              <a:effectLst/>
              <a:uLnTx/>
              <a:uFillTx/>
              <a:latin typeface="Verdana"/>
              <a:ea typeface="+mn-ea"/>
              <a:cs typeface="+mn-cs"/>
            </a:endParaRPr>
          </a:p>
        </p:txBody>
      </p:sp>
      <p:pic>
        <p:nvPicPr>
          <p:cNvPr id="10" name="Picture 9">
            <a:extLst>
              <a:ext uri="{FF2B5EF4-FFF2-40B4-BE49-F238E27FC236}">
                <a16:creationId xmlns:a16="http://schemas.microsoft.com/office/drawing/2014/main" id="{98308336-0C67-7C45-B437-9798B67F382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825063" y="3122689"/>
            <a:ext cx="2036064" cy="2036064"/>
          </a:xfrm>
          <a:prstGeom prst="rect">
            <a:avLst/>
          </a:prstGeom>
        </p:spPr>
      </p:pic>
      <p:pic>
        <p:nvPicPr>
          <p:cNvPr id="11" name="Picture 10" descr="A picture containing wall, indoor, room&#10;&#10;Description automatically generated">
            <a:extLst>
              <a:ext uri="{FF2B5EF4-FFF2-40B4-BE49-F238E27FC236}">
                <a16:creationId xmlns:a16="http://schemas.microsoft.com/office/drawing/2014/main" id="{66759ADD-8358-7949-8151-1B3793C04D88}"/>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75733" y="3132719"/>
            <a:ext cx="2035200" cy="2035200"/>
          </a:xfrm>
          <a:prstGeom prst="rect">
            <a:avLst/>
          </a:prstGeom>
        </p:spPr>
      </p:pic>
      <p:pic>
        <p:nvPicPr>
          <p:cNvPr id="12" name="Tijdelijke aanduiding voor afbeelding 6" descr="Afbeelding met muur, binnen, kast, persoon&#10;&#10;Automatisch gegenereerde beschrijving">
            <a:extLst>
              <a:ext uri="{FF2B5EF4-FFF2-40B4-BE49-F238E27FC236}">
                <a16:creationId xmlns:a16="http://schemas.microsoft.com/office/drawing/2014/main" id="{97683003-8AA5-514C-A8E6-C18EDB16C8E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9581065" y="3122047"/>
            <a:ext cx="2035200" cy="2035200"/>
          </a:xfrm>
          <a:prstGeom prst="rect">
            <a:avLst/>
          </a:prstGeom>
        </p:spPr>
      </p:pic>
      <p:pic>
        <p:nvPicPr>
          <p:cNvPr id="13" name="Picture 12">
            <a:extLst>
              <a:ext uri="{FF2B5EF4-FFF2-40B4-BE49-F238E27FC236}">
                <a16:creationId xmlns:a16="http://schemas.microsoft.com/office/drawing/2014/main" id="{CFC15913-912C-C744-9BA9-9E34C0BD6C0C}"/>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7330752" y="3122047"/>
            <a:ext cx="2035200" cy="2035200"/>
          </a:xfrm>
          <a:prstGeom prst="rect">
            <a:avLst/>
          </a:prstGeom>
        </p:spPr>
      </p:pic>
      <p:pic>
        <p:nvPicPr>
          <p:cNvPr id="14" name="Picture Placeholder 6" descr="A person and person sitting on a pink chair&#10;&#10;Description automatically generated with low confidence">
            <a:extLst>
              <a:ext uri="{FF2B5EF4-FFF2-40B4-BE49-F238E27FC236}">
                <a16:creationId xmlns:a16="http://schemas.microsoft.com/office/drawing/2014/main" id="{548B4D93-E596-5644-92D5-EFE033B9908A}"/>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5075968" y="3122047"/>
            <a:ext cx="2035200" cy="2035200"/>
          </a:xfrm>
          <a:prstGeom prst="rect">
            <a:avLst/>
          </a:prstGeom>
        </p:spPr>
      </p:pic>
      <p:sp>
        <p:nvSpPr>
          <p:cNvPr id="20" name="TextBox 19">
            <a:extLst>
              <a:ext uri="{FF2B5EF4-FFF2-40B4-BE49-F238E27FC236}">
                <a16:creationId xmlns:a16="http://schemas.microsoft.com/office/drawing/2014/main" id="{0712AFBE-9845-0E4E-BF81-C7B5B755C1DB}"/>
              </a:ext>
            </a:extLst>
          </p:cNvPr>
          <p:cNvSpPr txBox="1"/>
          <p:nvPr/>
        </p:nvSpPr>
        <p:spPr>
          <a:xfrm>
            <a:off x="189186" y="2858766"/>
            <a:ext cx="65" cy="218265"/>
          </a:xfrm>
          <a:prstGeom prst="rect">
            <a:avLst/>
          </a:prstGeom>
          <a:noFill/>
        </p:spPr>
        <p:txBody>
          <a:bodyPr wrap="none" lIns="0" tIns="0" rIns="0" bIns="0" rtlCol="0">
            <a:normAutofit/>
          </a:bodyPr>
          <a:lstStyle/>
          <a:p>
            <a:pPr marL="0" marR="0" lvl="0" indent="0" algn="l" defTabSz="914400" rtl="0" eaLnBrk="1" fontAlgn="auto" latinLnBrk="0" hangingPunct="1">
              <a:lnSpc>
                <a:spcPct val="112000"/>
              </a:lnSpc>
              <a:spcBef>
                <a:spcPts val="0"/>
              </a:spcBef>
              <a:spcAft>
                <a:spcPts val="0"/>
              </a:spcAft>
              <a:buClrTx/>
              <a:buSzTx/>
              <a:buFontTx/>
              <a:buNone/>
              <a:tabLst/>
              <a:defRPr/>
            </a:pPr>
            <a:endParaRPr kumimoji="0" lang="en-NL" sz="1400" b="0" i="0" u="none" strike="noStrike" kern="1200" cap="none" spc="0" normalizeH="0" baseline="0" noProof="0">
              <a:ln>
                <a:noFill/>
              </a:ln>
              <a:solidFill>
                <a:srgbClr val="3F4043"/>
              </a:solidFill>
              <a:effectLst/>
              <a:uLnTx/>
              <a:uFillTx/>
              <a:latin typeface="Verdana"/>
              <a:ea typeface="+mn-ea"/>
              <a:cs typeface="+mn-cs"/>
            </a:endParaRPr>
          </a:p>
        </p:txBody>
      </p:sp>
      <p:sp>
        <p:nvSpPr>
          <p:cNvPr id="31" name="Freeform: Shape 29">
            <a:extLst>
              <a:ext uri="{FF2B5EF4-FFF2-40B4-BE49-F238E27FC236}">
                <a16:creationId xmlns:a16="http://schemas.microsoft.com/office/drawing/2014/main" id="{DB29B657-EE98-5D41-9710-42D5DE2BBB20}"/>
              </a:ext>
            </a:extLst>
          </p:cNvPr>
          <p:cNvSpPr/>
          <p:nvPr/>
        </p:nvSpPr>
        <p:spPr>
          <a:xfrm>
            <a:off x="575733" y="5163128"/>
            <a:ext cx="2035079" cy="480000"/>
          </a:xfrm>
          <a:custGeom>
            <a:avLst/>
            <a:gdLst>
              <a:gd name="connsiteX0" fmla="*/ 0 w 1526309"/>
              <a:gd name="connsiteY0" fmla="*/ 0 h 360000"/>
              <a:gd name="connsiteX1" fmla="*/ 1526309 w 1526309"/>
              <a:gd name="connsiteY1" fmla="*/ 0 h 360000"/>
              <a:gd name="connsiteX2" fmla="*/ 1526309 w 1526309"/>
              <a:gd name="connsiteY2" fmla="*/ 299999 h 360000"/>
              <a:gd name="connsiteX3" fmla="*/ 1466308 w 1526309"/>
              <a:gd name="connsiteY3" fmla="*/ 360000 h 360000"/>
              <a:gd name="connsiteX4" fmla="*/ 0 w 1526309"/>
              <a:gd name="connsiteY4" fmla="*/ 360000 h 36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309" h="360000">
                <a:moveTo>
                  <a:pt x="0" y="0"/>
                </a:moveTo>
                <a:lnTo>
                  <a:pt x="1526309" y="0"/>
                </a:lnTo>
                <a:lnTo>
                  <a:pt x="1526309" y="299999"/>
                </a:lnTo>
                <a:cubicBezTo>
                  <a:pt x="1526309" y="333137"/>
                  <a:pt x="1499446" y="360000"/>
                  <a:pt x="1466308" y="360000"/>
                </a:cubicBezTo>
                <a:lnTo>
                  <a:pt x="0" y="360000"/>
                </a:lnTo>
                <a:close/>
              </a:path>
            </a:pathLst>
          </a:custGeom>
          <a:solidFill>
            <a:srgbClr val="ED1C24"/>
          </a:solidFill>
          <a:ln w="12700" cap="flat" cmpd="sng" algn="ctr">
            <a:noFill/>
            <a:prstDash val="solid"/>
            <a:miter lim="800000"/>
          </a:ln>
          <a:effectLst/>
        </p:spPr>
        <p:txBody>
          <a:bodyPr wrap="square" rtlCol="0" anchor="ctr">
            <a:normAutofit/>
          </a:bodyPr>
          <a:lstStyle/>
          <a:p>
            <a:pPr marL="0" marR="0" lvl="0" indent="0" algn="ctr" defTabSz="474097" rtl="0" eaLnBrk="1" fontAlgn="auto" latinLnBrk="0" hangingPunct="1">
              <a:lnSpc>
                <a:spcPct val="90000"/>
              </a:lnSpc>
              <a:spcBef>
                <a:spcPts val="0"/>
              </a:spcBef>
              <a:spcAft>
                <a:spcPct val="35000"/>
              </a:spcAft>
              <a:buClrTx/>
              <a:buSzTx/>
              <a:buFontTx/>
              <a:buNone/>
              <a:tabLst/>
              <a:defRPr/>
            </a:pPr>
            <a:r>
              <a:t>PerformanceNutrition</a:t>
            </a:r>
            <a:br/>
            <a:r>
              <a:t>运动营养</a:t>
            </a:r>
            <a:endParaRPr kumimoji="0" lang="en-GB" sz="1333" b="1" i="0" u="none" strike="noStrike" kern="0" cap="none" spc="0" normalizeH="0" baseline="0" noProof="0">
              <a:ln>
                <a:noFill/>
              </a:ln>
              <a:solidFill>
                <a:srgbClr val="FFFFFF"/>
              </a:solidFill>
              <a:effectLst/>
              <a:uLnTx/>
              <a:uFillTx/>
              <a:latin typeface="Verdana"/>
              <a:ea typeface="Verdana"/>
              <a:cs typeface="+mn-cs"/>
            </a:endParaRPr>
          </a:p>
        </p:txBody>
      </p:sp>
      <p:sp>
        <p:nvSpPr>
          <p:cNvPr id="32" name="Freeform: Shape 30">
            <a:extLst>
              <a:ext uri="{FF2B5EF4-FFF2-40B4-BE49-F238E27FC236}">
                <a16:creationId xmlns:a16="http://schemas.microsoft.com/office/drawing/2014/main" id="{E14E04FC-63B9-524A-9FC9-A80450D5973C}"/>
              </a:ext>
            </a:extLst>
          </p:cNvPr>
          <p:cNvSpPr/>
          <p:nvPr/>
        </p:nvSpPr>
        <p:spPr>
          <a:xfrm>
            <a:off x="2826048" y="5163128"/>
            <a:ext cx="2035079" cy="480000"/>
          </a:xfrm>
          <a:custGeom>
            <a:avLst/>
            <a:gdLst>
              <a:gd name="connsiteX0" fmla="*/ 0 w 1526309"/>
              <a:gd name="connsiteY0" fmla="*/ 0 h 360000"/>
              <a:gd name="connsiteX1" fmla="*/ 1526309 w 1526309"/>
              <a:gd name="connsiteY1" fmla="*/ 0 h 360000"/>
              <a:gd name="connsiteX2" fmla="*/ 1526309 w 1526309"/>
              <a:gd name="connsiteY2" fmla="*/ 299999 h 360000"/>
              <a:gd name="connsiteX3" fmla="*/ 1466308 w 1526309"/>
              <a:gd name="connsiteY3" fmla="*/ 360000 h 360000"/>
              <a:gd name="connsiteX4" fmla="*/ 0 w 1526309"/>
              <a:gd name="connsiteY4" fmla="*/ 360000 h 36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309" h="360000">
                <a:moveTo>
                  <a:pt x="0" y="0"/>
                </a:moveTo>
                <a:lnTo>
                  <a:pt x="1526309" y="0"/>
                </a:lnTo>
                <a:lnTo>
                  <a:pt x="1526309" y="299999"/>
                </a:lnTo>
                <a:cubicBezTo>
                  <a:pt x="1526309" y="333137"/>
                  <a:pt x="1499446" y="360000"/>
                  <a:pt x="1466308" y="360000"/>
                </a:cubicBezTo>
                <a:lnTo>
                  <a:pt x="0" y="360000"/>
                </a:lnTo>
                <a:close/>
              </a:path>
            </a:pathLst>
          </a:custGeom>
          <a:solidFill>
            <a:schemeClr val="accent6"/>
          </a:solidFill>
          <a:ln w="12700" cap="flat" cmpd="sng" algn="ctr">
            <a:noFill/>
            <a:prstDash val="solid"/>
            <a:miter lim="800000"/>
          </a:ln>
          <a:effectLst/>
        </p:spPr>
        <p:txBody>
          <a:bodyPr wrap="square" rtlCol="0" anchor="ctr">
            <a:normAutofit/>
          </a:bodyPr>
          <a:lstStyle/>
          <a:p>
            <a:pPr marL="0" marR="0" lvl="0" indent="0" algn="ctr" defTabSz="474097" rtl="0" eaLnBrk="1" fontAlgn="auto" latinLnBrk="0" hangingPunct="1">
              <a:lnSpc>
                <a:spcPct val="90000"/>
              </a:lnSpc>
              <a:spcBef>
                <a:spcPts val="0"/>
              </a:spcBef>
              <a:spcAft>
                <a:spcPct val="35000"/>
              </a:spcAft>
              <a:buClrTx/>
              <a:buSzTx/>
              <a:buFontTx/>
              <a:buNone/>
              <a:tabLst/>
              <a:defRPr/>
            </a:pPr>
            <a:r>
              <a:t>ActiveNutrition</a:t>
            </a:r>
            <a:br/>
            <a:r>
              <a:t>活力营养</a:t>
            </a:r>
            <a:endParaRPr kumimoji="0" lang="en-GB" sz="1467" b="1" i="0" u="none" strike="noStrike" kern="0" cap="none" spc="0" normalizeH="0" baseline="0" noProof="0">
              <a:ln>
                <a:noFill/>
              </a:ln>
              <a:solidFill>
                <a:srgbClr val="FFFFFF"/>
              </a:solidFill>
              <a:effectLst/>
              <a:uLnTx/>
              <a:uFillTx/>
              <a:latin typeface="Verdana"/>
              <a:ea typeface="+mn-ea"/>
              <a:cs typeface="+mn-cs"/>
            </a:endParaRPr>
          </a:p>
        </p:txBody>
      </p:sp>
      <p:sp>
        <p:nvSpPr>
          <p:cNvPr id="33" name="Freeform: Shape 31">
            <a:extLst>
              <a:ext uri="{FF2B5EF4-FFF2-40B4-BE49-F238E27FC236}">
                <a16:creationId xmlns:a16="http://schemas.microsoft.com/office/drawing/2014/main" id="{C34F7CF1-CD34-374F-AFEF-B3A49249F543}"/>
              </a:ext>
            </a:extLst>
          </p:cNvPr>
          <p:cNvSpPr/>
          <p:nvPr/>
        </p:nvSpPr>
        <p:spPr>
          <a:xfrm>
            <a:off x="5076060" y="5161622"/>
            <a:ext cx="2035079" cy="480000"/>
          </a:xfrm>
          <a:custGeom>
            <a:avLst/>
            <a:gdLst>
              <a:gd name="connsiteX0" fmla="*/ 0 w 1526309"/>
              <a:gd name="connsiteY0" fmla="*/ 0 h 360000"/>
              <a:gd name="connsiteX1" fmla="*/ 1526309 w 1526309"/>
              <a:gd name="connsiteY1" fmla="*/ 0 h 360000"/>
              <a:gd name="connsiteX2" fmla="*/ 1526309 w 1526309"/>
              <a:gd name="connsiteY2" fmla="*/ 299999 h 360000"/>
              <a:gd name="connsiteX3" fmla="*/ 1466308 w 1526309"/>
              <a:gd name="connsiteY3" fmla="*/ 360000 h 360000"/>
              <a:gd name="connsiteX4" fmla="*/ 0 w 1526309"/>
              <a:gd name="connsiteY4" fmla="*/ 360000 h 36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309" h="360000">
                <a:moveTo>
                  <a:pt x="0" y="0"/>
                </a:moveTo>
                <a:lnTo>
                  <a:pt x="1526309" y="0"/>
                </a:lnTo>
                <a:lnTo>
                  <a:pt x="1526309" y="299999"/>
                </a:lnTo>
                <a:cubicBezTo>
                  <a:pt x="1526309" y="333137"/>
                  <a:pt x="1499446" y="360000"/>
                  <a:pt x="1466308" y="360000"/>
                </a:cubicBezTo>
                <a:lnTo>
                  <a:pt x="0" y="360000"/>
                </a:lnTo>
                <a:close/>
              </a:path>
            </a:pathLst>
          </a:custGeom>
          <a:solidFill>
            <a:srgbClr val="EC008C"/>
          </a:solidFill>
          <a:ln w="12700" cap="flat" cmpd="sng" algn="ctr">
            <a:noFill/>
            <a:prstDash val="solid"/>
            <a:miter lim="800000"/>
          </a:ln>
          <a:effectLst/>
        </p:spPr>
        <p:txBody>
          <a:bodyPr wrap="square" rtlCol="0" anchor="ctr">
            <a:normAutofit/>
          </a:bodyPr>
          <a:lstStyle/>
          <a:p>
            <a:pPr marL="0" marR="0" lvl="0" indent="0" algn="ctr" defTabSz="474097" rtl="0" eaLnBrk="1" fontAlgn="auto" latinLnBrk="0" hangingPunct="1">
              <a:lnSpc>
                <a:spcPct val="90000"/>
              </a:lnSpc>
              <a:spcBef>
                <a:spcPts val="0"/>
              </a:spcBef>
              <a:spcAft>
                <a:spcPct val="35000"/>
              </a:spcAft>
              <a:buClrTx/>
              <a:buSzTx/>
              <a:buFontTx/>
              <a:buNone/>
              <a:tabLst/>
              <a:defRPr/>
            </a:pPr>
            <a:r>
              <a:t>MedicalNutrition</a:t>
            </a:r>
            <a:br/>
            <a:r>
              <a:t>医疗营养</a:t>
            </a:r>
            <a:endParaRPr kumimoji="0" lang="en-GB" sz="1333" b="1" i="0" u="none" strike="noStrike" kern="0" cap="none" spc="0" normalizeH="0" baseline="0" noProof="0">
              <a:ln>
                <a:noFill/>
              </a:ln>
              <a:solidFill>
                <a:srgbClr val="FFFFFF"/>
              </a:solidFill>
              <a:effectLst/>
              <a:uLnTx/>
              <a:uFillTx/>
              <a:latin typeface="Verdana"/>
              <a:ea typeface="Verdana"/>
              <a:cs typeface="+mn-cs"/>
            </a:endParaRPr>
          </a:p>
        </p:txBody>
      </p:sp>
      <p:sp>
        <p:nvSpPr>
          <p:cNvPr id="34" name="Freeform: Shape 32">
            <a:extLst>
              <a:ext uri="{FF2B5EF4-FFF2-40B4-BE49-F238E27FC236}">
                <a16:creationId xmlns:a16="http://schemas.microsoft.com/office/drawing/2014/main" id="{6BD502F2-5A8F-844C-B5D5-AA7DC6FB1FAD}"/>
              </a:ext>
            </a:extLst>
          </p:cNvPr>
          <p:cNvSpPr/>
          <p:nvPr/>
        </p:nvSpPr>
        <p:spPr>
          <a:xfrm>
            <a:off x="7330813" y="5161622"/>
            <a:ext cx="2035079" cy="480000"/>
          </a:xfrm>
          <a:custGeom>
            <a:avLst/>
            <a:gdLst>
              <a:gd name="connsiteX0" fmla="*/ 0 w 1526309"/>
              <a:gd name="connsiteY0" fmla="*/ 0 h 360000"/>
              <a:gd name="connsiteX1" fmla="*/ 1526309 w 1526309"/>
              <a:gd name="connsiteY1" fmla="*/ 0 h 360000"/>
              <a:gd name="connsiteX2" fmla="*/ 1526309 w 1526309"/>
              <a:gd name="connsiteY2" fmla="*/ 299999 h 360000"/>
              <a:gd name="connsiteX3" fmla="*/ 1466308 w 1526309"/>
              <a:gd name="connsiteY3" fmla="*/ 360000 h 360000"/>
              <a:gd name="connsiteX4" fmla="*/ 0 w 1526309"/>
              <a:gd name="connsiteY4" fmla="*/ 360000 h 36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309" h="360000">
                <a:moveTo>
                  <a:pt x="0" y="0"/>
                </a:moveTo>
                <a:lnTo>
                  <a:pt x="1526309" y="0"/>
                </a:lnTo>
                <a:lnTo>
                  <a:pt x="1526309" y="299999"/>
                </a:lnTo>
                <a:cubicBezTo>
                  <a:pt x="1526309" y="333137"/>
                  <a:pt x="1499446" y="360000"/>
                  <a:pt x="1466308" y="360000"/>
                </a:cubicBezTo>
                <a:lnTo>
                  <a:pt x="0" y="360000"/>
                </a:lnTo>
                <a:close/>
              </a:path>
            </a:pathLst>
          </a:custGeom>
          <a:solidFill>
            <a:srgbClr val="0094D9"/>
          </a:solidFill>
          <a:ln w="12700" cap="flat" cmpd="sng" algn="ctr">
            <a:noFill/>
            <a:prstDash val="solid"/>
            <a:miter lim="800000"/>
          </a:ln>
          <a:effectLst/>
        </p:spPr>
        <p:txBody>
          <a:bodyPr wrap="square" rtlCol="0" anchor="ctr">
            <a:normAutofit/>
          </a:bodyPr>
          <a:lstStyle/>
          <a:p>
            <a:pPr marL="0" marR="0" lvl="0" indent="0" algn="ctr" defTabSz="474097" rtl="0" eaLnBrk="1" fontAlgn="auto" latinLnBrk="0" hangingPunct="1">
              <a:lnSpc>
                <a:spcPct val="90000"/>
              </a:lnSpc>
              <a:spcBef>
                <a:spcPts val="0"/>
              </a:spcBef>
              <a:spcAft>
                <a:spcPct val="35000"/>
              </a:spcAft>
              <a:buClrTx/>
              <a:buSzTx/>
              <a:buFontTx/>
              <a:buNone/>
              <a:tabLst/>
              <a:defRPr/>
            </a:pPr>
            <a:r>
              <a:t>Early Life Nutrition</a:t>
            </a:r>
            <a:br/>
            <a:r>
              <a:t>早期生命营养</a:t>
            </a:r>
            <a:endParaRPr kumimoji="0" lang="en-GB" sz="1333" b="1" i="0" u="none" strike="noStrike" kern="0" cap="none" spc="0" normalizeH="0" baseline="0" noProof="0">
              <a:ln>
                <a:noFill/>
              </a:ln>
              <a:solidFill>
                <a:srgbClr val="FFFFFF"/>
              </a:solidFill>
              <a:effectLst/>
              <a:uLnTx/>
              <a:uFillTx/>
              <a:latin typeface="Verdana"/>
              <a:ea typeface="Verdana"/>
              <a:cs typeface="+mn-cs"/>
            </a:endParaRPr>
          </a:p>
        </p:txBody>
      </p:sp>
      <p:sp>
        <p:nvSpPr>
          <p:cNvPr id="35" name="Freeform: Shape 33">
            <a:extLst>
              <a:ext uri="{FF2B5EF4-FFF2-40B4-BE49-F238E27FC236}">
                <a16:creationId xmlns:a16="http://schemas.microsoft.com/office/drawing/2014/main" id="{834CF3E7-25E0-7843-AEB3-DA284316AC91}"/>
              </a:ext>
            </a:extLst>
          </p:cNvPr>
          <p:cNvSpPr/>
          <p:nvPr/>
        </p:nvSpPr>
        <p:spPr>
          <a:xfrm>
            <a:off x="9581096" y="5161622"/>
            <a:ext cx="2035079" cy="480000"/>
          </a:xfrm>
          <a:custGeom>
            <a:avLst/>
            <a:gdLst>
              <a:gd name="connsiteX0" fmla="*/ 0 w 1526309"/>
              <a:gd name="connsiteY0" fmla="*/ 0 h 360000"/>
              <a:gd name="connsiteX1" fmla="*/ 1526309 w 1526309"/>
              <a:gd name="connsiteY1" fmla="*/ 0 h 360000"/>
              <a:gd name="connsiteX2" fmla="*/ 1526309 w 1526309"/>
              <a:gd name="connsiteY2" fmla="*/ 299999 h 360000"/>
              <a:gd name="connsiteX3" fmla="*/ 1466308 w 1526309"/>
              <a:gd name="connsiteY3" fmla="*/ 360000 h 360000"/>
              <a:gd name="connsiteX4" fmla="*/ 0 w 1526309"/>
              <a:gd name="connsiteY4" fmla="*/ 360000 h 36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309" h="360000">
                <a:moveTo>
                  <a:pt x="0" y="0"/>
                </a:moveTo>
                <a:lnTo>
                  <a:pt x="1526309" y="0"/>
                </a:lnTo>
                <a:lnTo>
                  <a:pt x="1526309" y="299999"/>
                </a:lnTo>
                <a:cubicBezTo>
                  <a:pt x="1526309" y="333137"/>
                  <a:pt x="1499446" y="360000"/>
                  <a:pt x="1466308" y="360000"/>
                </a:cubicBezTo>
                <a:lnTo>
                  <a:pt x="0" y="360000"/>
                </a:lnTo>
                <a:close/>
              </a:path>
            </a:pathLst>
          </a:custGeom>
          <a:solidFill>
            <a:srgbClr val="F7931E"/>
          </a:solidFill>
          <a:ln w="12700" cap="flat" cmpd="sng" algn="ctr">
            <a:noFill/>
            <a:prstDash val="solid"/>
            <a:miter lim="800000"/>
          </a:ln>
          <a:effectLst/>
        </p:spPr>
        <p:txBody>
          <a:bodyPr wrap="square" rtlCol="0" anchor="ctr">
            <a:normAutofit/>
          </a:bodyPr>
          <a:lstStyle/>
          <a:p>
            <a:pPr marL="0" marR="0" lvl="0" indent="0" algn="ctr" defTabSz="474097" rtl="0" eaLnBrk="1" fontAlgn="auto" latinLnBrk="0" hangingPunct="1">
              <a:lnSpc>
                <a:spcPct val="90000"/>
              </a:lnSpc>
              <a:spcBef>
                <a:spcPts val="0"/>
              </a:spcBef>
              <a:spcAft>
                <a:spcPct val="35000"/>
              </a:spcAft>
              <a:buClrTx/>
              <a:buSzTx/>
              <a:buFontTx/>
              <a:buNone/>
              <a:tabLst/>
              <a:defRPr/>
            </a:pPr>
            <a:r>
              <a:t>CellNutrition</a:t>
            </a:r>
            <a:br/>
            <a:r>
              <a:t>细胞营养</a:t>
            </a:r>
            <a:endParaRPr kumimoji="0" lang="en-GB" sz="1333" b="1" i="0" u="none" strike="noStrike" kern="0" cap="none" spc="0" normalizeH="0" baseline="0" noProof="0">
              <a:ln>
                <a:noFill/>
              </a:ln>
              <a:solidFill>
                <a:srgbClr val="FFFFFF"/>
              </a:solidFill>
              <a:effectLst/>
              <a:uLnTx/>
              <a:uFillTx/>
              <a:latin typeface="Verdana"/>
              <a:ea typeface="Verdana"/>
              <a:cs typeface="+mn-cs"/>
            </a:endParaRPr>
          </a:p>
        </p:txBody>
      </p:sp>
      <p:pic>
        <p:nvPicPr>
          <p:cNvPr id="36" name="Picture 35">
            <a:extLst>
              <a:ext uri="{FF2B5EF4-FFF2-40B4-BE49-F238E27FC236}">
                <a16:creationId xmlns:a16="http://schemas.microsoft.com/office/drawing/2014/main" id="{C9CC363A-A727-7044-8B32-4A5B5C5991A2}"/>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01133" y="124863"/>
            <a:ext cx="2035079" cy="978379"/>
          </a:xfrm>
          <a:prstGeom prst="rect">
            <a:avLst/>
          </a:prstGeom>
          <a:noFill/>
        </p:spPr>
      </p:pic>
      <p:sp>
        <p:nvSpPr>
          <p:cNvPr id="2" name="Rectangle 1">
            <a:extLst>
              <a:ext uri="{FF2B5EF4-FFF2-40B4-BE49-F238E27FC236}">
                <a16:creationId xmlns:a16="http://schemas.microsoft.com/office/drawing/2014/main" id="{CCA9C9F6-4108-40AA-B55D-F1CC9E28FED0}"/>
              </a:ext>
            </a:extLst>
          </p:cNvPr>
          <p:cNvSpPr/>
          <p:nvPr/>
        </p:nvSpPr>
        <p:spPr>
          <a:xfrm>
            <a:off x="575733" y="5761366"/>
            <a:ext cx="6535406" cy="41083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112000"/>
              </a:lnSpc>
              <a:spcBef>
                <a:spcPts val="0"/>
              </a:spcBef>
              <a:spcAft>
                <a:spcPts val="0"/>
              </a:spcAft>
              <a:buClrTx/>
              <a:buSzTx/>
              <a:buFontTx/>
              <a:buNone/>
              <a:tabLst/>
              <a:defRPr/>
            </a:pPr>
            <a:r>
              <a:t>Adult Nutrition</a:t>
            </a:r>
            <a:br/>
            <a:r>
              <a:t>成人营养</a:t>
            </a:r>
            <a:endParaRPr kumimoji="0" lang="nl-NL" sz="1400" b="1" i="0" u="none" strike="noStrike" kern="1200" cap="none" spc="0" normalizeH="0" baseline="0" noProof="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2286896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57B2AE2-95BF-648E-E3C9-7AD9048DB398}"/>
              </a:ext>
            </a:extLst>
          </p:cNvPr>
          <p:cNvSpPr/>
          <p:nvPr/>
        </p:nvSpPr>
        <p:spPr>
          <a:xfrm>
            <a:off x="4628859" y="0"/>
            <a:ext cx="7563141"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609585">
              <a:lnSpc>
                <a:spcPct val="112000"/>
              </a:lnSpc>
              <a:defRPr/>
            </a:pPr>
            <a:endParaRPr lang="en-gb" sz="1867">
              <a:solidFill>
                <a:srgbClr val="FFFFFF"/>
              </a:solidFill>
              <a:latin typeface="Verdana"/>
            </a:endParaRPr>
          </a:p>
        </p:txBody>
      </p:sp>
      <p:sp>
        <p:nvSpPr>
          <p:cNvPr id="2" name="Title 1">
            <a:extLst>
              <a:ext uri="{FF2B5EF4-FFF2-40B4-BE49-F238E27FC236}">
                <a16:creationId xmlns:a16="http://schemas.microsoft.com/office/drawing/2014/main" id="{C2CABC2C-5B42-15B3-F192-5504FC597547}"/>
              </a:ext>
            </a:extLst>
          </p:cNvPr>
          <p:cNvSpPr>
            <a:spLocks noGrp="1"/>
          </p:cNvSpPr>
          <p:nvPr>
            <p:ph type="title"/>
          </p:nvPr>
        </p:nvSpPr>
        <p:spPr>
          <a:xfrm>
            <a:off x="575735" y="2044424"/>
            <a:ext cx="3639216" cy="1036965"/>
          </a:xfrm>
        </p:spPr>
        <p:txBody>
          <a:bodyPr>
            <a:normAutofit/>
          </a:bodyPr>
          <a:lstStyle/>
          <a:p>
            <a:pPr algn="l" rtl="0"/>
            <a:r>
              <a:t>Everything we do, starts with the end consumer in mind</a:t>
            </a:r>
            <a:br/>
            <a:r>
              <a:t>我们所做的每一件事，都以终端消费者为中心。</a:t>
            </a:r>
            <a:endParaRPr lang="en-gb" b="0" i="0" u="none" baseline="0"/>
          </a:p>
        </p:txBody>
      </p:sp>
      <p:sp>
        <p:nvSpPr>
          <p:cNvPr id="4" name="Slide Number Placeholder 3">
            <a:extLst>
              <a:ext uri="{FF2B5EF4-FFF2-40B4-BE49-F238E27FC236}">
                <a16:creationId xmlns:a16="http://schemas.microsoft.com/office/drawing/2014/main" id="{14EFD959-249D-C064-F00C-A80BDE6E4F94}"/>
              </a:ext>
            </a:extLst>
          </p:cNvPr>
          <p:cNvSpPr>
            <a:spLocks noGrp="1"/>
          </p:cNvSpPr>
          <p:nvPr>
            <p:ph type="sldNum" sz="quarter" idx="12"/>
          </p:nvPr>
        </p:nvSpPr>
        <p:spPr>
          <a:xfrm>
            <a:off x="773722" y="8672309"/>
            <a:ext cx="54502" cy="102657"/>
          </a:xfrm>
        </p:spPr>
        <p:txBody>
          <a:bodyPr>
            <a:normAutofit/>
          </a:bodyPr>
          <a:lstStyle/>
          <a:p>
            <a:pPr defTabSz="609585">
              <a:defRPr/>
            </a:pPr>
            <a:fld id="{9BE0E23E-9022-4929-B297-EB2777CDBB1F}" type="slidenum">
              <a:rPr>
                <a:solidFill>
                  <a:srgbClr val="3F4043">
                    <a:tint val="75000"/>
                  </a:srgbClr>
                </a:solidFill>
                <a:latin typeface="Verdana"/>
              </a:rPr>
              <a:pPr defTabSz="609585">
                <a:defRPr/>
              </a:pPr>
              <a:t>29</a:t>
            </a:fld>
            <a:endParaRPr lang="en-gb">
              <a:solidFill>
                <a:srgbClr val="3F4043">
                  <a:tint val="75000"/>
                </a:srgbClr>
              </a:solidFill>
              <a:latin typeface="Verdana"/>
            </a:endParaRPr>
          </a:p>
        </p:txBody>
      </p:sp>
      <p:sp>
        <p:nvSpPr>
          <p:cNvPr id="21" name="Content Placeholder 5">
            <a:extLst>
              <a:ext uri="{FF2B5EF4-FFF2-40B4-BE49-F238E27FC236}">
                <a16:creationId xmlns:a16="http://schemas.microsoft.com/office/drawing/2014/main" id="{73A2830D-B89E-AC6B-D3D7-294532C5C87A}"/>
              </a:ext>
            </a:extLst>
          </p:cNvPr>
          <p:cNvSpPr txBox="1">
            <a:spLocks/>
          </p:cNvSpPr>
          <p:nvPr/>
        </p:nvSpPr>
        <p:spPr>
          <a:xfrm>
            <a:off x="575734" y="3421655"/>
            <a:ext cx="3278908" cy="755683"/>
          </a:xfrm>
          <a:prstGeom prst="rect">
            <a:avLst/>
          </a:prstGeom>
        </p:spPr>
        <p:txBody>
          <a:bodyPr vert="horz" lIns="0" tIns="0" rIns="0" bIns="0" rtlCol="0" anchor="t">
            <a:normAutofit/>
          </a:bodyPr>
          <a:lstStyle>
            <a:lvl1pPr marL="176213" indent="-176213" algn="l" defTabSz="685800" rtl="0" eaLnBrk="1" latinLnBrk="0" hangingPunct="1">
              <a:lnSpc>
                <a:spcPct val="113000"/>
              </a:lnSpc>
              <a:spcBef>
                <a:spcPts val="1200"/>
              </a:spcBef>
              <a:buClr>
                <a:schemeClr val="tx1"/>
              </a:buClr>
              <a:buFont typeface="Arial" panose="020B0604020202020204" pitchFamily="34" charset="0"/>
              <a:buChar char="•"/>
              <a:defRPr sz="1400" kern="1200">
                <a:solidFill>
                  <a:schemeClr val="tx1"/>
                </a:solidFill>
                <a:latin typeface="+mn-lt"/>
                <a:ea typeface="+mn-ea"/>
                <a:cs typeface="+mn-cs"/>
              </a:defRPr>
            </a:lvl1pPr>
            <a:lvl2pPr marL="360363"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2pPr>
            <a:lvl3pPr marL="536575"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3pPr>
            <a:lvl4pPr marL="720725"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4pPr>
            <a:lvl5pPr marL="896938" indent="-171450" algn="l" defTabSz="685800" rtl="0" eaLnBrk="1" latinLnBrk="0" hangingPunct="1">
              <a:lnSpc>
                <a:spcPct val="100000"/>
              </a:lnSpc>
              <a:spcBef>
                <a:spcPts val="375"/>
              </a:spcBef>
              <a:buClr>
                <a:schemeClr val="tx1"/>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914377">
              <a:lnSpc>
                <a:spcPct val="150000"/>
              </a:lnSpc>
              <a:spcBef>
                <a:spcPts val="1600"/>
              </a:spcBef>
              <a:buClr>
                <a:srgbClr val="3F4043"/>
              </a:buClr>
              <a:buNone/>
              <a:defRPr/>
            </a:pPr>
            <a:r>
              <a:t>It is our drive to help people get the most out of their lives at all stages of life, aided by specialised nutrition. From babies to the elderly.</a:t>
            </a:r>
            <a:br/>
            <a:r>
              <a:t>我们的动力是帮助人们在生命的各个阶段都能充分享受生活，这得益于专业营养的支持，从婴儿到老年人。</a:t>
            </a:r>
          </a:p>
        </p:txBody>
      </p:sp>
      <p:grpSp>
        <p:nvGrpSpPr>
          <p:cNvPr id="5" name="Group 4">
            <a:extLst>
              <a:ext uri="{FF2B5EF4-FFF2-40B4-BE49-F238E27FC236}">
                <a16:creationId xmlns:a16="http://schemas.microsoft.com/office/drawing/2014/main" id="{5397576A-8949-6877-D8BC-9775A1337B82}"/>
              </a:ext>
            </a:extLst>
          </p:cNvPr>
          <p:cNvGrpSpPr/>
          <p:nvPr/>
        </p:nvGrpSpPr>
        <p:grpSpPr>
          <a:xfrm>
            <a:off x="5095327" y="431167"/>
            <a:ext cx="6753821" cy="6068528"/>
            <a:chOff x="3671797" y="214412"/>
            <a:chExt cx="5232370" cy="4701455"/>
          </a:xfrm>
        </p:grpSpPr>
        <p:pic>
          <p:nvPicPr>
            <p:cNvPr id="7" name="Picture 6">
              <a:extLst>
                <a:ext uri="{FF2B5EF4-FFF2-40B4-BE49-F238E27FC236}">
                  <a16:creationId xmlns:a16="http://schemas.microsoft.com/office/drawing/2014/main" id="{547D3FB3-33A7-A175-0BE2-F2589BF1136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b="-1"/>
            <a:stretch/>
          </p:blipFill>
          <p:spPr>
            <a:xfrm>
              <a:off x="6434795" y="2566241"/>
              <a:ext cx="2469372" cy="2246499"/>
            </a:xfrm>
            <a:prstGeom prst="rect">
              <a:avLst/>
            </a:prstGeom>
            <a:effectLst>
              <a:outerShdw blurRad="177800" dist="38100" dir="2700000" algn="tl" rotWithShape="0">
                <a:prstClr val="black">
                  <a:alpha val="20000"/>
                </a:prstClr>
              </a:outerShdw>
            </a:effectLst>
          </p:spPr>
        </p:pic>
        <p:pic>
          <p:nvPicPr>
            <p:cNvPr id="8" name="Picture 7">
              <a:extLst>
                <a:ext uri="{FF2B5EF4-FFF2-40B4-BE49-F238E27FC236}">
                  <a16:creationId xmlns:a16="http://schemas.microsoft.com/office/drawing/2014/main" id="{3EF69328-0324-EA9F-9ABD-E850F85204A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b="-912"/>
            <a:stretch/>
          </p:blipFill>
          <p:spPr>
            <a:xfrm flipH="1">
              <a:off x="6269869" y="214412"/>
              <a:ext cx="2442331" cy="2268043"/>
            </a:xfrm>
            <a:prstGeom prst="rect">
              <a:avLst/>
            </a:prstGeom>
            <a:effectLst>
              <a:outerShdw blurRad="177800" dist="38100" dir="2700000" algn="tl" rotWithShape="0">
                <a:prstClr val="black">
                  <a:alpha val="20000"/>
                </a:prstClr>
              </a:outerShdw>
            </a:effectLst>
          </p:spPr>
        </p:pic>
        <p:pic>
          <p:nvPicPr>
            <p:cNvPr id="6" name="Picture 5">
              <a:extLst>
                <a:ext uri="{FF2B5EF4-FFF2-40B4-BE49-F238E27FC236}">
                  <a16:creationId xmlns:a16="http://schemas.microsoft.com/office/drawing/2014/main" id="{6C8F850B-5A18-751D-6E35-FECB231BB0BD}"/>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827538" y="2715728"/>
              <a:ext cx="2442331" cy="2200139"/>
            </a:xfrm>
            <a:prstGeom prst="rect">
              <a:avLst/>
            </a:prstGeom>
            <a:effectLst>
              <a:outerShdw blurRad="177800" dist="38100" dir="2700000" algn="tl" rotWithShape="0">
                <a:prstClr val="black">
                  <a:alpha val="20000"/>
                </a:prstClr>
              </a:outerShdw>
            </a:effectLst>
          </p:spPr>
        </p:pic>
        <p:pic>
          <p:nvPicPr>
            <p:cNvPr id="3" name="Picture 2">
              <a:extLst>
                <a:ext uri="{FF2B5EF4-FFF2-40B4-BE49-F238E27FC236}">
                  <a16:creationId xmlns:a16="http://schemas.microsoft.com/office/drawing/2014/main" id="{DFE330EE-B690-4516-7184-ADCAB32948E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671797" y="362253"/>
              <a:ext cx="2442331" cy="2203988"/>
            </a:xfrm>
            <a:prstGeom prst="rect">
              <a:avLst/>
            </a:prstGeom>
            <a:effectLst>
              <a:outerShdw blurRad="177800" dist="38100" dir="2700000" algn="tl" rotWithShape="0">
                <a:prstClr val="black">
                  <a:alpha val="20000"/>
                </a:prstClr>
              </a:outerShdw>
            </a:effectLst>
          </p:spPr>
        </p:pic>
      </p:grpSp>
      <p:sp>
        <p:nvSpPr>
          <p:cNvPr id="10" name="Footer Placeholder 9">
            <a:extLst>
              <a:ext uri="{FF2B5EF4-FFF2-40B4-BE49-F238E27FC236}">
                <a16:creationId xmlns:a16="http://schemas.microsoft.com/office/drawing/2014/main" id="{9CBFA5DD-71E9-2C59-1B1E-C0E53EF45CB3}"/>
              </a:ext>
            </a:extLst>
          </p:cNvPr>
          <p:cNvSpPr>
            <a:spLocks noGrp="1"/>
          </p:cNvSpPr>
          <p:nvPr>
            <p:ph type="ftr" sz="quarter" idx="11"/>
          </p:nvPr>
        </p:nvSpPr>
        <p:spPr/>
        <p:txBody>
          <a:bodyPr>
            <a:normAutofit/>
          </a:bodyPr>
          <a:lstStyle/>
          <a:p>
            <a:endParaRPr lang="en-GB"/>
          </a:p>
        </p:txBody>
      </p:sp>
    </p:spTree>
    <p:extLst>
      <p:ext uri="{BB962C8B-B14F-4D97-AF65-F5344CB8AC3E}">
        <p14:creationId xmlns:p14="http://schemas.microsoft.com/office/powerpoint/2010/main" val="1290506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6129FAE-2716-EB2E-97C8-608DF8EAEEF4}"/>
              </a:ext>
            </a:extLst>
          </p:cNvPr>
          <p:cNvGraphicFramePr>
            <a:graphicFrameLocks noChangeAspect="1"/>
          </p:cNvGraphicFramePr>
          <p:nvPr>
            <p:custDataLst>
              <p:tags r:id="rId1"/>
            </p:custDataLst>
            <p:extLst>
              <p:ext uri="{D42A27DB-BD31-4B8C-83A1-F6EECF244321}">
                <p14:modId xmlns:p14="http://schemas.microsoft.com/office/powerpoint/2010/main" val="96649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8" name="think-cell data - do not delete" hidden="1">
                        <a:extLst>
                          <a:ext uri="{FF2B5EF4-FFF2-40B4-BE49-F238E27FC236}">
                            <a16:creationId xmlns:a16="http://schemas.microsoft.com/office/drawing/2014/main" id="{D6129FAE-2716-EB2E-97C8-608DF8EAEEF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255AF331-AFC2-44FD-9F21-E18B76C50119}"/>
              </a:ext>
            </a:extLst>
          </p:cNvPr>
          <p:cNvSpPr>
            <a:spLocks noGrp="1"/>
          </p:cNvSpPr>
          <p:nvPr>
            <p:ph type="sldNum" sz="quarter" idx="12"/>
          </p:nvPr>
        </p:nvSpPr>
        <p:spPr>
          <a:xfrm>
            <a:off x="435217" y="4855719"/>
            <a:ext cx="109004" cy="102657"/>
          </a:xfrm>
        </p:spPr>
        <p:txBody>
          <a:bodyPr>
            <a:normAutofit/>
          </a:bodyPr>
          <a:lstStyle/>
          <a:p>
            <a:pPr defTabSz="914377"/>
            <a:fld id="{9BE0E23E-9022-4929-B297-EB2777CDBB1F}" type="slidenum">
              <a:rPr lang="en-US">
                <a:solidFill>
                  <a:schemeClr val="accent1"/>
                </a:solidFill>
                <a:latin typeface="Verdana"/>
              </a:rPr>
              <a:pPr defTabSz="914377"/>
              <a:t>3</a:t>
            </a:fld>
            <a:endParaRPr lang="en-US">
              <a:solidFill>
                <a:schemeClr val="accent1"/>
              </a:solidFill>
              <a:latin typeface="Verdana"/>
            </a:endParaRPr>
          </a:p>
        </p:txBody>
      </p:sp>
      <p:sp>
        <p:nvSpPr>
          <p:cNvPr id="11" name="Title 1">
            <a:extLst>
              <a:ext uri="{FF2B5EF4-FFF2-40B4-BE49-F238E27FC236}">
                <a16:creationId xmlns:a16="http://schemas.microsoft.com/office/drawing/2014/main" id="{7E03BE4C-545B-41A7-858F-4B0CBED1B284}"/>
              </a:ext>
            </a:extLst>
          </p:cNvPr>
          <p:cNvSpPr>
            <a:spLocks noGrp="1"/>
          </p:cNvSpPr>
          <p:nvPr>
            <p:ph type="title"/>
          </p:nvPr>
        </p:nvSpPr>
        <p:spPr>
          <a:xfrm>
            <a:off x="563098" y="623000"/>
            <a:ext cx="10949100" cy="1036965"/>
          </a:xfrm>
        </p:spPr>
        <p:txBody>
          <a:bodyPr vert="horz">
            <a:normAutofit/>
          </a:bodyPr>
          <a:lstStyle/>
          <a:p>
            <a:pPr>
              <a:tabLst>
                <a:tab pos="2660584" algn="l"/>
              </a:tabLst>
            </a:pPr>
            <a:r>
              <a:t>Yoghurt: Tried, tested and trusted – now reimagined</a:t>
            </a:r>
            <a:br/>
            <a:r>
              <a:t>酸奶：经过考验并值得信赖——现在重新想象</a:t>
            </a:r>
            <a:endParaRPr lang="en-US"/>
          </a:p>
        </p:txBody>
      </p:sp>
      <p:sp>
        <p:nvSpPr>
          <p:cNvPr id="17" name="TextBox 16">
            <a:extLst>
              <a:ext uri="{FF2B5EF4-FFF2-40B4-BE49-F238E27FC236}">
                <a16:creationId xmlns:a16="http://schemas.microsoft.com/office/drawing/2014/main" id="{F539BFD5-27BC-427A-97E5-E31BF6C8796F}"/>
              </a:ext>
            </a:extLst>
          </p:cNvPr>
          <p:cNvSpPr txBox="1"/>
          <p:nvPr/>
        </p:nvSpPr>
        <p:spPr>
          <a:xfrm>
            <a:off x="580291" y="4027407"/>
            <a:ext cx="7399927" cy="400110"/>
          </a:xfrm>
          <a:prstGeom prst="rect">
            <a:avLst/>
          </a:prstGeom>
          <a:noFill/>
        </p:spPr>
        <p:txBody>
          <a:bodyPr wrap="square">
            <a:normAutofit/>
          </a:bodyPr>
          <a:lstStyle/>
          <a:p>
            <a:pPr marL="342891" indent="-342891" defTabSz="914377">
              <a:buFont typeface="Arial" panose="020B0604020202020204" pitchFamily="34" charset="0"/>
              <a:buChar char="•"/>
            </a:pPr>
            <a:r>
              <a:t>Prebiotics for enhanced gut health positioning</a:t>
            </a:r>
            <a:br/>
            <a:r>
              <a:t>益生元以增强肠道健康定位</a:t>
            </a:r>
            <a:endParaRPr lang="en-US">
              <a:solidFill>
                <a:schemeClr val="accent1"/>
              </a:solidFill>
              <a:latin typeface="Verdana"/>
            </a:endParaRPr>
          </a:p>
        </p:txBody>
      </p:sp>
      <p:sp>
        <p:nvSpPr>
          <p:cNvPr id="2" name="TextBox 1">
            <a:extLst>
              <a:ext uri="{FF2B5EF4-FFF2-40B4-BE49-F238E27FC236}">
                <a16:creationId xmlns:a16="http://schemas.microsoft.com/office/drawing/2014/main" id="{FBE907C8-BF09-C5B5-AB53-7F6CD4DD91ED}"/>
              </a:ext>
            </a:extLst>
          </p:cNvPr>
          <p:cNvSpPr txBox="1"/>
          <p:nvPr/>
        </p:nvSpPr>
        <p:spPr>
          <a:xfrm>
            <a:off x="580292" y="4606624"/>
            <a:ext cx="5435707" cy="400110"/>
          </a:xfrm>
          <a:prstGeom prst="rect">
            <a:avLst/>
          </a:prstGeom>
          <a:noFill/>
        </p:spPr>
        <p:txBody>
          <a:bodyPr wrap="square">
            <a:normAutofit/>
          </a:bodyPr>
          <a:lstStyle/>
          <a:p>
            <a:pPr marL="342891" indent="-342891" defTabSz="914377">
              <a:buFont typeface="Arial" panose="020B0604020202020204" pitchFamily="34" charset="0"/>
              <a:buChar char="•"/>
            </a:pPr>
            <a:r>
              <a:t>DHA for cognitive health support</a:t>
            </a:r>
            <a:br/>
            <a:r>
              <a:t>DHA 支持认知健康</a:t>
            </a:r>
          </a:p>
        </p:txBody>
      </p:sp>
      <p:sp>
        <p:nvSpPr>
          <p:cNvPr id="3" name="Title 1">
            <a:extLst>
              <a:ext uri="{FF2B5EF4-FFF2-40B4-BE49-F238E27FC236}">
                <a16:creationId xmlns:a16="http://schemas.microsoft.com/office/drawing/2014/main" id="{71EB6BD8-34EB-63F4-4FB5-32B494E1306D}"/>
              </a:ext>
            </a:extLst>
          </p:cNvPr>
          <p:cNvSpPr txBox="1">
            <a:spLocks/>
          </p:cNvSpPr>
          <p:nvPr/>
        </p:nvSpPr>
        <p:spPr>
          <a:xfrm>
            <a:off x="563097" y="2128117"/>
            <a:ext cx="6984292" cy="1720183"/>
          </a:xfrm>
          <a:prstGeom prst="rect">
            <a:avLst/>
          </a:prstGeom>
        </p:spPr>
        <p:txBody>
          <a:bodyPr vert="horz" lIns="0" tIns="0" rIns="0" bIns="0" rtlCol="0" anchor="t" anchorCtr="0">
            <a:normAutofit/>
          </a:bodyPr>
          <a:lstStyle>
            <a:lvl1pPr algn="l" defTabSz="914377" rtl="0" eaLnBrk="1" latinLnBrk="0" hangingPunct="1">
              <a:lnSpc>
                <a:spcPct val="90000"/>
              </a:lnSpc>
              <a:spcBef>
                <a:spcPct val="0"/>
              </a:spcBef>
              <a:buNone/>
              <a:defRPr sz="2667" kern="1200">
                <a:solidFill>
                  <a:schemeClr val="accent1"/>
                </a:solidFill>
                <a:latin typeface="+mj-lt"/>
                <a:ea typeface="+mj-ea"/>
                <a:cs typeface="+mj-cs"/>
              </a:defRPr>
            </a:lvl1pPr>
          </a:lstStyle>
          <a:p>
            <a:pPr defTabSz="914354">
              <a:lnSpc>
                <a:spcPct val="100000"/>
              </a:lnSpc>
            </a:pPr>
            <a:r>
              <a:t>Yoghurt is back in the spotlight – perfect for consumers who want holistic health support in an enjoyable, familiar and often indulgent format. Take your yoghurt’s health benefits to the next level with added:</a:t>
            </a:r>
            <a:br/>
            <a:r>
              <a:t>酸奶再次成为焦点——适合希望以愉悦、熟悉且常带享受的形式获得全面健康支持的消费者。通过添加以下成分将酸奶的健康益处提升到更高水平：</a:t>
            </a:r>
          </a:p>
        </p:txBody>
      </p:sp>
      <p:sp>
        <p:nvSpPr>
          <p:cNvPr id="14" name="TextBox 13">
            <a:extLst>
              <a:ext uri="{FF2B5EF4-FFF2-40B4-BE49-F238E27FC236}">
                <a16:creationId xmlns:a16="http://schemas.microsoft.com/office/drawing/2014/main" id="{496435EB-9D81-C8A3-E996-C7AF2D1C3F26}"/>
              </a:ext>
            </a:extLst>
          </p:cNvPr>
          <p:cNvSpPr txBox="1"/>
          <p:nvPr/>
        </p:nvSpPr>
        <p:spPr>
          <a:xfrm>
            <a:off x="563097" y="5185843"/>
            <a:ext cx="8715985" cy="707886"/>
          </a:xfrm>
          <a:prstGeom prst="rect">
            <a:avLst/>
          </a:prstGeom>
          <a:noFill/>
        </p:spPr>
        <p:txBody>
          <a:bodyPr wrap="square">
            <a:normAutofit/>
          </a:bodyPr>
          <a:lstStyle/>
          <a:p>
            <a:pPr marL="342891" indent="-342891" defTabSz="914377">
              <a:buFont typeface="Arial" panose="020B0604020202020204" pitchFamily="34" charset="0"/>
              <a:buChar char="•"/>
            </a:pPr>
            <a:r>
              <a:t>Protein fortification for muscle health, recovery and satiety</a:t>
            </a:r>
            <a:br/>
            <a:r>
              <a:t>蛋白质强化以促进肌肉健康、恢复和饱腹感</a:t>
            </a:r>
          </a:p>
        </p:txBody>
      </p:sp>
      <p:pic>
        <p:nvPicPr>
          <p:cNvPr id="6" name="Picture 5">
            <a:extLst>
              <a:ext uri="{FF2B5EF4-FFF2-40B4-BE49-F238E27FC236}">
                <a16:creationId xmlns:a16="http://schemas.microsoft.com/office/drawing/2014/main" id="{ECC85064-0FC9-A607-EEBE-42B068E4A655}"/>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7673421" y="1350819"/>
            <a:ext cx="4421599" cy="3688773"/>
          </a:xfrm>
          <a:prstGeom prst="rect">
            <a:avLst/>
          </a:prstGeom>
        </p:spPr>
      </p:pic>
      <p:sp>
        <p:nvSpPr>
          <p:cNvPr id="4" name="Footer Placeholder 3">
            <a:extLst>
              <a:ext uri="{FF2B5EF4-FFF2-40B4-BE49-F238E27FC236}">
                <a16:creationId xmlns:a16="http://schemas.microsoft.com/office/drawing/2014/main" id="{2A9740B6-AED4-F851-9623-3E1B37B42172}"/>
              </a:ext>
            </a:extLst>
          </p:cNvPr>
          <p:cNvSpPr>
            <a:spLocks noGrp="1"/>
          </p:cNvSpPr>
          <p:nvPr>
            <p:ph type="ftr" sz="quarter" idx="11"/>
          </p:nvPr>
        </p:nvSpPr>
        <p:spPr/>
        <p:txBody>
          <a:bodyPr>
            <a:normAutofit/>
          </a:bodyPr>
          <a:lstStyle/>
          <a:p>
            <a:pPr defTabSz="609585"/>
            <a:endParaRPr lang="en-US">
              <a:solidFill>
                <a:schemeClr val="accent1"/>
              </a:solidFill>
              <a:latin typeface="Verdana"/>
            </a:endParaRPr>
          </a:p>
        </p:txBody>
      </p:sp>
    </p:spTree>
    <p:extLst>
      <p:ext uri="{BB962C8B-B14F-4D97-AF65-F5344CB8AC3E}">
        <p14:creationId xmlns:p14="http://schemas.microsoft.com/office/powerpoint/2010/main" val="2995506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F38B0907-BA70-5B36-0810-1EB55E45C0A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26123"/>
          <a:stretch/>
        </p:blipFill>
        <p:spPr>
          <a:xfrm>
            <a:off x="3760269" y="0"/>
            <a:ext cx="8431731" cy="6858000"/>
          </a:xfrm>
          <a:prstGeom prst="rect">
            <a:avLst/>
          </a:prstGeom>
        </p:spPr>
      </p:pic>
      <p:sp>
        <p:nvSpPr>
          <p:cNvPr id="18" name="Rectangle 17">
            <a:extLst>
              <a:ext uri="{FF2B5EF4-FFF2-40B4-BE49-F238E27FC236}">
                <a16:creationId xmlns:a16="http://schemas.microsoft.com/office/drawing/2014/main" id="{DB33E365-E5C5-9682-877B-F20710464A21}"/>
              </a:ext>
            </a:extLst>
          </p:cNvPr>
          <p:cNvSpPr/>
          <p:nvPr/>
        </p:nvSpPr>
        <p:spPr>
          <a:xfrm>
            <a:off x="5492463" y="0"/>
            <a:ext cx="4786964" cy="6858000"/>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609585">
              <a:lnSpc>
                <a:spcPct val="112000"/>
              </a:lnSpc>
              <a:defRPr/>
            </a:pPr>
            <a:endParaRPr lang="en-gb" sz="1867">
              <a:solidFill>
                <a:srgbClr val="FFFFFF"/>
              </a:solidFill>
              <a:latin typeface="Verdana"/>
            </a:endParaRPr>
          </a:p>
        </p:txBody>
      </p:sp>
      <p:sp>
        <p:nvSpPr>
          <p:cNvPr id="5" name="Rectangle 10">
            <a:extLst>
              <a:ext uri="{FF2B5EF4-FFF2-40B4-BE49-F238E27FC236}">
                <a16:creationId xmlns:a16="http://schemas.microsoft.com/office/drawing/2014/main" id="{594B7570-E140-0AD5-A02E-329BC9BD2995}"/>
              </a:ext>
            </a:extLst>
          </p:cNvPr>
          <p:cNvSpPr>
            <a:spLocks noChangeArrowheads="1"/>
          </p:cNvSpPr>
          <p:nvPr/>
        </p:nvSpPr>
        <p:spPr bwMode="gray">
          <a:xfrm>
            <a:off x="4329157" y="1336664"/>
            <a:ext cx="2305235" cy="2092337"/>
          </a:xfrm>
          <a:prstGeom prst="rect">
            <a:avLst/>
          </a:prstGeom>
          <a:gradFill>
            <a:gsLst>
              <a:gs pos="0">
                <a:srgbClr val="FFFFFF">
                  <a:lumMod val="95000"/>
                </a:srgbClr>
              </a:gs>
              <a:gs pos="100000">
                <a:srgbClr val="FFFFFF"/>
              </a:gs>
            </a:gsLst>
            <a:lin ang="5400000" scaled="1"/>
          </a:gradFill>
          <a:ln w="12700">
            <a:noFill/>
            <a:miter lim="800000"/>
            <a:headEnd/>
            <a:tailEnd/>
          </a:ln>
          <a:effectLst>
            <a:outerShdw blurRad="101600" dist="38100" dir="2700000" algn="tl" rotWithShape="0">
              <a:prstClr val="black">
                <a:alpha val="20000"/>
              </a:prstClr>
            </a:outerShdw>
          </a:effectLst>
        </p:spPr>
        <p:txBody>
          <a:bodyPr lIns="181423" tIns="192000" rIns="96000" bIns="120948">
            <a:normAutofit/>
          </a:bodyPr>
          <a:lstStyle>
            <a:lvl1pPr marL="190500" indent="-190500" algn="l">
              <a:defRPr>
                <a:solidFill>
                  <a:schemeClr val="tx1"/>
                </a:solidFill>
                <a:latin typeface="Arial" pitchFamily="34" charset="0"/>
              </a:defRPr>
            </a:lvl1pPr>
            <a:lvl2pPr algn="l">
              <a:defRPr>
                <a:solidFill>
                  <a:schemeClr val="tx1"/>
                </a:solidFill>
                <a:latin typeface="Arial" pitchFamily="34" charset="0"/>
              </a:defRPr>
            </a:lvl2pPr>
            <a:lvl3pPr algn="l">
              <a:defRPr>
                <a:solidFill>
                  <a:schemeClr val="tx1"/>
                </a:solidFill>
                <a:latin typeface="Arial" pitchFamily="34" charset="0"/>
              </a:defRPr>
            </a:lvl3pPr>
            <a:lvl4pPr algn="l">
              <a:defRPr>
                <a:solidFill>
                  <a:schemeClr val="tx1"/>
                </a:solidFill>
                <a:latin typeface="Arial" pitchFamily="34" charset="0"/>
              </a:defRPr>
            </a:lvl4pPr>
            <a:lvl5pPr algn="l">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pPr marL="243405" indent="-243405" defTabSz="1219140">
              <a:lnSpc>
                <a:spcPts val="2400"/>
              </a:lnSpc>
              <a:spcBef>
                <a:spcPts val="400"/>
              </a:spcBef>
              <a:buClr>
                <a:srgbClr val="0094D9"/>
              </a:buClr>
              <a:buSzPct val="90000"/>
              <a:buFont typeface="Arial" panose="020B0604020202020204" pitchFamily="34" charset="0"/>
              <a:buChar char="●"/>
              <a:defRPr/>
            </a:pPr>
            <a:endParaRPr lang="en-GB" sz="2133" kern="0">
              <a:solidFill>
                <a:srgbClr val="3F4043"/>
              </a:solidFill>
              <a:latin typeface="Verdana" pitchFamily="34" charset="0"/>
            </a:endParaRPr>
          </a:p>
        </p:txBody>
      </p:sp>
      <p:sp>
        <p:nvSpPr>
          <p:cNvPr id="10" name="Rectangle 10">
            <a:extLst>
              <a:ext uri="{FF2B5EF4-FFF2-40B4-BE49-F238E27FC236}">
                <a16:creationId xmlns:a16="http://schemas.microsoft.com/office/drawing/2014/main" id="{30F85DF3-DEC1-619F-83A6-2328DF7F643A}"/>
              </a:ext>
            </a:extLst>
          </p:cNvPr>
          <p:cNvSpPr>
            <a:spLocks noChangeArrowheads="1"/>
          </p:cNvSpPr>
          <p:nvPr/>
        </p:nvSpPr>
        <p:spPr bwMode="gray">
          <a:xfrm>
            <a:off x="4329157" y="3602650"/>
            <a:ext cx="2305235" cy="2092337"/>
          </a:xfrm>
          <a:prstGeom prst="rect">
            <a:avLst/>
          </a:prstGeom>
          <a:gradFill>
            <a:gsLst>
              <a:gs pos="0">
                <a:srgbClr val="FFFFFF">
                  <a:lumMod val="95000"/>
                </a:srgbClr>
              </a:gs>
              <a:gs pos="100000">
                <a:srgbClr val="FFFFFF"/>
              </a:gs>
            </a:gsLst>
            <a:lin ang="5400000" scaled="1"/>
          </a:gradFill>
          <a:ln w="12700">
            <a:noFill/>
            <a:miter lim="800000"/>
            <a:headEnd/>
            <a:tailEnd/>
          </a:ln>
          <a:effectLst>
            <a:outerShdw blurRad="101600" dist="38100" dir="2700000" algn="tl" rotWithShape="0">
              <a:prstClr val="black">
                <a:alpha val="20000"/>
              </a:prstClr>
            </a:outerShdw>
          </a:effectLst>
        </p:spPr>
        <p:txBody>
          <a:bodyPr lIns="181423" tIns="192000" rIns="96000" bIns="120948">
            <a:normAutofit/>
          </a:bodyPr>
          <a:lstStyle>
            <a:lvl1pPr marL="190500" indent="-190500" algn="l">
              <a:defRPr>
                <a:solidFill>
                  <a:schemeClr val="tx1"/>
                </a:solidFill>
                <a:latin typeface="Arial" pitchFamily="34" charset="0"/>
              </a:defRPr>
            </a:lvl1pPr>
            <a:lvl2pPr algn="l">
              <a:defRPr>
                <a:solidFill>
                  <a:schemeClr val="tx1"/>
                </a:solidFill>
                <a:latin typeface="Arial" pitchFamily="34" charset="0"/>
              </a:defRPr>
            </a:lvl2pPr>
            <a:lvl3pPr algn="l">
              <a:defRPr>
                <a:solidFill>
                  <a:schemeClr val="tx1"/>
                </a:solidFill>
                <a:latin typeface="Arial" pitchFamily="34" charset="0"/>
              </a:defRPr>
            </a:lvl3pPr>
            <a:lvl4pPr algn="l">
              <a:defRPr>
                <a:solidFill>
                  <a:schemeClr val="tx1"/>
                </a:solidFill>
                <a:latin typeface="Arial" pitchFamily="34" charset="0"/>
              </a:defRPr>
            </a:lvl4pPr>
            <a:lvl5pPr algn="l">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pPr marL="243405" indent="-243405" defTabSz="1219140">
              <a:lnSpc>
                <a:spcPts val="2400"/>
              </a:lnSpc>
              <a:spcBef>
                <a:spcPts val="400"/>
              </a:spcBef>
              <a:buClr>
                <a:srgbClr val="0094D9"/>
              </a:buClr>
              <a:buSzPct val="90000"/>
              <a:buFont typeface="Arial" panose="020B0604020202020204" pitchFamily="34" charset="0"/>
              <a:buChar char="●"/>
              <a:defRPr/>
            </a:pPr>
            <a:endParaRPr lang="en-GB" sz="2133" kern="0">
              <a:solidFill>
                <a:srgbClr val="3F4043"/>
              </a:solidFill>
              <a:latin typeface="Verdana" pitchFamily="34" charset="0"/>
            </a:endParaRPr>
          </a:p>
        </p:txBody>
      </p:sp>
      <p:sp>
        <p:nvSpPr>
          <p:cNvPr id="19" name="Rectangle 10">
            <a:extLst>
              <a:ext uri="{FF2B5EF4-FFF2-40B4-BE49-F238E27FC236}">
                <a16:creationId xmlns:a16="http://schemas.microsoft.com/office/drawing/2014/main" id="{9D51D445-6AAA-AEB1-9C33-70E0BB30642F}"/>
              </a:ext>
            </a:extLst>
          </p:cNvPr>
          <p:cNvSpPr>
            <a:spLocks noChangeArrowheads="1"/>
          </p:cNvSpPr>
          <p:nvPr/>
        </p:nvSpPr>
        <p:spPr bwMode="gray">
          <a:xfrm>
            <a:off x="6815357" y="1336664"/>
            <a:ext cx="2305235" cy="2092337"/>
          </a:xfrm>
          <a:prstGeom prst="rect">
            <a:avLst/>
          </a:prstGeom>
          <a:gradFill>
            <a:gsLst>
              <a:gs pos="0">
                <a:srgbClr val="FFFFFF">
                  <a:lumMod val="95000"/>
                </a:srgbClr>
              </a:gs>
              <a:gs pos="100000">
                <a:srgbClr val="FFFFFF"/>
              </a:gs>
            </a:gsLst>
            <a:lin ang="5400000" scaled="1"/>
          </a:gradFill>
          <a:ln w="12700">
            <a:noFill/>
            <a:miter lim="800000"/>
            <a:headEnd/>
            <a:tailEnd/>
          </a:ln>
          <a:effectLst>
            <a:outerShdw blurRad="101600" dist="38100" dir="2700000" algn="tl" rotWithShape="0">
              <a:prstClr val="black">
                <a:alpha val="20000"/>
              </a:prstClr>
            </a:outerShdw>
          </a:effectLst>
        </p:spPr>
        <p:txBody>
          <a:bodyPr lIns="181423" tIns="192000" rIns="96000" bIns="120948">
            <a:normAutofit/>
          </a:bodyPr>
          <a:lstStyle>
            <a:lvl1pPr marL="190500" indent="-190500" algn="l">
              <a:defRPr>
                <a:solidFill>
                  <a:schemeClr val="tx1"/>
                </a:solidFill>
                <a:latin typeface="Arial" pitchFamily="34" charset="0"/>
              </a:defRPr>
            </a:lvl1pPr>
            <a:lvl2pPr algn="l">
              <a:defRPr>
                <a:solidFill>
                  <a:schemeClr val="tx1"/>
                </a:solidFill>
                <a:latin typeface="Arial" pitchFamily="34" charset="0"/>
              </a:defRPr>
            </a:lvl2pPr>
            <a:lvl3pPr algn="l">
              <a:defRPr>
                <a:solidFill>
                  <a:schemeClr val="tx1"/>
                </a:solidFill>
                <a:latin typeface="Arial" pitchFamily="34" charset="0"/>
              </a:defRPr>
            </a:lvl3pPr>
            <a:lvl4pPr algn="l">
              <a:defRPr>
                <a:solidFill>
                  <a:schemeClr val="tx1"/>
                </a:solidFill>
                <a:latin typeface="Arial" pitchFamily="34" charset="0"/>
              </a:defRPr>
            </a:lvl4pPr>
            <a:lvl5pPr algn="l">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pPr marL="243405" indent="-243405" defTabSz="1219140">
              <a:lnSpc>
                <a:spcPts val="2400"/>
              </a:lnSpc>
              <a:spcBef>
                <a:spcPts val="400"/>
              </a:spcBef>
              <a:buClr>
                <a:srgbClr val="0094D9"/>
              </a:buClr>
              <a:buSzPct val="90000"/>
              <a:buFont typeface="Arial" panose="020B0604020202020204" pitchFamily="34" charset="0"/>
              <a:buChar char="●"/>
              <a:defRPr/>
            </a:pPr>
            <a:endParaRPr lang="en-GB" sz="2133" kern="0">
              <a:solidFill>
                <a:srgbClr val="3F4043"/>
              </a:solidFill>
              <a:latin typeface="Verdana" pitchFamily="34" charset="0"/>
            </a:endParaRPr>
          </a:p>
        </p:txBody>
      </p:sp>
      <p:sp>
        <p:nvSpPr>
          <p:cNvPr id="35" name="Rectangle 10">
            <a:extLst>
              <a:ext uri="{FF2B5EF4-FFF2-40B4-BE49-F238E27FC236}">
                <a16:creationId xmlns:a16="http://schemas.microsoft.com/office/drawing/2014/main" id="{FE110FB2-AED0-3967-3C09-B0414EE5F700}"/>
              </a:ext>
            </a:extLst>
          </p:cNvPr>
          <p:cNvSpPr>
            <a:spLocks noChangeArrowheads="1"/>
          </p:cNvSpPr>
          <p:nvPr/>
        </p:nvSpPr>
        <p:spPr bwMode="gray">
          <a:xfrm>
            <a:off x="8371299" y="3602650"/>
            <a:ext cx="3239171" cy="2092337"/>
          </a:xfrm>
          <a:prstGeom prst="rect">
            <a:avLst/>
          </a:prstGeom>
          <a:gradFill>
            <a:gsLst>
              <a:gs pos="0">
                <a:srgbClr val="FFFFFF">
                  <a:lumMod val="95000"/>
                </a:srgbClr>
              </a:gs>
              <a:gs pos="100000">
                <a:srgbClr val="FFFFFF"/>
              </a:gs>
            </a:gsLst>
            <a:lin ang="5400000" scaled="1"/>
          </a:gradFill>
          <a:ln w="12700">
            <a:noFill/>
            <a:miter lim="800000"/>
            <a:headEnd/>
            <a:tailEnd/>
          </a:ln>
          <a:effectLst>
            <a:outerShdw blurRad="101600" dist="38100" dir="2700000" algn="tl" rotWithShape="0">
              <a:prstClr val="black">
                <a:alpha val="20000"/>
              </a:prstClr>
            </a:outerShdw>
          </a:effectLst>
        </p:spPr>
        <p:txBody>
          <a:bodyPr lIns="181423" tIns="192000" rIns="96000" bIns="120948">
            <a:normAutofit/>
          </a:bodyPr>
          <a:lstStyle>
            <a:lvl1pPr marL="190500" indent="-190500" algn="l">
              <a:defRPr>
                <a:solidFill>
                  <a:schemeClr val="tx1"/>
                </a:solidFill>
                <a:latin typeface="Arial" pitchFamily="34" charset="0"/>
              </a:defRPr>
            </a:lvl1pPr>
            <a:lvl2pPr algn="l">
              <a:defRPr>
                <a:solidFill>
                  <a:schemeClr val="tx1"/>
                </a:solidFill>
                <a:latin typeface="Arial" pitchFamily="34" charset="0"/>
              </a:defRPr>
            </a:lvl2pPr>
            <a:lvl3pPr algn="l">
              <a:defRPr>
                <a:solidFill>
                  <a:schemeClr val="tx1"/>
                </a:solidFill>
                <a:latin typeface="Arial" pitchFamily="34" charset="0"/>
              </a:defRPr>
            </a:lvl3pPr>
            <a:lvl4pPr algn="l">
              <a:defRPr>
                <a:solidFill>
                  <a:schemeClr val="tx1"/>
                </a:solidFill>
                <a:latin typeface="Arial" pitchFamily="34" charset="0"/>
              </a:defRPr>
            </a:lvl4pPr>
            <a:lvl5pPr algn="l">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pPr marL="243405" indent="-243405" defTabSz="1219140">
              <a:lnSpc>
                <a:spcPts val="2400"/>
              </a:lnSpc>
              <a:spcBef>
                <a:spcPts val="400"/>
              </a:spcBef>
              <a:buClr>
                <a:srgbClr val="0094D9"/>
              </a:buClr>
              <a:buSzPct val="90000"/>
              <a:buFont typeface="Arial" panose="020B0604020202020204" pitchFamily="34" charset="0"/>
              <a:buChar char="●"/>
              <a:defRPr/>
            </a:pPr>
            <a:endParaRPr lang="en-GB" sz="2133" kern="0">
              <a:solidFill>
                <a:srgbClr val="3F4043"/>
              </a:solidFill>
              <a:latin typeface="Verdana" pitchFamily="34" charset="0"/>
            </a:endParaRPr>
          </a:p>
        </p:txBody>
      </p:sp>
      <p:sp>
        <p:nvSpPr>
          <p:cNvPr id="36" name="Rectangle 10">
            <a:extLst>
              <a:ext uri="{FF2B5EF4-FFF2-40B4-BE49-F238E27FC236}">
                <a16:creationId xmlns:a16="http://schemas.microsoft.com/office/drawing/2014/main" id="{A14B41A3-DB00-129E-56A7-0D6CEA660A50}"/>
              </a:ext>
            </a:extLst>
          </p:cNvPr>
          <p:cNvSpPr>
            <a:spLocks noChangeArrowheads="1"/>
          </p:cNvSpPr>
          <p:nvPr/>
        </p:nvSpPr>
        <p:spPr bwMode="gray">
          <a:xfrm>
            <a:off x="9301557" y="1336664"/>
            <a:ext cx="2305235" cy="2092337"/>
          </a:xfrm>
          <a:prstGeom prst="rect">
            <a:avLst/>
          </a:prstGeom>
          <a:gradFill>
            <a:gsLst>
              <a:gs pos="0">
                <a:srgbClr val="FFFFFF">
                  <a:lumMod val="95000"/>
                </a:srgbClr>
              </a:gs>
              <a:gs pos="100000">
                <a:srgbClr val="FFFFFF"/>
              </a:gs>
            </a:gsLst>
            <a:lin ang="5400000" scaled="1"/>
          </a:gradFill>
          <a:ln w="12700">
            <a:noFill/>
            <a:miter lim="800000"/>
            <a:headEnd/>
            <a:tailEnd/>
          </a:ln>
          <a:effectLst>
            <a:outerShdw blurRad="101600" dist="38100" dir="2700000" algn="tl" rotWithShape="0">
              <a:prstClr val="black">
                <a:alpha val="20000"/>
              </a:prstClr>
            </a:outerShdw>
          </a:effectLst>
        </p:spPr>
        <p:txBody>
          <a:bodyPr lIns="181423" tIns="192000" rIns="96000" bIns="120948">
            <a:normAutofit/>
          </a:bodyPr>
          <a:lstStyle>
            <a:lvl1pPr marL="190500" indent="-190500" algn="l">
              <a:defRPr>
                <a:solidFill>
                  <a:schemeClr val="tx1"/>
                </a:solidFill>
                <a:latin typeface="Arial" pitchFamily="34" charset="0"/>
              </a:defRPr>
            </a:lvl1pPr>
            <a:lvl2pPr algn="l">
              <a:defRPr>
                <a:solidFill>
                  <a:schemeClr val="tx1"/>
                </a:solidFill>
                <a:latin typeface="Arial" pitchFamily="34" charset="0"/>
              </a:defRPr>
            </a:lvl2pPr>
            <a:lvl3pPr algn="l">
              <a:defRPr>
                <a:solidFill>
                  <a:schemeClr val="tx1"/>
                </a:solidFill>
                <a:latin typeface="Arial" pitchFamily="34" charset="0"/>
              </a:defRPr>
            </a:lvl3pPr>
            <a:lvl4pPr algn="l">
              <a:defRPr>
                <a:solidFill>
                  <a:schemeClr val="tx1"/>
                </a:solidFill>
                <a:latin typeface="Arial" pitchFamily="34" charset="0"/>
              </a:defRPr>
            </a:lvl4pPr>
            <a:lvl5pPr algn="l">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pPr marL="243405" indent="-243405" defTabSz="1219140">
              <a:lnSpc>
                <a:spcPts val="2400"/>
              </a:lnSpc>
              <a:spcBef>
                <a:spcPts val="400"/>
              </a:spcBef>
              <a:buClr>
                <a:srgbClr val="0094D9"/>
              </a:buClr>
              <a:buSzPct val="90000"/>
              <a:buFont typeface="Arial" panose="020B0604020202020204" pitchFamily="34" charset="0"/>
              <a:buChar char="●"/>
              <a:defRPr/>
            </a:pPr>
            <a:endParaRPr lang="en-GB" sz="2133" kern="0">
              <a:solidFill>
                <a:srgbClr val="3F4043"/>
              </a:solidFill>
              <a:latin typeface="Verdana" pitchFamily="34" charset="0"/>
            </a:endParaRPr>
          </a:p>
        </p:txBody>
      </p:sp>
      <p:sp>
        <p:nvSpPr>
          <p:cNvPr id="38" name="Rectangle 10">
            <a:extLst>
              <a:ext uri="{FF2B5EF4-FFF2-40B4-BE49-F238E27FC236}">
                <a16:creationId xmlns:a16="http://schemas.microsoft.com/office/drawing/2014/main" id="{E79C41D0-DB1F-2A1F-1EF1-81D4D0D3B171}"/>
              </a:ext>
            </a:extLst>
          </p:cNvPr>
          <p:cNvSpPr>
            <a:spLocks noChangeArrowheads="1"/>
          </p:cNvSpPr>
          <p:nvPr/>
        </p:nvSpPr>
        <p:spPr bwMode="gray">
          <a:xfrm>
            <a:off x="6815359" y="3590337"/>
            <a:ext cx="1441819" cy="2092337"/>
          </a:xfrm>
          <a:prstGeom prst="rect">
            <a:avLst/>
          </a:prstGeom>
          <a:gradFill>
            <a:gsLst>
              <a:gs pos="0">
                <a:srgbClr val="FFFFFF">
                  <a:lumMod val="95000"/>
                </a:srgbClr>
              </a:gs>
              <a:gs pos="100000">
                <a:srgbClr val="FFFFFF"/>
              </a:gs>
            </a:gsLst>
            <a:lin ang="5400000" scaled="1"/>
          </a:gradFill>
          <a:ln w="12700">
            <a:noFill/>
            <a:miter lim="800000"/>
            <a:headEnd/>
            <a:tailEnd/>
          </a:ln>
          <a:effectLst>
            <a:outerShdw blurRad="101600" dist="38100" dir="2700000" algn="tl" rotWithShape="0">
              <a:prstClr val="black">
                <a:alpha val="20000"/>
              </a:prstClr>
            </a:outerShdw>
          </a:effectLst>
        </p:spPr>
        <p:txBody>
          <a:bodyPr lIns="181423" tIns="192000" rIns="96000" bIns="120948">
            <a:normAutofit/>
          </a:bodyPr>
          <a:lstStyle>
            <a:lvl1pPr marL="190500" indent="-190500" algn="l">
              <a:defRPr>
                <a:solidFill>
                  <a:schemeClr val="tx1"/>
                </a:solidFill>
                <a:latin typeface="Arial" pitchFamily="34" charset="0"/>
              </a:defRPr>
            </a:lvl1pPr>
            <a:lvl2pPr algn="l">
              <a:defRPr>
                <a:solidFill>
                  <a:schemeClr val="tx1"/>
                </a:solidFill>
                <a:latin typeface="Arial" pitchFamily="34" charset="0"/>
              </a:defRPr>
            </a:lvl2pPr>
            <a:lvl3pPr algn="l">
              <a:defRPr>
                <a:solidFill>
                  <a:schemeClr val="tx1"/>
                </a:solidFill>
                <a:latin typeface="Arial" pitchFamily="34" charset="0"/>
              </a:defRPr>
            </a:lvl3pPr>
            <a:lvl4pPr algn="l">
              <a:defRPr>
                <a:solidFill>
                  <a:schemeClr val="tx1"/>
                </a:solidFill>
                <a:latin typeface="Arial" pitchFamily="34" charset="0"/>
              </a:defRPr>
            </a:lvl4pPr>
            <a:lvl5pPr algn="l">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pPr marL="243405" indent="-243405" defTabSz="1219140">
              <a:lnSpc>
                <a:spcPts val="2400"/>
              </a:lnSpc>
              <a:spcBef>
                <a:spcPts val="400"/>
              </a:spcBef>
              <a:buClr>
                <a:srgbClr val="0094D9"/>
              </a:buClr>
              <a:buSzPct val="90000"/>
              <a:buFont typeface="Arial" panose="020B0604020202020204" pitchFamily="34" charset="0"/>
              <a:buChar char="●"/>
              <a:defRPr/>
            </a:pPr>
            <a:endParaRPr lang="en-GB" sz="2133" kern="0">
              <a:solidFill>
                <a:srgbClr val="3F4043"/>
              </a:solidFill>
              <a:latin typeface="Verdana" pitchFamily="34" charset="0"/>
            </a:endParaRPr>
          </a:p>
        </p:txBody>
      </p:sp>
      <p:sp>
        <p:nvSpPr>
          <p:cNvPr id="4" name="Title 3">
            <a:extLst>
              <a:ext uri="{FF2B5EF4-FFF2-40B4-BE49-F238E27FC236}">
                <a16:creationId xmlns:a16="http://schemas.microsoft.com/office/drawing/2014/main" id="{DB9E0F37-82FE-2BAD-00BF-417C4FB357D7}"/>
              </a:ext>
            </a:extLst>
          </p:cNvPr>
          <p:cNvSpPr>
            <a:spLocks noGrp="1"/>
          </p:cNvSpPr>
          <p:nvPr>
            <p:ph type="title"/>
          </p:nvPr>
        </p:nvSpPr>
        <p:spPr>
          <a:xfrm>
            <a:off x="575734" y="548218"/>
            <a:ext cx="11849023" cy="1036965"/>
          </a:xfrm>
        </p:spPr>
        <p:txBody>
          <a:bodyPr>
            <a:normAutofit/>
          </a:bodyPr>
          <a:lstStyle/>
          <a:p>
            <a:r>
              <a:t>We are proud to nourish people around the globe with our ingredients</a:t>
            </a:r>
            <a:br/>
            <a:r>
              <a:t>我们自豪地用我们的原料滋养全球人民</a:t>
            </a:r>
            <a:endParaRPr lang="en-NL" sz="2533"/>
          </a:p>
        </p:txBody>
      </p:sp>
      <p:sp>
        <p:nvSpPr>
          <p:cNvPr id="3" name="Slide Number Placeholder 2">
            <a:extLst>
              <a:ext uri="{FF2B5EF4-FFF2-40B4-BE49-F238E27FC236}">
                <a16:creationId xmlns:a16="http://schemas.microsoft.com/office/drawing/2014/main" id="{DE116DDA-8B06-7F22-516C-AF4AB05E8D27}"/>
              </a:ext>
            </a:extLst>
          </p:cNvPr>
          <p:cNvSpPr>
            <a:spLocks noGrp="1"/>
          </p:cNvSpPr>
          <p:nvPr>
            <p:ph type="sldNum" sz="quarter" idx="12"/>
          </p:nvPr>
        </p:nvSpPr>
        <p:spPr>
          <a:xfrm>
            <a:off x="773722" y="8672309"/>
            <a:ext cx="54502" cy="102657"/>
          </a:xfrm>
        </p:spPr>
        <p:txBody>
          <a:bodyPr>
            <a:normAutofit/>
          </a:bodyPr>
          <a:lstStyle/>
          <a:p>
            <a:pPr defTabSz="609585">
              <a:defRPr/>
            </a:pPr>
            <a:fld id="{9BE0E23E-9022-4929-B297-EB2777CDBB1F}" type="slidenum">
              <a:rPr>
                <a:solidFill>
                  <a:srgbClr val="3F4043">
                    <a:tint val="75000"/>
                  </a:srgbClr>
                </a:solidFill>
                <a:latin typeface="Verdana"/>
              </a:rPr>
              <a:pPr defTabSz="609585">
                <a:defRPr/>
              </a:pPr>
              <a:t>30</a:t>
            </a:fld>
            <a:endParaRPr lang="en-gb">
              <a:solidFill>
                <a:srgbClr val="3F4043">
                  <a:tint val="75000"/>
                </a:srgbClr>
              </a:solidFill>
              <a:latin typeface="Verdana"/>
            </a:endParaRPr>
          </a:p>
        </p:txBody>
      </p:sp>
      <p:sp>
        <p:nvSpPr>
          <p:cNvPr id="69" name="TextBox 68">
            <a:extLst>
              <a:ext uri="{FF2B5EF4-FFF2-40B4-BE49-F238E27FC236}">
                <a16:creationId xmlns:a16="http://schemas.microsoft.com/office/drawing/2014/main" id="{089A936B-5C6A-A1E9-F6DC-847942B92A74}"/>
              </a:ext>
            </a:extLst>
          </p:cNvPr>
          <p:cNvSpPr txBox="1"/>
          <p:nvPr/>
        </p:nvSpPr>
        <p:spPr>
          <a:xfrm>
            <a:off x="614782" y="2290234"/>
            <a:ext cx="2997681" cy="2221955"/>
          </a:xfrm>
          <a:prstGeom prst="rect">
            <a:avLst/>
          </a:prstGeom>
          <a:noFill/>
        </p:spPr>
        <p:txBody>
          <a:bodyPr wrap="square" lIns="0" tIns="0" rIns="0" bIns="0" rtlCol="0">
            <a:normAutofit/>
          </a:bodyPr>
          <a:lstStyle/>
          <a:p>
            <a:pPr defTabSz="609585">
              <a:lnSpc>
                <a:spcPct val="112000"/>
              </a:lnSpc>
              <a:defRPr/>
            </a:pPr>
            <a:r>
              <a:t>With our ingredients, we provide healthy food to millions of people worldwide</a:t>
            </a:r>
            <a:br/>
            <a:r>
              <a:t>通过我们的原料，我们为全球数百万人民提供健康食品</a:t>
            </a:r>
            <a:endParaRPr lang="en-GB" sz="1867">
              <a:solidFill>
                <a:srgbClr val="3F4043"/>
              </a:solidFill>
              <a:latin typeface="Verdana" pitchFamily="34" charset="0"/>
            </a:endParaRPr>
          </a:p>
          <a:p>
            <a:pPr defTabSz="609585">
              <a:lnSpc>
                <a:spcPct val="112000"/>
              </a:lnSpc>
              <a:defRPr/>
            </a:pPr>
            <a:r>
              <a:t>Each year we supply ingredients for:</a:t>
            </a:r>
            <a:br/>
            <a:r>
              <a:t>每年我们为以下需求提供原料：</a:t>
            </a:r>
          </a:p>
        </p:txBody>
      </p:sp>
      <p:sp>
        <p:nvSpPr>
          <p:cNvPr id="6" name="TextBox 5">
            <a:extLst>
              <a:ext uri="{FF2B5EF4-FFF2-40B4-BE49-F238E27FC236}">
                <a16:creationId xmlns:a16="http://schemas.microsoft.com/office/drawing/2014/main" id="{6108CFBE-E8F7-276A-FB2E-ED77F6CB2611}"/>
              </a:ext>
            </a:extLst>
          </p:cNvPr>
          <p:cNvSpPr txBox="1"/>
          <p:nvPr/>
        </p:nvSpPr>
        <p:spPr>
          <a:xfrm>
            <a:off x="5473679" y="1787071"/>
            <a:ext cx="1053263" cy="332463"/>
          </a:xfrm>
          <a:prstGeom prst="rect">
            <a:avLst/>
          </a:prstGeom>
          <a:noFill/>
        </p:spPr>
        <p:txBody>
          <a:bodyPr wrap="square" lIns="0" tIns="0" rIns="0" bIns="0" rtlCol="0">
            <a:normAutofit/>
          </a:bodyPr>
          <a:lstStyle/>
          <a:p>
            <a:pPr defTabSz="609585">
              <a:lnSpc>
                <a:spcPct val="112000"/>
              </a:lnSpc>
              <a:defRPr/>
            </a:pPr>
            <a:r>
              <a:rPr lang="en-gb" sz="2133" b="1">
                <a:solidFill>
                  <a:srgbClr val="0094D9"/>
                </a:solidFill>
                <a:latin typeface="Verdana" panose="020B0604030504040204" pitchFamily="34" charset="0"/>
                <a:ea typeface="Times New Roman" panose="02020603050405020304" pitchFamily="18" charset="0"/>
                <a:cs typeface="Times New Roman" panose="02020603050405020304" pitchFamily="18" charset="0"/>
              </a:rPr>
              <a:t>&gt;30</a:t>
            </a:r>
            <a:r>
              <a:rPr lang="en-gb" sz="1467">
                <a:solidFill>
                  <a:srgbClr val="0094D9"/>
                </a:solidFill>
                <a:latin typeface="Verdana" panose="020B0604030504040204" pitchFamily="34" charset="0"/>
                <a:ea typeface="Times New Roman" panose="02020603050405020304" pitchFamily="18" charset="0"/>
                <a:cs typeface="Times New Roman" panose="02020603050405020304" pitchFamily="18" charset="0"/>
              </a:rPr>
              <a:t> </a:t>
            </a:r>
            <a:r>
              <a:rPr lang="en-gb" sz="1600">
                <a:solidFill>
                  <a:srgbClr val="0094D9"/>
                </a:solidFill>
                <a:latin typeface="Verdana" panose="020B0604030504040204" pitchFamily="34" charset="0"/>
                <a:ea typeface="Times New Roman" panose="02020603050405020304" pitchFamily="18" charset="0"/>
                <a:cs typeface="Times New Roman" panose="02020603050405020304" pitchFamily="18" charset="0"/>
              </a:rPr>
              <a:t>m</a:t>
            </a:r>
            <a:endParaRPr lang="en-gb" sz="1600">
              <a:solidFill>
                <a:srgbClr val="0094D9"/>
              </a:solidFill>
              <a:latin typeface="Verdana"/>
            </a:endParaRPr>
          </a:p>
        </p:txBody>
      </p:sp>
      <p:sp>
        <p:nvSpPr>
          <p:cNvPr id="7" name="TextBox 6">
            <a:extLst>
              <a:ext uri="{FF2B5EF4-FFF2-40B4-BE49-F238E27FC236}">
                <a16:creationId xmlns:a16="http://schemas.microsoft.com/office/drawing/2014/main" id="{B4ECEE18-5702-99D1-AEE3-B80B073B20DC}"/>
              </a:ext>
            </a:extLst>
          </p:cNvPr>
          <p:cNvSpPr txBox="1"/>
          <p:nvPr/>
        </p:nvSpPr>
        <p:spPr>
          <a:xfrm>
            <a:off x="5452422" y="2112981"/>
            <a:ext cx="1518556" cy="249427"/>
          </a:xfrm>
          <a:prstGeom prst="rect">
            <a:avLst/>
          </a:prstGeom>
          <a:noFill/>
        </p:spPr>
        <p:txBody>
          <a:bodyPr wrap="square" lIns="0" tIns="0" rIns="0" bIns="0" rtlCol="0">
            <a:normAutofit/>
          </a:bodyPr>
          <a:lstStyle/>
          <a:p>
            <a:pPr defTabSz="609585">
              <a:lnSpc>
                <a:spcPct val="112000"/>
              </a:lnSpc>
              <a:defRPr/>
            </a:pPr>
            <a:r>
              <a:t>babies</a:t>
            </a:r>
            <a:br/>
            <a:r>
              <a:t>婴儿</a:t>
            </a:r>
            <a:endParaRPr lang="en-gb" sz="1600">
              <a:solidFill>
                <a:srgbClr val="0094D9"/>
              </a:solidFill>
              <a:latin typeface="Verdana"/>
            </a:endParaRPr>
          </a:p>
        </p:txBody>
      </p:sp>
      <p:sp>
        <p:nvSpPr>
          <p:cNvPr id="9" name="TextBox 8">
            <a:extLst>
              <a:ext uri="{FF2B5EF4-FFF2-40B4-BE49-F238E27FC236}">
                <a16:creationId xmlns:a16="http://schemas.microsoft.com/office/drawing/2014/main" id="{7FE38911-91BC-CED1-8DDE-A713CF83ABE3}"/>
              </a:ext>
            </a:extLst>
          </p:cNvPr>
          <p:cNvSpPr txBox="1"/>
          <p:nvPr/>
        </p:nvSpPr>
        <p:spPr>
          <a:xfrm>
            <a:off x="4340125" y="2523702"/>
            <a:ext cx="2507776" cy="717953"/>
          </a:xfrm>
          <a:prstGeom prst="rect">
            <a:avLst/>
          </a:prstGeom>
          <a:noFill/>
        </p:spPr>
        <p:txBody>
          <a:bodyPr wrap="square" lIns="0" tIns="0" rIns="0" bIns="0" rtlCol="0">
            <a:normAutofit/>
          </a:bodyPr>
          <a:lstStyle/>
          <a:p>
            <a:pPr algn="ctr" defTabSz="609585">
              <a:lnSpc>
                <a:spcPct val="112000"/>
              </a:lnSpc>
              <a:defRPr/>
            </a:pPr>
            <a:r>
              <a:t>LACTOSE</a:t>
            </a:r>
            <a:br/>
            <a:r>
              <a:t>乳糖</a:t>
            </a:r>
          </a:p>
          <a:p>
            <a:pPr algn="ctr" defTabSz="609585">
              <a:lnSpc>
                <a:spcPct val="112000"/>
              </a:lnSpc>
              <a:defRPr/>
            </a:pPr>
            <a:r>
              <a:t>BASEPOWDERS</a:t>
            </a:r>
            <a:br/>
            <a:r>
              <a:t>基础粉</a:t>
            </a:r>
          </a:p>
          <a:p>
            <a:pPr algn="ctr" defTabSz="609585">
              <a:lnSpc>
                <a:spcPct val="112000"/>
              </a:lnSpc>
              <a:defRPr/>
            </a:pPr>
            <a:r>
              <a:t>WHEY PROTEINSGOS</a:t>
            </a:r>
            <a:br/>
            <a:r>
              <a:t>乳清蛋白 GOS</a:t>
            </a:r>
            <a:endParaRPr lang="en-gb" sz="1067" i="1">
              <a:solidFill>
                <a:srgbClr val="FFFFFF">
                  <a:lumMod val="50000"/>
                </a:srgbClr>
              </a:solidFill>
              <a:latin typeface="Verdana"/>
            </a:endParaRPr>
          </a:p>
        </p:txBody>
      </p:sp>
      <p:sp>
        <p:nvSpPr>
          <p:cNvPr id="12" name="TextBox 11">
            <a:extLst>
              <a:ext uri="{FF2B5EF4-FFF2-40B4-BE49-F238E27FC236}">
                <a16:creationId xmlns:a16="http://schemas.microsoft.com/office/drawing/2014/main" id="{22092CD4-22CB-3F88-E0D1-96CF50440511}"/>
              </a:ext>
            </a:extLst>
          </p:cNvPr>
          <p:cNvSpPr txBox="1"/>
          <p:nvPr/>
        </p:nvSpPr>
        <p:spPr>
          <a:xfrm>
            <a:off x="4965695" y="4081099"/>
            <a:ext cx="1693711" cy="291042"/>
          </a:xfrm>
          <a:prstGeom prst="rect">
            <a:avLst/>
          </a:prstGeom>
          <a:noFill/>
        </p:spPr>
        <p:txBody>
          <a:bodyPr wrap="square" lIns="0" tIns="0" rIns="0" bIns="0" rtlCol="0">
            <a:normAutofit/>
          </a:bodyPr>
          <a:lstStyle/>
          <a:p>
            <a:pPr algn="ctr" defTabSz="609585">
              <a:lnSpc>
                <a:spcPct val="112000"/>
              </a:lnSpc>
              <a:defRPr/>
            </a:pPr>
            <a:r>
              <a:rPr lang="en-GB" sz="1867" b="1">
                <a:solidFill>
                  <a:srgbClr val="0094D9"/>
                </a:solidFill>
                <a:latin typeface="Verdana" panose="020B0604030504040204" pitchFamily="34" charset="0"/>
                <a:ea typeface="Times New Roman" panose="02020603050405020304" pitchFamily="18" charset="0"/>
                <a:cs typeface="Times New Roman" panose="02020603050405020304" pitchFamily="18" charset="0"/>
              </a:rPr>
              <a:t>200 </a:t>
            </a:r>
            <a:r>
              <a:rPr lang="en-GB" sz="1867">
                <a:solidFill>
                  <a:srgbClr val="0094D9"/>
                </a:solidFill>
                <a:latin typeface="Verdana" panose="020B0604030504040204" pitchFamily="34" charset="0"/>
                <a:ea typeface="Times New Roman" panose="02020603050405020304" pitchFamily="18" charset="0"/>
                <a:cs typeface="Times New Roman" panose="02020603050405020304" pitchFamily="18" charset="0"/>
              </a:rPr>
              <a:t>k</a:t>
            </a:r>
            <a:endParaRPr lang="en-gb" sz="1467">
              <a:solidFill>
                <a:srgbClr val="0094D9"/>
              </a:solidFill>
              <a:latin typeface="Verdana"/>
            </a:endParaRPr>
          </a:p>
        </p:txBody>
      </p:sp>
      <p:sp>
        <p:nvSpPr>
          <p:cNvPr id="13" name="TextBox 12">
            <a:extLst>
              <a:ext uri="{FF2B5EF4-FFF2-40B4-BE49-F238E27FC236}">
                <a16:creationId xmlns:a16="http://schemas.microsoft.com/office/drawing/2014/main" id="{7F959DBB-81DB-AB89-B0A4-BB0CD85A409F}"/>
              </a:ext>
            </a:extLst>
          </p:cNvPr>
          <p:cNvSpPr txBox="1"/>
          <p:nvPr/>
        </p:nvSpPr>
        <p:spPr>
          <a:xfrm>
            <a:off x="4245417" y="4582354"/>
            <a:ext cx="2492328" cy="525208"/>
          </a:xfrm>
          <a:prstGeom prst="rect">
            <a:avLst/>
          </a:prstGeom>
          <a:noFill/>
        </p:spPr>
        <p:txBody>
          <a:bodyPr wrap="square" lIns="0" tIns="0" rIns="0" bIns="0" rtlCol="0">
            <a:normAutofit/>
          </a:bodyPr>
          <a:lstStyle/>
          <a:p>
            <a:pPr algn="ctr" defTabSz="609585">
              <a:lnSpc>
                <a:spcPct val="112000"/>
              </a:lnSpc>
              <a:defRPr/>
            </a:pPr>
            <a:r>
              <a:t>Babies with special dietary needs</a:t>
            </a:r>
            <a:br/>
            <a:r>
              <a:t>有特殊饮食需求的婴儿</a:t>
            </a:r>
            <a:endParaRPr lang="en-gb" sz="1600">
              <a:solidFill>
                <a:srgbClr val="0094D9"/>
              </a:solidFill>
              <a:latin typeface="Verdana"/>
            </a:endParaRPr>
          </a:p>
        </p:txBody>
      </p:sp>
      <p:sp>
        <p:nvSpPr>
          <p:cNvPr id="14" name="TextBox 13">
            <a:extLst>
              <a:ext uri="{FF2B5EF4-FFF2-40B4-BE49-F238E27FC236}">
                <a16:creationId xmlns:a16="http://schemas.microsoft.com/office/drawing/2014/main" id="{BE9A5385-85EA-DE21-81E2-93E58E0F6274}"/>
              </a:ext>
            </a:extLst>
          </p:cNvPr>
          <p:cNvSpPr txBox="1"/>
          <p:nvPr/>
        </p:nvSpPr>
        <p:spPr>
          <a:xfrm>
            <a:off x="4162982" y="5348821"/>
            <a:ext cx="2786956" cy="187103"/>
          </a:xfrm>
          <a:prstGeom prst="rect">
            <a:avLst/>
          </a:prstGeom>
          <a:noFill/>
        </p:spPr>
        <p:txBody>
          <a:bodyPr wrap="square" lIns="0" tIns="0" rIns="0" bIns="0" rtlCol="0">
            <a:normAutofit/>
          </a:bodyPr>
          <a:lstStyle/>
          <a:p>
            <a:pPr algn="ctr" defTabSz="609585">
              <a:lnSpc>
                <a:spcPct val="112000"/>
              </a:lnSpc>
              <a:defRPr/>
            </a:pPr>
            <a:r>
              <a:t>hydrolysates</a:t>
            </a:r>
            <a:br/>
            <a:r>
              <a:t>水解物</a:t>
            </a:r>
            <a:endParaRPr lang="en-gb" sz="1200" i="1">
              <a:solidFill>
                <a:srgbClr val="FFFFFF">
                  <a:lumMod val="50000"/>
                </a:srgbClr>
              </a:solidFill>
              <a:latin typeface="Verdana"/>
            </a:endParaRPr>
          </a:p>
        </p:txBody>
      </p:sp>
      <p:sp>
        <p:nvSpPr>
          <p:cNvPr id="40" name="TextBox 39">
            <a:extLst>
              <a:ext uri="{FF2B5EF4-FFF2-40B4-BE49-F238E27FC236}">
                <a16:creationId xmlns:a16="http://schemas.microsoft.com/office/drawing/2014/main" id="{D0E5AD59-5670-13D6-F463-7035F1B2B3F6}"/>
              </a:ext>
            </a:extLst>
          </p:cNvPr>
          <p:cNvSpPr txBox="1"/>
          <p:nvPr/>
        </p:nvSpPr>
        <p:spPr>
          <a:xfrm>
            <a:off x="7139917" y="4566155"/>
            <a:ext cx="861284" cy="291042"/>
          </a:xfrm>
          <a:prstGeom prst="rect">
            <a:avLst/>
          </a:prstGeom>
          <a:noFill/>
        </p:spPr>
        <p:txBody>
          <a:bodyPr wrap="square" lIns="0" tIns="0" rIns="0" bIns="0" rtlCol="0">
            <a:normAutofit/>
          </a:bodyPr>
          <a:lstStyle/>
          <a:p>
            <a:pPr algn="ctr" defTabSz="609585">
              <a:lnSpc>
                <a:spcPct val="112000"/>
              </a:lnSpc>
              <a:defRPr/>
            </a:pPr>
            <a:r>
              <a:rPr lang="en-gb" sz="1867" b="1">
                <a:solidFill>
                  <a:srgbClr val="EC008C"/>
                </a:solidFill>
                <a:latin typeface="Verdana" panose="020B0604030504040204" pitchFamily="34" charset="0"/>
                <a:ea typeface="Times New Roman" panose="02020603050405020304" pitchFamily="18" charset="0"/>
                <a:cs typeface="Times New Roman" panose="02020603050405020304" pitchFamily="18" charset="0"/>
              </a:rPr>
              <a:t>50 </a:t>
            </a:r>
            <a:r>
              <a:rPr lang="en-gb" sz="1200">
                <a:solidFill>
                  <a:srgbClr val="EC008C"/>
                </a:solidFill>
                <a:latin typeface="Verdana" panose="020B0604030504040204" pitchFamily="34" charset="0"/>
                <a:ea typeface="Times New Roman" panose="02020603050405020304" pitchFamily="18" charset="0"/>
                <a:cs typeface="Times New Roman" panose="02020603050405020304" pitchFamily="18" charset="0"/>
              </a:rPr>
              <a:t>m</a:t>
            </a:r>
            <a:endParaRPr lang="en-gb" sz="1200">
              <a:solidFill>
                <a:srgbClr val="EC008C"/>
              </a:solidFill>
              <a:latin typeface="Verdana"/>
            </a:endParaRPr>
          </a:p>
        </p:txBody>
      </p:sp>
      <p:sp>
        <p:nvSpPr>
          <p:cNvPr id="41" name="TextBox 40">
            <a:extLst>
              <a:ext uri="{FF2B5EF4-FFF2-40B4-BE49-F238E27FC236}">
                <a16:creationId xmlns:a16="http://schemas.microsoft.com/office/drawing/2014/main" id="{A0527FCF-F079-8D05-38EA-FBE7156AAC15}"/>
              </a:ext>
            </a:extLst>
          </p:cNvPr>
          <p:cNvSpPr txBox="1"/>
          <p:nvPr/>
        </p:nvSpPr>
        <p:spPr>
          <a:xfrm>
            <a:off x="6967177" y="4867924"/>
            <a:ext cx="1206760" cy="249427"/>
          </a:xfrm>
          <a:prstGeom prst="rect">
            <a:avLst/>
          </a:prstGeom>
          <a:noFill/>
        </p:spPr>
        <p:txBody>
          <a:bodyPr wrap="square" lIns="0" tIns="0" rIns="0" bIns="0" rtlCol="0">
            <a:normAutofit/>
          </a:bodyPr>
          <a:lstStyle/>
          <a:p>
            <a:pPr algn="ctr" defTabSz="609585">
              <a:lnSpc>
                <a:spcPct val="112000"/>
              </a:lnSpc>
              <a:defRPr/>
            </a:pPr>
            <a:r>
              <a:t>patients</a:t>
            </a:r>
            <a:br/>
            <a:r>
              <a:t>患者</a:t>
            </a:r>
            <a:endParaRPr lang="en-gb" sz="1600">
              <a:solidFill>
                <a:srgbClr val="EC008C"/>
              </a:solidFill>
              <a:latin typeface="Verdana"/>
            </a:endParaRPr>
          </a:p>
        </p:txBody>
      </p:sp>
      <p:sp>
        <p:nvSpPr>
          <p:cNvPr id="42" name="TextBox 41">
            <a:extLst>
              <a:ext uri="{FF2B5EF4-FFF2-40B4-BE49-F238E27FC236}">
                <a16:creationId xmlns:a16="http://schemas.microsoft.com/office/drawing/2014/main" id="{7071695A-2B2F-AC81-DFE3-54686F79F581}"/>
              </a:ext>
            </a:extLst>
          </p:cNvPr>
          <p:cNvSpPr txBox="1"/>
          <p:nvPr/>
        </p:nvSpPr>
        <p:spPr>
          <a:xfrm>
            <a:off x="7131239" y="5348820"/>
            <a:ext cx="857061" cy="187103"/>
          </a:xfrm>
          <a:prstGeom prst="rect">
            <a:avLst/>
          </a:prstGeom>
          <a:noFill/>
        </p:spPr>
        <p:txBody>
          <a:bodyPr wrap="square" lIns="0" tIns="0" rIns="0" bIns="0" rtlCol="0">
            <a:normAutofit/>
          </a:bodyPr>
          <a:lstStyle/>
          <a:p>
            <a:pPr algn="ctr" defTabSz="609585">
              <a:lnSpc>
                <a:spcPct val="112000"/>
              </a:lnSpc>
              <a:defRPr/>
            </a:pPr>
            <a:r>
              <a:t>caseinate</a:t>
            </a:r>
            <a:br/>
            <a:r>
              <a:t>酪蛋白酸盐</a:t>
            </a:r>
            <a:endParaRPr lang="en-gb" sz="1200" i="1">
              <a:solidFill>
                <a:srgbClr val="FFFFFF">
                  <a:lumMod val="50000"/>
                </a:srgbClr>
              </a:solidFill>
              <a:latin typeface="Verdana"/>
            </a:endParaRPr>
          </a:p>
        </p:txBody>
      </p:sp>
      <p:sp>
        <p:nvSpPr>
          <p:cNvPr id="44" name="TextBox 43">
            <a:extLst>
              <a:ext uri="{FF2B5EF4-FFF2-40B4-BE49-F238E27FC236}">
                <a16:creationId xmlns:a16="http://schemas.microsoft.com/office/drawing/2014/main" id="{C06B09E4-AF0D-ACF2-72E7-8047A124614F}"/>
              </a:ext>
            </a:extLst>
          </p:cNvPr>
          <p:cNvSpPr txBox="1"/>
          <p:nvPr/>
        </p:nvSpPr>
        <p:spPr>
          <a:xfrm>
            <a:off x="7884154" y="1927273"/>
            <a:ext cx="861284" cy="332463"/>
          </a:xfrm>
          <a:prstGeom prst="rect">
            <a:avLst/>
          </a:prstGeom>
          <a:noFill/>
        </p:spPr>
        <p:txBody>
          <a:bodyPr wrap="square" lIns="0" tIns="0" rIns="0" bIns="0" rtlCol="0">
            <a:normAutofit/>
          </a:bodyPr>
          <a:lstStyle/>
          <a:p>
            <a:pPr algn="ctr" defTabSz="609585">
              <a:lnSpc>
                <a:spcPct val="112000"/>
              </a:lnSpc>
              <a:defRPr/>
            </a:pPr>
            <a:r>
              <a:rPr lang="en-gb" sz="2133" b="1">
                <a:solidFill>
                  <a:srgbClr val="F7931E"/>
                </a:solidFill>
                <a:latin typeface="Verdana" panose="020B0604030504040204" pitchFamily="34" charset="0"/>
                <a:ea typeface="Times New Roman" panose="02020603050405020304" pitchFamily="18" charset="0"/>
                <a:cs typeface="Times New Roman" panose="02020603050405020304" pitchFamily="18" charset="0"/>
              </a:rPr>
              <a:t>25</a:t>
            </a:r>
            <a:r>
              <a:rPr lang="en-gb" sz="1867" b="1">
                <a:solidFill>
                  <a:srgbClr val="F7931E"/>
                </a:solidFill>
                <a:latin typeface="Verdana" panose="020B0604030504040204" pitchFamily="34" charset="0"/>
                <a:ea typeface="Times New Roman" panose="02020603050405020304" pitchFamily="18" charset="0"/>
                <a:cs typeface="Times New Roman" panose="02020603050405020304" pitchFamily="18" charset="0"/>
              </a:rPr>
              <a:t> </a:t>
            </a:r>
            <a:r>
              <a:rPr lang="en-gb" sz="1600">
                <a:solidFill>
                  <a:srgbClr val="F7931E"/>
                </a:solidFill>
                <a:latin typeface="Verdana" panose="020B0604030504040204" pitchFamily="34" charset="0"/>
                <a:ea typeface="Times New Roman" panose="02020603050405020304" pitchFamily="18" charset="0"/>
                <a:cs typeface="Times New Roman" panose="02020603050405020304" pitchFamily="18" charset="0"/>
              </a:rPr>
              <a:t>m</a:t>
            </a:r>
            <a:endParaRPr lang="en-gb" sz="1600">
              <a:solidFill>
                <a:srgbClr val="F7931E"/>
              </a:solidFill>
              <a:latin typeface="Verdana"/>
            </a:endParaRPr>
          </a:p>
        </p:txBody>
      </p:sp>
      <p:sp>
        <p:nvSpPr>
          <p:cNvPr id="50" name="TextBox 49">
            <a:extLst>
              <a:ext uri="{FF2B5EF4-FFF2-40B4-BE49-F238E27FC236}">
                <a16:creationId xmlns:a16="http://schemas.microsoft.com/office/drawing/2014/main" id="{4107A712-1DE6-EE39-7EA2-D7536BAD19C6}"/>
              </a:ext>
            </a:extLst>
          </p:cNvPr>
          <p:cNvSpPr txBox="1"/>
          <p:nvPr/>
        </p:nvSpPr>
        <p:spPr>
          <a:xfrm>
            <a:off x="6837472" y="2375599"/>
            <a:ext cx="2239825" cy="492443"/>
          </a:xfrm>
          <a:prstGeom prst="rect">
            <a:avLst/>
          </a:prstGeom>
          <a:noFill/>
        </p:spPr>
        <p:txBody>
          <a:bodyPr wrap="square" lIns="0" tIns="0" rIns="0" bIns="0" rtlCol="0">
            <a:normAutofit/>
          </a:bodyPr>
          <a:lstStyle/>
          <a:p>
            <a:pPr algn="ctr" defTabSz="609585">
              <a:defRPr/>
            </a:pPr>
            <a:r>
              <a:t>athletes &amp; active lifestyle consumers</a:t>
            </a:r>
            <a:br/>
            <a:r>
              <a:t>运动员及积极生活方式消费者</a:t>
            </a:r>
          </a:p>
        </p:txBody>
      </p:sp>
      <p:sp>
        <p:nvSpPr>
          <p:cNvPr id="51" name="TextBox 50">
            <a:extLst>
              <a:ext uri="{FF2B5EF4-FFF2-40B4-BE49-F238E27FC236}">
                <a16:creationId xmlns:a16="http://schemas.microsoft.com/office/drawing/2014/main" id="{5CBCA132-7320-7CCD-9F7F-1EFF635D015C}"/>
              </a:ext>
            </a:extLst>
          </p:cNvPr>
          <p:cNvSpPr txBox="1"/>
          <p:nvPr/>
        </p:nvSpPr>
        <p:spPr>
          <a:xfrm>
            <a:off x="7395236" y="3075135"/>
            <a:ext cx="857061" cy="166264"/>
          </a:xfrm>
          <a:prstGeom prst="rect">
            <a:avLst/>
          </a:prstGeom>
          <a:noFill/>
        </p:spPr>
        <p:txBody>
          <a:bodyPr wrap="square" lIns="0" tIns="0" rIns="0" bIns="0" rtlCol="0">
            <a:normAutofit/>
          </a:bodyPr>
          <a:lstStyle/>
          <a:p>
            <a:pPr algn="ctr" defTabSz="609585">
              <a:lnSpc>
                <a:spcPct val="112000"/>
              </a:lnSpc>
              <a:defRPr/>
            </a:pPr>
            <a:r>
              <a:t>PROTEINS</a:t>
            </a:r>
            <a:br/>
            <a:r>
              <a:t>蛋白质</a:t>
            </a:r>
            <a:endParaRPr lang="en-gb" sz="1067" i="1">
              <a:solidFill>
                <a:srgbClr val="FFFFFF">
                  <a:lumMod val="50000"/>
                </a:srgbClr>
              </a:solidFill>
              <a:latin typeface="Verdana"/>
            </a:endParaRPr>
          </a:p>
        </p:txBody>
      </p:sp>
      <p:sp>
        <p:nvSpPr>
          <p:cNvPr id="53" name="TextBox 52">
            <a:extLst>
              <a:ext uri="{FF2B5EF4-FFF2-40B4-BE49-F238E27FC236}">
                <a16:creationId xmlns:a16="http://schemas.microsoft.com/office/drawing/2014/main" id="{5BE5955A-2F0B-5A49-D3C7-BBECFE348200}"/>
              </a:ext>
            </a:extLst>
          </p:cNvPr>
          <p:cNvSpPr txBox="1"/>
          <p:nvPr/>
        </p:nvSpPr>
        <p:spPr>
          <a:xfrm>
            <a:off x="9616554" y="3948748"/>
            <a:ext cx="1119532" cy="291042"/>
          </a:xfrm>
          <a:prstGeom prst="rect">
            <a:avLst/>
          </a:prstGeom>
          <a:noFill/>
        </p:spPr>
        <p:txBody>
          <a:bodyPr wrap="square" lIns="0" tIns="0" rIns="0" bIns="0" rtlCol="0">
            <a:normAutofit/>
          </a:bodyPr>
          <a:lstStyle/>
          <a:p>
            <a:pPr algn="ctr" defTabSz="609585">
              <a:lnSpc>
                <a:spcPct val="112000"/>
              </a:lnSpc>
              <a:defRPr/>
            </a:pPr>
            <a:r>
              <a:rPr lang="en-GB" sz="1867" b="1">
                <a:solidFill>
                  <a:srgbClr val="D7DF23">
                    <a:lumMod val="75000"/>
                  </a:srgbClr>
                </a:solidFill>
                <a:latin typeface="Verdana" panose="020B0604030504040204" pitchFamily="34" charset="0"/>
              </a:rPr>
              <a:t>30+</a:t>
            </a:r>
            <a:endParaRPr lang="en-gb" sz="1467" b="1">
              <a:solidFill>
                <a:srgbClr val="D7DF23">
                  <a:lumMod val="75000"/>
                </a:srgbClr>
              </a:solidFill>
              <a:latin typeface="Verdana"/>
            </a:endParaRPr>
          </a:p>
        </p:txBody>
      </p:sp>
      <p:sp>
        <p:nvSpPr>
          <p:cNvPr id="54" name="TextBox 53">
            <a:extLst>
              <a:ext uri="{FF2B5EF4-FFF2-40B4-BE49-F238E27FC236}">
                <a16:creationId xmlns:a16="http://schemas.microsoft.com/office/drawing/2014/main" id="{EA6CB695-F405-089B-04ED-73E9E3DAB5E2}"/>
              </a:ext>
            </a:extLst>
          </p:cNvPr>
          <p:cNvSpPr txBox="1"/>
          <p:nvPr/>
        </p:nvSpPr>
        <p:spPr>
          <a:xfrm>
            <a:off x="8514742" y="4405701"/>
            <a:ext cx="3017759" cy="800989"/>
          </a:xfrm>
          <a:prstGeom prst="rect">
            <a:avLst/>
          </a:prstGeom>
          <a:noFill/>
        </p:spPr>
        <p:txBody>
          <a:bodyPr wrap="square" lIns="0" tIns="0" rIns="0" bIns="0" rtlCol="0">
            <a:normAutofit/>
          </a:bodyPr>
          <a:lstStyle/>
          <a:p>
            <a:pPr algn="ctr" defTabSz="609585">
              <a:lnSpc>
                <a:spcPct val="112000"/>
              </a:lnSpc>
              <a:defRPr/>
            </a:pPr>
            <a:r>
              <a:t>different biological drugs and vaccines for treatment of a wide range of diseases</a:t>
            </a:r>
            <a:br/>
            <a:r>
              <a:t>用于治疗多种疾病的30多种不同生物药物和疫苗</a:t>
            </a:r>
            <a:endParaRPr lang="en-gb" sz="1067" i="1">
              <a:solidFill>
                <a:srgbClr val="D7DF23">
                  <a:lumMod val="75000"/>
                </a:srgbClr>
              </a:solidFill>
              <a:latin typeface="Verdana" panose="020B0604030504040204" pitchFamily="34" charset="0"/>
              <a:cs typeface="Times New Roman" panose="02020603050405020304" pitchFamily="18" charset="0"/>
            </a:endParaRPr>
          </a:p>
        </p:txBody>
      </p:sp>
      <p:sp>
        <p:nvSpPr>
          <p:cNvPr id="56" name="TextBox 55">
            <a:extLst>
              <a:ext uri="{FF2B5EF4-FFF2-40B4-BE49-F238E27FC236}">
                <a16:creationId xmlns:a16="http://schemas.microsoft.com/office/drawing/2014/main" id="{0BF30DDF-46BD-F084-228D-075A172F5CDF}"/>
              </a:ext>
            </a:extLst>
          </p:cNvPr>
          <p:cNvSpPr txBox="1"/>
          <p:nvPr/>
        </p:nvSpPr>
        <p:spPr>
          <a:xfrm>
            <a:off x="9236279" y="5348821"/>
            <a:ext cx="1689461" cy="187103"/>
          </a:xfrm>
          <a:prstGeom prst="rect">
            <a:avLst/>
          </a:prstGeom>
          <a:noFill/>
        </p:spPr>
        <p:txBody>
          <a:bodyPr wrap="square" lIns="0" tIns="0" rIns="0" bIns="0" rtlCol="0">
            <a:normAutofit/>
          </a:bodyPr>
          <a:lstStyle/>
          <a:p>
            <a:pPr algn="ctr" defTabSz="609585">
              <a:lnSpc>
                <a:spcPct val="112000"/>
              </a:lnSpc>
              <a:defRPr/>
            </a:pPr>
            <a:r>
              <a:rPr lang="en-GB" sz="1200" i="1">
                <a:solidFill>
                  <a:srgbClr val="FFFFFF">
                    <a:lumMod val="50000"/>
                  </a:srgbClr>
                </a:solidFill>
                <a:latin typeface="Verdana" panose="020B0604030504040204" pitchFamily="34" charset="0"/>
                <a:ea typeface="Times New Roman" panose="02020603050405020304" pitchFamily="18" charset="0"/>
                <a:cs typeface="Times New Roman" panose="02020603050405020304" pitchFamily="18" charset="0"/>
              </a:rPr>
              <a:t>hydrolysates</a:t>
            </a:r>
            <a:endParaRPr lang="en-gb" sz="1200" i="1">
              <a:solidFill>
                <a:srgbClr val="FFFFFF">
                  <a:lumMod val="50000"/>
                </a:srgbClr>
              </a:solidFill>
              <a:latin typeface="Verdana"/>
            </a:endParaRPr>
          </a:p>
        </p:txBody>
      </p:sp>
      <p:sp>
        <p:nvSpPr>
          <p:cNvPr id="71" name="TextBox 70">
            <a:extLst>
              <a:ext uri="{FF2B5EF4-FFF2-40B4-BE49-F238E27FC236}">
                <a16:creationId xmlns:a16="http://schemas.microsoft.com/office/drawing/2014/main" id="{F23C857B-8AFE-2CBA-A2B7-50FFE88EDC41}"/>
              </a:ext>
            </a:extLst>
          </p:cNvPr>
          <p:cNvSpPr txBox="1"/>
          <p:nvPr/>
        </p:nvSpPr>
        <p:spPr>
          <a:xfrm>
            <a:off x="10005549" y="1917889"/>
            <a:ext cx="1119532" cy="291042"/>
          </a:xfrm>
          <a:prstGeom prst="rect">
            <a:avLst/>
          </a:prstGeom>
          <a:noFill/>
        </p:spPr>
        <p:txBody>
          <a:bodyPr wrap="square" lIns="0" tIns="0" rIns="0" bIns="0" rtlCol="0" anchor="t">
            <a:normAutofit/>
          </a:bodyPr>
          <a:lstStyle/>
          <a:p>
            <a:pPr algn="ctr" defTabSz="609585">
              <a:lnSpc>
                <a:spcPct val="112000"/>
              </a:lnSpc>
              <a:defRPr/>
            </a:pPr>
            <a:r>
              <a:rPr lang="en-gb" sz="1867" b="1">
                <a:solidFill>
                  <a:srgbClr val="D7DF23">
                    <a:lumMod val="75000"/>
                  </a:srgbClr>
                </a:solidFill>
                <a:latin typeface="Verdana"/>
                <a:ea typeface="Verdana"/>
              </a:rPr>
              <a:t>20%</a:t>
            </a:r>
            <a:endParaRPr lang="en-gb" sz="1467" b="1">
              <a:solidFill>
                <a:srgbClr val="D7DF23">
                  <a:lumMod val="75000"/>
                </a:srgbClr>
              </a:solidFill>
              <a:latin typeface="Verdana"/>
              <a:ea typeface="Verdana"/>
            </a:endParaRPr>
          </a:p>
        </p:txBody>
      </p:sp>
      <p:sp>
        <p:nvSpPr>
          <p:cNvPr id="72" name="TextBox 71">
            <a:extLst>
              <a:ext uri="{FF2B5EF4-FFF2-40B4-BE49-F238E27FC236}">
                <a16:creationId xmlns:a16="http://schemas.microsoft.com/office/drawing/2014/main" id="{589A9421-9FD1-2AB3-62AE-3AB7FD7F8BA1}"/>
              </a:ext>
            </a:extLst>
          </p:cNvPr>
          <p:cNvSpPr txBox="1"/>
          <p:nvPr/>
        </p:nvSpPr>
        <p:spPr>
          <a:xfrm>
            <a:off x="9446689" y="2320546"/>
            <a:ext cx="2145241" cy="717825"/>
          </a:xfrm>
          <a:prstGeom prst="rect">
            <a:avLst/>
          </a:prstGeom>
          <a:noFill/>
        </p:spPr>
        <p:txBody>
          <a:bodyPr wrap="square" lIns="0" tIns="0" rIns="0" bIns="0" rtlCol="0">
            <a:normAutofit/>
          </a:bodyPr>
          <a:lstStyle/>
          <a:p>
            <a:pPr algn="ctr" defTabSz="609585">
              <a:lnSpc>
                <a:spcPct val="112000"/>
              </a:lnSpc>
              <a:defRPr/>
            </a:pPr>
            <a:r>
              <a:t>of all medicine tablets worldwide</a:t>
            </a:r>
            <a:br/>
            <a:r>
              <a:t>全球所有药片中的</a:t>
            </a:r>
            <a:endParaRPr lang="en-gb" sz="1067" i="1">
              <a:solidFill>
                <a:srgbClr val="D7DF23">
                  <a:lumMod val="75000"/>
                </a:srgbClr>
              </a:solidFill>
              <a:latin typeface="Verdana" panose="020B0604030504040204" pitchFamily="34" charset="0"/>
              <a:cs typeface="Times New Roman" panose="02020603050405020304" pitchFamily="18" charset="0"/>
            </a:endParaRPr>
          </a:p>
        </p:txBody>
      </p:sp>
      <p:sp>
        <p:nvSpPr>
          <p:cNvPr id="76" name="TextBox 75">
            <a:extLst>
              <a:ext uri="{FF2B5EF4-FFF2-40B4-BE49-F238E27FC236}">
                <a16:creationId xmlns:a16="http://schemas.microsoft.com/office/drawing/2014/main" id="{0FB577FA-8AEF-9EAF-F994-57423C375326}"/>
              </a:ext>
            </a:extLst>
          </p:cNvPr>
          <p:cNvSpPr txBox="1"/>
          <p:nvPr/>
        </p:nvSpPr>
        <p:spPr>
          <a:xfrm>
            <a:off x="9546316" y="3075135"/>
            <a:ext cx="1689461" cy="166264"/>
          </a:xfrm>
          <a:prstGeom prst="rect">
            <a:avLst/>
          </a:prstGeom>
          <a:noFill/>
        </p:spPr>
        <p:txBody>
          <a:bodyPr wrap="square" lIns="0" tIns="0" rIns="0" bIns="0" rtlCol="0">
            <a:normAutofit/>
          </a:bodyPr>
          <a:lstStyle/>
          <a:p>
            <a:pPr algn="ctr" defTabSz="609585">
              <a:lnSpc>
                <a:spcPct val="112000"/>
              </a:lnSpc>
              <a:defRPr/>
            </a:pPr>
            <a:r>
              <a:rPr lang="en-gb" sz="1067" i="1">
                <a:solidFill>
                  <a:srgbClr val="FFFFFF">
                    <a:lumMod val="50000"/>
                  </a:srgbClr>
                </a:solidFill>
                <a:latin typeface="Verdana" panose="020B0604030504040204" pitchFamily="34" charset="0"/>
                <a:ea typeface="Times New Roman" panose="02020603050405020304" pitchFamily="18" charset="0"/>
                <a:cs typeface="Times New Roman" panose="02020603050405020304" pitchFamily="18" charset="0"/>
              </a:rPr>
              <a:t>LACTOSE</a:t>
            </a:r>
            <a:endParaRPr lang="en-gb" sz="1067" i="1">
              <a:solidFill>
                <a:srgbClr val="FFFFFF">
                  <a:lumMod val="50000"/>
                </a:srgbClr>
              </a:solidFill>
              <a:latin typeface="Verdana"/>
            </a:endParaRPr>
          </a:p>
        </p:txBody>
      </p:sp>
      <p:pic>
        <p:nvPicPr>
          <p:cNvPr id="78" name="Picture 77">
            <a:extLst>
              <a:ext uri="{FF2B5EF4-FFF2-40B4-BE49-F238E27FC236}">
                <a16:creationId xmlns:a16="http://schemas.microsoft.com/office/drawing/2014/main" id="{8E4EE618-4D2A-28D6-36F7-556DEDBC803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145442" y="3723077"/>
            <a:ext cx="861285" cy="717737"/>
          </a:xfrm>
          <a:prstGeom prst="rect">
            <a:avLst/>
          </a:prstGeom>
        </p:spPr>
      </p:pic>
      <p:pic>
        <p:nvPicPr>
          <p:cNvPr id="80" name="Picture 79">
            <a:extLst>
              <a:ext uri="{FF2B5EF4-FFF2-40B4-BE49-F238E27FC236}">
                <a16:creationId xmlns:a16="http://schemas.microsoft.com/office/drawing/2014/main" id="{00E6CC1E-9D65-0CF7-071A-20A531C476B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507830" y="3790112"/>
            <a:ext cx="785189" cy="654325"/>
          </a:xfrm>
          <a:prstGeom prst="rect">
            <a:avLst/>
          </a:prstGeom>
        </p:spPr>
      </p:pic>
      <p:pic>
        <p:nvPicPr>
          <p:cNvPr id="82" name="Picture 81">
            <a:extLst>
              <a:ext uri="{FF2B5EF4-FFF2-40B4-BE49-F238E27FC236}">
                <a16:creationId xmlns:a16="http://schemas.microsoft.com/office/drawing/2014/main" id="{DFDCB4D7-E923-4B66-2AA8-11ADFFDB9F0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rot="5400000">
            <a:off x="9364011" y="1423846"/>
            <a:ext cx="1046167" cy="871805"/>
          </a:xfrm>
          <a:prstGeom prst="rect">
            <a:avLst/>
          </a:prstGeom>
        </p:spPr>
      </p:pic>
      <p:pic>
        <p:nvPicPr>
          <p:cNvPr id="84" name="Picture 83">
            <a:extLst>
              <a:ext uri="{FF2B5EF4-FFF2-40B4-BE49-F238E27FC236}">
                <a16:creationId xmlns:a16="http://schemas.microsoft.com/office/drawing/2014/main" id="{EE3110F8-C7E8-D3C4-E04F-ABA695C099A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011212" y="1545223"/>
            <a:ext cx="906699" cy="755581"/>
          </a:xfrm>
          <a:prstGeom prst="rect">
            <a:avLst/>
          </a:prstGeom>
        </p:spPr>
      </p:pic>
      <p:pic>
        <p:nvPicPr>
          <p:cNvPr id="85" name="Picture 84">
            <a:extLst>
              <a:ext uri="{FF2B5EF4-FFF2-40B4-BE49-F238E27FC236}">
                <a16:creationId xmlns:a16="http://schemas.microsoft.com/office/drawing/2014/main" id="{79475A96-3246-662D-D8C1-4CE11234D68B}"/>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483816" y="1557980"/>
            <a:ext cx="998891" cy="832411"/>
          </a:xfrm>
          <a:prstGeom prst="rect">
            <a:avLst/>
          </a:prstGeom>
        </p:spPr>
      </p:pic>
      <p:pic>
        <p:nvPicPr>
          <p:cNvPr id="86" name="Picture 85">
            <a:extLst>
              <a:ext uri="{FF2B5EF4-FFF2-40B4-BE49-F238E27FC236}">
                <a16:creationId xmlns:a16="http://schemas.microsoft.com/office/drawing/2014/main" id="{23CD1BC6-5D9C-DACE-B1F9-E810CFE6EAF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640849" y="3492792"/>
            <a:ext cx="1046167" cy="871805"/>
          </a:xfrm>
          <a:prstGeom prst="rect">
            <a:avLst/>
          </a:prstGeom>
        </p:spPr>
      </p:pic>
      <p:sp>
        <p:nvSpPr>
          <p:cNvPr id="2" name="Footer Placeholder 1">
            <a:extLst>
              <a:ext uri="{FF2B5EF4-FFF2-40B4-BE49-F238E27FC236}">
                <a16:creationId xmlns:a16="http://schemas.microsoft.com/office/drawing/2014/main" id="{3CBAC47E-F044-BD52-5ECA-23B4959975B5}"/>
              </a:ext>
            </a:extLst>
          </p:cNvPr>
          <p:cNvSpPr>
            <a:spLocks noGrp="1"/>
          </p:cNvSpPr>
          <p:nvPr>
            <p:ph type="ftr" sz="quarter" idx="11"/>
          </p:nvPr>
        </p:nvSpPr>
        <p:spPr/>
        <p:txBody>
          <a:bodyPr>
            <a:normAutofit/>
          </a:bodyPr>
          <a:lstStyle/>
          <a:p>
            <a:endParaRPr lang="en-GB"/>
          </a:p>
        </p:txBody>
      </p:sp>
    </p:spTree>
    <p:extLst>
      <p:ext uri="{BB962C8B-B14F-4D97-AF65-F5344CB8AC3E}">
        <p14:creationId xmlns:p14="http://schemas.microsoft.com/office/powerpoint/2010/main" val="1818819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967F64A-C062-425B-B027-B4F654D4F3ED}"/>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6967F64A-C062-425B-B027-B4F654D4F3ED}"/>
                          </a:ext>
                        </a:extLst>
                      </p:cNvPr>
                      <p:cNvPicPr/>
                      <p:nvPr/>
                    </p:nvPicPr>
                    <p:blipFill>
                      <a:blip r:embed="rId5"/>
                      <a:stretch>
                        <a:fillRect/>
                      </a:stretch>
                    </p:blipFill>
                    <p:spPr>
                      <a:xfrm>
                        <a:off x="2119" y="2119"/>
                        <a:ext cx="2117" cy="2117"/>
                      </a:xfrm>
                      <a:prstGeom prst="rect">
                        <a:avLst/>
                      </a:prstGeom>
                    </p:spPr>
                  </p:pic>
                </p:oleObj>
              </mc:Fallback>
            </mc:AlternateContent>
          </a:graphicData>
        </a:graphic>
      </p:graphicFrame>
      <p:sp>
        <p:nvSpPr>
          <p:cNvPr id="41" name="Rectangle: Rounded Corners 40">
            <a:extLst>
              <a:ext uri="{FF2B5EF4-FFF2-40B4-BE49-F238E27FC236}">
                <a16:creationId xmlns:a16="http://schemas.microsoft.com/office/drawing/2014/main" id="{2636EFAF-575C-4200-BD44-2A6C57D95319}"/>
              </a:ext>
            </a:extLst>
          </p:cNvPr>
          <p:cNvSpPr/>
          <p:nvPr/>
        </p:nvSpPr>
        <p:spPr>
          <a:xfrm>
            <a:off x="897713" y="5611951"/>
            <a:ext cx="9633655" cy="934223"/>
          </a:xfrm>
          <a:prstGeom prst="roundRect">
            <a:avLst/>
          </a:prstGeom>
          <a:solidFill>
            <a:schemeClr val="bg1">
              <a:lumMod val="8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914377">
              <a:lnSpc>
                <a:spcPct val="112000"/>
              </a:lnSpc>
              <a:defRPr/>
            </a:pPr>
            <a:endParaRPr lang="en-US" sz="1867">
              <a:solidFill>
                <a:srgbClr val="FFFFFF"/>
              </a:solidFill>
              <a:latin typeface="Verdana"/>
            </a:endParaRPr>
          </a:p>
        </p:txBody>
      </p:sp>
      <p:sp>
        <p:nvSpPr>
          <p:cNvPr id="2" name="Title 1">
            <a:extLst>
              <a:ext uri="{FF2B5EF4-FFF2-40B4-BE49-F238E27FC236}">
                <a16:creationId xmlns:a16="http://schemas.microsoft.com/office/drawing/2014/main" id="{C0B94EE9-FDB0-48BE-B25F-45CE6DE3D146}"/>
              </a:ext>
            </a:extLst>
          </p:cNvPr>
          <p:cNvSpPr>
            <a:spLocks noGrp="1"/>
          </p:cNvSpPr>
          <p:nvPr>
            <p:ph type="title"/>
          </p:nvPr>
        </p:nvSpPr>
        <p:spPr>
          <a:xfrm>
            <a:off x="575734" y="548218"/>
            <a:ext cx="11235965" cy="1036965"/>
          </a:xfrm>
        </p:spPr>
        <p:txBody>
          <a:bodyPr vert="horz">
            <a:normAutofit/>
          </a:bodyPr>
          <a:lstStyle/>
          <a:p>
            <a:r>
              <a:t>Acting in many parts of the innovation process and collaborating, can provide brand owners with know-how and speed to market in these areas</a:t>
            </a:r>
            <a:br/>
            <a:r>
              <a:t>在创新过程的许多环节中行动并进行合作，可以为品牌所有者提供这些领域的知识和市场速度。</a:t>
            </a:r>
            <a:endParaRPr lang="nl-NL"/>
          </a:p>
        </p:txBody>
      </p:sp>
      <p:sp>
        <p:nvSpPr>
          <p:cNvPr id="4" name="Slide Number Placeholder 3">
            <a:extLst>
              <a:ext uri="{FF2B5EF4-FFF2-40B4-BE49-F238E27FC236}">
                <a16:creationId xmlns:a16="http://schemas.microsoft.com/office/drawing/2014/main" id="{0FD11D99-967D-4AFF-87F1-28D79A3BC6AF}"/>
              </a:ext>
            </a:extLst>
          </p:cNvPr>
          <p:cNvSpPr>
            <a:spLocks noGrp="1"/>
          </p:cNvSpPr>
          <p:nvPr>
            <p:ph type="sldNum" sz="quarter" idx="12"/>
          </p:nvPr>
        </p:nvSpPr>
        <p:spPr>
          <a:xfrm>
            <a:off x="773721" y="8672312"/>
            <a:ext cx="109004" cy="102657"/>
          </a:xfrm>
        </p:spPr>
        <p:txBody>
          <a:bodyPr>
            <a:normAutofit/>
          </a:bodyPr>
          <a:lstStyle/>
          <a:p>
            <a:pPr defTabSz="609570">
              <a:defRPr/>
            </a:pPr>
            <a:fld id="{9BE0E23E-9022-4929-B297-EB2777CDBB1F}" type="slidenum">
              <a:rPr lang="en-GB">
                <a:solidFill>
                  <a:srgbClr val="3F4043">
                    <a:tint val="75000"/>
                  </a:srgbClr>
                </a:solidFill>
                <a:latin typeface="Verdana"/>
              </a:rPr>
              <a:pPr defTabSz="609570">
                <a:defRPr/>
              </a:pPr>
              <a:t>31</a:t>
            </a:fld>
            <a:endParaRPr lang="en-GB">
              <a:solidFill>
                <a:srgbClr val="3F4043">
                  <a:tint val="75000"/>
                </a:srgbClr>
              </a:solidFill>
              <a:latin typeface="Verdana"/>
            </a:endParaRPr>
          </a:p>
        </p:txBody>
      </p:sp>
      <p:sp>
        <p:nvSpPr>
          <p:cNvPr id="8" name="Rectangle 7">
            <a:extLst>
              <a:ext uri="{FF2B5EF4-FFF2-40B4-BE49-F238E27FC236}">
                <a16:creationId xmlns:a16="http://schemas.microsoft.com/office/drawing/2014/main" id="{EBC44CFB-10A2-4632-896A-CD35052D399D}"/>
              </a:ext>
            </a:extLst>
          </p:cNvPr>
          <p:cNvSpPr/>
          <p:nvPr/>
        </p:nvSpPr>
        <p:spPr>
          <a:xfrm>
            <a:off x="0" y="2810301"/>
            <a:ext cx="12192000" cy="2532977"/>
          </a:xfrm>
          <a:prstGeom prst="rect">
            <a:avLst/>
          </a:prstGeom>
          <a:gradFill>
            <a:gsLst>
              <a:gs pos="0">
                <a:schemeClr val="bg1">
                  <a:lumMod val="85000"/>
                </a:schemeClr>
              </a:gs>
              <a:gs pos="100000">
                <a:schemeClr val="bg1">
                  <a:lumMod val="9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609570">
              <a:lnSpc>
                <a:spcPct val="112000"/>
              </a:lnSpc>
              <a:defRPr/>
            </a:pPr>
            <a:endParaRPr lang="en-NL" sz="1867">
              <a:solidFill>
                <a:srgbClr val="FFFFFF"/>
              </a:solidFill>
              <a:latin typeface="Verdana"/>
            </a:endParaRPr>
          </a:p>
        </p:txBody>
      </p:sp>
      <p:sp>
        <p:nvSpPr>
          <p:cNvPr id="9" name="Oval 8">
            <a:extLst>
              <a:ext uri="{FF2B5EF4-FFF2-40B4-BE49-F238E27FC236}">
                <a16:creationId xmlns:a16="http://schemas.microsoft.com/office/drawing/2014/main" id="{DC40A458-B642-4E2F-95A6-CB07E14F939F}"/>
              </a:ext>
            </a:extLst>
          </p:cNvPr>
          <p:cNvSpPr/>
          <p:nvPr/>
        </p:nvSpPr>
        <p:spPr>
          <a:xfrm>
            <a:off x="10002931" y="2416143"/>
            <a:ext cx="1305015" cy="1305015"/>
          </a:xfrm>
          <a:prstGeom prst="ellipse">
            <a:avLst/>
          </a:prstGeom>
          <a:gradFill>
            <a:gsLst>
              <a:gs pos="0">
                <a:schemeClr val="bg1"/>
              </a:gs>
              <a:gs pos="100000">
                <a:schemeClr val="bg1">
                  <a:lumMod val="95000"/>
                </a:schemeClr>
              </a:gs>
            </a:gsLst>
            <a:lin ang="5400000" scaled="1"/>
          </a:gradFill>
          <a:ln w="38100">
            <a:gradFill>
              <a:gsLst>
                <a:gs pos="0">
                  <a:schemeClr val="accent4">
                    <a:lumMod val="20000"/>
                    <a:lumOff val="80000"/>
                  </a:schemeClr>
                </a:gs>
                <a:gs pos="100000">
                  <a:schemeClr val="bg1">
                    <a:lumMod val="95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609570">
              <a:lnSpc>
                <a:spcPct val="112000"/>
              </a:lnSpc>
              <a:defRPr/>
            </a:pPr>
            <a:endParaRPr lang="en-NL" sz="1867">
              <a:solidFill>
                <a:srgbClr val="FFFFFF"/>
              </a:solidFill>
              <a:latin typeface="Verdana"/>
            </a:endParaRPr>
          </a:p>
        </p:txBody>
      </p:sp>
      <p:sp>
        <p:nvSpPr>
          <p:cNvPr id="11" name="Oval 10">
            <a:extLst>
              <a:ext uri="{FF2B5EF4-FFF2-40B4-BE49-F238E27FC236}">
                <a16:creationId xmlns:a16="http://schemas.microsoft.com/office/drawing/2014/main" id="{B27D966A-C4BB-44BA-9E8C-6B6BFCB63730}"/>
              </a:ext>
            </a:extLst>
          </p:cNvPr>
          <p:cNvSpPr/>
          <p:nvPr/>
        </p:nvSpPr>
        <p:spPr>
          <a:xfrm>
            <a:off x="1124323" y="2416143"/>
            <a:ext cx="1305015" cy="1305015"/>
          </a:xfrm>
          <a:prstGeom prst="ellipse">
            <a:avLst/>
          </a:prstGeom>
          <a:gradFill>
            <a:gsLst>
              <a:gs pos="0">
                <a:schemeClr val="bg1"/>
              </a:gs>
              <a:gs pos="100000">
                <a:schemeClr val="bg1">
                  <a:lumMod val="95000"/>
                </a:schemeClr>
              </a:gs>
            </a:gsLst>
            <a:lin ang="5400000" scaled="1"/>
          </a:gradFill>
          <a:ln w="38100">
            <a:gradFill>
              <a:gsLst>
                <a:gs pos="0">
                  <a:schemeClr val="accent1">
                    <a:lumMod val="20000"/>
                    <a:lumOff val="80000"/>
                  </a:schemeClr>
                </a:gs>
                <a:gs pos="100000">
                  <a:schemeClr val="bg1">
                    <a:lumMod val="95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609570">
              <a:lnSpc>
                <a:spcPct val="112000"/>
              </a:lnSpc>
              <a:defRPr/>
            </a:pPr>
            <a:endParaRPr lang="en-NL" sz="1867">
              <a:solidFill>
                <a:srgbClr val="FFFFFF"/>
              </a:solidFill>
              <a:latin typeface="Verdana"/>
            </a:endParaRPr>
          </a:p>
        </p:txBody>
      </p:sp>
      <p:sp>
        <p:nvSpPr>
          <p:cNvPr id="16" name="Oval 15">
            <a:extLst>
              <a:ext uri="{FF2B5EF4-FFF2-40B4-BE49-F238E27FC236}">
                <a16:creationId xmlns:a16="http://schemas.microsoft.com/office/drawing/2014/main" id="{2FF73EA1-0915-402F-8064-971E8D8446E5}"/>
              </a:ext>
            </a:extLst>
          </p:cNvPr>
          <p:cNvSpPr/>
          <p:nvPr/>
        </p:nvSpPr>
        <p:spPr>
          <a:xfrm>
            <a:off x="5381411" y="2416143"/>
            <a:ext cx="1305015" cy="1305015"/>
          </a:xfrm>
          <a:prstGeom prst="ellipse">
            <a:avLst/>
          </a:prstGeom>
          <a:gradFill>
            <a:gsLst>
              <a:gs pos="0">
                <a:schemeClr val="bg1"/>
              </a:gs>
              <a:gs pos="100000">
                <a:schemeClr val="bg1">
                  <a:lumMod val="95000"/>
                </a:schemeClr>
              </a:gs>
            </a:gsLst>
            <a:lin ang="5400000" scaled="1"/>
          </a:gradFill>
          <a:ln w="38100">
            <a:gradFill>
              <a:gsLst>
                <a:gs pos="0">
                  <a:schemeClr val="accent6">
                    <a:lumMod val="20000"/>
                    <a:lumOff val="80000"/>
                  </a:schemeClr>
                </a:gs>
                <a:gs pos="100000">
                  <a:schemeClr val="bg1">
                    <a:lumMod val="95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609570">
              <a:lnSpc>
                <a:spcPct val="112000"/>
              </a:lnSpc>
              <a:defRPr/>
            </a:pPr>
            <a:endParaRPr lang="en-NL" sz="1867">
              <a:solidFill>
                <a:srgbClr val="FFFFFF"/>
              </a:solidFill>
              <a:latin typeface="Verdana"/>
            </a:endParaRPr>
          </a:p>
        </p:txBody>
      </p:sp>
      <p:sp>
        <p:nvSpPr>
          <p:cNvPr id="19" name="Oval 18">
            <a:extLst>
              <a:ext uri="{FF2B5EF4-FFF2-40B4-BE49-F238E27FC236}">
                <a16:creationId xmlns:a16="http://schemas.microsoft.com/office/drawing/2014/main" id="{2CF68B50-82B0-4202-8AEC-7BD5714C749B}"/>
              </a:ext>
            </a:extLst>
          </p:cNvPr>
          <p:cNvSpPr/>
          <p:nvPr/>
        </p:nvSpPr>
        <p:spPr>
          <a:xfrm>
            <a:off x="7746223" y="2416143"/>
            <a:ext cx="1305015" cy="1305015"/>
          </a:xfrm>
          <a:prstGeom prst="ellipse">
            <a:avLst/>
          </a:prstGeom>
          <a:gradFill>
            <a:gsLst>
              <a:gs pos="0">
                <a:schemeClr val="bg1"/>
              </a:gs>
              <a:gs pos="100000">
                <a:schemeClr val="bg1">
                  <a:lumMod val="95000"/>
                </a:schemeClr>
              </a:gs>
            </a:gsLst>
            <a:lin ang="5400000" scaled="1"/>
          </a:gradFill>
          <a:ln w="38100">
            <a:gradFill>
              <a:gsLst>
                <a:gs pos="0">
                  <a:schemeClr val="accent3">
                    <a:lumMod val="20000"/>
                    <a:lumOff val="80000"/>
                  </a:schemeClr>
                </a:gs>
                <a:gs pos="100000">
                  <a:schemeClr val="bg1">
                    <a:lumMod val="95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609570">
              <a:lnSpc>
                <a:spcPct val="112000"/>
              </a:lnSpc>
              <a:defRPr/>
            </a:pPr>
            <a:endParaRPr lang="en-NL" sz="1867">
              <a:solidFill>
                <a:srgbClr val="FFFFFF"/>
              </a:solidFill>
              <a:latin typeface="Verdana"/>
            </a:endParaRPr>
          </a:p>
        </p:txBody>
      </p:sp>
      <p:sp>
        <p:nvSpPr>
          <p:cNvPr id="21" name="TextBox 20">
            <a:extLst>
              <a:ext uri="{FF2B5EF4-FFF2-40B4-BE49-F238E27FC236}">
                <a16:creationId xmlns:a16="http://schemas.microsoft.com/office/drawing/2014/main" id="{E13726C9-5129-4A7B-AD00-100333299631}"/>
              </a:ext>
            </a:extLst>
          </p:cNvPr>
          <p:cNvSpPr txBox="1"/>
          <p:nvPr/>
        </p:nvSpPr>
        <p:spPr>
          <a:xfrm>
            <a:off x="956553" y="3842980"/>
            <a:ext cx="1776043" cy="249427"/>
          </a:xfrm>
          <a:prstGeom prst="rect">
            <a:avLst/>
          </a:prstGeom>
          <a:noFill/>
        </p:spPr>
        <p:txBody>
          <a:bodyPr wrap="square" lIns="0" tIns="0" rIns="0" bIns="0" rtlCol="0">
            <a:normAutofit/>
          </a:bodyPr>
          <a:lstStyle/>
          <a:p>
            <a:pPr algn="ctr" defTabSz="609570">
              <a:lnSpc>
                <a:spcPct val="112000"/>
              </a:lnSpc>
              <a:defRPr/>
            </a:pPr>
            <a:r>
              <a:t>Ideation</a:t>
            </a:r>
            <a:br/>
            <a:r>
              <a:t>创意构思</a:t>
            </a:r>
            <a:endParaRPr lang="en-NL" sz="1600">
              <a:solidFill>
                <a:srgbClr val="0094D9"/>
              </a:solidFill>
              <a:latin typeface="Verdana"/>
            </a:endParaRPr>
          </a:p>
        </p:txBody>
      </p:sp>
      <p:sp>
        <p:nvSpPr>
          <p:cNvPr id="22" name="TextBox 21">
            <a:extLst>
              <a:ext uri="{FF2B5EF4-FFF2-40B4-BE49-F238E27FC236}">
                <a16:creationId xmlns:a16="http://schemas.microsoft.com/office/drawing/2014/main" id="{8FC8A2ED-9702-4250-A12E-8C189A1A1BA6}"/>
              </a:ext>
            </a:extLst>
          </p:cNvPr>
          <p:cNvSpPr txBox="1"/>
          <p:nvPr/>
        </p:nvSpPr>
        <p:spPr>
          <a:xfrm>
            <a:off x="5104240" y="3842978"/>
            <a:ext cx="1995949" cy="525208"/>
          </a:xfrm>
          <a:prstGeom prst="rect">
            <a:avLst/>
          </a:prstGeom>
          <a:noFill/>
        </p:spPr>
        <p:txBody>
          <a:bodyPr wrap="square" lIns="0" tIns="0" rIns="0" bIns="0" rtlCol="0">
            <a:normAutofit/>
          </a:bodyPr>
          <a:lstStyle/>
          <a:p>
            <a:pPr algn="ctr" defTabSz="609570">
              <a:lnSpc>
                <a:spcPct val="112000"/>
              </a:lnSpc>
              <a:defRPr/>
            </a:pPr>
            <a:r>
              <a:t>Co-development of applications</a:t>
            </a:r>
            <a:br/>
            <a:r>
              <a:t>应用的共同开发</a:t>
            </a:r>
          </a:p>
        </p:txBody>
      </p:sp>
      <p:sp>
        <p:nvSpPr>
          <p:cNvPr id="23" name="TextBox 22">
            <a:extLst>
              <a:ext uri="{FF2B5EF4-FFF2-40B4-BE49-F238E27FC236}">
                <a16:creationId xmlns:a16="http://schemas.microsoft.com/office/drawing/2014/main" id="{7406AA3A-603F-4B15-BA57-E1A0C929C222}"/>
              </a:ext>
            </a:extLst>
          </p:cNvPr>
          <p:cNvSpPr txBox="1"/>
          <p:nvPr/>
        </p:nvSpPr>
        <p:spPr>
          <a:xfrm>
            <a:off x="7395076" y="3866224"/>
            <a:ext cx="1995949" cy="525208"/>
          </a:xfrm>
          <a:prstGeom prst="rect">
            <a:avLst/>
          </a:prstGeom>
          <a:noFill/>
        </p:spPr>
        <p:txBody>
          <a:bodyPr wrap="square" lIns="0" tIns="0" rIns="0" bIns="0" rtlCol="0">
            <a:normAutofit/>
          </a:bodyPr>
          <a:lstStyle/>
          <a:p>
            <a:pPr algn="ctr" defTabSz="609570">
              <a:lnSpc>
                <a:spcPct val="112000"/>
              </a:lnSpc>
              <a:defRPr/>
            </a:pPr>
            <a:r>
              <a:t>Manufacturing solutions</a:t>
            </a:r>
            <a:br/>
            <a:r>
              <a:t>制造解决方案</a:t>
            </a:r>
          </a:p>
        </p:txBody>
      </p:sp>
      <p:sp>
        <p:nvSpPr>
          <p:cNvPr id="24" name="TextBox 23">
            <a:extLst>
              <a:ext uri="{FF2B5EF4-FFF2-40B4-BE49-F238E27FC236}">
                <a16:creationId xmlns:a16="http://schemas.microsoft.com/office/drawing/2014/main" id="{D458A15D-629C-4133-A0AC-35D029B58DA5}"/>
              </a:ext>
            </a:extLst>
          </p:cNvPr>
          <p:cNvSpPr txBox="1"/>
          <p:nvPr/>
        </p:nvSpPr>
        <p:spPr>
          <a:xfrm>
            <a:off x="9871497" y="3858326"/>
            <a:ext cx="1606945" cy="525208"/>
          </a:xfrm>
          <a:prstGeom prst="rect">
            <a:avLst/>
          </a:prstGeom>
          <a:noFill/>
        </p:spPr>
        <p:txBody>
          <a:bodyPr wrap="square" lIns="0" tIns="0" rIns="0" bIns="0" rtlCol="0">
            <a:normAutofit/>
          </a:bodyPr>
          <a:lstStyle/>
          <a:p>
            <a:pPr algn="ctr" defTabSz="609570">
              <a:lnSpc>
                <a:spcPct val="112000"/>
              </a:lnSpc>
              <a:defRPr/>
            </a:pPr>
            <a:r>
              <a:t>Market positioning</a:t>
            </a:r>
            <a:br/>
            <a:r>
              <a:t>市场定位</a:t>
            </a:r>
          </a:p>
        </p:txBody>
      </p:sp>
      <p:sp>
        <p:nvSpPr>
          <p:cNvPr id="28" name="Left Arrow 11">
            <a:extLst>
              <a:ext uri="{FF2B5EF4-FFF2-40B4-BE49-F238E27FC236}">
                <a16:creationId xmlns:a16="http://schemas.microsoft.com/office/drawing/2014/main" id="{9739FF8B-602A-4E8B-917B-460EF01E6AD7}"/>
              </a:ext>
            </a:extLst>
          </p:cNvPr>
          <p:cNvSpPr/>
          <p:nvPr/>
        </p:nvSpPr>
        <p:spPr>
          <a:xfrm>
            <a:off x="897712" y="4965113"/>
            <a:ext cx="5169875" cy="262731"/>
          </a:xfrm>
          <a:prstGeom prst="leftArrow">
            <a:avLst/>
          </a:prstGeom>
          <a:gradFill>
            <a:gsLst>
              <a:gs pos="100000">
                <a:schemeClr val="accent1">
                  <a:lumMod val="20000"/>
                  <a:lumOff val="80000"/>
                </a:schemeClr>
              </a:gs>
              <a:gs pos="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609570">
              <a:lnSpc>
                <a:spcPct val="112000"/>
              </a:lnSpc>
              <a:defRPr/>
            </a:pPr>
            <a:endParaRPr lang="en-NL" sz="1867">
              <a:solidFill>
                <a:srgbClr val="FFFFFF"/>
              </a:solidFill>
              <a:latin typeface="Verdana"/>
            </a:endParaRPr>
          </a:p>
        </p:txBody>
      </p:sp>
      <p:sp>
        <p:nvSpPr>
          <p:cNvPr id="29" name="Left Arrow 38">
            <a:extLst>
              <a:ext uri="{FF2B5EF4-FFF2-40B4-BE49-F238E27FC236}">
                <a16:creationId xmlns:a16="http://schemas.microsoft.com/office/drawing/2014/main" id="{343B5077-EA40-4784-9169-3E2758BA364F}"/>
              </a:ext>
            </a:extLst>
          </p:cNvPr>
          <p:cNvSpPr/>
          <p:nvPr/>
        </p:nvSpPr>
        <p:spPr>
          <a:xfrm rot="10800000">
            <a:off x="6067585" y="4965113"/>
            <a:ext cx="5226704" cy="262731"/>
          </a:xfrm>
          <a:prstGeom prst="leftArrow">
            <a:avLst/>
          </a:prstGeom>
          <a:gradFill>
            <a:gsLst>
              <a:gs pos="100000">
                <a:schemeClr val="accent1">
                  <a:lumMod val="20000"/>
                  <a:lumOff val="80000"/>
                </a:schemeClr>
              </a:gs>
              <a:gs pos="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609570">
              <a:lnSpc>
                <a:spcPct val="112000"/>
              </a:lnSpc>
              <a:defRPr/>
            </a:pPr>
            <a:endParaRPr lang="en-NL" sz="1867">
              <a:solidFill>
                <a:srgbClr val="FFFFFF"/>
              </a:solidFill>
              <a:latin typeface="Verdana"/>
            </a:endParaRPr>
          </a:p>
        </p:txBody>
      </p:sp>
      <p:sp>
        <p:nvSpPr>
          <p:cNvPr id="6" name="Arrow: Right 5">
            <a:extLst>
              <a:ext uri="{FF2B5EF4-FFF2-40B4-BE49-F238E27FC236}">
                <a16:creationId xmlns:a16="http://schemas.microsoft.com/office/drawing/2014/main" id="{985B4AD0-F49D-4EDB-B594-0DD89FBD6236}"/>
              </a:ext>
            </a:extLst>
          </p:cNvPr>
          <p:cNvSpPr/>
          <p:nvPr/>
        </p:nvSpPr>
        <p:spPr>
          <a:xfrm>
            <a:off x="3451130" y="5759798"/>
            <a:ext cx="376937" cy="617236"/>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609570">
              <a:lnSpc>
                <a:spcPct val="112000"/>
              </a:lnSpc>
              <a:defRPr/>
            </a:pPr>
            <a:endParaRPr lang="nl-NL" sz="1867">
              <a:solidFill>
                <a:srgbClr val="FFFFFF"/>
              </a:solidFill>
              <a:latin typeface="Verdana"/>
            </a:endParaRPr>
          </a:p>
        </p:txBody>
      </p:sp>
      <p:pic>
        <p:nvPicPr>
          <p:cNvPr id="34" name="Picture 33">
            <a:extLst>
              <a:ext uri="{FF2B5EF4-FFF2-40B4-BE49-F238E27FC236}">
                <a16:creationId xmlns:a16="http://schemas.microsoft.com/office/drawing/2014/main" id="{B95228A4-62A6-4FAA-9402-193E667DE832}"/>
              </a:ext>
            </a:extLst>
          </p:cNvPr>
          <p:cNvPicPr>
            <a:picLocks/>
          </p:cNvPicPr>
          <p:nvPr/>
        </p:nvPicPr>
        <p:blipFill>
          <a:blip r:embed="rId6" cstate="screen">
            <a:extLst>
              <a:ext uri="{28A0092B-C50C-407E-A947-70E740481C1C}">
                <a14:useLocalDpi xmlns:a14="http://schemas.microsoft.com/office/drawing/2010/main"/>
              </a:ext>
            </a:extLst>
          </a:blip>
          <a:stretch>
            <a:fillRect/>
          </a:stretch>
        </p:blipFill>
        <p:spPr>
          <a:xfrm>
            <a:off x="4857814" y="5770027"/>
            <a:ext cx="820516" cy="629176"/>
          </a:xfrm>
          <a:prstGeom prst="rect">
            <a:avLst/>
          </a:prstGeom>
        </p:spPr>
      </p:pic>
      <p:pic>
        <p:nvPicPr>
          <p:cNvPr id="36" name="Picture 35">
            <a:extLst>
              <a:ext uri="{FF2B5EF4-FFF2-40B4-BE49-F238E27FC236}">
                <a16:creationId xmlns:a16="http://schemas.microsoft.com/office/drawing/2014/main" id="{9E67419C-62BA-45D2-80EC-4289D4641997}"/>
              </a:ext>
            </a:extLst>
          </p:cNvPr>
          <p:cNvPicPr>
            <a:picLocks/>
          </p:cNvPicPr>
          <p:nvPr/>
        </p:nvPicPr>
        <p:blipFill>
          <a:blip r:embed="rId7" cstate="screen">
            <a:extLst>
              <a:ext uri="{28A0092B-C50C-407E-A947-70E740481C1C}">
                <a14:useLocalDpi xmlns:a14="http://schemas.microsoft.com/office/drawing/2010/main"/>
              </a:ext>
            </a:extLst>
          </a:blip>
          <a:stretch>
            <a:fillRect/>
          </a:stretch>
        </p:blipFill>
        <p:spPr>
          <a:xfrm>
            <a:off x="6469964" y="5669852"/>
            <a:ext cx="1013397" cy="729349"/>
          </a:xfrm>
          <a:prstGeom prst="rect">
            <a:avLst/>
          </a:prstGeom>
        </p:spPr>
      </p:pic>
      <p:pic>
        <p:nvPicPr>
          <p:cNvPr id="37" name="Picture 36">
            <a:extLst>
              <a:ext uri="{FF2B5EF4-FFF2-40B4-BE49-F238E27FC236}">
                <a16:creationId xmlns:a16="http://schemas.microsoft.com/office/drawing/2014/main" id="{554E485B-829C-442A-94D9-1F10E958CE70}"/>
              </a:ext>
            </a:extLst>
          </p:cNvPr>
          <p:cNvPicPr>
            <a:picLocks/>
          </p:cNvPicPr>
          <p:nvPr/>
        </p:nvPicPr>
        <p:blipFill>
          <a:blip r:embed="rId8" cstate="screen">
            <a:extLst>
              <a:ext uri="{28A0092B-C50C-407E-A947-70E740481C1C}">
                <a14:useLocalDpi xmlns:a14="http://schemas.microsoft.com/office/drawing/2010/main"/>
              </a:ext>
            </a:extLst>
          </a:blip>
          <a:stretch>
            <a:fillRect/>
          </a:stretch>
        </p:blipFill>
        <p:spPr>
          <a:xfrm>
            <a:off x="5638625" y="5653698"/>
            <a:ext cx="914747" cy="829433"/>
          </a:xfrm>
          <a:prstGeom prst="rect">
            <a:avLst/>
          </a:prstGeom>
        </p:spPr>
      </p:pic>
      <p:sp>
        <p:nvSpPr>
          <p:cNvPr id="38" name="TextBox 37">
            <a:extLst>
              <a:ext uri="{FF2B5EF4-FFF2-40B4-BE49-F238E27FC236}">
                <a16:creationId xmlns:a16="http://schemas.microsoft.com/office/drawing/2014/main" id="{CB50E5B3-E8B6-4960-969B-1D364F86C6F6}"/>
              </a:ext>
            </a:extLst>
          </p:cNvPr>
          <p:cNvSpPr txBox="1"/>
          <p:nvPr/>
        </p:nvSpPr>
        <p:spPr>
          <a:xfrm>
            <a:off x="1191065" y="5734692"/>
            <a:ext cx="2081027" cy="667299"/>
          </a:xfrm>
          <a:prstGeom prst="rect">
            <a:avLst/>
          </a:prstGeom>
          <a:noFill/>
        </p:spPr>
        <p:txBody>
          <a:bodyPr wrap="square" lIns="0" tIns="0" rIns="0" bIns="0" rtlCol="0">
            <a:normAutofit/>
          </a:bodyPr>
          <a:lstStyle/>
          <a:p>
            <a:pPr defTabSz="914377">
              <a:lnSpc>
                <a:spcPct val="112000"/>
              </a:lnSpc>
              <a:defRPr/>
            </a:pPr>
            <a:r>
              <a:t>Extensive knowledge in relevant applications</a:t>
            </a:r>
            <a:br/>
            <a:r>
              <a:t>相关应用的广泛知识</a:t>
            </a:r>
          </a:p>
        </p:txBody>
      </p:sp>
      <p:pic>
        <p:nvPicPr>
          <p:cNvPr id="39" name="Picture 38">
            <a:extLst>
              <a:ext uri="{FF2B5EF4-FFF2-40B4-BE49-F238E27FC236}">
                <a16:creationId xmlns:a16="http://schemas.microsoft.com/office/drawing/2014/main" id="{82DD7DD8-7663-4A16-8239-3EF76F9EC919}"/>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495713" y="5597631"/>
            <a:ext cx="483239" cy="941568"/>
          </a:xfrm>
          <a:prstGeom prst="rect">
            <a:avLst/>
          </a:prstGeom>
        </p:spPr>
      </p:pic>
      <p:sp>
        <p:nvSpPr>
          <p:cNvPr id="40" name="TextBox 39">
            <a:extLst>
              <a:ext uri="{FF2B5EF4-FFF2-40B4-BE49-F238E27FC236}">
                <a16:creationId xmlns:a16="http://schemas.microsoft.com/office/drawing/2014/main" id="{47D1F2F4-BBB3-4315-B3E3-C154F20AEBC4}"/>
              </a:ext>
            </a:extLst>
          </p:cNvPr>
          <p:cNvSpPr txBox="1"/>
          <p:nvPr/>
        </p:nvSpPr>
        <p:spPr>
          <a:xfrm>
            <a:off x="8880395" y="5734693"/>
            <a:ext cx="1117447" cy="667299"/>
          </a:xfrm>
          <a:prstGeom prst="rect">
            <a:avLst/>
          </a:prstGeom>
          <a:noFill/>
        </p:spPr>
        <p:txBody>
          <a:bodyPr wrap="square" lIns="0" tIns="0" rIns="0" bIns="0" rtlCol="0">
            <a:normAutofit/>
          </a:bodyPr>
          <a:lstStyle/>
          <a:p>
            <a:pPr defTabSz="914377">
              <a:lnSpc>
                <a:spcPct val="112000"/>
              </a:lnSpc>
              <a:defRPr/>
            </a:pPr>
            <a:r>
              <a:t>Regional technical presence</a:t>
            </a:r>
            <a:br/>
            <a:r>
              <a:t>区域技术存在</a:t>
            </a:r>
          </a:p>
        </p:txBody>
      </p:sp>
      <p:pic>
        <p:nvPicPr>
          <p:cNvPr id="43" name="Graphic 42">
            <a:extLst>
              <a:ext uri="{FF2B5EF4-FFF2-40B4-BE49-F238E27FC236}">
                <a16:creationId xmlns:a16="http://schemas.microsoft.com/office/drawing/2014/main" id="{8611F928-6187-4CE3-81BE-530DB63C8299}"/>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308384" y="2738494"/>
            <a:ext cx="955176" cy="795980"/>
          </a:xfrm>
          <a:prstGeom prst="rect">
            <a:avLst/>
          </a:prstGeom>
        </p:spPr>
      </p:pic>
      <p:pic>
        <p:nvPicPr>
          <p:cNvPr id="44" name="Graphic 43">
            <a:extLst>
              <a:ext uri="{FF2B5EF4-FFF2-40B4-BE49-F238E27FC236}">
                <a16:creationId xmlns:a16="http://schemas.microsoft.com/office/drawing/2014/main" id="{026F1182-7E68-4EA8-8B0F-F70C4BF296C0}"/>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576123" y="2738493"/>
            <a:ext cx="911100" cy="759251"/>
          </a:xfrm>
          <a:prstGeom prst="rect">
            <a:avLst/>
          </a:prstGeom>
        </p:spPr>
      </p:pic>
      <p:pic>
        <p:nvPicPr>
          <p:cNvPr id="46" name="Graphic 45">
            <a:extLst>
              <a:ext uri="{FF2B5EF4-FFF2-40B4-BE49-F238E27FC236}">
                <a16:creationId xmlns:a16="http://schemas.microsoft.com/office/drawing/2014/main" id="{EA7134AF-EDCA-4C8C-BDC0-48C8FA56DC44}"/>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7888112" y="2666229"/>
            <a:ext cx="974075" cy="811729"/>
          </a:xfrm>
          <a:prstGeom prst="rect">
            <a:avLst/>
          </a:prstGeom>
        </p:spPr>
      </p:pic>
      <p:pic>
        <p:nvPicPr>
          <p:cNvPr id="47" name="Graphic 46">
            <a:extLst>
              <a:ext uri="{FF2B5EF4-FFF2-40B4-BE49-F238E27FC236}">
                <a16:creationId xmlns:a16="http://schemas.microsoft.com/office/drawing/2014/main" id="{C568701D-ED82-4152-9AF2-6BA0E63997DC}"/>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10183506" y="2723461"/>
            <a:ext cx="905396" cy="754497"/>
          </a:xfrm>
          <a:prstGeom prst="rect">
            <a:avLst/>
          </a:prstGeom>
        </p:spPr>
      </p:pic>
      <p:sp>
        <p:nvSpPr>
          <p:cNvPr id="30" name="Arrow: Right 29">
            <a:extLst>
              <a:ext uri="{FF2B5EF4-FFF2-40B4-BE49-F238E27FC236}">
                <a16:creationId xmlns:a16="http://schemas.microsoft.com/office/drawing/2014/main" id="{E22235FF-D414-4906-8A77-95A2C251651F}"/>
              </a:ext>
            </a:extLst>
          </p:cNvPr>
          <p:cNvSpPr/>
          <p:nvPr/>
        </p:nvSpPr>
        <p:spPr>
          <a:xfrm rot="10800000">
            <a:off x="8322697" y="5770442"/>
            <a:ext cx="376937" cy="617236"/>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609570">
              <a:lnSpc>
                <a:spcPct val="112000"/>
              </a:lnSpc>
              <a:defRPr/>
            </a:pPr>
            <a:endParaRPr lang="nl-NL" sz="1867">
              <a:solidFill>
                <a:srgbClr val="FFFFFF"/>
              </a:solidFill>
              <a:latin typeface="Verdana"/>
            </a:endParaRPr>
          </a:p>
        </p:txBody>
      </p:sp>
      <p:pic>
        <p:nvPicPr>
          <p:cNvPr id="1026" name="Picture 2" descr="Colorful powder icon in cartoon style isolated on Vector Image">
            <a:extLst>
              <a:ext uri="{FF2B5EF4-FFF2-40B4-BE49-F238E27FC236}">
                <a16:creationId xmlns:a16="http://schemas.microsoft.com/office/drawing/2014/main" id="{4A8DD6F1-129B-49F3-B194-B5758CC0EF50}"/>
              </a:ext>
            </a:extLst>
          </p:cNvPr>
          <p:cNvPicPr>
            <a:picLocks noChangeAspect="1" noChangeArrowheads="1"/>
          </p:cNvPicPr>
          <p:nvPr/>
        </p:nvPicPr>
        <p:blipFill>
          <a:blip r:embed="rId18" cstate="screen">
            <a:duotone>
              <a:schemeClr val="accent1">
                <a:shade val="45000"/>
                <a:satMod val="135000"/>
              </a:schemeClr>
              <a:prstClr val="white"/>
            </a:duotone>
            <a:extLst>
              <a:ext uri="{BEBA8EAE-BF5A-486C-A8C5-ECC9F3942E4B}">
                <a14:imgProps xmlns:a14="http://schemas.microsoft.com/office/drawing/2010/main">
                  <a14:imgLayer r:embed="rId19">
                    <a14:imgEffect>
                      <a14:artisticCrisscrossEtching/>
                    </a14:imgEffect>
                    <a14:imgEffect>
                      <a14:colorTemperature colorTemp="11198"/>
                    </a14:imgEffect>
                  </a14:imgLayer>
                </a14:imgProps>
              </a:ext>
              <a:ext uri="{28A0092B-C50C-407E-A947-70E740481C1C}">
                <a14:useLocalDpi xmlns:a14="http://schemas.microsoft.com/office/drawing/2010/main"/>
              </a:ext>
            </a:extLst>
          </a:blip>
          <a:srcRect/>
          <a:stretch>
            <a:fillRect/>
          </a:stretch>
        </p:blipFill>
        <p:spPr bwMode="auto">
          <a:xfrm>
            <a:off x="4114251" y="5709619"/>
            <a:ext cx="743564" cy="743564"/>
          </a:xfrm>
          <a:prstGeom prst="rect">
            <a:avLst/>
          </a:prstGeom>
          <a:noFill/>
          <a:ln w="15875">
            <a:noFill/>
          </a:ln>
          <a:extLst>
            <a:ext uri="{909E8E84-426E-40DD-AFC4-6F175D3DCCD1}">
              <a14:hiddenFill xmlns:a14="http://schemas.microsoft.com/office/drawing/2010/main">
                <a:solidFill>
                  <a:srgbClr val="FFFFFF"/>
                </a:solidFill>
              </a14:hiddenFill>
            </a:ext>
          </a:extLst>
        </p:spPr>
      </p:pic>
      <p:sp>
        <p:nvSpPr>
          <p:cNvPr id="31" name="Oval 30">
            <a:extLst>
              <a:ext uri="{FF2B5EF4-FFF2-40B4-BE49-F238E27FC236}">
                <a16:creationId xmlns:a16="http://schemas.microsoft.com/office/drawing/2014/main" id="{D233C691-40BB-4A39-8A6B-0E48CE5C37CB}"/>
              </a:ext>
            </a:extLst>
          </p:cNvPr>
          <p:cNvSpPr/>
          <p:nvPr/>
        </p:nvSpPr>
        <p:spPr>
          <a:xfrm>
            <a:off x="3257855" y="2416142"/>
            <a:ext cx="1305015" cy="1305015"/>
          </a:xfrm>
          <a:prstGeom prst="ellipse">
            <a:avLst/>
          </a:prstGeom>
          <a:gradFill>
            <a:gsLst>
              <a:gs pos="0">
                <a:schemeClr val="bg1"/>
              </a:gs>
              <a:gs pos="100000">
                <a:schemeClr val="bg1">
                  <a:lumMod val="95000"/>
                </a:schemeClr>
              </a:gs>
            </a:gsLst>
            <a:lin ang="5400000" scaled="1"/>
          </a:gra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609570">
              <a:lnSpc>
                <a:spcPct val="112000"/>
              </a:lnSpc>
              <a:defRPr/>
            </a:pPr>
            <a:endParaRPr lang="en-NL" sz="1867">
              <a:solidFill>
                <a:srgbClr val="FFFFFF"/>
              </a:solidFill>
              <a:latin typeface="Verdana"/>
            </a:endParaRPr>
          </a:p>
        </p:txBody>
      </p:sp>
      <p:sp>
        <p:nvSpPr>
          <p:cNvPr id="32" name="TextBox 31">
            <a:extLst>
              <a:ext uri="{FF2B5EF4-FFF2-40B4-BE49-F238E27FC236}">
                <a16:creationId xmlns:a16="http://schemas.microsoft.com/office/drawing/2014/main" id="{C9C6CBB3-80D2-4D28-ADA6-FD6A561C0A78}"/>
              </a:ext>
            </a:extLst>
          </p:cNvPr>
          <p:cNvSpPr txBox="1"/>
          <p:nvPr/>
        </p:nvSpPr>
        <p:spPr>
          <a:xfrm>
            <a:off x="3033312" y="3850058"/>
            <a:ext cx="1776043" cy="249427"/>
          </a:xfrm>
          <a:prstGeom prst="rect">
            <a:avLst/>
          </a:prstGeom>
          <a:noFill/>
        </p:spPr>
        <p:txBody>
          <a:bodyPr wrap="square" lIns="0" tIns="0" rIns="0" bIns="0" rtlCol="0">
            <a:normAutofit/>
          </a:bodyPr>
          <a:lstStyle/>
          <a:p>
            <a:pPr algn="ctr" defTabSz="609570">
              <a:lnSpc>
                <a:spcPct val="112000"/>
              </a:lnSpc>
              <a:defRPr/>
            </a:pPr>
            <a:r>
              <a:t>Science</a:t>
            </a:r>
            <a:br/>
            <a:r>
              <a:t>科学</a:t>
            </a:r>
            <a:endParaRPr lang="en-NL" sz="1600">
              <a:solidFill>
                <a:srgbClr val="0094D9"/>
              </a:solidFill>
              <a:latin typeface="Verdana"/>
            </a:endParaRPr>
          </a:p>
        </p:txBody>
      </p:sp>
      <p:pic>
        <p:nvPicPr>
          <p:cNvPr id="33" name="Graphic 32">
            <a:extLst>
              <a:ext uri="{FF2B5EF4-FFF2-40B4-BE49-F238E27FC236}">
                <a16:creationId xmlns:a16="http://schemas.microsoft.com/office/drawing/2014/main" id="{9F2A386B-9F0A-4D8D-9F08-7360C3D2883F}"/>
              </a:ext>
            </a:extLst>
          </p:cNvPr>
          <p:cNvPicPr>
            <a:picLocks noChangeAspect="1"/>
          </p:cNvPicPr>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3451129" y="2666228"/>
            <a:ext cx="918424" cy="765355"/>
          </a:xfrm>
          <a:prstGeom prst="rect">
            <a:avLst/>
          </a:prstGeom>
        </p:spPr>
      </p:pic>
    </p:spTree>
    <p:extLst>
      <p:ext uri="{BB962C8B-B14F-4D97-AF65-F5344CB8AC3E}">
        <p14:creationId xmlns:p14="http://schemas.microsoft.com/office/powerpoint/2010/main" val="4109032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erson holding a cup&#10;&#10;Description automatically generated">
            <a:extLst>
              <a:ext uri="{FF2B5EF4-FFF2-40B4-BE49-F238E27FC236}">
                <a16:creationId xmlns:a16="http://schemas.microsoft.com/office/drawing/2014/main" id="{FE040D95-AA4F-06A9-81B0-03023F13894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89" y="0"/>
            <a:ext cx="12192289" cy="6858000"/>
          </a:xfrm>
          <a:prstGeom prst="rect">
            <a:avLst/>
          </a:prstGeom>
        </p:spPr>
      </p:pic>
      <p:sp>
        <p:nvSpPr>
          <p:cNvPr id="3" name="Text Placeholder 2">
            <a:extLst>
              <a:ext uri="{FF2B5EF4-FFF2-40B4-BE49-F238E27FC236}">
                <a16:creationId xmlns:a16="http://schemas.microsoft.com/office/drawing/2014/main" id="{8553DE12-411C-2AA5-5814-7CDC78B943DF}"/>
              </a:ext>
            </a:extLst>
          </p:cNvPr>
          <p:cNvSpPr>
            <a:spLocks noGrp="1"/>
          </p:cNvSpPr>
          <p:nvPr>
            <p:ph type="body" sz="quarter" idx="18"/>
          </p:nvPr>
        </p:nvSpPr>
        <p:spPr/>
        <p:txBody>
          <a:bodyPr>
            <a:normAutofit/>
          </a:bodyPr>
          <a:lstStyle/>
          <a:p>
            <a:endParaRPr lang="en-GB" b="1">
              <a:solidFill>
                <a:schemeClr val="accent5"/>
              </a:solidFill>
            </a:endParaRPr>
          </a:p>
          <a:p>
            <a:pPr marL="0" marR="0" lvl="0" indent="0" algn="l" defTabSz="914377" rtl="0" eaLnBrk="1" fontAlgn="auto" latinLnBrk="0" hangingPunct="1">
              <a:lnSpc>
                <a:spcPct val="90000"/>
              </a:lnSpc>
              <a:spcBef>
                <a:spcPct val="0"/>
              </a:spcBef>
              <a:spcAft>
                <a:spcPts val="0"/>
              </a:spcAft>
              <a:buClrTx/>
              <a:buSzTx/>
              <a:buFontTx/>
              <a:buNone/>
              <a:tabLst/>
              <a:defRPr/>
            </a:pPr>
            <a:r>
              <a:t>Questions</a:t>
            </a:r>
            <a:br/>
            <a:r>
              <a:t>问题</a:t>
            </a:r>
            <a:endParaRPr kumimoji="0" lang="en-US" sz="2800" b="0" i="0" u="none" strike="noStrike" kern="1200" cap="none" spc="0" normalizeH="0" baseline="0" noProof="0">
              <a:ln>
                <a:noFill/>
              </a:ln>
              <a:solidFill>
                <a:srgbClr val="0094D9"/>
              </a:solidFill>
              <a:effectLst/>
              <a:uLnTx/>
              <a:uFillTx/>
              <a:latin typeface="Verdana"/>
              <a:ea typeface="+mj-ea"/>
              <a:cs typeface="+mj-cs"/>
            </a:endParaRPr>
          </a:p>
        </p:txBody>
      </p:sp>
      <p:sp>
        <p:nvSpPr>
          <p:cNvPr id="2" name="Rectangle 1">
            <a:extLst>
              <a:ext uri="{FF2B5EF4-FFF2-40B4-BE49-F238E27FC236}">
                <a16:creationId xmlns:a16="http://schemas.microsoft.com/office/drawing/2014/main" id="{E39A6692-CCB6-6124-AD57-528A87F5C997}"/>
              </a:ext>
            </a:extLst>
          </p:cNvPr>
          <p:cNvSpPr/>
          <p:nvPr/>
        </p:nvSpPr>
        <p:spPr>
          <a:xfrm rot="21001009">
            <a:off x="5700096" y="798878"/>
            <a:ext cx="2950028" cy="219083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112000"/>
              </a:lnSpc>
            </a:pPr>
            <a:r>
              <a:t>@ team China, pease add here a QR code to the FCI WeChat page please- call to action- talk to our team at booth XXX</a:t>
            </a:r>
            <a:br/>
            <a:r>
              <a:t>@中国团队，请在此添加一个指向FCI微信页面的二维码——行动号召——在展位XXX与我们的团队交流</a:t>
            </a:r>
          </a:p>
          <a:p>
            <a:pPr algn="ctr">
              <a:lnSpc>
                <a:spcPct val="112000"/>
              </a:lnSpc>
            </a:pPr>
            <a:endParaRPr lang="nl-NL" sz="1400"/>
          </a:p>
          <a:p>
            <a:pPr algn="ctr">
              <a:lnSpc>
                <a:spcPct val="112000"/>
              </a:lnSpc>
            </a:pPr>
            <a:r>
              <a:t>Can we add photos of the team and their positions?</a:t>
            </a:r>
            <a:br/>
            <a:r>
              <a:t>我们能否添加团队成员的照片及其职位？</a:t>
            </a:r>
          </a:p>
        </p:txBody>
      </p:sp>
    </p:spTree>
    <p:extLst>
      <p:ext uri="{BB962C8B-B14F-4D97-AF65-F5344CB8AC3E}">
        <p14:creationId xmlns:p14="http://schemas.microsoft.com/office/powerpoint/2010/main" val="83519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6E7E336-61D7-6885-E176-45674DD87E22}"/>
              </a:ext>
            </a:extLst>
          </p:cNvPr>
          <p:cNvGraphicFramePr>
            <a:graphicFrameLocks noChangeAspect="1"/>
          </p:cNvGraphicFramePr>
          <p:nvPr>
            <p:custDataLst>
              <p:tags r:id="rId1"/>
            </p:custDataLst>
            <p:extLst>
              <p:ext uri="{D42A27DB-BD31-4B8C-83A1-F6EECF244321}">
                <p14:modId xmlns:p14="http://schemas.microsoft.com/office/powerpoint/2010/main" val="167535585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1" imgW="347" imgH="348" progId="TCLayout.ActiveDocument.1">
                  <p:embed/>
                </p:oleObj>
              </mc:Choice>
              <mc:Fallback>
                <p:oleObj name="think-cell Slide" r:id="rId41" imgW="347" imgH="348" progId="TCLayout.ActiveDocument.1">
                  <p:embed/>
                  <p:pic>
                    <p:nvPicPr>
                      <p:cNvPr id="8" name="think-cell data - do not delete" hidden="1">
                        <a:extLst>
                          <a:ext uri="{FF2B5EF4-FFF2-40B4-BE49-F238E27FC236}">
                            <a16:creationId xmlns:a16="http://schemas.microsoft.com/office/drawing/2014/main" id="{56E7E336-61D7-6885-E176-45674DD87E22}"/>
                          </a:ext>
                        </a:extLst>
                      </p:cNvPr>
                      <p:cNvPicPr/>
                      <p:nvPr/>
                    </p:nvPicPr>
                    <p:blipFill>
                      <a:blip r:embed="rId42"/>
                      <a:stretch>
                        <a:fillRect/>
                      </a:stretch>
                    </p:blipFill>
                    <p:spPr>
                      <a:xfrm>
                        <a:off x="2118" y="2118"/>
                        <a:ext cx="2117" cy="2117"/>
                      </a:xfrm>
                      <a:prstGeom prst="rect">
                        <a:avLst/>
                      </a:prstGeom>
                    </p:spPr>
                  </p:pic>
                </p:oleObj>
              </mc:Fallback>
            </mc:AlternateContent>
          </a:graphicData>
        </a:graphic>
      </p:graphicFrame>
      <p:sp>
        <p:nvSpPr>
          <p:cNvPr id="5" name="2. Slide Title">
            <a:extLst>
              <a:ext uri="{FF2B5EF4-FFF2-40B4-BE49-F238E27FC236}">
                <a16:creationId xmlns:a16="http://schemas.microsoft.com/office/drawing/2014/main" id="{68D004DE-EE47-24C7-E2F0-B3CF56C687F5}"/>
              </a:ext>
            </a:extLst>
          </p:cNvPr>
          <p:cNvSpPr>
            <a:spLocks noGrp="1"/>
          </p:cNvSpPr>
          <p:nvPr>
            <p:ph type="title"/>
            <p:custDataLst>
              <p:tags r:id="rId2"/>
            </p:custDataLst>
          </p:nvPr>
        </p:nvSpPr>
        <p:spPr>
          <a:xfrm>
            <a:off x="554736" y="172212"/>
            <a:ext cx="11473784" cy="769441"/>
          </a:xfrm>
          <a:noFill/>
          <a:ln/>
          <a:extLst>
            <a:ext uri="{909E8E84-426E-40DD-AFC4-6F175D3DCCD1}">
              <a14:hiddenFill xmlns:a14="http://schemas.microsoft.com/office/drawing/2010/main">
                <a:solidFill>
                  <a:srgbClr val="FFFFFF"/>
                </a:solidFill>
              </a14:hiddenFill>
            </a:ext>
          </a:extLst>
        </p:spPr>
        <p:txBody>
          <a:bodyPr vert="horz">
            <a:normAutofit/>
          </a:bodyPr>
          <a:lstStyle/>
          <a:p>
            <a:r>
              <a:t>Globally, Yogurt is a growing market, with plain (spoonable) yogurt category showing the highest projected growth</a:t>
            </a:r>
            <a:br/>
            <a:r>
              <a:t>全球范围内，酸奶市场正在增长，其中普通（可舀取）酸奶类别显示出最高的预期增长率</a:t>
            </a:r>
            <a:endParaRPr lang="en-US"/>
          </a:p>
        </p:txBody>
      </p:sp>
      <p:graphicFrame>
        <p:nvGraphicFramePr>
          <p:cNvPr id="3" name="Chart 2">
            <a:extLst>
              <a:ext uri="{FF2B5EF4-FFF2-40B4-BE49-F238E27FC236}">
                <a16:creationId xmlns:a16="http://schemas.microsoft.com/office/drawing/2014/main" id="{1C56774F-F89F-025F-F5B3-E8E9FC9826D2}"/>
              </a:ext>
            </a:extLst>
          </p:cNvPr>
          <p:cNvGraphicFramePr/>
          <p:nvPr>
            <p:custDataLst>
              <p:tags r:id="rId3"/>
            </p:custDataLst>
            <p:extLst>
              <p:ext uri="{D42A27DB-BD31-4B8C-83A1-F6EECF244321}">
                <p14:modId xmlns:p14="http://schemas.microsoft.com/office/powerpoint/2010/main" val="3916431911"/>
              </p:ext>
            </p:extLst>
          </p:nvPr>
        </p:nvGraphicFramePr>
        <p:xfrm>
          <a:off x="471488" y="2749550"/>
          <a:ext cx="5538787" cy="3543300"/>
        </p:xfrm>
        <a:graphic>
          <a:graphicData uri="http://schemas.openxmlformats.org/drawingml/2006/chart">
            <c:chart xmlns:c="http://schemas.openxmlformats.org/drawingml/2006/chart" xmlns:r="http://schemas.openxmlformats.org/officeDocument/2006/relationships" r:id="rId43"/>
          </a:graphicData>
        </a:graphic>
      </p:graphicFrame>
      <p:cxnSp>
        <p:nvCxnSpPr>
          <p:cNvPr id="124" name="Straight Connector 123">
            <a:extLst>
              <a:ext uri="{FF2B5EF4-FFF2-40B4-BE49-F238E27FC236}">
                <a16:creationId xmlns:a16="http://schemas.microsoft.com/office/drawing/2014/main" id="{F58C61F1-4044-0281-0DCE-409E03B5E9E8}"/>
              </a:ext>
            </a:extLst>
          </p:cNvPr>
          <p:cNvCxnSpPr>
            <a:cxnSpLocks/>
          </p:cNvCxnSpPr>
          <p:nvPr>
            <p:custDataLst>
              <p:tags r:id="rId4"/>
            </p:custDataLst>
          </p:nvPr>
        </p:nvCxnSpPr>
        <p:spPr bwMode="auto">
          <a:xfrm flipV="1">
            <a:off x="889001" y="3124200"/>
            <a:ext cx="1343025" cy="292100"/>
          </a:xfrm>
          <a:prstGeom prst="line">
            <a:avLst/>
          </a:prstGeom>
          <a:ln w="381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5D175356-8B5D-9CF1-8346-6B54780C8DAD}"/>
              </a:ext>
            </a:extLst>
          </p:cNvPr>
          <p:cNvCxnSpPr>
            <a:cxnSpLocks/>
          </p:cNvCxnSpPr>
          <p:nvPr>
            <p:custDataLst>
              <p:tags r:id="rId5"/>
            </p:custDataLst>
          </p:nvPr>
        </p:nvCxnSpPr>
        <p:spPr bwMode="auto">
          <a:xfrm flipV="1">
            <a:off x="2232025" y="2482850"/>
            <a:ext cx="3359150" cy="641350"/>
          </a:xfrm>
          <a:prstGeom prst="line">
            <a:avLst/>
          </a:prstGeom>
          <a:ln w="381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0" name="Text Placeholder 2">
            <a:extLst>
              <a:ext uri="{FF2B5EF4-FFF2-40B4-BE49-F238E27FC236}">
                <a16:creationId xmlns:a16="http://schemas.microsoft.com/office/drawing/2014/main" id="{B89166A1-C91C-5A24-4214-BA64712A2D81}"/>
              </a:ext>
            </a:extLst>
          </p:cNvPr>
          <p:cNvSpPr>
            <a:spLocks noGrp="1"/>
          </p:cNvSpPr>
          <p:nvPr>
            <p:custDataLst>
              <p:tags r:id="rId6"/>
            </p:custDataLst>
          </p:nvPr>
        </p:nvSpPr>
        <p:spPr bwMode="auto">
          <a:xfrm>
            <a:off x="688975" y="6076950"/>
            <a:ext cx="4000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377" rtl="0" eaLnBrk="1" fontAlgn="auto" latinLnBrk="0" hangingPunct="1">
              <a:lnSpc>
                <a:spcPct val="100000"/>
              </a:lnSpc>
              <a:spcBef>
                <a:spcPct val="0"/>
              </a:spcBef>
              <a:spcAft>
                <a:spcPct val="0"/>
              </a:spcAft>
              <a:buClrTx/>
              <a:buSzTx/>
              <a:buFont typeface="Segoe UI" panose="020B0502040204020203" pitchFamily="34" charset="0"/>
              <a:buChar char="​"/>
              <a:tabLst/>
              <a:defRPr/>
            </a:pPr>
            <a:fld id="{FCB13D41-E7DB-44F3-9034-D7DCE1E99F27}" type="datetime'''''''''''''''''''''''''''''''2''''''''0''''''''''''2''''0'''">
              <a:rPr kumimoji="0" lang="en-US" altLang="en-US" sz="1200" b="0" i="0" u="none" strike="noStrike" kern="1200" cap="none" spc="0" normalizeH="0" baseline="0" noProof="0" smtClean="0">
                <a:ln>
                  <a:noFill/>
                </a:ln>
                <a:solidFill>
                  <a:srgbClr val="000000"/>
                </a:solidFill>
                <a:effectLst/>
                <a:uLnTx/>
                <a:uFillTx/>
                <a:latin typeface="Verdana"/>
                <a:ea typeface="+mn-ea"/>
                <a:cs typeface="Arial" panose="020B0604020202020204" pitchFamily="34" charset="0"/>
              </a:rPr>
              <a:pPr marL="0" marR="0" lvl="0" indent="0" algn="ctr" defTabSz="914377" rtl="0" eaLnBrk="1" fontAlgn="auto" latinLnBrk="0" hangingPunct="1">
                <a:lnSpc>
                  <a:spcPct val="100000"/>
                </a:lnSpc>
                <a:spcBef>
                  <a:spcPct val="0"/>
                </a:spcBef>
                <a:spcAft>
                  <a:spcPct val="0"/>
                </a:spcAft>
                <a:buClrTx/>
                <a:buSzTx/>
                <a:buFont typeface="Segoe UI" panose="020B0502040204020203" pitchFamily="34" charset="0"/>
                <a:buChar char="​"/>
                <a:tabLst/>
                <a:defRPr/>
              </a:pPr>
              <a:t>2020</a:t>
            </a:fld>
            <a:endParaRPr kumimoji="0" lang="en-US" sz="1200" b="0" i="0" u="none" strike="noStrike" kern="1200" cap="none" spc="0" normalizeH="0" baseline="0" noProof="0">
              <a:ln>
                <a:noFill/>
              </a:ln>
              <a:solidFill>
                <a:srgbClr val="000000"/>
              </a:solidFill>
              <a:effectLst/>
              <a:uLnTx/>
              <a:uFillTx/>
              <a:latin typeface="Verdana"/>
              <a:ea typeface="+mn-ea"/>
              <a:cs typeface="Arial" panose="020B0604020202020204" pitchFamily="34" charset="0"/>
            </a:endParaRPr>
          </a:p>
        </p:txBody>
      </p:sp>
      <p:sp>
        <p:nvSpPr>
          <p:cNvPr id="195" name="Text Placeholder 2">
            <a:extLst>
              <a:ext uri="{FF2B5EF4-FFF2-40B4-BE49-F238E27FC236}">
                <a16:creationId xmlns:a16="http://schemas.microsoft.com/office/drawing/2014/main" id="{F519A3F7-ADA9-C293-D7CC-71D1A7018712}"/>
              </a:ext>
            </a:extLst>
          </p:cNvPr>
          <p:cNvSpPr>
            <a:spLocks noGrp="1"/>
          </p:cNvSpPr>
          <p:nvPr>
            <p:custDataLst>
              <p:tags r:id="rId7"/>
            </p:custDataLst>
          </p:nvPr>
        </p:nvSpPr>
        <p:spPr bwMode="auto">
          <a:xfrm>
            <a:off x="1360488" y="6076950"/>
            <a:ext cx="4000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defTabSz="914377">
              <a:spcBef>
                <a:spcPct val="0"/>
              </a:spcBef>
              <a:spcAft>
                <a:spcPct val="0"/>
              </a:spcAft>
              <a:defRPr/>
            </a:pPr>
            <a:fld id="{7AE901B4-90ED-4BFC-B479-FA2FA8966EB7}" type="datetime'2''''''''0''''''''''2''''''''''3'''''''''''">
              <a:rPr lang="en-US" altLang="en-US" sz="1200" smtClean="0">
                <a:solidFill>
                  <a:srgbClr val="000000"/>
                </a:solidFill>
                <a:cs typeface="+mn-cs"/>
              </a:rPr>
              <a:pPr lvl="0" algn="ctr" defTabSz="914377">
                <a:spcBef>
                  <a:spcPct val="0"/>
                </a:spcBef>
                <a:spcAft>
                  <a:spcPct val="0"/>
                </a:spcAft>
                <a:defRPr/>
              </a:pPr>
              <a:t>2023</a:t>
            </a:fld>
            <a:endParaRPr kumimoji="0" lang="en-US" sz="1200" b="0" i="0" strike="noStrike" kern="1200" cap="none" spc="0" normalizeH="0" baseline="0" noProof="0">
              <a:ln>
                <a:noFill/>
              </a:ln>
              <a:solidFill>
                <a:srgbClr val="000000"/>
              </a:solidFill>
              <a:effectLst/>
              <a:uLnTx/>
              <a:uFillTx/>
              <a:cs typeface="+mn-cs"/>
            </a:endParaRPr>
          </a:p>
        </p:txBody>
      </p:sp>
      <p:sp>
        <p:nvSpPr>
          <p:cNvPr id="22" name="Text Placeholder 2">
            <a:extLst>
              <a:ext uri="{FF2B5EF4-FFF2-40B4-BE49-F238E27FC236}">
                <a16:creationId xmlns:a16="http://schemas.microsoft.com/office/drawing/2014/main" id="{9A9D6DBC-28DE-AEB6-6231-7AC2092E3B1E}"/>
              </a:ext>
            </a:extLst>
          </p:cNvPr>
          <p:cNvSpPr>
            <a:spLocks noGrp="1"/>
          </p:cNvSpPr>
          <p:nvPr>
            <p:custDataLst>
              <p:tags r:id="rId8"/>
            </p:custDataLst>
          </p:nvPr>
        </p:nvSpPr>
        <p:spPr bwMode="auto">
          <a:xfrm>
            <a:off x="2032000" y="6076950"/>
            <a:ext cx="4000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377" rtl="0" eaLnBrk="1" fontAlgn="auto" latinLnBrk="0" hangingPunct="1">
              <a:lnSpc>
                <a:spcPct val="100000"/>
              </a:lnSpc>
              <a:spcBef>
                <a:spcPct val="0"/>
              </a:spcBef>
              <a:spcAft>
                <a:spcPct val="0"/>
              </a:spcAft>
              <a:buClrTx/>
              <a:buSzTx/>
              <a:buFont typeface="Segoe UI" panose="020B0502040204020203" pitchFamily="34" charset="0"/>
              <a:buChar char="​"/>
              <a:tabLst/>
              <a:defRPr/>
            </a:pPr>
            <a:fld id="{9FF328E9-9BAE-4B5B-A7A6-761170D19A66}" type="datetime'''''2''''''''''''''''''''''''0''2''4'''''''">
              <a:rPr kumimoji="0" lang="en-US" altLang="en-US" sz="1200" b="0" i="0" u="none" strike="noStrike" kern="1200" cap="none" spc="0" normalizeH="0" baseline="0" noProof="0" smtClean="0">
                <a:ln>
                  <a:noFill/>
                </a:ln>
                <a:solidFill>
                  <a:srgbClr val="000000"/>
                </a:solidFill>
                <a:effectLst/>
                <a:uLnTx/>
                <a:uFillTx/>
                <a:latin typeface="Verdana"/>
                <a:ea typeface="+mn-ea"/>
                <a:cs typeface="Arial" panose="020B0604020202020204" pitchFamily="34" charset="0"/>
              </a:rPr>
              <a:pPr marL="0" marR="0" lvl="0" indent="0" algn="ctr" defTabSz="914377" rtl="0" eaLnBrk="1" fontAlgn="auto" latinLnBrk="0" hangingPunct="1">
                <a:lnSpc>
                  <a:spcPct val="100000"/>
                </a:lnSpc>
                <a:spcBef>
                  <a:spcPct val="0"/>
                </a:spcBef>
                <a:spcAft>
                  <a:spcPct val="0"/>
                </a:spcAft>
                <a:buClrTx/>
                <a:buSzTx/>
                <a:buFont typeface="Segoe UI" panose="020B0502040204020203" pitchFamily="34" charset="0"/>
                <a:buChar char="​"/>
                <a:tabLst/>
                <a:defRPr/>
              </a:pPr>
              <a:t>2024</a:t>
            </a:fld>
            <a:endParaRPr kumimoji="0" lang="en-US" sz="1200" b="0" i="0" u="none" strike="noStrike" kern="1200" cap="none" spc="0" normalizeH="0" baseline="0" noProof="0">
              <a:ln>
                <a:noFill/>
              </a:ln>
              <a:solidFill>
                <a:srgbClr val="000000"/>
              </a:solidFill>
              <a:effectLst/>
              <a:uLnTx/>
              <a:uFillTx/>
              <a:latin typeface="Verdana"/>
              <a:ea typeface="+mn-ea"/>
              <a:cs typeface="Arial" panose="020B0604020202020204" pitchFamily="34" charset="0"/>
            </a:endParaRPr>
          </a:p>
        </p:txBody>
      </p:sp>
      <p:sp>
        <p:nvSpPr>
          <p:cNvPr id="220" name="Text Placeholder 2">
            <a:extLst>
              <a:ext uri="{FF2B5EF4-FFF2-40B4-BE49-F238E27FC236}">
                <a16:creationId xmlns:a16="http://schemas.microsoft.com/office/drawing/2014/main" id="{22A77EF9-96DA-E3AD-9E52-860BB718A434}"/>
              </a:ext>
            </a:extLst>
          </p:cNvPr>
          <p:cNvSpPr>
            <a:spLocks noGrp="1"/>
          </p:cNvSpPr>
          <p:nvPr>
            <p:custDataLst>
              <p:tags r:id="rId9"/>
            </p:custDataLst>
          </p:nvPr>
        </p:nvSpPr>
        <p:spPr bwMode="auto">
          <a:xfrm>
            <a:off x="2703513" y="6076950"/>
            <a:ext cx="4000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defTabSz="914377">
              <a:spcBef>
                <a:spcPct val="0"/>
              </a:spcBef>
              <a:spcAft>
                <a:spcPct val="0"/>
              </a:spcAft>
              <a:defRPr/>
            </a:pPr>
            <a:fld id="{4196CE72-8794-4A15-84F3-A4B34A519842}" type="datetime'2''''''''0''''''''''''''2''''''''''''''''5'''''''''''''''">
              <a:rPr lang="en-US" altLang="en-US" sz="1200" smtClean="0">
                <a:solidFill>
                  <a:srgbClr val="000000"/>
                </a:solidFill>
                <a:cs typeface="+mn-cs"/>
              </a:rPr>
              <a:pPr lvl="0" algn="ctr" defTabSz="914377">
                <a:spcBef>
                  <a:spcPct val="0"/>
                </a:spcBef>
                <a:spcAft>
                  <a:spcPct val="0"/>
                </a:spcAft>
                <a:defRPr/>
              </a:pPr>
              <a:t>2025</a:t>
            </a:fld>
            <a:endParaRPr kumimoji="0" lang="en-US" sz="1200" b="0" i="0" strike="noStrike" kern="1200" cap="none" spc="0" normalizeH="0" baseline="0" noProof="0">
              <a:ln>
                <a:noFill/>
              </a:ln>
              <a:solidFill>
                <a:srgbClr val="000000"/>
              </a:solidFill>
              <a:effectLst/>
              <a:uLnTx/>
              <a:uFillTx/>
              <a:cs typeface="+mn-cs"/>
            </a:endParaRPr>
          </a:p>
        </p:txBody>
      </p:sp>
      <p:sp>
        <p:nvSpPr>
          <p:cNvPr id="18" name="Text Placeholder 2">
            <a:extLst>
              <a:ext uri="{FF2B5EF4-FFF2-40B4-BE49-F238E27FC236}">
                <a16:creationId xmlns:a16="http://schemas.microsoft.com/office/drawing/2014/main" id="{B694B487-5143-FC73-9FA7-46B02A3F0315}"/>
              </a:ext>
            </a:extLst>
          </p:cNvPr>
          <p:cNvSpPr>
            <a:spLocks noGrp="1"/>
          </p:cNvSpPr>
          <p:nvPr>
            <p:custDataLst>
              <p:tags r:id="rId10"/>
            </p:custDataLst>
          </p:nvPr>
        </p:nvSpPr>
        <p:spPr bwMode="auto">
          <a:xfrm>
            <a:off x="3376613" y="6076950"/>
            <a:ext cx="4000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377" rtl="0" eaLnBrk="1" fontAlgn="auto" latinLnBrk="0" hangingPunct="1">
              <a:lnSpc>
                <a:spcPct val="100000"/>
              </a:lnSpc>
              <a:spcBef>
                <a:spcPct val="0"/>
              </a:spcBef>
              <a:spcAft>
                <a:spcPct val="0"/>
              </a:spcAft>
              <a:buClrTx/>
              <a:buSzTx/>
              <a:buFont typeface="Segoe UI" panose="020B0502040204020203" pitchFamily="34" charset="0"/>
              <a:buChar char="​"/>
              <a:tabLst/>
              <a:defRPr/>
            </a:pPr>
            <a:fld id="{26982465-D647-4172-9118-E2B6D7BD4D83}" type="datetime'''''''''2''''''0''''''''''''''2''''6'''''''''''''''">
              <a:rPr kumimoji="0" lang="en-US" altLang="en-US" sz="1200" b="0" i="0" u="none" strike="noStrike" kern="1200" cap="none" spc="0" normalizeH="0" baseline="0" noProof="0" smtClean="0">
                <a:ln>
                  <a:noFill/>
                </a:ln>
                <a:solidFill>
                  <a:srgbClr val="000000"/>
                </a:solidFill>
                <a:effectLst/>
                <a:uLnTx/>
                <a:uFillTx/>
                <a:latin typeface="Verdana"/>
                <a:ea typeface="+mn-ea"/>
                <a:cs typeface="Arial" panose="020B0604020202020204" pitchFamily="34" charset="0"/>
              </a:rPr>
              <a:pPr marL="0" marR="0" lvl="0" indent="0" algn="ctr" defTabSz="914377" rtl="0" eaLnBrk="1" fontAlgn="auto" latinLnBrk="0" hangingPunct="1">
                <a:lnSpc>
                  <a:spcPct val="100000"/>
                </a:lnSpc>
                <a:spcBef>
                  <a:spcPct val="0"/>
                </a:spcBef>
                <a:spcAft>
                  <a:spcPct val="0"/>
                </a:spcAft>
                <a:buClrTx/>
                <a:buSzTx/>
                <a:buFont typeface="Segoe UI" panose="020B0502040204020203" pitchFamily="34" charset="0"/>
                <a:buChar char="​"/>
                <a:tabLst/>
                <a:defRPr/>
              </a:pPr>
              <a:t>2026</a:t>
            </a:fld>
            <a:endParaRPr kumimoji="0" lang="en-US" sz="1200" b="0" i="0" u="none" strike="noStrike" kern="1200" cap="none" spc="0" normalizeH="0" baseline="0" noProof="0">
              <a:ln>
                <a:noFill/>
              </a:ln>
              <a:solidFill>
                <a:srgbClr val="000000"/>
              </a:solidFill>
              <a:effectLst/>
              <a:uLnTx/>
              <a:uFillTx/>
              <a:latin typeface="Verdana"/>
              <a:ea typeface="+mn-ea"/>
              <a:cs typeface="Arial" panose="020B0604020202020204" pitchFamily="34" charset="0"/>
            </a:endParaRPr>
          </a:p>
        </p:txBody>
      </p:sp>
      <p:sp>
        <p:nvSpPr>
          <p:cNvPr id="221" name="Text Placeholder 2">
            <a:extLst>
              <a:ext uri="{FF2B5EF4-FFF2-40B4-BE49-F238E27FC236}">
                <a16:creationId xmlns:a16="http://schemas.microsoft.com/office/drawing/2014/main" id="{EF2B80C6-49AC-F10A-DDB9-092FFEDF36F5}"/>
              </a:ext>
            </a:extLst>
          </p:cNvPr>
          <p:cNvSpPr>
            <a:spLocks noGrp="1"/>
          </p:cNvSpPr>
          <p:nvPr>
            <p:custDataLst>
              <p:tags r:id="rId11"/>
            </p:custDataLst>
          </p:nvPr>
        </p:nvSpPr>
        <p:spPr bwMode="auto">
          <a:xfrm>
            <a:off x="4048125" y="6076950"/>
            <a:ext cx="4000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defTabSz="914377">
              <a:spcBef>
                <a:spcPct val="0"/>
              </a:spcBef>
              <a:spcAft>
                <a:spcPct val="0"/>
              </a:spcAft>
              <a:defRPr/>
            </a:pPr>
            <a:fld id="{FF8EB958-AF53-4D47-8371-CC159D1F98FA}" type="datetime'''''''''''2''''''''''0''''''''''2''''''''7'''''''''''''''">
              <a:rPr lang="en-US" altLang="en-US" sz="1200" smtClean="0">
                <a:solidFill>
                  <a:srgbClr val="000000"/>
                </a:solidFill>
                <a:cs typeface="+mn-cs"/>
              </a:rPr>
              <a:pPr lvl="0" algn="ctr" defTabSz="914377">
                <a:spcBef>
                  <a:spcPct val="0"/>
                </a:spcBef>
                <a:spcAft>
                  <a:spcPct val="0"/>
                </a:spcAft>
                <a:defRPr/>
              </a:pPr>
              <a:t>2027</a:t>
            </a:fld>
            <a:endParaRPr kumimoji="0" lang="en-US" sz="1200" b="0" i="0" strike="noStrike" kern="1200" cap="none" spc="0" normalizeH="0" baseline="0" noProof="0">
              <a:ln>
                <a:noFill/>
              </a:ln>
              <a:solidFill>
                <a:srgbClr val="000000"/>
              </a:solidFill>
              <a:effectLst/>
              <a:uLnTx/>
              <a:uFillTx/>
              <a:cs typeface="+mn-cs"/>
            </a:endParaRPr>
          </a:p>
        </p:txBody>
      </p:sp>
      <p:sp>
        <p:nvSpPr>
          <p:cNvPr id="34" name="Text Placeholder 2">
            <a:extLst>
              <a:ext uri="{FF2B5EF4-FFF2-40B4-BE49-F238E27FC236}">
                <a16:creationId xmlns:a16="http://schemas.microsoft.com/office/drawing/2014/main" id="{7B2BB0D1-0E48-EA12-A91A-418DEA5980CA}"/>
              </a:ext>
            </a:extLst>
          </p:cNvPr>
          <p:cNvSpPr>
            <a:spLocks noGrp="1"/>
          </p:cNvSpPr>
          <p:nvPr>
            <p:custDataLst>
              <p:tags r:id="rId12"/>
            </p:custDataLst>
          </p:nvPr>
        </p:nvSpPr>
        <p:spPr bwMode="auto">
          <a:xfrm>
            <a:off x="4719638" y="6076950"/>
            <a:ext cx="4000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377" rtl="0" eaLnBrk="1" fontAlgn="auto" latinLnBrk="0" hangingPunct="1">
              <a:lnSpc>
                <a:spcPct val="100000"/>
              </a:lnSpc>
              <a:spcBef>
                <a:spcPct val="0"/>
              </a:spcBef>
              <a:spcAft>
                <a:spcPct val="0"/>
              </a:spcAft>
              <a:buClrTx/>
              <a:buSzTx/>
              <a:buFont typeface="Segoe UI" panose="020B0502040204020203" pitchFamily="34" charset="0"/>
              <a:buChar char="​"/>
              <a:tabLst/>
              <a:defRPr/>
            </a:pPr>
            <a:fld id="{C1CFCF77-6FF9-4C33-858B-26B713177B1A}" type="datetime'''''''''''2''0''''''''''''''''''''''''''''''''2''''''''''8'''">
              <a:rPr kumimoji="0" lang="en-US" altLang="en-US" sz="1200" b="0" i="0" u="none" strike="noStrike" kern="1200" cap="none" spc="0" normalizeH="0" baseline="0" noProof="0" smtClean="0">
                <a:ln>
                  <a:noFill/>
                </a:ln>
                <a:solidFill>
                  <a:srgbClr val="000000"/>
                </a:solidFill>
                <a:effectLst/>
                <a:uLnTx/>
                <a:uFillTx/>
                <a:latin typeface="Verdana"/>
                <a:ea typeface="+mn-ea"/>
                <a:cs typeface="Arial" panose="020B0604020202020204" pitchFamily="34" charset="0"/>
              </a:rPr>
              <a:pPr marL="0" marR="0" lvl="0" indent="0" algn="ctr" defTabSz="914377" rtl="0" eaLnBrk="1" fontAlgn="auto" latinLnBrk="0" hangingPunct="1">
                <a:lnSpc>
                  <a:spcPct val="100000"/>
                </a:lnSpc>
                <a:spcBef>
                  <a:spcPct val="0"/>
                </a:spcBef>
                <a:spcAft>
                  <a:spcPct val="0"/>
                </a:spcAft>
                <a:buClrTx/>
                <a:buSzTx/>
                <a:buFont typeface="Segoe UI" panose="020B0502040204020203" pitchFamily="34" charset="0"/>
                <a:buChar char="​"/>
                <a:tabLst/>
                <a:defRPr/>
              </a:pPr>
              <a:t>2028</a:t>
            </a:fld>
            <a:endParaRPr kumimoji="0" lang="en-US" sz="1200" b="0" i="0" u="none" strike="noStrike" kern="1200" cap="none" spc="0" normalizeH="0" baseline="0" noProof="0">
              <a:ln>
                <a:noFill/>
              </a:ln>
              <a:solidFill>
                <a:srgbClr val="000000"/>
              </a:solidFill>
              <a:effectLst/>
              <a:uLnTx/>
              <a:uFillTx/>
              <a:latin typeface="Verdana"/>
              <a:ea typeface="+mn-ea"/>
              <a:cs typeface="Arial" panose="020B0604020202020204" pitchFamily="34" charset="0"/>
            </a:endParaRPr>
          </a:p>
        </p:txBody>
      </p:sp>
      <p:sp>
        <p:nvSpPr>
          <p:cNvPr id="16" name="Text Placeholder 2">
            <a:extLst>
              <a:ext uri="{FF2B5EF4-FFF2-40B4-BE49-F238E27FC236}">
                <a16:creationId xmlns:a16="http://schemas.microsoft.com/office/drawing/2014/main" id="{AC50FD60-4CAA-1578-7960-0552EBBF2C1E}"/>
              </a:ext>
            </a:extLst>
          </p:cNvPr>
          <p:cNvSpPr>
            <a:spLocks noGrp="1"/>
          </p:cNvSpPr>
          <p:nvPr>
            <p:custDataLst>
              <p:tags r:id="rId13"/>
            </p:custDataLst>
          </p:nvPr>
        </p:nvSpPr>
        <p:spPr bwMode="auto">
          <a:xfrm>
            <a:off x="5391150" y="6076950"/>
            <a:ext cx="4000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defTabSz="914377">
              <a:spcBef>
                <a:spcPct val="0"/>
              </a:spcBef>
              <a:spcAft>
                <a:spcPct val="0"/>
              </a:spcAft>
              <a:defRPr/>
            </a:pPr>
            <a:fld id="{F69EDD64-598A-4A3E-B61F-4AFF00BEA198}" type="datetime'''2''0''''''29'''''''''''''''">
              <a:rPr lang="en-US" altLang="en-US" sz="1200" smtClean="0">
                <a:solidFill>
                  <a:srgbClr val="000000"/>
                </a:solidFill>
                <a:cs typeface="+mn-cs"/>
              </a:rPr>
              <a:pPr lvl="0" algn="ctr" defTabSz="914377">
                <a:spcBef>
                  <a:spcPct val="0"/>
                </a:spcBef>
                <a:spcAft>
                  <a:spcPct val="0"/>
                </a:spcAft>
                <a:defRPr/>
              </a:pPr>
              <a:t>2029</a:t>
            </a:fld>
            <a:endParaRPr kumimoji="0" lang="en-US" sz="1200" b="0" i="0" strike="noStrike" kern="1200" cap="none" spc="0" normalizeH="0" baseline="0" noProof="0">
              <a:ln>
                <a:noFill/>
              </a:ln>
              <a:solidFill>
                <a:srgbClr val="000000"/>
              </a:solidFill>
              <a:effectLst/>
              <a:uLnTx/>
              <a:uFillTx/>
              <a:cs typeface="+mn-cs"/>
            </a:endParaRPr>
          </a:p>
        </p:txBody>
      </p:sp>
      <p:sp>
        <p:nvSpPr>
          <p:cNvPr id="13" name="Text Placeholder 4">
            <a:extLst>
              <a:ext uri="{FF2B5EF4-FFF2-40B4-BE49-F238E27FC236}">
                <a16:creationId xmlns:a16="http://schemas.microsoft.com/office/drawing/2014/main" id="{9D13780D-9A34-7245-AA02-2A4FB9FD9FBF}"/>
              </a:ext>
            </a:extLst>
          </p:cNvPr>
          <p:cNvSpPr>
            <a:spLocks noGrp="1"/>
          </p:cNvSpPr>
          <p:nvPr>
            <p:custDataLst>
              <p:tags r:id="rId14"/>
            </p:custDataLst>
          </p:nvPr>
        </p:nvSpPr>
        <p:spPr bwMode="gray">
          <a:xfrm>
            <a:off x="769938" y="3741738"/>
            <a:ext cx="238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rmAutofit/>
          </a:bodyPr>
          <a:lstStyle>
            <a:lvl1pPr marL="0" indent="0" algn="l" defTabSz="685783" rtl="0" eaLnBrk="1" latinLnBrk="0" hangingPunct="1">
              <a:lnSpc>
                <a:spcPct val="100000"/>
              </a:lnSpc>
              <a:spcBef>
                <a:spcPts val="225"/>
              </a:spcBef>
              <a:spcAft>
                <a:spcPts val="225"/>
              </a:spcAft>
              <a:buClr>
                <a:schemeClr val="tx1"/>
              </a:buClr>
              <a:buSzPct val="100000"/>
              <a:buFont typeface="Segoe UI" panose="020B0502040204020203" pitchFamily="34" charset="0"/>
              <a:buChar char="​"/>
              <a:defRPr lang="en-US" sz="1200" kern="1200" dirty="0">
                <a:solidFill>
                  <a:schemeClr val="tx1"/>
                </a:solidFill>
                <a:latin typeface="+mn-lt"/>
                <a:ea typeface="+mn-ea"/>
                <a:cs typeface="+mn-cs"/>
              </a:defRPr>
            </a:lvl1pPr>
            <a:lvl2pPr marL="171446" indent="-171446" algn="l" defTabSz="685783" rtl="0" eaLnBrk="1" latinLnBrk="0" hangingPunct="1">
              <a:lnSpc>
                <a:spcPct val="100000"/>
              </a:lnSpc>
              <a:spcBef>
                <a:spcPts val="0"/>
              </a:spcBef>
              <a:spcAft>
                <a:spcPts val="225"/>
              </a:spcAft>
              <a:buClr>
                <a:schemeClr val="accent1"/>
              </a:buClr>
              <a:buSzPct val="110000"/>
              <a:buFont typeface="Wingdings" panose="05000000000000000000" pitchFamily="2" charset="2"/>
              <a:buChar char=""/>
              <a:defRPr lang="en-US" sz="1200" kern="1200" dirty="0">
                <a:solidFill>
                  <a:schemeClr val="tx1"/>
                </a:solidFill>
                <a:latin typeface="+mn-lt"/>
                <a:ea typeface="+mn-ea"/>
                <a:cs typeface="+mn-cs"/>
              </a:defRPr>
            </a:lvl2pPr>
            <a:lvl3pPr marL="329176" indent="-157730" algn="l" defTabSz="685783" rtl="0" eaLnBrk="1" latinLnBrk="0" hangingPunct="1">
              <a:lnSpc>
                <a:spcPct val="100000"/>
              </a:lnSpc>
              <a:spcBef>
                <a:spcPts val="0"/>
              </a:spcBef>
              <a:spcAft>
                <a:spcPts val="225"/>
              </a:spcAft>
              <a:buClr>
                <a:schemeClr val="accent1"/>
              </a:buClr>
              <a:buSzPct val="110000"/>
              <a:buFont typeface="Arial" panose="020B0604020202020204" pitchFamily="34" charset="0"/>
              <a:buChar char="‒"/>
              <a:defRPr lang="en-US" sz="1200" kern="1200" dirty="0">
                <a:solidFill>
                  <a:schemeClr val="tx1"/>
                </a:solidFill>
                <a:latin typeface="+mn-lt"/>
                <a:ea typeface="+mn-ea"/>
                <a:cs typeface="+mn-cs"/>
              </a:defRPr>
            </a:lvl3pPr>
            <a:lvl4pPr marL="445759" indent="-116583" algn="l" defTabSz="685783" rtl="0" eaLnBrk="1" latinLnBrk="0" hangingPunct="1">
              <a:lnSpc>
                <a:spcPct val="100000"/>
              </a:lnSpc>
              <a:spcBef>
                <a:spcPts val="0"/>
              </a:spcBef>
              <a:spcAft>
                <a:spcPts val="225"/>
              </a:spcAft>
              <a:buClr>
                <a:schemeClr val="accent1"/>
              </a:buClr>
              <a:buSzPct val="100000"/>
              <a:buFont typeface="Arial" panose="020B0604020202020204" pitchFamily="34" charset="0"/>
              <a:buChar char="•"/>
              <a:defRPr lang="en-US" sz="1200" kern="1200" dirty="0">
                <a:solidFill>
                  <a:schemeClr val="tx1"/>
                </a:solidFill>
                <a:latin typeface="+mn-lt"/>
                <a:ea typeface="+mn-ea"/>
                <a:cs typeface="+mn-cs"/>
              </a:defRPr>
            </a:lvl4pPr>
            <a:lvl5pPr marL="610347" indent="-109725" algn="l" defTabSz="685783" rtl="0" eaLnBrk="1" latinLnBrk="0" hangingPunct="1">
              <a:lnSpc>
                <a:spcPct val="100000"/>
              </a:lnSpc>
              <a:spcBef>
                <a:spcPts val="0"/>
              </a:spcBef>
              <a:spcAft>
                <a:spcPts val="225"/>
              </a:spcAft>
              <a:buClr>
                <a:schemeClr val="accent1"/>
              </a:buClr>
              <a:buSzPct val="100000"/>
              <a:buFont typeface="Arial" panose="020B0604020202020204" pitchFamily="34" charset="0"/>
              <a:buChar char="̶"/>
              <a:defRPr lang="en-US" sz="1200" kern="1200" dirty="0">
                <a:solidFill>
                  <a:schemeClr val="tx1"/>
                </a:solidFill>
                <a:latin typeface="+mn-lt"/>
                <a:ea typeface="+mn-ea"/>
                <a:cs typeface="+mn-cs"/>
              </a:defRPr>
            </a:lvl5pPr>
            <a:lvl6pPr marL="814368" indent="-128585" algn="l" defTabSz="685783"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6pPr>
            <a:lvl7pPr marL="814368" indent="-128585" algn="l" defTabSz="685783"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7pPr>
            <a:lvl8pPr marL="814368" indent="-128585" algn="l" defTabSz="685783"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8pPr>
            <a:lvl9pPr marL="814368" indent="-128585" algn="l" defTabSz="685783"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3F4043"/>
              </a:buClr>
              <a:defRPr/>
            </a:pPr>
            <a:fld id="{0B7C6382-D87A-4E5D-B7F7-04C5694AAC2C}" type="datetime'''''''''''7''''''''6'''''''''''''''''''''''''''''''''''">
              <a:rPr lang="en-US" altLang="en-US" smtClean="0">
                <a:solidFill>
                  <a:srgbClr val="000000"/>
                </a:solidFill>
              </a:rPr>
              <a:pPr lvl="0" algn="ctr">
                <a:spcBef>
                  <a:spcPct val="0"/>
                </a:spcBef>
                <a:spcAft>
                  <a:spcPct val="0"/>
                </a:spcAft>
                <a:buClr>
                  <a:srgbClr val="3F4043"/>
                </a:buClr>
                <a:defRPr/>
              </a:pPr>
              <a:t>76</a:t>
            </a:fld>
            <a:endParaRPr kumimoji="0" lang="en-US" sz="1200" b="0" i="0" strike="noStrike" kern="1200" cap="none" spc="0" normalizeH="0" baseline="0" noProof="0">
              <a:ln>
                <a:noFill/>
              </a:ln>
              <a:solidFill>
                <a:srgbClr val="000000"/>
              </a:solidFill>
              <a:effectLst/>
              <a:uLnTx/>
              <a:uFillTx/>
            </a:endParaRPr>
          </a:p>
        </p:txBody>
      </p:sp>
      <p:sp>
        <p:nvSpPr>
          <p:cNvPr id="210" name="Text Placeholder 4">
            <a:extLst>
              <a:ext uri="{FF2B5EF4-FFF2-40B4-BE49-F238E27FC236}">
                <a16:creationId xmlns:a16="http://schemas.microsoft.com/office/drawing/2014/main" id="{FFA92CEE-0EDE-0F5F-1E87-2330A0476DE7}"/>
              </a:ext>
            </a:extLst>
          </p:cNvPr>
          <p:cNvSpPr>
            <a:spLocks noGrp="1"/>
          </p:cNvSpPr>
          <p:nvPr>
            <p:custDataLst>
              <p:tags r:id="rId15"/>
            </p:custDataLst>
          </p:nvPr>
        </p:nvSpPr>
        <p:spPr bwMode="gray">
          <a:xfrm>
            <a:off x="1441450" y="3502025"/>
            <a:ext cx="238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rmAutofit/>
          </a:bodyPr>
          <a:lstStyle>
            <a:lvl1pPr marL="0" indent="0" algn="l" defTabSz="685783" rtl="0" eaLnBrk="1" latinLnBrk="0" hangingPunct="1">
              <a:lnSpc>
                <a:spcPct val="100000"/>
              </a:lnSpc>
              <a:spcBef>
                <a:spcPts val="225"/>
              </a:spcBef>
              <a:spcAft>
                <a:spcPts val="225"/>
              </a:spcAft>
              <a:buClr>
                <a:schemeClr val="tx1"/>
              </a:buClr>
              <a:buSzPct val="100000"/>
              <a:buFont typeface="Segoe UI" panose="020B0502040204020203" pitchFamily="34" charset="0"/>
              <a:buChar char="​"/>
              <a:defRPr lang="en-US" sz="1200" kern="1200" dirty="0">
                <a:solidFill>
                  <a:schemeClr val="tx1"/>
                </a:solidFill>
                <a:latin typeface="+mn-lt"/>
                <a:ea typeface="+mn-ea"/>
                <a:cs typeface="+mn-cs"/>
              </a:defRPr>
            </a:lvl1pPr>
            <a:lvl2pPr marL="171446" indent="-171446" algn="l" defTabSz="685783" rtl="0" eaLnBrk="1" latinLnBrk="0" hangingPunct="1">
              <a:lnSpc>
                <a:spcPct val="100000"/>
              </a:lnSpc>
              <a:spcBef>
                <a:spcPts val="0"/>
              </a:spcBef>
              <a:spcAft>
                <a:spcPts val="225"/>
              </a:spcAft>
              <a:buClr>
                <a:schemeClr val="accent1"/>
              </a:buClr>
              <a:buSzPct val="110000"/>
              <a:buFont typeface="Wingdings" panose="05000000000000000000" pitchFamily="2" charset="2"/>
              <a:buChar char=""/>
              <a:defRPr lang="en-US" sz="1200" kern="1200" dirty="0">
                <a:solidFill>
                  <a:schemeClr val="tx1"/>
                </a:solidFill>
                <a:latin typeface="+mn-lt"/>
                <a:ea typeface="+mn-ea"/>
                <a:cs typeface="+mn-cs"/>
              </a:defRPr>
            </a:lvl2pPr>
            <a:lvl3pPr marL="329176" indent="-157730" algn="l" defTabSz="685783" rtl="0" eaLnBrk="1" latinLnBrk="0" hangingPunct="1">
              <a:lnSpc>
                <a:spcPct val="100000"/>
              </a:lnSpc>
              <a:spcBef>
                <a:spcPts val="0"/>
              </a:spcBef>
              <a:spcAft>
                <a:spcPts val="225"/>
              </a:spcAft>
              <a:buClr>
                <a:schemeClr val="accent1"/>
              </a:buClr>
              <a:buSzPct val="110000"/>
              <a:buFont typeface="Arial" panose="020B0604020202020204" pitchFamily="34" charset="0"/>
              <a:buChar char="‒"/>
              <a:defRPr lang="en-US" sz="1200" kern="1200" dirty="0">
                <a:solidFill>
                  <a:schemeClr val="tx1"/>
                </a:solidFill>
                <a:latin typeface="+mn-lt"/>
                <a:ea typeface="+mn-ea"/>
                <a:cs typeface="+mn-cs"/>
              </a:defRPr>
            </a:lvl3pPr>
            <a:lvl4pPr marL="445759" indent="-116583" algn="l" defTabSz="685783" rtl="0" eaLnBrk="1" latinLnBrk="0" hangingPunct="1">
              <a:lnSpc>
                <a:spcPct val="100000"/>
              </a:lnSpc>
              <a:spcBef>
                <a:spcPts val="0"/>
              </a:spcBef>
              <a:spcAft>
                <a:spcPts val="225"/>
              </a:spcAft>
              <a:buClr>
                <a:schemeClr val="accent1"/>
              </a:buClr>
              <a:buSzPct val="100000"/>
              <a:buFont typeface="Arial" panose="020B0604020202020204" pitchFamily="34" charset="0"/>
              <a:buChar char="•"/>
              <a:defRPr lang="en-US" sz="1200" kern="1200" dirty="0">
                <a:solidFill>
                  <a:schemeClr val="tx1"/>
                </a:solidFill>
                <a:latin typeface="+mn-lt"/>
                <a:ea typeface="+mn-ea"/>
                <a:cs typeface="+mn-cs"/>
              </a:defRPr>
            </a:lvl4pPr>
            <a:lvl5pPr marL="610347" indent="-109725" algn="l" defTabSz="685783" rtl="0" eaLnBrk="1" latinLnBrk="0" hangingPunct="1">
              <a:lnSpc>
                <a:spcPct val="100000"/>
              </a:lnSpc>
              <a:spcBef>
                <a:spcPts val="0"/>
              </a:spcBef>
              <a:spcAft>
                <a:spcPts val="225"/>
              </a:spcAft>
              <a:buClr>
                <a:schemeClr val="accent1"/>
              </a:buClr>
              <a:buSzPct val="100000"/>
              <a:buFont typeface="Arial" panose="020B0604020202020204" pitchFamily="34" charset="0"/>
              <a:buChar char="̶"/>
              <a:defRPr lang="en-US" sz="1200" kern="1200" dirty="0">
                <a:solidFill>
                  <a:schemeClr val="tx1"/>
                </a:solidFill>
                <a:latin typeface="+mn-lt"/>
                <a:ea typeface="+mn-ea"/>
                <a:cs typeface="+mn-cs"/>
              </a:defRPr>
            </a:lvl5pPr>
            <a:lvl6pPr marL="814368" indent="-128585" algn="l" defTabSz="685783"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6pPr>
            <a:lvl7pPr marL="814368" indent="-128585" algn="l" defTabSz="685783"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7pPr>
            <a:lvl8pPr marL="814368" indent="-128585" algn="l" defTabSz="685783"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8pPr>
            <a:lvl9pPr marL="814368" indent="-128585" algn="l" defTabSz="685783"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3F4043"/>
              </a:buClr>
              <a:defRPr/>
            </a:pPr>
            <a:fld id="{EE37450E-009A-4F4B-A1C3-19E94DB5B6B4}" type="datetime'''''''''''''''''''''''''8''5'''''''''''''''''''''''''''''">
              <a:rPr lang="en-US" altLang="en-US" smtClean="0">
                <a:solidFill>
                  <a:srgbClr val="000000"/>
                </a:solidFill>
              </a:rPr>
              <a:pPr lvl="0" algn="ctr">
                <a:spcBef>
                  <a:spcPct val="0"/>
                </a:spcBef>
                <a:spcAft>
                  <a:spcPct val="0"/>
                </a:spcAft>
                <a:buClr>
                  <a:srgbClr val="3F4043"/>
                </a:buClr>
                <a:defRPr/>
              </a:pPr>
              <a:t>85</a:t>
            </a:fld>
            <a:endParaRPr kumimoji="0" lang="en-US" b="0" i="0" strike="noStrike" kern="1200" cap="none" spc="0" normalizeH="0" baseline="0" noProof="0">
              <a:ln>
                <a:noFill/>
              </a:ln>
              <a:solidFill>
                <a:srgbClr val="000000"/>
              </a:solidFill>
              <a:effectLst/>
              <a:uLnTx/>
              <a:uFillTx/>
            </a:endParaRPr>
          </a:p>
        </p:txBody>
      </p:sp>
      <p:sp>
        <p:nvSpPr>
          <p:cNvPr id="200" name="Text Placeholder 4">
            <a:extLst>
              <a:ext uri="{FF2B5EF4-FFF2-40B4-BE49-F238E27FC236}">
                <a16:creationId xmlns:a16="http://schemas.microsoft.com/office/drawing/2014/main" id="{4C1F3293-4EFE-461D-940D-7EE66BAE31C5}"/>
              </a:ext>
            </a:extLst>
          </p:cNvPr>
          <p:cNvSpPr>
            <a:spLocks noGrp="1"/>
          </p:cNvSpPr>
          <p:nvPr>
            <p:custDataLst>
              <p:tags r:id="rId16"/>
            </p:custDataLst>
          </p:nvPr>
        </p:nvSpPr>
        <p:spPr bwMode="gray">
          <a:xfrm>
            <a:off x="2112963" y="3449638"/>
            <a:ext cx="238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rmAutofit/>
          </a:bodyPr>
          <a:lstStyle>
            <a:lvl1pPr marL="0" indent="0" algn="l" defTabSz="685783" rtl="0" eaLnBrk="1" latinLnBrk="0" hangingPunct="1">
              <a:lnSpc>
                <a:spcPct val="100000"/>
              </a:lnSpc>
              <a:spcBef>
                <a:spcPts val="225"/>
              </a:spcBef>
              <a:spcAft>
                <a:spcPts val="225"/>
              </a:spcAft>
              <a:buClr>
                <a:schemeClr val="tx1"/>
              </a:buClr>
              <a:buSzPct val="100000"/>
              <a:buFont typeface="Segoe UI" panose="020B0502040204020203" pitchFamily="34" charset="0"/>
              <a:buChar char="​"/>
              <a:defRPr lang="en-US" sz="1200" kern="1200" dirty="0">
                <a:solidFill>
                  <a:schemeClr val="tx1"/>
                </a:solidFill>
                <a:latin typeface="+mn-lt"/>
                <a:ea typeface="+mn-ea"/>
                <a:cs typeface="+mn-cs"/>
              </a:defRPr>
            </a:lvl1pPr>
            <a:lvl2pPr marL="171446" indent="-171446" algn="l" defTabSz="685783" rtl="0" eaLnBrk="1" latinLnBrk="0" hangingPunct="1">
              <a:lnSpc>
                <a:spcPct val="100000"/>
              </a:lnSpc>
              <a:spcBef>
                <a:spcPts val="0"/>
              </a:spcBef>
              <a:spcAft>
                <a:spcPts val="225"/>
              </a:spcAft>
              <a:buClr>
                <a:schemeClr val="accent1"/>
              </a:buClr>
              <a:buSzPct val="110000"/>
              <a:buFont typeface="Wingdings" panose="05000000000000000000" pitchFamily="2" charset="2"/>
              <a:buChar char=""/>
              <a:defRPr lang="en-US" sz="1200" kern="1200" dirty="0">
                <a:solidFill>
                  <a:schemeClr val="tx1"/>
                </a:solidFill>
                <a:latin typeface="+mn-lt"/>
                <a:ea typeface="+mn-ea"/>
                <a:cs typeface="+mn-cs"/>
              </a:defRPr>
            </a:lvl2pPr>
            <a:lvl3pPr marL="329176" indent="-157730" algn="l" defTabSz="685783" rtl="0" eaLnBrk="1" latinLnBrk="0" hangingPunct="1">
              <a:lnSpc>
                <a:spcPct val="100000"/>
              </a:lnSpc>
              <a:spcBef>
                <a:spcPts val="0"/>
              </a:spcBef>
              <a:spcAft>
                <a:spcPts val="225"/>
              </a:spcAft>
              <a:buClr>
                <a:schemeClr val="accent1"/>
              </a:buClr>
              <a:buSzPct val="110000"/>
              <a:buFont typeface="Arial" panose="020B0604020202020204" pitchFamily="34" charset="0"/>
              <a:buChar char="‒"/>
              <a:defRPr lang="en-US" sz="1200" kern="1200" dirty="0">
                <a:solidFill>
                  <a:schemeClr val="tx1"/>
                </a:solidFill>
                <a:latin typeface="+mn-lt"/>
                <a:ea typeface="+mn-ea"/>
                <a:cs typeface="+mn-cs"/>
              </a:defRPr>
            </a:lvl3pPr>
            <a:lvl4pPr marL="445759" indent="-116583" algn="l" defTabSz="685783" rtl="0" eaLnBrk="1" latinLnBrk="0" hangingPunct="1">
              <a:lnSpc>
                <a:spcPct val="100000"/>
              </a:lnSpc>
              <a:spcBef>
                <a:spcPts val="0"/>
              </a:spcBef>
              <a:spcAft>
                <a:spcPts val="225"/>
              </a:spcAft>
              <a:buClr>
                <a:schemeClr val="accent1"/>
              </a:buClr>
              <a:buSzPct val="100000"/>
              <a:buFont typeface="Arial" panose="020B0604020202020204" pitchFamily="34" charset="0"/>
              <a:buChar char="•"/>
              <a:defRPr lang="en-US" sz="1200" kern="1200" dirty="0">
                <a:solidFill>
                  <a:schemeClr val="tx1"/>
                </a:solidFill>
                <a:latin typeface="+mn-lt"/>
                <a:ea typeface="+mn-ea"/>
                <a:cs typeface="+mn-cs"/>
              </a:defRPr>
            </a:lvl4pPr>
            <a:lvl5pPr marL="610347" indent="-109725" algn="l" defTabSz="685783" rtl="0" eaLnBrk="1" latinLnBrk="0" hangingPunct="1">
              <a:lnSpc>
                <a:spcPct val="100000"/>
              </a:lnSpc>
              <a:spcBef>
                <a:spcPts val="0"/>
              </a:spcBef>
              <a:spcAft>
                <a:spcPts val="225"/>
              </a:spcAft>
              <a:buClr>
                <a:schemeClr val="accent1"/>
              </a:buClr>
              <a:buSzPct val="100000"/>
              <a:buFont typeface="Arial" panose="020B0604020202020204" pitchFamily="34" charset="0"/>
              <a:buChar char="̶"/>
              <a:defRPr lang="en-US" sz="1200" kern="1200" dirty="0">
                <a:solidFill>
                  <a:schemeClr val="tx1"/>
                </a:solidFill>
                <a:latin typeface="+mn-lt"/>
                <a:ea typeface="+mn-ea"/>
                <a:cs typeface="+mn-cs"/>
              </a:defRPr>
            </a:lvl5pPr>
            <a:lvl6pPr marL="814368" indent="-128585" algn="l" defTabSz="685783"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6pPr>
            <a:lvl7pPr marL="814368" indent="-128585" algn="l" defTabSz="685783"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7pPr>
            <a:lvl8pPr marL="814368" indent="-128585" algn="l" defTabSz="685783"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8pPr>
            <a:lvl9pPr marL="814368" indent="-128585" algn="l" defTabSz="685783"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3F4043"/>
              </a:buClr>
              <a:defRPr/>
            </a:pPr>
            <a:fld id="{AB8C7402-CE2D-45FF-AB0B-AA13D17B2CDE}" type="datetime'''87'''''''''''''''''''''''''''''''''''''''''''''''''''''''''">
              <a:rPr lang="en-US" altLang="en-US" smtClean="0">
                <a:solidFill>
                  <a:srgbClr val="000000"/>
                </a:solidFill>
              </a:rPr>
              <a:pPr lvl="0" algn="ctr">
                <a:spcBef>
                  <a:spcPct val="0"/>
                </a:spcBef>
                <a:spcAft>
                  <a:spcPct val="0"/>
                </a:spcAft>
                <a:buClr>
                  <a:srgbClr val="3F4043"/>
                </a:buClr>
                <a:defRPr/>
              </a:pPr>
              <a:t>87</a:t>
            </a:fld>
            <a:endParaRPr kumimoji="0" lang="en-US" sz="1200" b="0" i="0" strike="noStrike" kern="1200" cap="none" spc="0" normalizeH="0" baseline="0" noProof="0">
              <a:ln>
                <a:noFill/>
              </a:ln>
              <a:solidFill>
                <a:srgbClr val="000000"/>
              </a:solidFill>
              <a:effectLst/>
              <a:uLnTx/>
              <a:uFillTx/>
            </a:endParaRPr>
          </a:p>
        </p:txBody>
      </p:sp>
      <p:sp>
        <p:nvSpPr>
          <p:cNvPr id="230" name="Text Placeholder 4">
            <a:extLst>
              <a:ext uri="{FF2B5EF4-FFF2-40B4-BE49-F238E27FC236}">
                <a16:creationId xmlns:a16="http://schemas.microsoft.com/office/drawing/2014/main" id="{5AA7E79D-6F20-C4A0-6A9B-C9CDBC3C53DA}"/>
              </a:ext>
            </a:extLst>
          </p:cNvPr>
          <p:cNvSpPr>
            <a:spLocks noGrp="1"/>
          </p:cNvSpPr>
          <p:nvPr>
            <p:custDataLst>
              <p:tags r:id="rId17"/>
            </p:custDataLst>
          </p:nvPr>
        </p:nvSpPr>
        <p:spPr bwMode="gray">
          <a:xfrm>
            <a:off x="2784475" y="3362325"/>
            <a:ext cx="238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rmAutofit/>
          </a:bodyPr>
          <a:lstStyle>
            <a:lvl1pPr marL="0" indent="0" algn="l" defTabSz="685783" rtl="0" eaLnBrk="1" latinLnBrk="0" hangingPunct="1">
              <a:lnSpc>
                <a:spcPct val="100000"/>
              </a:lnSpc>
              <a:spcBef>
                <a:spcPts val="225"/>
              </a:spcBef>
              <a:spcAft>
                <a:spcPts val="225"/>
              </a:spcAft>
              <a:buClr>
                <a:schemeClr val="tx1"/>
              </a:buClr>
              <a:buSzPct val="100000"/>
              <a:buFont typeface="Segoe UI" panose="020B0502040204020203" pitchFamily="34" charset="0"/>
              <a:buChar char="​"/>
              <a:defRPr lang="en-US" sz="1200" kern="1200" dirty="0">
                <a:solidFill>
                  <a:schemeClr val="tx1"/>
                </a:solidFill>
                <a:latin typeface="+mn-lt"/>
                <a:ea typeface="+mn-ea"/>
                <a:cs typeface="+mn-cs"/>
              </a:defRPr>
            </a:lvl1pPr>
            <a:lvl2pPr marL="171446" indent="-171446" algn="l" defTabSz="685783" rtl="0" eaLnBrk="1" latinLnBrk="0" hangingPunct="1">
              <a:lnSpc>
                <a:spcPct val="100000"/>
              </a:lnSpc>
              <a:spcBef>
                <a:spcPts val="0"/>
              </a:spcBef>
              <a:spcAft>
                <a:spcPts val="225"/>
              </a:spcAft>
              <a:buClr>
                <a:schemeClr val="accent1"/>
              </a:buClr>
              <a:buSzPct val="110000"/>
              <a:buFont typeface="Wingdings" panose="05000000000000000000" pitchFamily="2" charset="2"/>
              <a:buChar char=""/>
              <a:defRPr lang="en-US" sz="1200" kern="1200" dirty="0">
                <a:solidFill>
                  <a:schemeClr val="tx1"/>
                </a:solidFill>
                <a:latin typeface="+mn-lt"/>
                <a:ea typeface="+mn-ea"/>
                <a:cs typeface="+mn-cs"/>
              </a:defRPr>
            </a:lvl2pPr>
            <a:lvl3pPr marL="329176" indent="-157730" algn="l" defTabSz="685783" rtl="0" eaLnBrk="1" latinLnBrk="0" hangingPunct="1">
              <a:lnSpc>
                <a:spcPct val="100000"/>
              </a:lnSpc>
              <a:spcBef>
                <a:spcPts val="0"/>
              </a:spcBef>
              <a:spcAft>
                <a:spcPts val="225"/>
              </a:spcAft>
              <a:buClr>
                <a:schemeClr val="accent1"/>
              </a:buClr>
              <a:buSzPct val="110000"/>
              <a:buFont typeface="Arial" panose="020B0604020202020204" pitchFamily="34" charset="0"/>
              <a:buChar char="‒"/>
              <a:defRPr lang="en-US" sz="1200" kern="1200" dirty="0">
                <a:solidFill>
                  <a:schemeClr val="tx1"/>
                </a:solidFill>
                <a:latin typeface="+mn-lt"/>
                <a:ea typeface="+mn-ea"/>
                <a:cs typeface="+mn-cs"/>
              </a:defRPr>
            </a:lvl3pPr>
            <a:lvl4pPr marL="445759" indent="-116583" algn="l" defTabSz="685783" rtl="0" eaLnBrk="1" latinLnBrk="0" hangingPunct="1">
              <a:lnSpc>
                <a:spcPct val="100000"/>
              </a:lnSpc>
              <a:spcBef>
                <a:spcPts val="0"/>
              </a:spcBef>
              <a:spcAft>
                <a:spcPts val="225"/>
              </a:spcAft>
              <a:buClr>
                <a:schemeClr val="accent1"/>
              </a:buClr>
              <a:buSzPct val="100000"/>
              <a:buFont typeface="Arial" panose="020B0604020202020204" pitchFamily="34" charset="0"/>
              <a:buChar char="•"/>
              <a:defRPr lang="en-US" sz="1200" kern="1200" dirty="0">
                <a:solidFill>
                  <a:schemeClr val="tx1"/>
                </a:solidFill>
                <a:latin typeface="+mn-lt"/>
                <a:ea typeface="+mn-ea"/>
                <a:cs typeface="+mn-cs"/>
              </a:defRPr>
            </a:lvl4pPr>
            <a:lvl5pPr marL="610347" indent="-109725" algn="l" defTabSz="685783" rtl="0" eaLnBrk="1" latinLnBrk="0" hangingPunct="1">
              <a:lnSpc>
                <a:spcPct val="100000"/>
              </a:lnSpc>
              <a:spcBef>
                <a:spcPts val="0"/>
              </a:spcBef>
              <a:spcAft>
                <a:spcPts val="225"/>
              </a:spcAft>
              <a:buClr>
                <a:schemeClr val="accent1"/>
              </a:buClr>
              <a:buSzPct val="100000"/>
              <a:buFont typeface="Arial" panose="020B0604020202020204" pitchFamily="34" charset="0"/>
              <a:buChar char="̶"/>
              <a:defRPr lang="en-US" sz="1200" kern="1200" dirty="0">
                <a:solidFill>
                  <a:schemeClr val="tx1"/>
                </a:solidFill>
                <a:latin typeface="+mn-lt"/>
                <a:ea typeface="+mn-ea"/>
                <a:cs typeface="+mn-cs"/>
              </a:defRPr>
            </a:lvl5pPr>
            <a:lvl6pPr marL="814368" indent="-128585" algn="l" defTabSz="685783"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6pPr>
            <a:lvl7pPr marL="814368" indent="-128585" algn="l" defTabSz="685783"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7pPr>
            <a:lvl8pPr marL="814368" indent="-128585" algn="l" defTabSz="685783"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8pPr>
            <a:lvl9pPr marL="814368" indent="-128585" algn="l" defTabSz="685783"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3F4043"/>
              </a:buClr>
              <a:defRPr/>
            </a:pPr>
            <a:fld id="{69209F65-010C-431B-9025-1DD8DF6F5DB8}" type="datetime'''''9''''''''''''''''''''''''''''''''''''''''''''''''''''0'">
              <a:rPr lang="en-US" altLang="en-US" smtClean="0">
                <a:solidFill>
                  <a:srgbClr val="000000"/>
                </a:solidFill>
              </a:rPr>
              <a:pPr lvl="0" algn="ctr">
                <a:spcBef>
                  <a:spcPct val="0"/>
                </a:spcBef>
                <a:spcAft>
                  <a:spcPct val="0"/>
                </a:spcAft>
                <a:buClr>
                  <a:srgbClr val="3F4043"/>
                </a:buClr>
                <a:defRPr/>
              </a:pPr>
              <a:t>90</a:t>
            </a:fld>
            <a:endParaRPr kumimoji="0" lang="en-US" b="0" i="0" strike="noStrike" kern="1200" cap="none" spc="0" normalizeH="0" baseline="0" noProof="0">
              <a:ln>
                <a:noFill/>
              </a:ln>
              <a:solidFill>
                <a:srgbClr val="000000"/>
              </a:solidFill>
              <a:effectLst/>
              <a:uLnTx/>
              <a:uFillTx/>
            </a:endParaRPr>
          </a:p>
        </p:txBody>
      </p:sp>
      <p:sp>
        <p:nvSpPr>
          <p:cNvPr id="35" name="Text Placeholder 4">
            <a:extLst>
              <a:ext uri="{FF2B5EF4-FFF2-40B4-BE49-F238E27FC236}">
                <a16:creationId xmlns:a16="http://schemas.microsoft.com/office/drawing/2014/main" id="{FA04BAA8-C058-A322-11FC-E4D6A9B9204F}"/>
              </a:ext>
            </a:extLst>
          </p:cNvPr>
          <p:cNvSpPr>
            <a:spLocks noGrp="1"/>
          </p:cNvSpPr>
          <p:nvPr>
            <p:custDataLst>
              <p:tags r:id="rId18"/>
            </p:custDataLst>
          </p:nvPr>
        </p:nvSpPr>
        <p:spPr bwMode="gray">
          <a:xfrm>
            <a:off x="3457575" y="3251200"/>
            <a:ext cx="238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rmAutofit/>
          </a:bodyPr>
          <a:lstStyle>
            <a:lvl1pPr marL="0" indent="0" algn="l" defTabSz="685783" rtl="0" eaLnBrk="1" latinLnBrk="0" hangingPunct="1">
              <a:lnSpc>
                <a:spcPct val="100000"/>
              </a:lnSpc>
              <a:spcBef>
                <a:spcPts val="225"/>
              </a:spcBef>
              <a:spcAft>
                <a:spcPts val="225"/>
              </a:spcAft>
              <a:buClr>
                <a:schemeClr val="tx1"/>
              </a:buClr>
              <a:buSzPct val="100000"/>
              <a:buFont typeface="Segoe UI" panose="020B0502040204020203" pitchFamily="34" charset="0"/>
              <a:buChar char="​"/>
              <a:defRPr lang="en-US" sz="1200" kern="1200" dirty="0">
                <a:solidFill>
                  <a:schemeClr val="tx1"/>
                </a:solidFill>
                <a:latin typeface="+mn-lt"/>
                <a:ea typeface="+mn-ea"/>
                <a:cs typeface="+mn-cs"/>
              </a:defRPr>
            </a:lvl1pPr>
            <a:lvl2pPr marL="171446" indent="-171446" algn="l" defTabSz="685783" rtl="0" eaLnBrk="1" latinLnBrk="0" hangingPunct="1">
              <a:lnSpc>
                <a:spcPct val="100000"/>
              </a:lnSpc>
              <a:spcBef>
                <a:spcPts val="0"/>
              </a:spcBef>
              <a:spcAft>
                <a:spcPts val="225"/>
              </a:spcAft>
              <a:buClr>
                <a:schemeClr val="accent1"/>
              </a:buClr>
              <a:buSzPct val="110000"/>
              <a:buFont typeface="Wingdings" panose="05000000000000000000" pitchFamily="2" charset="2"/>
              <a:buChar char=""/>
              <a:defRPr lang="en-US" sz="1200" kern="1200" dirty="0">
                <a:solidFill>
                  <a:schemeClr val="tx1"/>
                </a:solidFill>
                <a:latin typeface="+mn-lt"/>
                <a:ea typeface="+mn-ea"/>
                <a:cs typeface="+mn-cs"/>
              </a:defRPr>
            </a:lvl2pPr>
            <a:lvl3pPr marL="329176" indent="-157730" algn="l" defTabSz="685783" rtl="0" eaLnBrk="1" latinLnBrk="0" hangingPunct="1">
              <a:lnSpc>
                <a:spcPct val="100000"/>
              </a:lnSpc>
              <a:spcBef>
                <a:spcPts val="0"/>
              </a:spcBef>
              <a:spcAft>
                <a:spcPts val="225"/>
              </a:spcAft>
              <a:buClr>
                <a:schemeClr val="accent1"/>
              </a:buClr>
              <a:buSzPct val="110000"/>
              <a:buFont typeface="Arial" panose="020B0604020202020204" pitchFamily="34" charset="0"/>
              <a:buChar char="‒"/>
              <a:defRPr lang="en-US" sz="1200" kern="1200" dirty="0">
                <a:solidFill>
                  <a:schemeClr val="tx1"/>
                </a:solidFill>
                <a:latin typeface="+mn-lt"/>
                <a:ea typeface="+mn-ea"/>
                <a:cs typeface="+mn-cs"/>
              </a:defRPr>
            </a:lvl3pPr>
            <a:lvl4pPr marL="445759" indent="-116583" algn="l" defTabSz="685783" rtl="0" eaLnBrk="1" latinLnBrk="0" hangingPunct="1">
              <a:lnSpc>
                <a:spcPct val="100000"/>
              </a:lnSpc>
              <a:spcBef>
                <a:spcPts val="0"/>
              </a:spcBef>
              <a:spcAft>
                <a:spcPts val="225"/>
              </a:spcAft>
              <a:buClr>
                <a:schemeClr val="accent1"/>
              </a:buClr>
              <a:buSzPct val="100000"/>
              <a:buFont typeface="Arial" panose="020B0604020202020204" pitchFamily="34" charset="0"/>
              <a:buChar char="•"/>
              <a:defRPr lang="en-US" sz="1200" kern="1200" dirty="0">
                <a:solidFill>
                  <a:schemeClr val="tx1"/>
                </a:solidFill>
                <a:latin typeface="+mn-lt"/>
                <a:ea typeface="+mn-ea"/>
                <a:cs typeface="+mn-cs"/>
              </a:defRPr>
            </a:lvl4pPr>
            <a:lvl5pPr marL="610347" indent="-109725" algn="l" defTabSz="685783" rtl="0" eaLnBrk="1" latinLnBrk="0" hangingPunct="1">
              <a:lnSpc>
                <a:spcPct val="100000"/>
              </a:lnSpc>
              <a:spcBef>
                <a:spcPts val="0"/>
              </a:spcBef>
              <a:spcAft>
                <a:spcPts val="225"/>
              </a:spcAft>
              <a:buClr>
                <a:schemeClr val="accent1"/>
              </a:buClr>
              <a:buSzPct val="100000"/>
              <a:buFont typeface="Arial" panose="020B0604020202020204" pitchFamily="34" charset="0"/>
              <a:buChar char="̶"/>
              <a:defRPr lang="en-US" sz="1200" kern="1200" dirty="0">
                <a:solidFill>
                  <a:schemeClr val="tx1"/>
                </a:solidFill>
                <a:latin typeface="+mn-lt"/>
                <a:ea typeface="+mn-ea"/>
                <a:cs typeface="+mn-cs"/>
              </a:defRPr>
            </a:lvl5pPr>
            <a:lvl6pPr marL="814368" indent="-128585" algn="l" defTabSz="685783"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6pPr>
            <a:lvl7pPr marL="814368" indent="-128585" algn="l" defTabSz="685783"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7pPr>
            <a:lvl8pPr marL="814368" indent="-128585" algn="l" defTabSz="685783"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8pPr>
            <a:lvl9pPr marL="814368" indent="-128585" algn="l" defTabSz="685783"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3F4043"/>
              </a:buClr>
              <a:defRPr/>
            </a:pPr>
            <a:fld id="{9BDEF8A5-5A0A-4423-A631-6D901E0001B4}" type="datetime'''''''''''''''''''''''''''''''''9''4'''''''">
              <a:rPr lang="en-US" altLang="en-US" smtClean="0">
                <a:solidFill>
                  <a:srgbClr val="000000"/>
                </a:solidFill>
              </a:rPr>
              <a:pPr lvl="0" algn="ctr">
                <a:spcBef>
                  <a:spcPct val="0"/>
                </a:spcBef>
                <a:spcAft>
                  <a:spcPct val="0"/>
                </a:spcAft>
                <a:buClr>
                  <a:srgbClr val="3F4043"/>
                </a:buClr>
                <a:defRPr/>
              </a:pPr>
              <a:t>94</a:t>
            </a:fld>
            <a:endParaRPr kumimoji="0" lang="en-US" sz="1200" b="0" i="0" strike="noStrike" kern="1200" cap="none" spc="0" normalizeH="0" baseline="0" noProof="0">
              <a:ln>
                <a:noFill/>
              </a:ln>
              <a:solidFill>
                <a:srgbClr val="000000"/>
              </a:solidFill>
              <a:effectLst/>
              <a:uLnTx/>
              <a:uFillTx/>
            </a:endParaRPr>
          </a:p>
        </p:txBody>
      </p:sp>
      <p:sp>
        <p:nvSpPr>
          <p:cNvPr id="234" name="Text Placeholder 4">
            <a:extLst>
              <a:ext uri="{FF2B5EF4-FFF2-40B4-BE49-F238E27FC236}">
                <a16:creationId xmlns:a16="http://schemas.microsoft.com/office/drawing/2014/main" id="{547704A2-C996-F611-1B20-B8C74476C0DE}"/>
              </a:ext>
            </a:extLst>
          </p:cNvPr>
          <p:cNvSpPr>
            <a:spLocks noGrp="1"/>
          </p:cNvSpPr>
          <p:nvPr>
            <p:custDataLst>
              <p:tags r:id="rId19"/>
            </p:custDataLst>
          </p:nvPr>
        </p:nvSpPr>
        <p:spPr bwMode="gray">
          <a:xfrm>
            <a:off x="4129088" y="3121025"/>
            <a:ext cx="238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rmAutofit/>
          </a:bodyPr>
          <a:lstStyle>
            <a:lvl1pPr marL="0" indent="0" algn="l" defTabSz="685783" rtl="0" eaLnBrk="1" latinLnBrk="0" hangingPunct="1">
              <a:lnSpc>
                <a:spcPct val="100000"/>
              </a:lnSpc>
              <a:spcBef>
                <a:spcPts val="225"/>
              </a:spcBef>
              <a:spcAft>
                <a:spcPts val="225"/>
              </a:spcAft>
              <a:buClr>
                <a:schemeClr val="tx1"/>
              </a:buClr>
              <a:buSzPct val="100000"/>
              <a:buFont typeface="Segoe UI" panose="020B0502040204020203" pitchFamily="34" charset="0"/>
              <a:buChar char="​"/>
              <a:defRPr lang="en-US" sz="1200" kern="1200" dirty="0">
                <a:solidFill>
                  <a:schemeClr val="tx1"/>
                </a:solidFill>
                <a:latin typeface="+mn-lt"/>
                <a:ea typeface="+mn-ea"/>
                <a:cs typeface="+mn-cs"/>
              </a:defRPr>
            </a:lvl1pPr>
            <a:lvl2pPr marL="171446" indent="-171446" algn="l" defTabSz="685783" rtl="0" eaLnBrk="1" latinLnBrk="0" hangingPunct="1">
              <a:lnSpc>
                <a:spcPct val="100000"/>
              </a:lnSpc>
              <a:spcBef>
                <a:spcPts val="0"/>
              </a:spcBef>
              <a:spcAft>
                <a:spcPts val="225"/>
              </a:spcAft>
              <a:buClr>
                <a:schemeClr val="accent1"/>
              </a:buClr>
              <a:buSzPct val="110000"/>
              <a:buFont typeface="Wingdings" panose="05000000000000000000" pitchFamily="2" charset="2"/>
              <a:buChar char=""/>
              <a:defRPr lang="en-US" sz="1200" kern="1200" dirty="0">
                <a:solidFill>
                  <a:schemeClr val="tx1"/>
                </a:solidFill>
                <a:latin typeface="+mn-lt"/>
                <a:ea typeface="+mn-ea"/>
                <a:cs typeface="+mn-cs"/>
              </a:defRPr>
            </a:lvl2pPr>
            <a:lvl3pPr marL="329176" indent="-157730" algn="l" defTabSz="685783" rtl="0" eaLnBrk="1" latinLnBrk="0" hangingPunct="1">
              <a:lnSpc>
                <a:spcPct val="100000"/>
              </a:lnSpc>
              <a:spcBef>
                <a:spcPts val="0"/>
              </a:spcBef>
              <a:spcAft>
                <a:spcPts val="225"/>
              </a:spcAft>
              <a:buClr>
                <a:schemeClr val="accent1"/>
              </a:buClr>
              <a:buSzPct val="110000"/>
              <a:buFont typeface="Arial" panose="020B0604020202020204" pitchFamily="34" charset="0"/>
              <a:buChar char="‒"/>
              <a:defRPr lang="en-US" sz="1200" kern="1200" dirty="0">
                <a:solidFill>
                  <a:schemeClr val="tx1"/>
                </a:solidFill>
                <a:latin typeface="+mn-lt"/>
                <a:ea typeface="+mn-ea"/>
                <a:cs typeface="+mn-cs"/>
              </a:defRPr>
            </a:lvl3pPr>
            <a:lvl4pPr marL="445759" indent="-116583" algn="l" defTabSz="685783" rtl="0" eaLnBrk="1" latinLnBrk="0" hangingPunct="1">
              <a:lnSpc>
                <a:spcPct val="100000"/>
              </a:lnSpc>
              <a:spcBef>
                <a:spcPts val="0"/>
              </a:spcBef>
              <a:spcAft>
                <a:spcPts val="225"/>
              </a:spcAft>
              <a:buClr>
                <a:schemeClr val="accent1"/>
              </a:buClr>
              <a:buSzPct val="100000"/>
              <a:buFont typeface="Arial" panose="020B0604020202020204" pitchFamily="34" charset="0"/>
              <a:buChar char="•"/>
              <a:defRPr lang="en-US" sz="1200" kern="1200" dirty="0">
                <a:solidFill>
                  <a:schemeClr val="tx1"/>
                </a:solidFill>
                <a:latin typeface="+mn-lt"/>
                <a:ea typeface="+mn-ea"/>
                <a:cs typeface="+mn-cs"/>
              </a:defRPr>
            </a:lvl4pPr>
            <a:lvl5pPr marL="610347" indent="-109725" algn="l" defTabSz="685783" rtl="0" eaLnBrk="1" latinLnBrk="0" hangingPunct="1">
              <a:lnSpc>
                <a:spcPct val="100000"/>
              </a:lnSpc>
              <a:spcBef>
                <a:spcPts val="0"/>
              </a:spcBef>
              <a:spcAft>
                <a:spcPts val="225"/>
              </a:spcAft>
              <a:buClr>
                <a:schemeClr val="accent1"/>
              </a:buClr>
              <a:buSzPct val="100000"/>
              <a:buFont typeface="Arial" panose="020B0604020202020204" pitchFamily="34" charset="0"/>
              <a:buChar char="̶"/>
              <a:defRPr lang="en-US" sz="1200" kern="1200" dirty="0">
                <a:solidFill>
                  <a:schemeClr val="tx1"/>
                </a:solidFill>
                <a:latin typeface="+mn-lt"/>
                <a:ea typeface="+mn-ea"/>
                <a:cs typeface="+mn-cs"/>
              </a:defRPr>
            </a:lvl5pPr>
            <a:lvl6pPr marL="814368" indent="-128585" algn="l" defTabSz="685783"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6pPr>
            <a:lvl7pPr marL="814368" indent="-128585" algn="l" defTabSz="685783"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7pPr>
            <a:lvl8pPr marL="814368" indent="-128585" algn="l" defTabSz="685783"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8pPr>
            <a:lvl9pPr marL="814368" indent="-128585" algn="l" defTabSz="685783"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3F4043"/>
              </a:buClr>
              <a:defRPr/>
            </a:pPr>
            <a:fld id="{503B739F-C85E-440B-AA6D-C313DC6F4503}" type="datetime'''''''''''''''''''''''''''''''''''''''''''99'''''">
              <a:rPr lang="en-US" altLang="en-US" smtClean="0">
                <a:solidFill>
                  <a:srgbClr val="000000"/>
                </a:solidFill>
              </a:rPr>
              <a:pPr lvl="0" algn="ctr">
                <a:spcBef>
                  <a:spcPct val="0"/>
                </a:spcBef>
                <a:spcAft>
                  <a:spcPct val="0"/>
                </a:spcAft>
                <a:buClr>
                  <a:srgbClr val="3F4043"/>
                </a:buClr>
                <a:defRPr/>
              </a:pPr>
              <a:t>99</a:t>
            </a:fld>
            <a:endParaRPr kumimoji="0" lang="en-US" b="0" i="0" strike="noStrike" kern="1200" cap="none" spc="0" normalizeH="0" baseline="0" noProof="0">
              <a:ln>
                <a:noFill/>
              </a:ln>
              <a:solidFill>
                <a:srgbClr val="000000"/>
              </a:solidFill>
              <a:effectLst/>
              <a:uLnTx/>
              <a:uFillTx/>
            </a:endParaRPr>
          </a:p>
        </p:txBody>
      </p:sp>
      <p:sp>
        <p:nvSpPr>
          <p:cNvPr id="61" name="Text Placeholder 4">
            <a:extLst>
              <a:ext uri="{FF2B5EF4-FFF2-40B4-BE49-F238E27FC236}">
                <a16:creationId xmlns:a16="http://schemas.microsoft.com/office/drawing/2014/main" id="{4C1F3293-4EFE-461D-940D-7EE66BAE31C5}"/>
              </a:ext>
            </a:extLst>
          </p:cNvPr>
          <p:cNvSpPr>
            <a:spLocks noGrp="1"/>
          </p:cNvSpPr>
          <p:nvPr>
            <p:custDataLst>
              <p:tags r:id="rId20"/>
            </p:custDataLst>
          </p:nvPr>
        </p:nvSpPr>
        <p:spPr bwMode="gray">
          <a:xfrm>
            <a:off x="4752975" y="2976563"/>
            <a:ext cx="3349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rm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3F4043"/>
              </a:buClr>
              <a:defRPr/>
            </a:pPr>
            <a:fld id="{078B6A2B-DDFE-4F7A-9204-5005F4E06D8A}" type="datetime'''''''''''''''''1''''''''''0''''''5'''''''''''">
              <a:rPr lang="en-US" altLang="en-US" sz="1200" smtClean="0">
                <a:solidFill>
                  <a:srgbClr val="000000"/>
                </a:solidFill>
              </a:rPr>
              <a:pPr lvl="0" algn="ctr">
                <a:spcBef>
                  <a:spcPct val="0"/>
                </a:spcBef>
                <a:spcAft>
                  <a:spcPct val="0"/>
                </a:spcAft>
                <a:buClr>
                  <a:srgbClr val="3F4043"/>
                </a:buClr>
                <a:defRPr/>
              </a:pPr>
              <a:t>105</a:t>
            </a:fld>
            <a:endParaRPr kumimoji="0" lang="en-US" sz="1200" b="0" i="0" strike="noStrike" kern="1200" cap="none" spc="0" normalizeH="0" baseline="0" noProof="0">
              <a:ln>
                <a:noFill/>
              </a:ln>
              <a:solidFill>
                <a:srgbClr val="000000"/>
              </a:solidFill>
              <a:effectLst/>
              <a:uLnTx/>
              <a:uFillTx/>
            </a:endParaRPr>
          </a:p>
        </p:txBody>
      </p:sp>
      <p:sp>
        <p:nvSpPr>
          <p:cNvPr id="31" name="Text Placeholder 4">
            <a:extLst>
              <a:ext uri="{FF2B5EF4-FFF2-40B4-BE49-F238E27FC236}">
                <a16:creationId xmlns:a16="http://schemas.microsoft.com/office/drawing/2014/main" id="{0A41AB24-01A7-D00B-8897-87EA6A0862CF}"/>
              </a:ext>
            </a:extLst>
          </p:cNvPr>
          <p:cNvSpPr>
            <a:spLocks noGrp="1"/>
          </p:cNvSpPr>
          <p:nvPr>
            <p:custDataLst>
              <p:tags r:id="rId21"/>
            </p:custDataLst>
          </p:nvPr>
        </p:nvSpPr>
        <p:spPr bwMode="gray">
          <a:xfrm>
            <a:off x="5424488" y="2808288"/>
            <a:ext cx="3349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rm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3F4043"/>
              </a:buClr>
              <a:defRPr/>
            </a:pPr>
            <a:fld id="{288FA732-4C6E-40EA-9E93-AABCB8880773}" type="datetime'''''''''''''''''''''''111'''''''''''''''''''''''''''">
              <a:rPr lang="en-US" altLang="en-US" sz="1200" smtClean="0">
                <a:solidFill>
                  <a:srgbClr val="000000"/>
                </a:solidFill>
              </a:rPr>
              <a:pPr lvl="0" algn="ctr">
                <a:spcBef>
                  <a:spcPct val="0"/>
                </a:spcBef>
                <a:spcAft>
                  <a:spcPct val="0"/>
                </a:spcAft>
                <a:buClr>
                  <a:srgbClr val="3F4043"/>
                </a:buClr>
                <a:defRPr/>
              </a:pPr>
              <a:t>111</a:t>
            </a:fld>
            <a:endParaRPr kumimoji="0" lang="en-US" sz="1200" b="0" i="0" strike="noStrike" kern="1200" cap="none" spc="0" normalizeH="0" baseline="0" noProof="0">
              <a:ln>
                <a:noFill/>
              </a:ln>
              <a:solidFill>
                <a:srgbClr val="000000"/>
              </a:solidFill>
              <a:effectLst/>
              <a:uLnTx/>
              <a:uFillTx/>
            </a:endParaRPr>
          </a:p>
        </p:txBody>
      </p:sp>
      <p:sp>
        <p:nvSpPr>
          <p:cNvPr id="122" name="Text Placeholder 4">
            <a:extLst>
              <a:ext uri="{FF2B5EF4-FFF2-40B4-BE49-F238E27FC236}">
                <a16:creationId xmlns:a16="http://schemas.microsoft.com/office/drawing/2014/main" id="{4C1F3293-4EFE-461D-940D-7EE66BAE31C5}"/>
              </a:ext>
            </a:extLst>
          </p:cNvPr>
          <p:cNvSpPr>
            <a:spLocks noGrp="1"/>
          </p:cNvSpPr>
          <p:nvPr>
            <p:custDataLst>
              <p:tags r:id="rId22"/>
            </p:custDataLst>
          </p:nvPr>
        </p:nvSpPr>
        <p:spPr bwMode="auto">
          <a:xfrm>
            <a:off x="1138238" y="3141663"/>
            <a:ext cx="844550" cy="258763"/>
          </a:xfrm>
          <a:prstGeom prst="ellipse">
            <a:avLst/>
          </a:prstGeom>
          <a:solidFill>
            <a:schemeClr val="bg1"/>
          </a:solidFill>
          <a:ln>
            <a:noFill/>
          </a:ln>
          <a:effectLst/>
        </p:spPr>
        <p:txBody>
          <a:bodyPr vert="horz" wrap="none" lIns="0" tIns="0" rIns="0" bIns="0" rtlCol="0" anchor="ctr">
            <a:norm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3F4043"/>
              </a:buClr>
              <a:buSzPct val="100000"/>
              <a:buFont typeface="Segoe UI" panose="020B0502040204020203" pitchFamily="34" charset="0"/>
              <a:buChar char="​"/>
              <a:tabLst/>
              <a:defRPr/>
            </a:pPr>
            <a:fld id="{FEEC9902-CCB7-412F-BAD0-B5A6503F2007}" type="datetime'''''''''+''''''3''''''''''''''''''''''.4''''''''''''''%'">
              <a:rPr lang="en-US" altLang="en-US" sz="1200" b="1" smtClean="0">
                <a:solidFill>
                  <a:srgbClr val="3F4043"/>
                </a:solidFill>
                <a:effectLst/>
              </a:rPr>
              <a:pPr marL="0" marR="0" lvl="0" indent="0" algn="ctr" defTabSz="914400" rtl="0" eaLnBrk="1" fontAlgn="auto" latinLnBrk="0" hangingPunct="1">
                <a:lnSpc>
                  <a:spcPct val="100000"/>
                </a:lnSpc>
                <a:spcBef>
                  <a:spcPct val="0"/>
                </a:spcBef>
                <a:spcAft>
                  <a:spcPct val="0"/>
                </a:spcAft>
                <a:buClr>
                  <a:srgbClr val="3F4043"/>
                </a:buClr>
                <a:buSzPct val="100000"/>
                <a:buFont typeface="Segoe UI" panose="020B0502040204020203" pitchFamily="34" charset="0"/>
                <a:buChar char="​"/>
                <a:tabLst/>
                <a:defRPr/>
              </a:pPr>
              <a:t>+3.4%</a:t>
            </a:fld>
            <a:endParaRPr kumimoji="0" lang="en-US" sz="1200" b="1" i="0" strike="noStrike" kern="1200" cap="none" spc="0" normalizeH="0" baseline="0" noProof="0">
              <a:ln>
                <a:noFill/>
              </a:ln>
              <a:solidFill>
                <a:srgbClr val="3F4043"/>
              </a:solidFill>
              <a:effectLst/>
              <a:uLnTx/>
              <a:uFillTx/>
              <a:ea typeface="+mn-ea"/>
              <a:cs typeface="+mn-cs"/>
            </a:endParaRPr>
          </a:p>
        </p:txBody>
      </p:sp>
      <p:sp>
        <p:nvSpPr>
          <p:cNvPr id="113" name="Text Placeholder 4">
            <a:extLst>
              <a:ext uri="{FF2B5EF4-FFF2-40B4-BE49-F238E27FC236}">
                <a16:creationId xmlns:a16="http://schemas.microsoft.com/office/drawing/2014/main" id="{4C1F3293-4EFE-461D-940D-7EE66BAE31C5}"/>
              </a:ext>
            </a:extLst>
          </p:cNvPr>
          <p:cNvSpPr>
            <a:spLocks noGrp="1"/>
          </p:cNvSpPr>
          <p:nvPr>
            <p:custDataLst>
              <p:tags r:id="rId23"/>
            </p:custDataLst>
          </p:nvPr>
        </p:nvSpPr>
        <p:spPr bwMode="auto">
          <a:xfrm>
            <a:off x="3489325" y="2674938"/>
            <a:ext cx="844550" cy="258763"/>
          </a:xfrm>
          <a:prstGeom prst="ellipse">
            <a:avLst/>
          </a:prstGeom>
          <a:solidFill>
            <a:schemeClr val="bg1"/>
          </a:solidFill>
          <a:ln>
            <a:noFill/>
          </a:ln>
          <a:effectLst/>
        </p:spPr>
        <p:txBody>
          <a:bodyPr vert="horz" wrap="none" lIns="0" tIns="0" rIns="0" bIns="0" rtlCol="0" anchor="ctr">
            <a:norm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3F4043"/>
              </a:buClr>
              <a:buSzPct val="100000"/>
              <a:buFont typeface="Segoe UI" panose="020B0502040204020203" pitchFamily="34" charset="0"/>
              <a:buChar char="​"/>
              <a:tabLst/>
              <a:defRPr/>
            </a:pPr>
            <a:fld id="{04100685-AC1B-44E4-B856-5E01E29489D9}" type="datetime'''''''''+4''''''''''''''''''''''''.''''9''''''''''''''''%'">
              <a:rPr lang="en-US" altLang="en-US" sz="1200" b="1" smtClean="0">
                <a:solidFill>
                  <a:srgbClr val="3F4043"/>
                </a:solidFill>
                <a:effectLst/>
              </a:rPr>
              <a:pPr marL="0" marR="0" lvl="0" indent="0" algn="ctr" defTabSz="914400" rtl="0" eaLnBrk="1" fontAlgn="auto" latinLnBrk="0" hangingPunct="1">
                <a:lnSpc>
                  <a:spcPct val="100000"/>
                </a:lnSpc>
                <a:spcBef>
                  <a:spcPct val="0"/>
                </a:spcBef>
                <a:spcAft>
                  <a:spcPct val="0"/>
                </a:spcAft>
                <a:buClr>
                  <a:srgbClr val="3F4043"/>
                </a:buClr>
                <a:buSzPct val="100000"/>
                <a:buFont typeface="Segoe UI" panose="020B0502040204020203" pitchFamily="34" charset="0"/>
                <a:buChar char="​"/>
                <a:tabLst/>
                <a:defRPr/>
              </a:pPr>
              <a:t>+4.9%</a:t>
            </a:fld>
            <a:endParaRPr kumimoji="0" lang="en-US" sz="1200" b="1" i="0" strike="noStrike" kern="1200" cap="none" spc="0" normalizeH="0" baseline="0" noProof="0">
              <a:ln>
                <a:noFill/>
              </a:ln>
              <a:solidFill>
                <a:srgbClr val="3F4043"/>
              </a:solidFill>
              <a:effectLst/>
              <a:uLnTx/>
              <a:uFillTx/>
              <a:ea typeface="+mn-ea"/>
              <a:cs typeface="+mn-cs"/>
            </a:endParaRPr>
          </a:p>
        </p:txBody>
      </p:sp>
      <p:sp>
        <p:nvSpPr>
          <p:cNvPr id="98" name="Rectangle 97">
            <a:extLst>
              <a:ext uri="{FF2B5EF4-FFF2-40B4-BE49-F238E27FC236}">
                <a16:creationId xmlns:a16="http://schemas.microsoft.com/office/drawing/2014/main" id="{D6E5DF17-2F70-07CE-4276-CB5171C8D19A}"/>
              </a:ext>
            </a:extLst>
          </p:cNvPr>
          <p:cNvSpPr/>
          <p:nvPr>
            <p:custDataLst>
              <p:tags r:id="rId24"/>
            </p:custDataLst>
          </p:nvPr>
        </p:nvSpPr>
        <p:spPr bwMode="auto">
          <a:xfrm>
            <a:off x="614363" y="2222499"/>
            <a:ext cx="214313" cy="160338"/>
          </a:xfrm>
          <a:prstGeom prst="rect">
            <a:avLst/>
          </a:prstGeom>
          <a:solidFill>
            <a:schemeClr val="accent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Verdana"/>
              <a:ea typeface="+mn-ea"/>
              <a:cs typeface="+mn-cs"/>
            </a:endParaRPr>
          </a:p>
        </p:txBody>
      </p:sp>
      <p:sp>
        <p:nvSpPr>
          <p:cNvPr id="57" name="Rectangle 56">
            <a:extLst>
              <a:ext uri="{FF2B5EF4-FFF2-40B4-BE49-F238E27FC236}">
                <a16:creationId xmlns:a16="http://schemas.microsoft.com/office/drawing/2014/main" id="{72CFEBCF-E643-FD6D-34F6-87C13C450402}"/>
              </a:ext>
            </a:extLst>
          </p:cNvPr>
          <p:cNvSpPr/>
          <p:nvPr>
            <p:custDataLst>
              <p:tags r:id="rId25"/>
            </p:custDataLst>
          </p:nvPr>
        </p:nvSpPr>
        <p:spPr bwMode="auto">
          <a:xfrm>
            <a:off x="2173288" y="2222500"/>
            <a:ext cx="214313" cy="160338"/>
          </a:xfrm>
          <a:prstGeom prst="rect">
            <a:avLst/>
          </a:prstGeom>
          <a:solidFill>
            <a:schemeClr val="accent3"/>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Verdana"/>
              <a:ea typeface="+mn-ea"/>
              <a:cs typeface="+mn-cs"/>
            </a:endParaRPr>
          </a:p>
        </p:txBody>
      </p:sp>
      <p:sp>
        <p:nvSpPr>
          <p:cNvPr id="58" name="Rectangle 57">
            <a:extLst>
              <a:ext uri="{FF2B5EF4-FFF2-40B4-BE49-F238E27FC236}">
                <a16:creationId xmlns:a16="http://schemas.microsoft.com/office/drawing/2014/main" id="{912E9603-DAD1-6756-D6A0-FB62E80A63DF}"/>
              </a:ext>
            </a:extLst>
          </p:cNvPr>
          <p:cNvSpPr/>
          <p:nvPr>
            <p:custDataLst>
              <p:tags r:id="rId26"/>
            </p:custDataLst>
          </p:nvPr>
        </p:nvSpPr>
        <p:spPr bwMode="auto">
          <a:xfrm>
            <a:off x="3835400" y="2222500"/>
            <a:ext cx="214313" cy="160338"/>
          </a:xfrm>
          <a:prstGeom prst="rect">
            <a:avLst/>
          </a:prstGeom>
          <a:solidFill>
            <a:schemeClr val="accent1"/>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Verdana"/>
              <a:ea typeface="+mn-ea"/>
              <a:cs typeface="+mn-cs"/>
            </a:endParaRPr>
          </a:p>
        </p:txBody>
      </p:sp>
      <p:sp>
        <p:nvSpPr>
          <p:cNvPr id="88" name="Text Placeholder 2">
            <a:extLst>
              <a:ext uri="{FF2B5EF4-FFF2-40B4-BE49-F238E27FC236}">
                <a16:creationId xmlns:a16="http://schemas.microsoft.com/office/drawing/2014/main" id="{963EA796-CA12-47D8-E7D5-15BB1E2790C5}"/>
              </a:ext>
            </a:extLst>
          </p:cNvPr>
          <p:cNvSpPr>
            <a:spLocks noGrp="1"/>
          </p:cNvSpPr>
          <p:nvPr>
            <p:custDataLst>
              <p:tags r:id="rId27"/>
            </p:custDataLst>
          </p:nvPr>
        </p:nvSpPr>
        <p:spPr bwMode="auto">
          <a:xfrm>
            <a:off x="879475" y="2217738"/>
            <a:ext cx="1192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377" rtl="0" eaLnBrk="1" fontAlgn="auto" latinLnBrk="0" hangingPunct="1">
              <a:lnSpc>
                <a:spcPct val="100000"/>
              </a:lnSpc>
              <a:spcBef>
                <a:spcPct val="0"/>
              </a:spcBef>
              <a:spcAft>
                <a:spcPct val="0"/>
              </a:spcAft>
              <a:buClrTx/>
              <a:buSzTx/>
              <a:buFont typeface="Segoe UI" panose="020B0502040204020203" pitchFamily="34" charset="0"/>
              <a:buChar char="​"/>
              <a:tabLst/>
              <a:defRPr/>
            </a:pPr>
            <a:r>
              <a:t>Drinking Yogurt</a:t>
            </a:r>
            <a:br/>
            <a:r>
              <a:t>饮用酸奶</a:t>
            </a:r>
            <a:endParaRPr kumimoji="0" lang="en-US" sz="1200" b="0" i="0" u="none" strike="noStrike" kern="1200" cap="none" spc="0" normalizeH="0" baseline="0" noProof="0">
              <a:ln>
                <a:noFill/>
              </a:ln>
              <a:solidFill>
                <a:srgbClr val="000000"/>
              </a:solidFill>
              <a:effectLst/>
              <a:uLnTx/>
              <a:uFillTx/>
              <a:latin typeface="Verdana"/>
              <a:ea typeface="+mn-ea"/>
              <a:cs typeface="Arial" panose="020B0604020202020204" pitchFamily="34" charset="0"/>
            </a:endParaRPr>
          </a:p>
        </p:txBody>
      </p:sp>
      <p:sp>
        <p:nvSpPr>
          <p:cNvPr id="53" name="Text Placeholder 2">
            <a:extLst>
              <a:ext uri="{FF2B5EF4-FFF2-40B4-BE49-F238E27FC236}">
                <a16:creationId xmlns:a16="http://schemas.microsoft.com/office/drawing/2014/main" id="{2DB9B81A-B094-FE24-9804-48341ED2C30A}"/>
              </a:ext>
            </a:extLst>
          </p:cNvPr>
          <p:cNvSpPr>
            <a:spLocks noGrp="1"/>
          </p:cNvSpPr>
          <p:nvPr>
            <p:custDataLst>
              <p:tags r:id="rId28"/>
            </p:custDataLst>
          </p:nvPr>
        </p:nvSpPr>
        <p:spPr bwMode="auto">
          <a:xfrm>
            <a:off x="2438400" y="2217738"/>
            <a:ext cx="12954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377" rtl="0" eaLnBrk="1" fontAlgn="auto" latinLnBrk="0" hangingPunct="1">
              <a:lnSpc>
                <a:spcPct val="100000"/>
              </a:lnSpc>
              <a:spcBef>
                <a:spcPct val="0"/>
              </a:spcBef>
              <a:spcAft>
                <a:spcPct val="0"/>
              </a:spcAft>
              <a:buClrTx/>
              <a:buSzTx/>
              <a:buFont typeface="Segoe UI" panose="020B0502040204020203" pitchFamily="34" charset="0"/>
              <a:buChar char="​"/>
              <a:tabLst/>
              <a:defRPr/>
            </a:pPr>
            <a:r>
              <a:t>Flavoured Yogurt</a:t>
            </a:r>
            <a:br/>
            <a:r>
              <a:t>风味酸奶</a:t>
            </a:r>
            <a:endParaRPr kumimoji="0" lang="en-US" sz="1200" b="0" i="0" u="none" strike="noStrike" kern="1200" cap="none" spc="0" normalizeH="0" baseline="0" noProof="0">
              <a:ln>
                <a:noFill/>
              </a:ln>
              <a:solidFill>
                <a:srgbClr val="000000"/>
              </a:solidFill>
              <a:effectLst/>
              <a:uLnTx/>
              <a:uFillTx/>
              <a:latin typeface="Verdana"/>
              <a:ea typeface="+mn-ea"/>
              <a:cs typeface="Arial" panose="020B0604020202020204" pitchFamily="34" charset="0"/>
            </a:endParaRPr>
          </a:p>
        </p:txBody>
      </p:sp>
      <p:sp>
        <p:nvSpPr>
          <p:cNvPr id="54" name="Text Placeholder 2">
            <a:extLst>
              <a:ext uri="{FF2B5EF4-FFF2-40B4-BE49-F238E27FC236}">
                <a16:creationId xmlns:a16="http://schemas.microsoft.com/office/drawing/2014/main" id="{BC56C7F8-D262-429B-CE53-C6E98BBF8F96}"/>
              </a:ext>
            </a:extLst>
          </p:cNvPr>
          <p:cNvSpPr>
            <a:spLocks noGrp="1"/>
          </p:cNvSpPr>
          <p:nvPr>
            <p:custDataLst>
              <p:tags r:id="rId29"/>
            </p:custDataLst>
          </p:nvPr>
        </p:nvSpPr>
        <p:spPr bwMode="auto">
          <a:xfrm>
            <a:off x="4100513" y="2217738"/>
            <a:ext cx="9112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377" rtl="0" eaLnBrk="1" fontAlgn="auto" latinLnBrk="0" hangingPunct="1">
              <a:lnSpc>
                <a:spcPct val="100000"/>
              </a:lnSpc>
              <a:spcBef>
                <a:spcPct val="0"/>
              </a:spcBef>
              <a:spcAft>
                <a:spcPct val="0"/>
              </a:spcAft>
              <a:buClrTx/>
              <a:buSzTx/>
              <a:buFont typeface="Segoe UI" panose="020B0502040204020203" pitchFamily="34" charset="0"/>
              <a:buChar char="​"/>
              <a:tabLst/>
              <a:defRPr/>
            </a:pPr>
            <a:r>
              <a:t>Plain Yogurt</a:t>
            </a:r>
            <a:br/>
            <a:r>
              <a:t>普通酸奶</a:t>
            </a:r>
            <a:endParaRPr kumimoji="0" lang="en-US" sz="1200" b="0" i="0" u="none" strike="noStrike" kern="1200" cap="none" spc="0" normalizeH="0" baseline="0" noProof="0">
              <a:ln>
                <a:noFill/>
              </a:ln>
              <a:solidFill>
                <a:srgbClr val="000000"/>
              </a:solidFill>
              <a:effectLst/>
              <a:uLnTx/>
              <a:uFillTx/>
              <a:latin typeface="Verdana"/>
              <a:ea typeface="+mn-ea"/>
              <a:cs typeface="Arial" panose="020B0604020202020204" pitchFamily="34" charset="0"/>
            </a:endParaRPr>
          </a:p>
        </p:txBody>
      </p:sp>
      <p:sp>
        <p:nvSpPr>
          <p:cNvPr id="355" name="TrackerNumWhite 182">
            <a:extLst>
              <a:ext uri="{FF2B5EF4-FFF2-40B4-BE49-F238E27FC236}">
                <a16:creationId xmlns:a16="http://schemas.microsoft.com/office/drawing/2014/main" id="{9EC13BE6-A1CB-8FC9-7243-162A4DC88670}"/>
              </a:ext>
            </a:extLst>
          </p:cNvPr>
          <p:cNvSpPr>
            <a:spLocks/>
          </p:cNvSpPr>
          <p:nvPr>
            <p:custDataLst>
              <p:tags r:id="rId30"/>
            </p:custDataLst>
          </p:nvPr>
        </p:nvSpPr>
        <p:spPr>
          <a:xfrm>
            <a:off x="6168570" y="3116675"/>
            <a:ext cx="961502" cy="302684"/>
          </a:xfrm>
          <a:prstGeom prst="ellipse">
            <a:avLst/>
          </a:prstGeom>
          <a:solidFill>
            <a:srgbClr val="8AD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rmAutofit/>
          </a:bodyPr>
          <a:lstStyle/>
          <a:p>
            <a:pPr marL="0" marR="0" lvl="0" indent="0" algn="ctr" defTabSz="914377" rtl="0" eaLnBrk="1" fontAlgn="auto" latinLnBrk="0" hangingPunct="1">
              <a:lnSpc>
                <a:spcPct val="100000"/>
              </a:lnSpc>
              <a:spcBef>
                <a:spcPts val="300"/>
              </a:spcBef>
              <a:spcAft>
                <a:spcPts val="300"/>
              </a:spcAft>
              <a:buClr>
                <a:srgbClr val="3F4043"/>
              </a:buClr>
              <a:buSzTx/>
              <a:buFontTx/>
              <a:buNone/>
              <a:tabLst/>
              <a:defRPr/>
            </a:pPr>
            <a:r>
              <a:rPr lang="en-US" sz="1200">
                <a:solidFill>
                  <a:srgbClr val="3F4043"/>
                </a:solidFill>
                <a:latin typeface="Verdana"/>
              </a:rPr>
              <a:t>4.6</a:t>
            </a:r>
            <a:endParaRPr kumimoji="0" lang="en-US" sz="1200" b="0" i="0" u="none" strike="noStrike" kern="1200" cap="none" spc="0" normalizeH="0" baseline="0" noProof="0">
              <a:ln>
                <a:noFill/>
              </a:ln>
              <a:solidFill>
                <a:srgbClr val="3F4043"/>
              </a:solidFill>
              <a:effectLst/>
              <a:uLnTx/>
              <a:uFillTx/>
              <a:latin typeface="Verdana"/>
              <a:ea typeface="+mn-ea"/>
              <a:cs typeface="+mn-cs"/>
            </a:endParaRPr>
          </a:p>
        </p:txBody>
      </p:sp>
      <p:sp>
        <p:nvSpPr>
          <p:cNvPr id="356" name="TrackerNumWhite 182">
            <a:extLst>
              <a:ext uri="{FF2B5EF4-FFF2-40B4-BE49-F238E27FC236}">
                <a16:creationId xmlns:a16="http://schemas.microsoft.com/office/drawing/2014/main" id="{79389CD7-8415-D004-560B-B184FD6CD65B}"/>
              </a:ext>
            </a:extLst>
          </p:cNvPr>
          <p:cNvSpPr>
            <a:spLocks/>
          </p:cNvSpPr>
          <p:nvPr>
            <p:custDataLst>
              <p:tags r:id="rId31"/>
            </p:custDataLst>
          </p:nvPr>
        </p:nvSpPr>
        <p:spPr>
          <a:xfrm>
            <a:off x="7428100" y="3126783"/>
            <a:ext cx="961502" cy="302684"/>
          </a:xfrm>
          <a:prstGeom prst="ellipse">
            <a:avLst/>
          </a:prstGeom>
          <a:solidFill>
            <a:srgbClr val="8AD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rmAutofit/>
          </a:bodyPr>
          <a:lstStyle/>
          <a:p>
            <a:pPr marL="0" marR="0" lvl="0" indent="0" algn="ctr" defTabSz="914377" rtl="0" eaLnBrk="1" fontAlgn="auto" latinLnBrk="0" hangingPunct="1">
              <a:lnSpc>
                <a:spcPct val="100000"/>
              </a:lnSpc>
              <a:spcBef>
                <a:spcPts val="300"/>
              </a:spcBef>
              <a:spcAft>
                <a:spcPts val="300"/>
              </a:spcAft>
              <a:buClr>
                <a:srgbClr val="3F4043"/>
              </a:buClr>
              <a:buSzTx/>
              <a:buFontTx/>
              <a:buNone/>
              <a:tabLst/>
              <a:defRPr/>
            </a:pPr>
            <a:r>
              <a:rPr kumimoji="0" lang="en-US" sz="1200" b="0" i="0" u="none" strike="noStrike" kern="1200" cap="none" spc="0" normalizeH="0" baseline="0" noProof="0">
                <a:ln>
                  <a:noFill/>
                </a:ln>
                <a:solidFill>
                  <a:srgbClr val="3F4043"/>
                </a:solidFill>
                <a:effectLst/>
                <a:uLnTx/>
                <a:uFillTx/>
                <a:latin typeface="Verdana"/>
                <a:ea typeface="+mn-ea"/>
                <a:cs typeface="+mn-cs"/>
              </a:rPr>
              <a:t>6.6</a:t>
            </a:r>
          </a:p>
        </p:txBody>
      </p:sp>
      <p:sp>
        <p:nvSpPr>
          <p:cNvPr id="359" name="TrackerNumWhite 182">
            <a:extLst>
              <a:ext uri="{FF2B5EF4-FFF2-40B4-BE49-F238E27FC236}">
                <a16:creationId xmlns:a16="http://schemas.microsoft.com/office/drawing/2014/main" id="{21DB6762-84A0-FAF8-26FD-F520282994FC}"/>
              </a:ext>
            </a:extLst>
          </p:cNvPr>
          <p:cNvSpPr>
            <a:spLocks/>
          </p:cNvSpPr>
          <p:nvPr>
            <p:custDataLst>
              <p:tags r:id="rId32"/>
            </p:custDataLst>
          </p:nvPr>
        </p:nvSpPr>
        <p:spPr>
          <a:xfrm>
            <a:off x="6104224" y="5219770"/>
            <a:ext cx="961502" cy="302684"/>
          </a:xfrm>
          <a:prstGeom prst="ellipse">
            <a:avLst/>
          </a:prstGeom>
          <a:solidFill>
            <a:srgbClr val="D7DF2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rmAutofit/>
          </a:bodyPr>
          <a:lstStyle/>
          <a:p>
            <a:pPr marL="0" marR="0" lvl="0" indent="0" algn="ctr" defTabSz="914377" rtl="0" eaLnBrk="1" fontAlgn="auto" latinLnBrk="0" hangingPunct="1">
              <a:lnSpc>
                <a:spcPct val="100000"/>
              </a:lnSpc>
              <a:spcBef>
                <a:spcPts val="300"/>
              </a:spcBef>
              <a:spcAft>
                <a:spcPts val="300"/>
              </a:spcAft>
              <a:buClr>
                <a:srgbClr val="FFFFFF"/>
              </a:buClr>
              <a:buSzTx/>
              <a:buFontTx/>
              <a:buNone/>
              <a:tabLst/>
              <a:defRPr/>
            </a:pPr>
            <a:r>
              <a:rPr kumimoji="0" lang="en-US" sz="1200" b="0" i="0" u="none" strike="noStrike" kern="1200" cap="none" spc="0" normalizeH="0" baseline="0" noProof="0">
                <a:ln>
                  <a:noFill/>
                </a:ln>
                <a:solidFill>
                  <a:srgbClr val="3F4043"/>
                </a:solidFill>
                <a:effectLst/>
                <a:uLnTx/>
                <a:uFillTx/>
                <a:latin typeface="Verdana"/>
                <a:ea typeface="+mn-ea"/>
                <a:cs typeface="+mn-cs"/>
              </a:rPr>
              <a:t>4.2</a:t>
            </a:r>
          </a:p>
        </p:txBody>
      </p:sp>
      <p:sp>
        <p:nvSpPr>
          <p:cNvPr id="360" name="TrackerNumWhite 182">
            <a:extLst>
              <a:ext uri="{FF2B5EF4-FFF2-40B4-BE49-F238E27FC236}">
                <a16:creationId xmlns:a16="http://schemas.microsoft.com/office/drawing/2014/main" id="{54506DD5-DB4F-3CC4-71B9-6450AC5D7C02}"/>
              </a:ext>
            </a:extLst>
          </p:cNvPr>
          <p:cNvSpPr>
            <a:spLocks/>
          </p:cNvSpPr>
          <p:nvPr>
            <p:custDataLst>
              <p:tags r:id="rId33"/>
            </p:custDataLst>
          </p:nvPr>
        </p:nvSpPr>
        <p:spPr>
          <a:xfrm>
            <a:off x="7377005" y="5219770"/>
            <a:ext cx="961502" cy="302684"/>
          </a:xfrm>
          <a:prstGeom prst="ellipse">
            <a:avLst/>
          </a:prstGeom>
          <a:solidFill>
            <a:srgbClr val="D7DF2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rmAutofit/>
          </a:bodyPr>
          <a:lstStyle/>
          <a:p>
            <a:pPr marL="0" marR="0" lvl="0" indent="0" algn="ctr" defTabSz="914377" rtl="0" eaLnBrk="1" fontAlgn="auto" latinLnBrk="0" hangingPunct="1">
              <a:lnSpc>
                <a:spcPct val="100000"/>
              </a:lnSpc>
              <a:spcBef>
                <a:spcPts val="300"/>
              </a:spcBef>
              <a:spcAft>
                <a:spcPts val="300"/>
              </a:spcAft>
              <a:buClr>
                <a:srgbClr val="FFFFFF"/>
              </a:buClr>
              <a:buSzTx/>
              <a:buFontTx/>
              <a:buNone/>
              <a:tabLst/>
              <a:defRPr/>
            </a:pPr>
            <a:r>
              <a:rPr lang="en-US" sz="1200">
                <a:solidFill>
                  <a:srgbClr val="3F4043"/>
                </a:solidFill>
                <a:latin typeface="Verdana"/>
              </a:rPr>
              <a:t>3.8</a:t>
            </a:r>
            <a:endParaRPr kumimoji="0" lang="en-US" sz="1200" b="0" i="0" u="none" strike="noStrike" kern="1200" cap="none" spc="0" normalizeH="0" baseline="0" noProof="0">
              <a:ln>
                <a:noFill/>
              </a:ln>
              <a:solidFill>
                <a:srgbClr val="3F4043"/>
              </a:solidFill>
              <a:effectLst/>
              <a:uLnTx/>
              <a:uFillTx/>
              <a:latin typeface="Verdana"/>
              <a:ea typeface="+mn-ea"/>
              <a:cs typeface="+mn-cs"/>
            </a:endParaRPr>
          </a:p>
        </p:txBody>
      </p:sp>
      <p:sp>
        <p:nvSpPr>
          <p:cNvPr id="361" name="TrackerNumWhite 182">
            <a:extLst>
              <a:ext uri="{FF2B5EF4-FFF2-40B4-BE49-F238E27FC236}">
                <a16:creationId xmlns:a16="http://schemas.microsoft.com/office/drawing/2014/main" id="{928B55A0-E064-2C4F-93A3-790B5CEB2E7E}"/>
              </a:ext>
            </a:extLst>
          </p:cNvPr>
          <p:cNvSpPr>
            <a:spLocks/>
          </p:cNvSpPr>
          <p:nvPr>
            <p:custDataLst>
              <p:tags r:id="rId34"/>
            </p:custDataLst>
          </p:nvPr>
        </p:nvSpPr>
        <p:spPr>
          <a:xfrm>
            <a:off x="6096000" y="4183676"/>
            <a:ext cx="961502" cy="302684"/>
          </a:xfrm>
          <a:prstGeom prst="ellipse">
            <a:avLst/>
          </a:prstGeom>
          <a:solidFill>
            <a:srgbClr val="39B54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rmAutofit/>
          </a:bodyPr>
          <a:lstStyle/>
          <a:p>
            <a:pPr marL="0" marR="0" lvl="0" indent="0" algn="ctr" defTabSz="914377" rtl="0" eaLnBrk="1" fontAlgn="auto" latinLnBrk="0" hangingPunct="1">
              <a:lnSpc>
                <a:spcPct val="100000"/>
              </a:lnSpc>
              <a:spcBef>
                <a:spcPts val="300"/>
              </a:spcBef>
              <a:spcAft>
                <a:spcPts val="300"/>
              </a:spcAft>
              <a:buClr>
                <a:srgbClr val="FFFFFF"/>
              </a:buClr>
              <a:buSzTx/>
              <a:buFontTx/>
              <a:buNone/>
              <a:tabLst/>
              <a:defRPr/>
            </a:pPr>
            <a:r>
              <a:rPr lang="en-US" sz="1200">
                <a:solidFill>
                  <a:srgbClr val="FFFFFF"/>
                </a:solidFill>
                <a:latin typeface="Verdana"/>
              </a:rPr>
              <a:t>0.1</a:t>
            </a:r>
            <a:endParaRPr kumimoji="0" lang="en-US" sz="1200" b="0" i="0" u="none" strike="noStrike" kern="1200" cap="none" spc="0" normalizeH="0" baseline="0" noProof="0">
              <a:ln>
                <a:noFill/>
              </a:ln>
              <a:solidFill>
                <a:srgbClr val="FFFFFF"/>
              </a:solidFill>
              <a:effectLst/>
              <a:uLnTx/>
              <a:uFillTx/>
              <a:latin typeface="Verdana"/>
              <a:ea typeface="+mn-ea"/>
              <a:cs typeface="+mn-cs"/>
            </a:endParaRPr>
          </a:p>
        </p:txBody>
      </p:sp>
      <p:sp>
        <p:nvSpPr>
          <p:cNvPr id="362" name="TrackerNumWhite 182">
            <a:extLst>
              <a:ext uri="{FF2B5EF4-FFF2-40B4-BE49-F238E27FC236}">
                <a16:creationId xmlns:a16="http://schemas.microsoft.com/office/drawing/2014/main" id="{2AD86CA5-A9B2-9B71-7AA5-AB5E41635F49}"/>
              </a:ext>
            </a:extLst>
          </p:cNvPr>
          <p:cNvSpPr>
            <a:spLocks/>
          </p:cNvSpPr>
          <p:nvPr>
            <p:custDataLst>
              <p:tags r:id="rId35"/>
            </p:custDataLst>
          </p:nvPr>
        </p:nvSpPr>
        <p:spPr>
          <a:xfrm>
            <a:off x="7441351" y="4183676"/>
            <a:ext cx="961502" cy="302684"/>
          </a:xfrm>
          <a:prstGeom prst="ellipse">
            <a:avLst/>
          </a:prstGeom>
          <a:solidFill>
            <a:srgbClr val="39B54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rmAutofit/>
          </a:bodyPr>
          <a:lstStyle/>
          <a:p>
            <a:pPr marL="0" marR="0" lvl="0" indent="0" algn="ctr" defTabSz="914377" rtl="0" eaLnBrk="1" fontAlgn="auto" latinLnBrk="0" hangingPunct="1">
              <a:lnSpc>
                <a:spcPct val="100000"/>
              </a:lnSpc>
              <a:spcBef>
                <a:spcPts val="300"/>
              </a:spcBef>
              <a:spcAft>
                <a:spcPts val="30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2.6</a:t>
            </a:r>
          </a:p>
        </p:txBody>
      </p:sp>
      <p:cxnSp>
        <p:nvCxnSpPr>
          <p:cNvPr id="28" name="Straight Connector 27">
            <a:extLst>
              <a:ext uri="{FF2B5EF4-FFF2-40B4-BE49-F238E27FC236}">
                <a16:creationId xmlns:a16="http://schemas.microsoft.com/office/drawing/2014/main" id="{24AFD5C8-8258-E94C-76B6-2C8912A5EC4A}"/>
              </a:ext>
            </a:extLst>
          </p:cNvPr>
          <p:cNvCxnSpPr>
            <a:cxnSpLocks/>
          </p:cNvCxnSpPr>
          <p:nvPr>
            <p:custDataLst>
              <p:tags r:id="rId36"/>
            </p:custDataLst>
          </p:nvPr>
        </p:nvCxnSpPr>
        <p:spPr>
          <a:xfrm>
            <a:off x="8894762" y="1939600"/>
            <a:ext cx="274250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1A1E79A-1F83-60CE-3342-039A20CA4CB0}"/>
              </a:ext>
            </a:extLst>
          </p:cNvPr>
          <p:cNvSpPr txBox="1">
            <a:spLocks/>
          </p:cNvSpPr>
          <p:nvPr/>
        </p:nvSpPr>
        <p:spPr>
          <a:xfrm>
            <a:off x="8894762" y="1399032"/>
            <a:ext cx="2742501" cy="492443"/>
          </a:xfrm>
          <a:prstGeom prst="rect">
            <a:avLst/>
          </a:prstGeom>
        </p:spPr>
        <p:txBody>
          <a:bodyPr vert="horz" wrap="square" lIns="0" tIns="0" rIns="0" bIns="0" rtlCol="0" anchor="b" anchorCtr="0">
            <a:norm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3F4043"/>
              </a:buClr>
              <a:buSzPct val="100000"/>
              <a:buFont typeface="Segoe UI" panose="020B0502040204020203" pitchFamily="34" charset="0"/>
              <a:buChar char="​"/>
              <a:tabLst/>
              <a:defRPr/>
            </a:pPr>
            <a:r>
              <a:t>Key dynamics</a:t>
            </a:r>
            <a:br/>
            <a:r>
              <a:t>关键动态</a:t>
            </a:r>
          </a:p>
        </p:txBody>
      </p:sp>
      <p:cxnSp>
        <p:nvCxnSpPr>
          <p:cNvPr id="38" name="Straight Connector 37">
            <a:extLst>
              <a:ext uri="{FF2B5EF4-FFF2-40B4-BE49-F238E27FC236}">
                <a16:creationId xmlns:a16="http://schemas.microsoft.com/office/drawing/2014/main" id="{0148C4B5-7213-AB63-4233-0F4572CA4F75}"/>
              </a:ext>
            </a:extLst>
          </p:cNvPr>
          <p:cNvCxnSpPr>
            <a:cxnSpLocks/>
          </p:cNvCxnSpPr>
          <p:nvPr>
            <p:custDataLst>
              <p:tags r:id="rId37"/>
            </p:custDataLst>
          </p:nvPr>
        </p:nvCxnSpPr>
        <p:spPr>
          <a:xfrm>
            <a:off x="554736" y="1939600"/>
            <a:ext cx="7918704"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EA1E0F39-2F99-46B1-C0C7-3EBA9002C9E1}"/>
              </a:ext>
            </a:extLst>
          </p:cNvPr>
          <p:cNvSpPr txBox="1"/>
          <p:nvPr/>
        </p:nvSpPr>
        <p:spPr>
          <a:xfrm>
            <a:off x="554736" y="1676031"/>
            <a:ext cx="5373143" cy="215444"/>
          </a:xfrm>
          <a:prstGeom prst="rect">
            <a:avLst/>
          </a:prstGeom>
        </p:spPr>
        <p:txBody>
          <a:bodyPr vert="horz" wrap="square" lIns="0" tIns="0" rIns="0" bIns="0" rtlCol="0" anchor="b" anchorCtr="0">
            <a:normAutofit/>
          </a:bodyPr>
          <a:lstStyle>
            <a:lvl1pPr lvl="0" indent="0" defTabSz="685783">
              <a:lnSpc>
                <a:spcPct val="100000"/>
              </a:lnSpc>
              <a:spcBef>
                <a:spcPts val="225"/>
              </a:spcBef>
              <a:spcAft>
                <a:spcPts val="225"/>
              </a:spcAft>
              <a:buClr>
                <a:schemeClr val="tx1"/>
              </a:buClr>
              <a:buSzPct val="100000"/>
              <a:buFont typeface="Segoe UI" panose="020B0502040204020203" pitchFamily="34" charset="0"/>
              <a:buChar char="​"/>
              <a:defRPr lang="en-US" sz="1200" dirty="0"/>
            </a:lvl1pPr>
            <a:lvl2pPr marL="171446" lvl="1" indent="-171446" defTabSz="685783">
              <a:lnSpc>
                <a:spcPct val="100000"/>
              </a:lnSpc>
              <a:spcBef>
                <a:spcPts val="0"/>
              </a:spcBef>
              <a:spcAft>
                <a:spcPts val="225"/>
              </a:spcAft>
              <a:buClr>
                <a:schemeClr val="accent1"/>
              </a:buClr>
              <a:buSzPct val="110000"/>
              <a:buFont typeface="Wingdings" panose="05000000000000000000" pitchFamily="2" charset="2"/>
              <a:buChar char=""/>
              <a:defRPr lang="en-US" sz="1200" dirty="0"/>
            </a:lvl2pPr>
            <a:lvl3pPr marL="329176" lvl="2" indent="-157730" defTabSz="685783">
              <a:lnSpc>
                <a:spcPct val="100000"/>
              </a:lnSpc>
              <a:spcBef>
                <a:spcPts val="0"/>
              </a:spcBef>
              <a:spcAft>
                <a:spcPts val="225"/>
              </a:spcAft>
              <a:buClr>
                <a:schemeClr val="accent1"/>
              </a:buClr>
              <a:buSzPct val="110000"/>
              <a:buFont typeface="Arial" panose="020B0604020202020204" pitchFamily="34" charset="0"/>
              <a:buChar char="‒"/>
              <a:defRPr lang="en-US" sz="1200" dirty="0"/>
            </a:lvl3pPr>
            <a:lvl4pPr marL="445759" lvl="3" indent="-116583" defTabSz="685783">
              <a:lnSpc>
                <a:spcPct val="100000"/>
              </a:lnSpc>
              <a:spcBef>
                <a:spcPts val="0"/>
              </a:spcBef>
              <a:spcAft>
                <a:spcPts val="225"/>
              </a:spcAft>
              <a:buClr>
                <a:schemeClr val="accent1"/>
              </a:buClr>
              <a:buSzPct val="100000"/>
              <a:buFont typeface="Arial" panose="020B0604020202020204" pitchFamily="34" charset="0"/>
              <a:buChar char="•"/>
              <a:defRPr lang="en-US" sz="1200" dirty="0"/>
            </a:lvl4pPr>
            <a:lvl5pPr marL="610347" lvl="4" indent="-109725" defTabSz="685783">
              <a:lnSpc>
                <a:spcPct val="100000"/>
              </a:lnSpc>
              <a:spcBef>
                <a:spcPts val="0"/>
              </a:spcBef>
              <a:spcAft>
                <a:spcPts val="225"/>
              </a:spcAft>
              <a:buClr>
                <a:schemeClr val="accent1"/>
              </a:buClr>
              <a:buSzPct val="100000"/>
              <a:buFont typeface="Arial" panose="020B0604020202020204" pitchFamily="34" charset="0"/>
              <a:buChar char="̶"/>
              <a:defRPr lang="en-US" sz="1200" dirty="0"/>
            </a:lvl5pPr>
            <a:lvl6pPr marL="814368" indent="-128585" defTabSz="685783">
              <a:lnSpc>
                <a:spcPct val="100000"/>
              </a:lnSpc>
              <a:spcBef>
                <a:spcPts val="0"/>
              </a:spcBef>
              <a:spcAft>
                <a:spcPts val="225"/>
              </a:spcAft>
              <a:buSzPct val="100000"/>
              <a:buFont typeface="Arial" panose="020B0604020202020204" pitchFamily="34" charset="0"/>
              <a:buChar char="▫"/>
              <a:defRPr sz="1200">
                <a:cs typeface="Arial" panose="020B0604020202020204" pitchFamily="34" charset="0"/>
              </a:defRPr>
            </a:lvl6pPr>
            <a:lvl7pPr marL="814368" indent="-128585" defTabSz="685783">
              <a:lnSpc>
                <a:spcPct val="100000"/>
              </a:lnSpc>
              <a:spcBef>
                <a:spcPts val="0"/>
              </a:spcBef>
              <a:spcAft>
                <a:spcPts val="225"/>
              </a:spcAft>
              <a:buSzPct val="100000"/>
              <a:buFont typeface="Arial" panose="020B0604020202020204" pitchFamily="34" charset="0"/>
              <a:buChar char="▫"/>
              <a:defRPr sz="1200">
                <a:cs typeface="Arial" panose="020B0604020202020204" pitchFamily="34" charset="0"/>
              </a:defRPr>
            </a:lvl7pPr>
            <a:lvl8pPr marL="814368" indent="-128585" defTabSz="685783">
              <a:lnSpc>
                <a:spcPct val="100000"/>
              </a:lnSpc>
              <a:spcBef>
                <a:spcPts val="0"/>
              </a:spcBef>
              <a:spcAft>
                <a:spcPts val="225"/>
              </a:spcAft>
              <a:buSzPct val="100000"/>
              <a:buFont typeface="Arial" panose="020B0604020202020204" pitchFamily="34" charset="0"/>
              <a:buChar char="▫"/>
              <a:defRPr sz="1200">
                <a:cs typeface="Arial" panose="020B0604020202020204" pitchFamily="34" charset="0"/>
              </a:defRPr>
            </a:lvl8pPr>
            <a:lvl9pPr marL="814368" indent="-128585" defTabSz="685783">
              <a:lnSpc>
                <a:spcPct val="100000"/>
              </a:lnSpc>
              <a:spcBef>
                <a:spcPts val="0"/>
              </a:spcBef>
              <a:spcAft>
                <a:spcPts val="225"/>
              </a:spcAft>
              <a:buSzPct val="100000"/>
              <a:buFont typeface="Arial" panose="020B0604020202020204" pitchFamily="34" charset="0"/>
              <a:buChar char="▫"/>
              <a:defRPr sz="1200">
                <a:cs typeface="Arial" panose="020B0604020202020204" pitchFamily="34" charset="0"/>
              </a:defRPr>
            </a:lvl9pPr>
          </a:lstStyle>
          <a:p>
            <a:pPr marL="0" marR="0" lvl="0" indent="0" algn="l" defTabSz="685783" rtl="0" eaLnBrk="1" fontAlgn="auto" latinLnBrk="0" hangingPunct="1">
              <a:lnSpc>
                <a:spcPct val="100000"/>
              </a:lnSpc>
              <a:spcBef>
                <a:spcPts val="225"/>
              </a:spcBef>
              <a:spcAft>
                <a:spcPts val="225"/>
              </a:spcAft>
              <a:buClr>
                <a:srgbClr val="3F4043"/>
              </a:buClr>
              <a:buSzPct val="100000"/>
              <a:buFont typeface="Segoe UI" panose="020B0502040204020203" pitchFamily="34" charset="0"/>
              <a:buChar char="​"/>
              <a:tabLst/>
              <a:defRPr/>
            </a:pPr>
            <a:r>
              <a:t>Global Demand of yoghurt by type, €Bn</a:t>
            </a:r>
            <a:br/>
            <a:r>
              <a:t>全球各类酸奶需求，€Bn</a:t>
            </a:r>
          </a:p>
        </p:txBody>
      </p:sp>
      <p:sp>
        <p:nvSpPr>
          <p:cNvPr id="41" name="TextBox 40">
            <a:extLst>
              <a:ext uri="{FF2B5EF4-FFF2-40B4-BE49-F238E27FC236}">
                <a16:creationId xmlns:a16="http://schemas.microsoft.com/office/drawing/2014/main" id="{94F615CB-4538-AEAB-ABF1-6AF4A81D35BD}"/>
              </a:ext>
            </a:extLst>
          </p:cNvPr>
          <p:cNvSpPr txBox="1">
            <a:spLocks/>
          </p:cNvSpPr>
          <p:nvPr/>
        </p:nvSpPr>
        <p:spPr>
          <a:xfrm>
            <a:off x="6097982" y="1460588"/>
            <a:ext cx="1102678" cy="430887"/>
          </a:xfrm>
          <a:prstGeom prst="rect">
            <a:avLst/>
          </a:prstGeom>
        </p:spPr>
        <p:txBody>
          <a:bodyPr vert="horz" wrap="square" lIns="0" tIns="0" rIns="0" bIns="0" rtlCol="0" anchor="b" anchorCtr="0">
            <a:normAutofit/>
          </a:bodyPr>
          <a:lstStyle>
            <a:lvl1pPr lvl="0" indent="0" defTabSz="685783">
              <a:lnSpc>
                <a:spcPct val="100000"/>
              </a:lnSpc>
              <a:spcBef>
                <a:spcPts val="225"/>
              </a:spcBef>
              <a:spcAft>
                <a:spcPts val="225"/>
              </a:spcAft>
              <a:buClr>
                <a:schemeClr val="tx1"/>
              </a:buClr>
              <a:buSzPct val="100000"/>
              <a:buFont typeface="Segoe UI" panose="020B0502040204020203" pitchFamily="34" charset="0"/>
              <a:buChar char="​"/>
              <a:defRPr lang="en-US" sz="1200" dirty="0"/>
            </a:lvl1pPr>
            <a:lvl2pPr marL="171446" lvl="1" indent="-171446" defTabSz="685783">
              <a:lnSpc>
                <a:spcPct val="100000"/>
              </a:lnSpc>
              <a:spcBef>
                <a:spcPts val="0"/>
              </a:spcBef>
              <a:spcAft>
                <a:spcPts val="225"/>
              </a:spcAft>
              <a:buClr>
                <a:schemeClr val="accent1"/>
              </a:buClr>
              <a:buSzPct val="110000"/>
              <a:buFont typeface="Wingdings" panose="05000000000000000000" pitchFamily="2" charset="2"/>
              <a:buChar char=""/>
              <a:defRPr lang="en-US" sz="1200" dirty="0"/>
            </a:lvl2pPr>
            <a:lvl3pPr marL="329176" lvl="2" indent="-157730" defTabSz="685783">
              <a:lnSpc>
                <a:spcPct val="100000"/>
              </a:lnSpc>
              <a:spcBef>
                <a:spcPts val="0"/>
              </a:spcBef>
              <a:spcAft>
                <a:spcPts val="225"/>
              </a:spcAft>
              <a:buClr>
                <a:schemeClr val="accent1"/>
              </a:buClr>
              <a:buSzPct val="110000"/>
              <a:buFont typeface="Arial" panose="020B0604020202020204" pitchFamily="34" charset="0"/>
              <a:buChar char="‒"/>
              <a:defRPr lang="en-US" sz="1200" dirty="0"/>
            </a:lvl3pPr>
            <a:lvl4pPr marL="445759" lvl="3" indent="-116583" defTabSz="685783">
              <a:lnSpc>
                <a:spcPct val="100000"/>
              </a:lnSpc>
              <a:spcBef>
                <a:spcPts val="0"/>
              </a:spcBef>
              <a:spcAft>
                <a:spcPts val="225"/>
              </a:spcAft>
              <a:buClr>
                <a:schemeClr val="accent1"/>
              </a:buClr>
              <a:buSzPct val="100000"/>
              <a:buFont typeface="Arial" panose="020B0604020202020204" pitchFamily="34" charset="0"/>
              <a:buChar char="•"/>
              <a:defRPr lang="en-US" sz="1200" dirty="0"/>
            </a:lvl4pPr>
            <a:lvl5pPr marL="610347" lvl="4" indent="-109725" defTabSz="685783">
              <a:lnSpc>
                <a:spcPct val="100000"/>
              </a:lnSpc>
              <a:spcBef>
                <a:spcPts val="0"/>
              </a:spcBef>
              <a:spcAft>
                <a:spcPts val="225"/>
              </a:spcAft>
              <a:buClr>
                <a:schemeClr val="accent1"/>
              </a:buClr>
              <a:buSzPct val="100000"/>
              <a:buFont typeface="Arial" panose="020B0604020202020204" pitchFamily="34" charset="0"/>
              <a:buChar char="̶"/>
              <a:defRPr lang="en-US" sz="1200" dirty="0"/>
            </a:lvl5pPr>
            <a:lvl6pPr marL="814368" indent="-128585" defTabSz="685783">
              <a:lnSpc>
                <a:spcPct val="100000"/>
              </a:lnSpc>
              <a:spcBef>
                <a:spcPts val="0"/>
              </a:spcBef>
              <a:spcAft>
                <a:spcPts val="225"/>
              </a:spcAft>
              <a:buSzPct val="100000"/>
              <a:buFont typeface="Arial" panose="020B0604020202020204" pitchFamily="34" charset="0"/>
              <a:buChar char="▫"/>
              <a:defRPr sz="1200">
                <a:cs typeface="Arial" panose="020B0604020202020204" pitchFamily="34" charset="0"/>
              </a:defRPr>
            </a:lvl6pPr>
            <a:lvl7pPr marL="814368" indent="-128585" defTabSz="685783">
              <a:lnSpc>
                <a:spcPct val="100000"/>
              </a:lnSpc>
              <a:spcBef>
                <a:spcPts val="0"/>
              </a:spcBef>
              <a:spcAft>
                <a:spcPts val="225"/>
              </a:spcAft>
              <a:buSzPct val="100000"/>
              <a:buFont typeface="Arial" panose="020B0604020202020204" pitchFamily="34" charset="0"/>
              <a:buChar char="▫"/>
              <a:defRPr sz="1200">
                <a:cs typeface="Arial" panose="020B0604020202020204" pitchFamily="34" charset="0"/>
              </a:defRPr>
            </a:lvl7pPr>
            <a:lvl8pPr marL="814368" indent="-128585" defTabSz="685783">
              <a:lnSpc>
                <a:spcPct val="100000"/>
              </a:lnSpc>
              <a:spcBef>
                <a:spcPts val="0"/>
              </a:spcBef>
              <a:spcAft>
                <a:spcPts val="225"/>
              </a:spcAft>
              <a:buSzPct val="100000"/>
              <a:buFont typeface="Arial" panose="020B0604020202020204" pitchFamily="34" charset="0"/>
              <a:buChar char="▫"/>
              <a:defRPr sz="1200">
                <a:cs typeface="Arial" panose="020B0604020202020204" pitchFamily="34" charset="0"/>
              </a:defRPr>
            </a:lvl8pPr>
            <a:lvl9pPr marL="814368" indent="-128585" defTabSz="685783">
              <a:lnSpc>
                <a:spcPct val="100000"/>
              </a:lnSpc>
              <a:spcBef>
                <a:spcPts val="0"/>
              </a:spcBef>
              <a:spcAft>
                <a:spcPts val="225"/>
              </a:spcAft>
              <a:buSzPct val="100000"/>
              <a:buFont typeface="Arial" panose="020B0604020202020204" pitchFamily="34" charset="0"/>
              <a:buChar char="▫"/>
              <a:defRPr sz="1200">
                <a:cs typeface="Arial" panose="020B0604020202020204" pitchFamily="34" charset="0"/>
              </a:defRPr>
            </a:lvl9pPr>
          </a:lstStyle>
          <a:p>
            <a:pPr marL="0" marR="0" lvl="0" indent="0" algn="ctr" defTabSz="685783" rtl="0" eaLnBrk="1" fontAlgn="auto" latinLnBrk="0" hangingPunct="1">
              <a:lnSpc>
                <a:spcPct val="100000"/>
              </a:lnSpc>
              <a:spcBef>
                <a:spcPts val="225"/>
              </a:spcBef>
              <a:spcAft>
                <a:spcPts val="225"/>
              </a:spcAft>
              <a:buClr>
                <a:srgbClr val="3F4043"/>
              </a:buClr>
              <a:buSzPct val="100000"/>
              <a:buFont typeface="Segoe UI" panose="020B0502040204020203" pitchFamily="34" charset="0"/>
              <a:buChar char="​"/>
              <a:tabLst/>
              <a:defRPr/>
            </a:pPr>
            <a:r>
              <a:t>CAGR, 2020-24 %</a:t>
            </a:r>
            <a:br/>
            <a:r>
              <a:t>复合年增长率，2020-24 %</a:t>
            </a:r>
          </a:p>
        </p:txBody>
      </p:sp>
      <p:sp>
        <p:nvSpPr>
          <p:cNvPr id="43" name="TextBox 42">
            <a:extLst>
              <a:ext uri="{FF2B5EF4-FFF2-40B4-BE49-F238E27FC236}">
                <a16:creationId xmlns:a16="http://schemas.microsoft.com/office/drawing/2014/main" id="{6FE5E071-B7BB-70E8-56FB-4F55682368E2}"/>
              </a:ext>
            </a:extLst>
          </p:cNvPr>
          <p:cNvSpPr txBox="1">
            <a:spLocks/>
          </p:cNvSpPr>
          <p:nvPr/>
        </p:nvSpPr>
        <p:spPr>
          <a:xfrm>
            <a:off x="7370764" y="1460588"/>
            <a:ext cx="1102678" cy="430887"/>
          </a:xfrm>
          <a:prstGeom prst="rect">
            <a:avLst/>
          </a:prstGeom>
        </p:spPr>
        <p:txBody>
          <a:bodyPr vert="horz" wrap="square" lIns="0" tIns="0" rIns="0" bIns="0" rtlCol="0" anchor="b" anchorCtr="0">
            <a:normAutofit/>
          </a:bodyPr>
          <a:lstStyle>
            <a:lvl1pPr lvl="0" indent="0" defTabSz="685783">
              <a:lnSpc>
                <a:spcPct val="100000"/>
              </a:lnSpc>
              <a:spcBef>
                <a:spcPts val="225"/>
              </a:spcBef>
              <a:spcAft>
                <a:spcPts val="225"/>
              </a:spcAft>
              <a:buClr>
                <a:schemeClr val="tx1"/>
              </a:buClr>
              <a:buSzPct val="100000"/>
              <a:buFont typeface="Segoe UI" panose="020B0502040204020203" pitchFamily="34" charset="0"/>
              <a:buChar char="​"/>
              <a:defRPr lang="en-US" sz="1200" dirty="0"/>
            </a:lvl1pPr>
            <a:lvl2pPr marL="171446" lvl="1" indent="-171446" defTabSz="685783">
              <a:lnSpc>
                <a:spcPct val="100000"/>
              </a:lnSpc>
              <a:spcBef>
                <a:spcPts val="0"/>
              </a:spcBef>
              <a:spcAft>
                <a:spcPts val="225"/>
              </a:spcAft>
              <a:buClr>
                <a:schemeClr val="accent1"/>
              </a:buClr>
              <a:buSzPct val="110000"/>
              <a:buFont typeface="Wingdings" panose="05000000000000000000" pitchFamily="2" charset="2"/>
              <a:buChar char=""/>
              <a:defRPr lang="en-US" sz="1200" dirty="0"/>
            </a:lvl2pPr>
            <a:lvl3pPr marL="329176" lvl="2" indent="-157730" defTabSz="685783">
              <a:lnSpc>
                <a:spcPct val="100000"/>
              </a:lnSpc>
              <a:spcBef>
                <a:spcPts val="0"/>
              </a:spcBef>
              <a:spcAft>
                <a:spcPts val="225"/>
              </a:spcAft>
              <a:buClr>
                <a:schemeClr val="accent1"/>
              </a:buClr>
              <a:buSzPct val="110000"/>
              <a:buFont typeface="Arial" panose="020B0604020202020204" pitchFamily="34" charset="0"/>
              <a:buChar char="‒"/>
              <a:defRPr lang="en-US" sz="1200" dirty="0"/>
            </a:lvl3pPr>
            <a:lvl4pPr marL="445759" lvl="3" indent="-116583" defTabSz="685783">
              <a:lnSpc>
                <a:spcPct val="100000"/>
              </a:lnSpc>
              <a:spcBef>
                <a:spcPts val="0"/>
              </a:spcBef>
              <a:spcAft>
                <a:spcPts val="225"/>
              </a:spcAft>
              <a:buClr>
                <a:schemeClr val="accent1"/>
              </a:buClr>
              <a:buSzPct val="100000"/>
              <a:buFont typeface="Arial" panose="020B0604020202020204" pitchFamily="34" charset="0"/>
              <a:buChar char="•"/>
              <a:defRPr lang="en-US" sz="1200" dirty="0"/>
            </a:lvl4pPr>
            <a:lvl5pPr marL="610347" lvl="4" indent="-109725" defTabSz="685783">
              <a:lnSpc>
                <a:spcPct val="100000"/>
              </a:lnSpc>
              <a:spcBef>
                <a:spcPts val="0"/>
              </a:spcBef>
              <a:spcAft>
                <a:spcPts val="225"/>
              </a:spcAft>
              <a:buClr>
                <a:schemeClr val="accent1"/>
              </a:buClr>
              <a:buSzPct val="100000"/>
              <a:buFont typeface="Arial" panose="020B0604020202020204" pitchFamily="34" charset="0"/>
              <a:buChar char="̶"/>
              <a:defRPr lang="en-US" sz="1200" dirty="0"/>
            </a:lvl5pPr>
            <a:lvl6pPr marL="814368" indent="-128585" defTabSz="685783">
              <a:lnSpc>
                <a:spcPct val="100000"/>
              </a:lnSpc>
              <a:spcBef>
                <a:spcPts val="0"/>
              </a:spcBef>
              <a:spcAft>
                <a:spcPts val="225"/>
              </a:spcAft>
              <a:buSzPct val="100000"/>
              <a:buFont typeface="Arial" panose="020B0604020202020204" pitchFamily="34" charset="0"/>
              <a:buChar char="▫"/>
              <a:defRPr sz="1200">
                <a:cs typeface="Arial" panose="020B0604020202020204" pitchFamily="34" charset="0"/>
              </a:defRPr>
            </a:lvl6pPr>
            <a:lvl7pPr marL="814368" indent="-128585" defTabSz="685783">
              <a:lnSpc>
                <a:spcPct val="100000"/>
              </a:lnSpc>
              <a:spcBef>
                <a:spcPts val="0"/>
              </a:spcBef>
              <a:spcAft>
                <a:spcPts val="225"/>
              </a:spcAft>
              <a:buSzPct val="100000"/>
              <a:buFont typeface="Arial" panose="020B0604020202020204" pitchFamily="34" charset="0"/>
              <a:buChar char="▫"/>
              <a:defRPr sz="1200">
                <a:cs typeface="Arial" panose="020B0604020202020204" pitchFamily="34" charset="0"/>
              </a:defRPr>
            </a:lvl7pPr>
            <a:lvl8pPr marL="814368" indent="-128585" defTabSz="685783">
              <a:lnSpc>
                <a:spcPct val="100000"/>
              </a:lnSpc>
              <a:spcBef>
                <a:spcPts val="0"/>
              </a:spcBef>
              <a:spcAft>
                <a:spcPts val="225"/>
              </a:spcAft>
              <a:buSzPct val="100000"/>
              <a:buFont typeface="Arial" panose="020B0604020202020204" pitchFamily="34" charset="0"/>
              <a:buChar char="▫"/>
              <a:defRPr sz="1200">
                <a:cs typeface="Arial" panose="020B0604020202020204" pitchFamily="34" charset="0"/>
              </a:defRPr>
            </a:lvl8pPr>
            <a:lvl9pPr marL="814368" indent="-128585" defTabSz="685783">
              <a:lnSpc>
                <a:spcPct val="100000"/>
              </a:lnSpc>
              <a:spcBef>
                <a:spcPts val="0"/>
              </a:spcBef>
              <a:spcAft>
                <a:spcPts val="225"/>
              </a:spcAft>
              <a:buSzPct val="100000"/>
              <a:buFont typeface="Arial" panose="020B0604020202020204" pitchFamily="34" charset="0"/>
              <a:buChar char="▫"/>
              <a:defRPr sz="1200">
                <a:cs typeface="Arial" panose="020B0604020202020204" pitchFamily="34" charset="0"/>
              </a:defRPr>
            </a:lvl9pPr>
          </a:lstStyle>
          <a:p>
            <a:pPr marL="0" marR="0" lvl="0" indent="0" algn="ctr" defTabSz="685783" rtl="0" eaLnBrk="1" fontAlgn="auto" latinLnBrk="0" hangingPunct="1">
              <a:lnSpc>
                <a:spcPct val="100000"/>
              </a:lnSpc>
              <a:spcBef>
                <a:spcPts val="225"/>
              </a:spcBef>
              <a:spcAft>
                <a:spcPts val="225"/>
              </a:spcAft>
              <a:buClr>
                <a:srgbClr val="3F4043"/>
              </a:buClr>
              <a:buSzPct val="100000"/>
              <a:buFont typeface="Segoe UI" panose="020B0502040204020203" pitchFamily="34" charset="0"/>
              <a:buChar char="​"/>
              <a:tabLst/>
              <a:defRPr/>
            </a:pPr>
            <a:r>
              <a:t>CAGR, 2024-29 %</a:t>
            </a:r>
            <a:br/>
            <a:r>
              <a:t>复合年增长率，2024-29 %</a:t>
            </a:r>
          </a:p>
        </p:txBody>
      </p:sp>
      <p:sp>
        <p:nvSpPr>
          <p:cNvPr id="9" name="5. Source">
            <a:extLst>
              <a:ext uri="{FF2B5EF4-FFF2-40B4-BE49-F238E27FC236}">
                <a16:creationId xmlns:a16="http://schemas.microsoft.com/office/drawing/2014/main" id="{B427150E-4C5E-B750-E60C-028D74A35499}"/>
              </a:ext>
            </a:extLst>
          </p:cNvPr>
          <p:cNvSpPr txBox="1"/>
          <p:nvPr>
            <p:custDataLst>
              <p:tags r:id="rId38"/>
            </p:custDataLst>
          </p:nvPr>
        </p:nvSpPr>
        <p:spPr>
          <a:xfrm>
            <a:off x="880237" y="650644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rm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77"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t>Source: Euromonitor</a:t>
            </a:r>
            <a:br/>
            <a:r>
              <a:t>资料来源：Euromonitor</a:t>
            </a:r>
          </a:p>
        </p:txBody>
      </p:sp>
      <p:sp>
        <p:nvSpPr>
          <p:cNvPr id="87" name="TextBox 86">
            <a:extLst>
              <a:ext uri="{FF2B5EF4-FFF2-40B4-BE49-F238E27FC236}">
                <a16:creationId xmlns:a16="http://schemas.microsoft.com/office/drawing/2014/main" id="{1BAB4F25-A466-6CDB-7C23-40663DD918E1}"/>
              </a:ext>
            </a:extLst>
          </p:cNvPr>
          <p:cNvSpPr txBox="1">
            <a:spLocks/>
          </p:cNvSpPr>
          <p:nvPr/>
        </p:nvSpPr>
        <p:spPr>
          <a:xfrm>
            <a:off x="9050179" y="2472551"/>
            <a:ext cx="2513638" cy="2944396"/>
          </a:xfrm>
          <a:prstGeom prst="rect">
            <a:avLst/>
          </a:prstGeom>
        </p:spPr>
        <p:txBody>
          <a:bodyPr vert="horz" wrap="square" lIns="0" tIns="0" rIns="0" bIns="0" rtlCol="0" anchor="t" anchorCtr="0">
            <a:normAutofit/>
          </a:bodyPr>
          <a:lstStyle>
            <a:lvl1pPr lvl="0" indent="0" defTabSz="685783">
              <a:lnSpc>
                <a:spcPct val="100000"/>
              </a:lnSpc>
              <a:spcBef>
                <a:spcPts val="225"/>
              </a:spcBef>
              <a:spcAft>
                <a:spcPts val="225"/>
              </a:spcAft>
              <a:buClr>
                <a:schemeClr val="tx1"/>
              </a:buClr>
              <a:buSzPct val="100000"/>
              <a:buFont typeface="Segoe UI" panose="020B0502040204020203" pitchFamily="34" charset="0"/>
              <a:buChar char="​"/>
              <a:defRPr lang="en-US" sz="1200" dirty="0"/>
            </a:lvl1pPr>
            <a:lvl2pPr marL="171446" lvl="1" indent="-171446" defTabSz="685783">
              <a:lnSpc>
                <a:spcPct val="100000"/>
              </a:lnSpc>
              <a:spcBef>
                <a:spcPts val="0"/>
              </a:spcBef>
              <a:spcAft>
                <a:spcPts val="225"/>
              </a:spcAft>
              <a:buClr>
                <a:schemeClr val="accent1"/>
              </a:buClr>
              <a:buSzPct val="110000"/>
              <a:buFont typeface="Wingdings" panose="05000000000000000000" pitchFamily="2" charset="2"/>
              <a:buChar char=""/>
              <a:defRPr lang="en-US" sz="1200" dirty="0"/>
            </a:lvl2pPr>
            <a:lvl3pPr marL="329176" lvl="2" indent="-157730" defTabSz="685783">
              <a:lnSpc>
                <a:spcPct val="100000"/>
              </a:lnSpc>
              <a:spcBef>
                <a:spcPts val="0"/>
              </a:spcBef>
              <a:spcAft>
                <a:spcPts val="225"/>
              </a:spcAft>
              <a:buClr>
                <a:schemeClr val="accent1"/>
              </a:buClr>
              <a:buSzPct val="110000"/>
              <a:buFont typeface="Arial" panose="020B0604020202020204" pitchFamily="34" charset="0"/>
              <a:buChar char="‒"/>
              <a:defRPr lang="en-US" sz="1200" dirty="0"/>
            </a:lvl3pPr>
            <a:lvl4pPr marL="445759" lvl="3" indent="-116583" defTabSz="685783">
              <a:lnSpc>
                <a:spcPct val="100000"/>
              </a:lnSpc>
              <a:spcBef>
                <a:spcPts val="0"/>
              </a:spcBef>
              <a:spcAft>
                <a:spcPts val="225"/>
              </a:spcAft>
              <a:buClr>
                <a:schemeClr val="accent1"/>
              </a:buClr>
              <a:buSzPct val="100000"/>
              <a:buFont typeface="Arial" panose="020B0604020202020204" pitchFamily="34" charset="0"/>
              <a:buChar char="•"/>
              <a:defRPr lang="en-US" sz="1200" dirty="0"/>
            </a:lvl4pPr>
            <a:lvl5pPr marL="610347" lvl="4" indent="-109725" defTabSz="685783">
              <a:lnSpc>
                <a:spcPct val="100000"/>
              </a:lnSpc>
              <a:spcBef>
                <a:spcPts val="0"/>
              </a:spcBef>
              <a:spcAft>
                <a:spcPts val="225"/>
              </a:spcAft>
              <a:buClr>
                <a:schemeClr val="accent1"/>
              </a:buClr>
              <a:buSzPct val="100000"/>
              <a:buFont typeface="Arial" panose="020B0604020202020204" pitchFamily="34" charset="0"/>
              <a:buChar char="̶"/>
              <a:defRPr lang="en-US" sz="1200" dirty="0"/>
            </a:lvl5pPr>
            <a:lvl6pPr marL="814368" indent="-128585" defTabSz="685783">
              <a:lnSpc>
                <a:spcPct val="100000"/>
              </a:lnSpc>
              <a:spcBef>
                <a:spcPts val="0"/>
              </a:spcBef>
              <a:spcAft>
                <a:spcPts val="225"/>
              </a:spcAft>
              <a:buSzPct val="100000"/>
              <a:buFont typeface="Arial" panose="020B0604020202020204" pitchFamily="34" charset="0"/>
              <a:buChar char="▫"/>
              <a:defRPr sz="1200">
                <a:cs typeface="Arial" panose="020B0604020202020204" pitchFamily="34" charset="0"/>
              </a:defRPr>
            </a:lvl6pPr>
            <a:lvl7pPr marL="814368" indent="-128585" defTabSz="685783">
              <a:lnSpc>
                <a:spcPct val="100000"/>
              </a:lnSpc>
              <a:spcBef>
                <a:spcPts val="0"/>
              </a:spcBef>
              <a:spcAft>
                <a:spcPts val="225"/>
              </a:spcAft>
              <a:buSzPct val="100000"/>
              <a:buFont typeface="Arial" panose="020B0604020202020204" pitchFamily="34" charset="0"/>
              <a:buChar char="▫"/>
              <a:defRPr sz="1200">
                <a:cs typeface="Arial" panose="020B0604020202020204" pitchFamily="34" charset="0"/>
              </a:defRPr>
            </a:lvl7pPr>
            <a:lvl8pPr marL="814368" indent="-128585" defTabSz="685783">
              <a:lnSpc>
                <a:spcPct val="100000"/>
              </a:lnSpc>
              <a:spcBef>
                <a:spcPts val="0"/>
              </a:spcBef>
              <a:spcAft>
                <a:spcPts val="225"/>
              </a:spcAft>
              <a:buSzPct val="100000"/>
              <a:buFont typeface="Arial" panose="020B0604020202020204" pitchFamily="34" charset="0"/>
              <a:buChar char="▫"/>
              <a:defRPr sz="1200">
                <a:cs typeface="Arial" panose="020B0604020202020204" pitchFamily="34" charset="0"/>
              </a:defRPr>
            </a:lvl8pPr>
            <a:lvl9pPr marL="814368" indent="-128585" defTabSz="685783">
              <a:lnSpc>
                <a:spcPct val="100000"/>
              </a:lnSpc>
              <a:spcBef>
                <a:spcPts val="0"/>
              </a:spcBef>
              <a:spcAft>
                <a:spcPts val="225"/>
              </a:spcAft>
              <a:buSzPct val="100000"/>
              <a:buFont typeface="Arial" panose="020B0604020202020204" pitchFamily="34" charset="0"/>
              <a:buChar char="▫"/>
              <a:defRPr sz="1200">
                <a:cs typeface="Arial" panose="020B0604020202020204" pitchFamily="34" charset="0"/>
              </a:defRPr>
            </a:lvl9pPr>
          </a:lstStyle>
          <a:p>
            <a:pPr marL="0" marR="0" lvl="0" indent="0" algn="l" defTabSz="685783" rtl="0" eaLnBrk="1" fontAlgn="auto" latinLnBrk="0" hangingPunct="1">
              <a:lnSpc>
                <a:spcPct val="100000"/>
              </a:lnSpc>
              <a:spcBef>
                <a:spcPts val="225"/>
              </a:spcBef>
              <a:spcAft>
                <a:spcPts val="225"/>
              </a:spcAft>
              <a:buClr>
                <a:srgbClr val="3F4043"/>
              </a:buClr>
              <a:buSzPct val="100000"/>
              <a:buFont typeface="Segoe UI" panose="020B0502040204020203" pitchFamily="34" charset="0"/>
              <a:buNone/>
              <a:tabLst/>
              <a:defRPr/>
            </a:pPr>
            <a:r>
              <a:t>Global increase in demand for yoghurts.  Expected to accelerate driven largely by strong consumer trends:</a:t>
            </a:r>
            <a:br/>
            <a:r>
              <a:t>全球对酸奶的需求增加。预计将在强劲的消费者趋势推动下加速增长：</a:t>
            </a:r>
          </a:p>
          <a:p>
            <a:pPr marL="0" marR="0" lvl="0" indent="0" algn="l" defTabSz="685783" rtl="0" eaLnBrk="1" fontAlgn="auto" latinLnBrk="0" hangingPunct="1">
              <a:lnSpc>
                <a:spcPct val="100000"/>
              </a:lnSpc>
              <a:spcBef>
                <a:spcPts val="225"/>
              </a:spcBef>
              <a:spcAft>
                <a:spcPts val="225"/>
              </a:spcAft>
              <a:buClr>
                <a:srgbClr val="3F4043"/>
              </a:buClr>
              <a:buSzPct val="100000"/>
              <a:buFont typeface="Segoe UI" panose="020B0502040204020203" pitchFamily="34" charset="0"/>
              <a:buNone/>
              <a:tabLst/>
              <a:defRPr/>
            </a:pPr>
            <a:endParaRPr lang="en-US">
              <a:solidFill>
                <a:srgbClr val="3F4043"/>
              </a:solidFill>
              <a:latin typeface="Verdana"/>
            </a:endParaRPr>
          </a:p>
          <a:p>
            <a:pPr marL="171450" indent="-171450">
              <a:buClr>
                <a:srgbClr val="3F4043"/>
              </a:buClr>
              <a:buFont typeface="Arial" panose="020B0604020202020204" pitchFamily="34" charset="0"/>
              <a:buChar char="•"/>
              <a:defRPr/>
            </a:pPr>
            <a:r>
              <a:t>Increased consumption of fortified foods</a:t>
            </a:r>
            <a:br/>
            <a:r>
              <a:t>强化食品消费增加</a:t>
            </a:r>
          </a:p>
          <a:p>
            <a:pPr marL="171450" indent="-171450">
              <a:buClr>
                <a:srgbClr val="3F4043"/>
              </a:buClr>
              <a:buFont typeface="Arial" panose="020B0604020202020204" pitchFamily="34" charset="0"/>
              <a:buChar char="•"/>
              <a:defRPr/>
            </a:pPr>
            <a:endParaRPr lang="en-US">
              <a:solidFill>
                <a:srgbClr val="3F4043"/>
              </a:solidFill>
              <a:latin typeface="Verdana"/>
            </a:endParaRPr>
          </a:p>
          <a:p>
            <a:pPr marL="171450" indent="-171450">
              <a:buClr>
                <a:srgbClr val="3F4043"/>
              </a:buClr>
              <a:buFont typeface="Arial" panose="020B0604020202020204" pitchFamily="34" charset="0"/>
              <a:buChar char="•"/>
              <a:defRPr/>
            </a:pPr>
            <a:r>
              <a:t>Changing demographics (GenZ, Ageing population)</a:t>
            </a:r>
            <a:br/>
            <a:r>
              <a:t>人口结构变化（Z世代，老龄化人口）</a:t>
            </a:r>
            <a:endParaRPr kumimoji="0" lang="en-US" sz="1200" b="0" i="0" u="none" strike="noStrike" kern="1200" cap="none" spc="0" normalizeH="0" baseline="0" noProof="0">
              <a:ln>
                <a:noFill/>
              </a:ln>
              <a:solidFill>
                <a:srgbClr val="3F4043"/>
              </a:solidFill>
              <a:effectLst/>
              <a:uLnTx/>
              <a:uFillTx/>
              <a:latin typeface="Verdana"/>
              <a:ea typeface="+mn-ea"/>
              <a:cs typeface="+mn-cs"/>
            </a:endParaRPr>
          </a:p>
          <a:p>
            <a:pPr marL="171450" indent="-171450">
              <a:buClr>
                <a:srgbClr val="3F4043"/>
              </a:buClr>
              <a:buFont typeface="Arial" panose="020B0604020202020204" pitchFamily="34" charset="0"/>
              <a:buChar char="•"/>
              <a:defRPr/>
            </a:pPr>
            <a:endParaRPr lang="en-US">
              <a:solidFill>
                <a:srgbClr val="3F4043"/>
              </a:solidFill>
              <a:latin typeface="Verdana"/>
            </a:endParaRPr>
          </a:p>
          <a:p>
            <a:pPr marL="171450" indent="-171450">
              <a:buClr>
                <a:srgbClr val="3F4043"/>
              </a:buClr>
              <a:buFont typeface="Arial" panose="020B0604020202020204" pitchFamily="34" charset="0"/>
              <a:buChar char="•"/>
              <a:defRPr/>
            </a:pPr>
            <a:r>
              <a:t>GLP-1 usage boosting ongoing health &amp; wellness trends</a:t>
            </a:r>
            <a:br/>
            <a:r>
              <a:t>GLP-1 使用促进持续的健康与 wellness 趋势</a:t>
            </a:r>
          </a:p>
          <a:p>
            <a:pPr marL="0" marR="0" lvl="0" indent="0" algn="l" defTabSz="685783" rtl="0" eaLnBrk="1" fontAlgn="auto" latinLnBrk="0" hangingPunct="1">
              <a:lnSpc>
                <a:spcPct val="100000"/>
              </a:lnSpc>
              <a:spcBef>
                <a:spcPts val="225"/>
              </a:spcBef>
              <a:spcAft>
                <a:spcPts val="225"/>
              </a:spcAft>
              <a:buClr>
                <a:srgbClr val="3F4043"/>
              </a:buClr>
              <a:buSzPct val="100000"/>
              <a:buFont typeface="Segoe UI" panose="020B0502040204020203" pitchFamily="34" charset="0"/>
              <a:buNone/>
              <a:tabLst/>
              <a:defRPr/>
            </a:pPr>
            <a:endParaRPr kumimoji="0" lang="en-US" sz="1200" b="0" i="0" u="none" strike="noStrike" kern="1200" cap="none" spc="0" normalizeH="0" baseline="0" noProof="0">
              <a:ln>
                <a:noFill/>
              </a:ln>
              <a:solidFill>
                <a:srgbClr val="3F4043"/>
              </a:solidFill>
              <a:effectLst/>
              <a:uLnTx/>
              <a:uFillTx/>
              <a:latin typeface="Verdana"/>
              <a:ea typeface="+mn-ea"/>
              <a:cs typeface="+mn-cs"/>
            </a:endParaRPr>
          </a:p>
        </p:txBody>
      </p:sp>
    </p:spTree>
    <p:extLst>
      <p:ext uri="{BB962C8B-B14F-4D97-AF65-F5344CB8AC3E}">
        <p14:creationId xmlns:p14="http://schemas.microsoft.com/office/powerpoint/2010/main" val="19218508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6E7E336-61D7-6885-E176-45674DD87E22}"/>
              </a:ext>
            </a:extLst>
          </p:cNvPr>
          <p:cNvGraphicFramePr>
            <a:graphicFrameLocks noChangeAspect="1"/>
          </p:cNvGraphicFramePr>
          <p:nvPr>
            <p:custDataLst>
              <p:tags r:id="rId1"/>
            </p:custDataLst>
            <p:extLst>
              <p:ext uri="{D42A27DB-BD31-4B8C-83A1-F6EECF244321}">
                <p14:modId xmlns:p14="http://schemas.microsoft.com/office/powerpoint/2010/main" val="25501516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66" imgW="347" imgH="348" progId="TCLayout.ActiveDocument.1">
                  <p:embed/>
                </p:oleObj>
              </mc:Choice>
              <mc:Fallback>
                <p:oleObj name="think-cell Slide" r:id="rId66" imgW="347" imgH="348" progId="TCLayout.ActiveDocument.1">
                  <p:embed/>
                  <p:pic>
                    <p:nvPicPr>
                      <p:cNvPr id="8" name="think-cell data - do not delete" hidden="1">
                        <a:extLst>
                          <a:ext uri="{FF2B5EF4-FFF2-40B4-BE49-F238E27FC236}">
                            <a16:creationId xmlns:a16="http://schemas.microsoft.com/office/drawing/2014/main" id="{56E7E336-61D7-6885-E176-45674DD87E22}"/>
                          </a:ext>
                        </a:extLst>
                      </p:cNvPr>
                      <p:cNvPicPr/>
                      <p:nvPr/>
                    </p:nvPicPr>
                    <p:blipFill>
                      <a:blip r:embed="rId67"/>
                      <a:stretch>
                        <a:fillRect/>
                      </a:stretch>
                    </p:blipFill>
                    <p:spPr>
                      <a:xfrm>
                        <a:off x="2118" y="2118"/>
                        <a:ext cx="2117" cy="2117"/>
                      </a:xfrm>
                      <a:prstGeom prst="rect">
                        <a:avLst/>
                      </a:prstGeom>
                    </p:spPr>
                  </p:pic>
                </p:oleObj>
              </mc:Fallback>
            </mc:AlternateContent>
          </a:graphicData>
        </a:graphic>
      </p:graphicFrame>
      <p:sp>
        <p:nvSpPr>
          <p:cNvPr id="5" name="2. Slide Title">
            <a:extLst>
              <a:ext uri="{FF2B5EF4-FFF2-40B4-BE49-F238E27FC236}">
                <a16:creationId xmlns:a16="http://schemas.microsoft.com/office/drawing/2014/main" id="{68D004DE-EE47-24C7-E2F0-B3CF56C687F5}"/>
              </a:ext>
            </a:extLst>
          </p:cNvPr>
          <p:cNvSpPr>
            <a:spLocks noGrp="1"/>
          </p:cNvSpPr>
          <p:nvPr>
            <p:ph type="title"/>
            <p:custDataLst>
              <p:tags r:id="rId2"/>
            </p:custDataLst>
          </p:nvPr>
        </p:nvSpPr>
        <p:spPr>
          <a:xfrm>
            <a:off x="554736" y="172212"/>
            <a:ext cx="11473784" cy="1154162"/>
          </a:xfrm>
          <a:noFill/>
          <a:ln/>
          <a:extLst>
            <a:ext uri="{909E8E84-426E-40DD-AFC4-6F175D3DCCD1}">
              <a14:hiddenFill xmlns:a14="http://schemas.microsoft.com/office/drawing/2010/main">
                <a:solidFill>
                  <a:srgbClr val="FFFFFF"/>
                </a:solidFill>
              </a14:hiddenFill>
            </a:ext>
          </a:extLst>
        </p:spPr>
        <p:txBody>
          <a:bodyPr vert="horz">
            <a:normAutofit/>
          </a:bodyPr>
          <a:lstStyle/>
          <a:p>
            <a:r>
              <a:t>Although a declining market, the future of yoghurt in China is in no way bleak. Flattening decline &amp; very positive consumer trends.</a:t>
            </a:r>
            <a:br/>
            <a:r>
              <a:t>尽管市场在下滑，但中国酸奶的未来绝非黯淡。下降趋势趋于平稳，且消费者趋势非常积极。</a:t>
            </a:r>
            <a:endParaRPr lang="en-US"/>
          </a:p>
        </p:txBody>
      </p:sp>
      <p:graphicFrame>
        <p:nvGraphicFramePr>
          <p:cNvPr id="56" name="Chart 55">
            <a:extLst>
              <a:ext uri="{FF2B5EF4-FFF2-40B4-BE49-F238E27FC236}">
                <a16:creationId xmlns:a16="http://schemas.microsoft.com/office/drawing/2014/main" id="{9A0D6019-3868-5B9E-6DD3-AF0C2E2AA04E}"/>
              </a:ext>
            </a:extLst>
          </p:cNvPr>
          <p:cNvGraphicFramePr/>
          <p:nvPr>
            <p:custDataLst>
              <p:tags r:id="rId3"/>
            </p:custDataLst>
            <p:extLst>
              <p:ext uri="{D42A27DB-BD31-4B8C-83A1-F6EECF244321}">
                <p14:modId xmlns:p14="http://schemas.microsoft.com/office/powerpoint/2010/main" val="1327561998"/>
              </p:ext>
            </p:extLst>
          </p:nvPr>
        </p:nvGraphicFramePr>
        <p:xfrm>
          <a:off x="471488" y="2933700"/>
          <a:ext cx="5538787" cy="3175000"/>
        </p:xfrm>
        <a:graphic>
          <a:graphicData uri="http://schemas.openxmlformats.org/drawingml/2006/chart">
            <c:chart xmlns:c="http://schemas.openxmlformats.org/drawingml/2006/chart" xmlns:r="http://schemas.openxmlformats.org/officeDocument/2006/relationships" r:id="rId68"/>
          </a:graphicData>
        </a:graphic>
      </p:graphicFrame>
      <p:cxnSp>
        <p:nvCxnSpPr>
          <p:cNvPr id="124" name="Straight Connector 123">
            <a:extLst>
              <a:ext uri="{FF2B5EF4-FFF2-40B4-BE49-F238E27FC236}">
                <a16:creationId xmlns:a16="http://schemas.microsoft.com/office/drawing/2014/main" id="{F58C61F1-4044-0281-0DCE-409E03B5E9E8}"/>
              </a:ext>
            </a:extLst>
          </p:cNvPr>
          <p:cNvCxnSpPr>
            <a:cxnSpLocks/>
          </p:cNvCxnSpPr>
          <p:nvPr>
            <p:custDataLst>
              <p:tags r:id="rId4"/>
            </p:custDataLst>
          </p:nvPr>
        </p:nvCxnSpPr>
        <p:spPr bwMode="auto">
          <a:xfrm>
            <a:off x="889000" y="2582863"/>
            <a:ext cx="1343025" cy="847725"/>
          </a:xfrm>
          <a:prstGeom prst="line">
            <a:avLst/>
          </a:prstGeom>
          <a:ln w="381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5D175356-8B5D-9CF1-8346-6B54780C8DAD}"/>
              </a:ext>
            </a:extLst>
          </p:cNvPr>
          <p:cNvCxnSpPr>
            <a:cxnSpLocks/>
          </p:cNvCxnSpPr>
          <p:nvPr>
            <p:custDataLst>
              <p:tags r:id="rId5"/>
            </p:custDataLst>
          </p:nvPr>
        </p:nvCxnSpPr>
        <p:spPr bwMode="auto">
          <a:xfrm>
            <a:off x="2232025" y="3430588"/>
            <a:ext cx="3359150" cy="141288"/>
          </a:xfrm>
          <a:prstGeom prst="line">
            <a:avLst/>
          </a:prstGeom>
          <a:ln w="381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0" name="Text Placeholder 2">
            <a:extLst>
              <a:ext uri="{FF2B5EF4-FFF2-40B4-BE49-F238E27FC236}">
                <a16:creationId xmlns:a16="http://schemas.microsoft.com/office/drawing/2014/main" id="{B89166A1-C91C-5A24-4214-BA64712A2D81}"/>
              </a:ext>
            </a:extLst>
          </p:cNvPr>
          <p:cNvSpPr>
            <a:spLocks noGrp="1"/>
          </p:cNvSpPr>
          <p:nvPr>
            <p:custDataLst>
              <p:tags r:id="rId6"/>
            </p:custDataLst>
          </p:nvPr>
        </p:nvSpPr>
        <p:spPr bwMode="auto">
          <a:xfrm>
            <a:off x="688975" y="6076950"/>
            <a:ext cx="4000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defTabSz="914377">
              <a:spcBef>
                <a:spcPct val="0"/>
              </a:spcBef>
              <a:spcAft>
                <a:spcPct val="0"/>
              </a:spcAft>
              <a:defRPr/>
            </a:pPr>
            <a:fld id="{55B8660F-0192-4779-A67B-71938BD56471}" type="datetime'''''''20''''20'''''''''''''''''''''''''''''''''''">
              <a:rPr lang="en-US" altLang="en-US" sz="1200" smtClean="0">
                <a:solidFill>
                  <a:srgbClr val="000000"/>
                </a:solidFill>
                <a:cs typeface="+mn-cs"/>
              </a:rPr>
              <a:pPr lvl="0" algn="ctr" defTabSz="914377">
                <a:spcBef>
                  <a:spcPct val="0"/>
                </a:spcBef>
                <a:spcAft>
                  <a:spcPct val="0"/>
                </a:spcAft>
                <a:defRPr/>
              </a:pPr>
              <a:t>2020</a:t>
            </a:fld>
            <a:endParaRPr kumimoji="0" lang="en-US" sz="1200" b="0" i="0" strike="noStrike" kern="1200" cap="none" spc="0" normalizeH="0" baseline="0" noProof="0">
              <a:ln>
                <a:noFill/>
              </a:ln>
              <a:solidFill>
                <a:srgbClr val="000000"/>
              </a:solidFill>
              <a:effectLst/>
              <a:uLnTx/>
              <a:uFillTx/>
              <a:cs typeface="+mn-cs"/>
            </a:endParaRPr>
          </a:p>
        </p:txBody>
      </p:sp>
      <p:sp>
        <p:nvSpPr>
          <p:cNvPr id="195" name="Text Placeholder 2">
            <a:extLst>
              <a:ext uri="{FF2B5EF4-FFF2-40B4-BE49-F238E27FC236}">
                <a16:creationId xmlns:a16="http://schemas.microsoft.com/office/drawing/2014/main" id="{F519A3F7-ADA9-C293-D7CC-71D1A7018712}"/>
              </a:ext>
            </a:extLst>
          </p:cNvPr>
          <p:cNvSpPr>
            <a:spLocks noGrp="1"/>
          </p:cNvSpPr>
          <p:nvPr>
            <p:custDataLst>
              <p:tags r:id="rId7"/>
            </p:custDataLst>
          </p:nvPr>
        </p:nvSpPr>
        <p:spPr bwMode="auto">
          <a:xfrm>
            <a:off x="1360488" y="6076950"/>
            <a:ext cx="4000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defTabSz="914377">
              <a:spcBef>
                <a:spcPct val="0"/>
              </a:spcBef>
              <a:spcAft>
                <a:spcPct val="0"/>
              </a:spcAft>
              <a:defRPr/>
            </a:pPr>
            <a:fld id="{41E4C3CA-D856-46D6-9649-F4E7B39DF662}" type="datetime'''20''''''''''''''''''2''3'''''''">
              <a:rPr lang="en-US" altLang="en-US" sz="1200" smtClean="0">
                <a:solidFill>
                  <a:srgbClr val="000000"/>
                </a:solidFill>
                <a:cs typeface="+mn-cs"/>
              </a:rPr>
              <a:pPr lvl="0" algn="ctr" defTabSz="914377">
                <a:spcBef>
                  <a:spcPct val="0"/>
                </a:spcBef>
                <a:spcAft>
                  <a:spcPct val="0"/>
                </a:spcAft>
                <a:defRPr/>
              </a:pPr>
              <a:t>2023</a:t>
            </a:fld>
            <a:endParaRPr kumimoji="0" lang="en-US" sz="1200" b="0" i="0" strike="noStrike" kern="1200" cap="none" spc="0" normalizeH="0" baseline="0" noProof="0">
              <a:ln>
                <a:noFill/>
              </a:ln>
              <a:solidFill>
                <a:srgbClr val="000000"/>
              </a:solidFill>
              <a:effectLst/>
              <a:uLnTx/>
              <a:uFillTx/>
              <a:cs typeface="+mn-cs"/>
            </a:endParaRPr>
          </a:p>
        </p:txBody>
      </p:sp>
      <p:sp>
        <p:nvSpPr>
          <p:cNvPr id="22" name="Text Placeholder 2">
            <a:extLst>
              <a:ext uri="{FF2B5EF4-FFF2-40B4-BE49-F238E27FC236}">
                <a16:creationId xmlns:a16="http://schemas.microsoft.com/office/drawing/2014/main" id="{9A9D6DBC-28DE-AEB6-6231-7AC2092E3B1E}"/>
              </a:ext>
            </a:extLst>
          </p:cNvPr>
          <p:cNvSpPr>
            <a:spLocks noGrp="1"/>
          </p:cNvSpPr>
          <p:nvPr>
            <p:custDataLst>
              <p:tags r:id="rId8"/>
            </p:custDataLst>
          </p:nvPr>
        </p:nvSpPr>
        <p:spPr bwMode="auto">
          <a:xfrm>
            <a:off x="2032000" y="6076950"/>
            <a:ext cx="4000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defTabSz="914377">
              <a:spcBef>
                <a:spcPct val="0"/>
              </a:spcBef>
              <a:spcAft>
                <a:spcPct val="0"/>
              </a:spcAft>
              <a:defRPr/>
            </a:pPr>
            <a:fld id="{D0ECF513-7E5A-4845-8404-CCE815646FF2}" type="datetime'''''''''''''''''2''0''''''''''''''''2''''''4'''">
              <a:rPr lang="en-US" altLang="en-US" sz="1200" smtClean="0">
                <a:solidFill>
                  <a:srgbClr val="000000"/>
                </a:solidFill>
                <a:cs typeface="+mn-cs"/>
              </a:rPr>
              <a:pPr lvl="0" algn="ctr" defTabSz="914377">
                <a:spcBef>
                  <a:spcPct val="0"/>
                </a:spcBef>
                <a:spcAft>
                  <a:spcPct val="0"/>
                </a:spcAft>
                <a:defRPr/>
              </a:pPr>
              <a:t>2024</a:t>
            </a:fld>
            <a:endParaRPr kumimoji="0" lang="en-US" sz="1200" b="0" i="0" strike="noStrike" kern="1200" cap="none" spc="0" normalizeH="0" baseline="0" noProof="0">
              <a:ln>
                <a:noFill/>
              </a:ln>
              <a:solidFill>
                <a:srgbClr val="000000"/>
              </a:solidFill>
              <a:effectLst/>
              <a:uLnTx/>
              <a:uFillTx/>
              <a:cs typeface="+mn-cs"/>
            </a:endParaRPr>
          </a:p>
        </p:txBody>
      </p:sp>
      <p:sp>
        <p:nvSpPr>
          <p:cNvPr id="220" name="Text Placeholder 2">
            <a:extLst>
              <a:ext uri="{FF2B5EF4-FFF2-40B4-BE49-F238E27FC236}">
                <a16:creationId xmlns:a16="http://schemas.microsoft.com/office/drawing/2014/main" id="{22A77EF9-96DA-E3AD-9E52-860BB718A434}"/>
              </a:ext>
            </a:extLst>
          </p:cNvPr>
          <p:cNvSpPr>
            <a:spLocks noGrp="1"/>
          </p:cNvSpPr>
          <p:nvPr>
            <p:custDataLst>
              <p:tags r:id="rId9"/>
            </p:custDataLst>
          </p:nvPr>
        </p:nvSpPr>
        <p:spPr bwMode="auto">
          <a:xfrm>
            <a:off x="2703513" y="6076950"/>
            <a:ext cx="4000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defTabSz="914377">
              <a:spcBef>
                <a:spcPct val="0"/>
              </a:spcBef>
              <a:spcAft>
                <a:spcPct val="0"/>
              </a:spcAft>
              <a:defRPr/>
            </a:pPr>
            <a:fld id="{187E1293-2985-4C38-BE8B-F2BFBF333F01}" type="datetime'''''''''''''''''''''''''''''2''''''0''''''25'''''''''''''''''">
              <a:rPr lang="en-US" altLang="en-US" sz="1200" smtClean="0">
                <a:solidFill>
                  <a:srgbClr val="000000"/>
                </a:solidFill>
                <a:cs typeface="+mn-cs"/>
              </a:rPr>
              <a:pPr lvl="0" algn="ctr" defTabSz="914377">
                <a:spcBef>
                  <a:spcPct val="0"/>
                </a:spcBef>
                <a:spcAft>
                  <a:spcPct val="0"/>
                </a:spcAft>
                <a:defRPr/>
              </a:pPr>
              <a:t>2025</a:t>
            </a:fld>
            <a:endParaRPr kumimoji="0" lang="en-US" sz="1200" b="0" i="0" strike="noStrike" kern="1200" cap="none" spc="0" normalizeH="0" baseline="0" noProof="0">
              <a:ln>
                <a:noFill/>
              </a:ln>
              <a:solidFill>
                <a:srgbClr val="000000"/>
              </a:solidFill>
              <a:effectLst/>
              <a:uLnTx/>
              <a:uFillTx/>
              <a:cs typeface="+mn-cs"/>
            </a:endParaRPr>
          </a:p>
        </p:txBody>
      </p:sp>
      <p:sp>
        <p:nvSpPr>
          <p:cNvPr id="18" name="Text Placeholder 2">
            <a:extLst>
              <a:ext uri="{FF2B5EF4-FFF2-40B4-BE49-F238E27FC236}">
                <a16:creationId xmlns:a16="http://schemas.microsoft.com/office/drawing/2014/main" id="{B694B487-5143-FC73-9FA7-46B02A3F0315}"/>
              </a:ext>
            </a:extLst>
          </p:cNvPr>
          <p:cNvSpPr>
            <a:spLocks noGrp="1"/>
          </p:cNvSpPr>
          <p:nvPr>
            <p:custDataLst>
              <p:tags r:id="rId10"/>
            </p:custDataLst>
          </p:nvPr>
        </p:nvSpPr>
        <p:spPr bwMode="auto">
          <a:xfrm>
            <a:off x="3376613" y="6076950"/>
            <a:ext cx="4000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defTabSz="914377">
              <a:spcBef>
                <a:spcPct val="0"/>
              </a:spcBef>
              <a:spcAft>
                <a:spcPct val="0"/>
              </a:spcAft>
              <a:defRPr/>
            </a:pPr>
            <a:fld id="{0650A594-3850-46B2-9BB0-BEB8F7F7BCC3}" type="datetime'2''''0''''''''''''''''''''''''''''''''''''2''''''''''''''6'">
              <a:rPr lang="en-US" altLang="en-US" sz="1200" smtClean="0">
                <a:solidFill>
                  <a:srgbClr val="000000"/>
                </a:solidFill>
                <a:cs typeface="+mn-cs"/>
              </a:rPr>
              <a:pPr lvl="0" algn="ctr" defTabSz="914377">
                <a:spcBef>
                  <a:spcPct val="0"/>
                </a:spcBef>
                <a:spcAft>
                  <a:spcPct val="0"/>
                </a:spcAft>
                <a:defRPr/>
              </a:pPr>
              <a:t>2026</a:t>
            </a:fld>
            <a:endParaRPr kumimoji="0" lang="en-US" sz="1200" b="0" i="0" strike="noStrike" kern="1200" cap="none" spc="0" normalizeH="0" baseline="0" noProof="0">
              <a:ln>
                <a:noFill/>
              </a:ln>
              <a:solidFill>
                <a:srgbClr val="000000"/>
              </a:solidFill>
              <a:effectLst/>
              <a:uLnTx/>
              <a:uFillTx/>
              <a:cs typeface="+mn-cs"/>
            </a:endParaRPr>
          </a:p>
        </p:txBody>
      </p:sp>
      <p:sp>
        <p:nvSpPr>
          <p:cNvPr id="221" name="Text Placeholder 2">
            <a:extLst>
              <a:ext uri="{FF2B5EF4-FFF2-40B4-BE49-F238E27FC236}">
                <a16:creationId xmlns:a16="http://schemas.microsoft.com/office/drawing/2014/main" id="{EF2B80C6-49AC-F10A-DDB9-092FFEDF36F5}"/>
              </a:ext>
            </a:extLst>
          </p:cNvPr>
          <p:cNvSpPr>
            <a:spLocks noGrp="1"/>
          </p:cNvSpPr>
          <p:nvPr>
            <p:custDataLst>
              <p:tags r:id="rId11"/>
            </p:custDataLst>
          </p:nvPr>
        </p:nvSpPr>
        <p:spPr bwMode="auto">
          <a:xfrm>
            <a:off x="4048125" y="6076950"/>
            <a:ext cx="4000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defTabSz="914377">
              <a:spcBef>
                <a:spcPct val="0"/>
              </a:spcBef>
              <a:spcAft>
                <a:spcPct val="0"/>
              </a:spcAft>
              <a:defRPr/>
            </a:pPr>
            <a:fld id="{04A59210-490A-4ED7-ABDF-044629B31B94}" type="datetime'''''20''''''''''''2''''''''''''7'''''''''''''''''''''''''''''">
              <a:rPr lang="en-US" altLang="en-US" sz="1200" smtClean="0">
                <a:solidFill>
                  <a:srgbClr val="000000"/>
                </a:solidFill>
                <a:cs typeface="+mn-cs"/>
              </a:rPr>
              <a:pPr lvl="0" algn="ctr" defTabSz="914377">
                <a:spcBef>
                  <a:spcPct val="0"/>
                </a:spcBef>
                <a:spcAft>
                  <a:spcPct val="0"/>
                </a:spcAft>
                <a:defRPr/>
              </a:pPr>
              <a:t>2027</a:t>
            </a:fld>
            <a:endParaRPr kumimoji="0" lang="en-US" sz="1200" b="0" i="0" strike="noStrike" kern="1200" cap="none" spc="0" normalizeH="0" baseline="0" noProof="0">
              <a:ln>
                <a:noFill/>
              </a:ln>
              <a:solidFill>
                <a:srgbClr val="000000"/>
              </a:solidFill>
              <a:effectLst/>
              <a:uLnTx/>
              <a:uFillTx/>
              <a:cs typeface="+mn-cs"/>
            </a:endParaRPr>
          </a:p>
        </p:txBody>
      </p:sp>
      <p:sp>
        <p:nvSpPr>
          <p:cNvPr id="34" name="Text Placeholder 2">
            <a:extLst>
              <a:ext uri="{FF2B5EF4-FFF2-40B4-BE49-F238E27FC236}">
                <a16:creationId xmlns:a16="http://schemas.microsoft.com/office/drawing/2014/main" id="{7B2BB0D1-0E48-EA12-A91A-418DEA5980CA}"/>
              </a:ext>
            </a:extLst>
          </p:cNvPr>
          <p:cNvSpPr>
            <a:spLocks noGrp="1"/>
          </p:cNvSpPr>
          <p:nvPr>
            <p:custDataLst>
              <p:tags r:id="rId12"/>
            </p:custDataLst>
          </p:nvPr>
        </p:nvSpPr>
        <p:spPr bwMode="auto">
          <a:xfrm>
            <a:off x="4719638" y="6076950"/>
            <a:ext cx="4000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defTabSz="914377">
              <a:spcBef>
                <a:spcPct val="0"/>
              </a:spcBef>
              <a:spcAft>
                <a:spcPct val="0"/>
              </a:spcAft>
              <a:defRPr/>
            </a:pPr>
            <a:fld id="{063695FA-141D-4EA9-8296-3FB78111F106}" type="datetime'''''2''''''''''0''''''''''''''''''''28'''''''''''">
              <a:rPr lang="en-US" altLang="en-US" sz="1200" smtClean="0">
                <a:solidFill>
                  <a:srgbClr val="000000"/>
                </a:solidFill>
                <a:cs typeface="+mn-cs"/>
              </a:rPr>
              <a:pPr lvl="0" algn="ctr" defTabSz="914377">
                <a:spcBef>
                  <a:spcPct val="0"/>
                </a:spcBef>
                <a:spcAft>
                  <a:spcPct val="0"/>
                </a:spcAft>
                <a:defRPr/>
              </a:pPr>
              <a:t>2028</a:t>
            </a:fld>
            <a:endParaRPr kumimoji="0" lang="en-US" sz="1200" b="0" i="0" strike="noStrike" kern="1200" cap="none" spc="0" normalizeH="0" baseline="0" noProof="0">
              <a:ln>
                <a:noFill/>
              </a:ln>
              <a:solidFill>
                <a:srgbClr val="000000"/>
              </a:solidFill>
              <a:effectLst/>
              <a:uLnTx/>
              <a:uFillTx/>
              <a:cs typeface="+mn-cs"/>
            </a:endParaRPr>
          </a:p>
        </p:txBody>
      </p:sp>
      <p:sp>
        <p:nvSpPr>
          <p:cNvPr id="16" name="Text Placeholder 2">
            <a:extLst>
              <a:ext uri="{FF2B5EF4-FFF2-40B4-BE49-F238E27FC236}">
                <a16:creationId xmlns:a16="http://schemas.microsoft.com/office/drawing/2014/main" id="{AC50FD60-4CAA-1578-7960-0552EBBF2C1E}"/>
              </a:ext>
            </a:extLst>
          </p:cNvPr>
          <p:cNvSpPr>
            <a:spLocks noGrp="1"/>
          </p:cNvSpPr>
          <p:nvPr>
            <p:custDataLst>
              <p:tags r:id="rId13"/>
            </p:custDataLst>
          </p:nvPr>
        </p:nvSpPr>
        <p:spPr bwMode="auto">
          <a:xfrm>
            <a:off x="5391150" y="6076950"/>
            <a:ext cx="4000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defTabSz="914377">
              <a:spcBef>
                <a:spcPct val="0"/>
              </a:spcBef>
              <a:spcAft>
                <a:spcPct val="0"/>
              </a:spcAft>
              <a:defRPr/>
            </a:pPr>
            <a:fld id="{B49511D1-FCD5-4956-9C53-84A39F342145}" type="datetime'''2''''''''''''''''''0''''''''''''''''''2''''''''''''''9'''''">
              <a:rPr lang="en-US" altLang="en-US" sz="1200" smtClean="0">
                <a:solidFill>
                  <a:srgbClr val="000000"/>
                </a:solidFill>
                <a:cs typeface="+mn-cs"/>
              </a:rPr>
              <a:pPr lvl="0" algn="ctr" defTabSz="914377">
                <a:spcBef>
                  <a:spcPct val="0"/>
                </a:spcBef>
                <a:spcAft>
                  <a:spcPct val="0"/>
                </a:spcAft>
                <a:defRPr/>
              </a:pPr>
              <a:t>2029</a:t>
            </a:fld>
            <a:endParaRPr kumimoji="0" lang="en-US" sz="1200" b="0" i="0" strike="noStrike" kern="1200" cap="none" spc="0" normalizeH="0" baseline="0" noProof="0">
              <a:ln>
                <a:noFill/>
              </a:ln>
              <a:solidFill>
                <a:srgbClr val="000000"/>
              </a:solidFill>
              <a:effectLst/>
              <a:uLnTx/>
              <a:uFillTx/>
              <a:cs typeface="+mn-cs"/>
            </a:endParaRPr>
          </a:p>
        </p:txBody>
      </p:sp>
      <p:sp>
        <p:nvSpPr>
          <p:cNvPr id="49" name="Text Placeholder 4">
            <a:extLst>
              <a:ext uri="{FF2B5EF4-FFF2-40B4-BE49-F238E27FC236}">
                <a16:creationId xmlns:a16="http://schemas.microsoft.com/office/drawing/2014/main" id="{4C1F3293-4EFE-461D-940D-7EE66BAE31C5}"/>
              </a:ext>
            </a:extLst>
          </p:cNvPr>
          <p:cNvSpPr>
            <a:spLocks noGrp="1"/>
          </p:cNvSpPr>
          <p:nvPr>
            <p:custDataLst>
              <p:tags r:id="rId14"/>
            </p:custDataLst>
          </p:nvPr>
        </p:nvSpPr>
        <p:spPr bwMode="gray">
          <a:xfrm>
            <a:off x="4773613" y="4075113"/>
            <a:ext cx="2936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rm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7115B1F-064C-457F-AD16-CF799CC6068D}" type="datetime'''''''''''''1'''''''''''''',''''''''''''''''3'">
              <a:rPr lang="en-US" altLang="en-US" sz="1200" smtClean="0">
                <a:effectLst/>
              </a:rPr>
              <a:pPr lvl="0" algn="ctr">
                <a:spcBef>
                  <a:spcPct val="0"/>
                </a:spcBef>
                <a:spcAft>
                  <a:spcPct val="0"/>
                </a:spcAft>
              </a:pPr>
              <a:t>1,3</a:t>
            </a:fld>
            <a:endParaRPr lang="en-US" sz="1200"/>
          </a:p>
        </p:txBody>
      </p:sp>
      <p:sp>
        <p:nvSpPr>
          <p:cNvPr id="13" name="Text Placeholder 4">
            <a:extLst>
              <a:ext uri="{FF2B5EF4-FFF2-40B4-BE49-F238E27FC236}">
                <a16:creationId xmlns:a16="http://schemas.microsoft.com/office/drawing/2014/main" id="{9D13780D-9A34-7245-AA02-2A4FB9FD9FBF}"/>
              </a:ext>
            </a:extLst>
          </p:cNvPr>
          <p:cNvSpPr>
            <a:spLocks noGrp="1"/>
          </p:cNvSpPr>
          <p:nvPr>
            <p:custDataLst>
              <p:tags r:id="rId15"/>
            </p:custDataLst>
          </p:nvPr>
        </p:nvSpPr>
        <p:spPr bwMode="gray">
          <a:xfrm>
            <a:off x="693738" y="2808288"/>
            <a:ext cx="390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rmAutofit/>
          </a:bodyPr>
          <a:lstStyle>
            <a:lvl1pPr marL="0" indent="0" algn="l" defTabSz="685783" rtl="0" eaLnBrk="1" latinLnBrk="0" hangingPunct="1">
              <a:lnSpc>
                <a:spcPct val="100000"/>
              </a:lnSpc>
              <a:spcBef>
                <a:spcPts val="225"/>
              </a:spcBef>
              <a:spcAft>
                <a:spcPts val="225"/>
              </a:spcAft>
              <a:buClr>
                <a:schemeClr val="tx1"/>
              </a:buClr>
              <a:buSzPct val="100000"/>
              <a:buFont typeface="Segoe UI" panose="020B0502040204020203" pitchFamily="34" charset="0"/>
              <a:buChar char="​"/>
              <a:defRPr lang="en-US" sz="1200" kern="1200" dirty="0">
                <a:solidFill>
                  <a:schemeClr val="tx1"/>
                </a:solidFill>
                <a:latin typeface="+mn-lt"/>
                <a:ea typeface="+mn-ea"/>
                <a:cs typeface="+mn-cs"/>
              </a:defRPr>
            </a:lvl1pPr>
            <a:lvl2pPr marL="171446" indent="-171446" algn="l" defTabSz="685783" rtl="0" eaLnBrk="1" latinLnBrk="0" hangingPunct="1">
              <a:lnSpc>
                <a:spcPct val="100000"/>
              </a:lnSpc>
              <a:spcBef>
                <a:spcPts val="0"/>
              </a:spcBef>
              <a:spcAft>
                <a:spcPts val="225"/>
              </a:spcAft>
              <a:buClr>
                <a:schemeClr val="accent1"/>
              </a:buClr>
              <a:buSzPct val="110000"/>
              <a:buFont typeface="Wingdings" panose="05000000000000000000" pitchFamily="2" charset="2"/>
              <a:buChar char=""/>
              <a:defRPr lang="en-US" sz="1200" kern="1200" dirty="0">
                <a:solidFill>
                  <a:schemeClr val="tx1"/>
                </a:solidFill>
                <a:latin typeface="+mn-lt"/>
                <a:ea typeface="+mn-ea"/>
                <a:cs typeface="+mn-cs"/>
              </a:defRPr>
            </a:lvl2pPr>
            <a:lvl3pPr marL="329176" indent="-157730" algn="l" defTabSz="685783" rtl="0" eaLnBrk="1" latinLnBrk="0" hangingPunct="1">
              <a:lnSpc>
                <a:spcPct val="100000"/>
              </a:lnSpc>
              <a:spcBef>
                <a:spcPts val="0"/>
              </a:spcBef>
              <a:spcAft>
                <a:spcPts val="225"/>
              </a:spcAft>
              <a:buClr>
                <a:schemeClr val="accent1"/>
              </a:buClr>
              <a:buSzPct val="110000"/>
              <a:buFont typeface="Arial" panose="020B0604020202020204" pitchFamily="34" charset="0"/>
              <a:buChar char="‒"/>
              <a:defRPr lang="en-US" sz="1200" kern="1200" dirty="0">
                <a:solidFill>
                  <a:schemeClr val="tx1"/>
                </a:solidFill>
                <a:latin typeface="+mn-lt"/>
                <a:ea typeface="+mn-ea"/>
                <a:cs typeface="+mn-cs"/>
              </a:defRPr>
            </a:lvl3pPr>
            <a:lvl4pPr marL="445759" indent="-116583" algn="l" defTabSz="685783" rtl="0" eaLnBrk="1" latinLnBrk="0" hangingPunct="1">
              <a:lnSpc>
                <a:spcPct val="100000"/>
              </a:lnSpc>
              <a:spcBef>
                <a:spcPts val="0"/>
              </a:spcBef>
              <a:spcAft>
                <a:spcPts val="225"/>
              </a:spcAft>
              <a:buClr>
                <a:schemeClr val="accent1"/>
              </a:buClr>
              <a:buSzPct val="100000"/>
              <a:buFont typeface="Arial" panose="020B0604020202020204" pitchFamily="34" charset="0"/>
              <a:buChar char="•"/>
              <a:defRPr lang="en-US" sz="1200" kern="1200" dirty="0">
                <a:solidFill>
                  <a:schemeClr val="tx1"/>
                </a:solidFill>
                <a:latin typeface="+mn-lt"/>
                <a:ea typeface="+mn-ea"/>
                <a:cs typeface="+mn-cs"/>
              </a:defRPr>
            </a:lvl4pPr>
            <a:lvl5pPr marL="610347" indent="-109725" algn="l" defTabSz="685783" rtl="0" eaLnBrk="1" latinLnBrk="0" hangingPunct="1">
              <a:lnSpc>
                <a:spcPct val="100000"/>
              </a:lnSpc>
              <a:spcBef>
                <a:spcPts val="0"/>
              </a:spcBef>
              <a:spcAft>
                <a:spcPts val="225"/>
              </a:spcAft>
              <a:buClr>
                <a:schemeClr val="accent1"/>
              </a:buClr>
              <a:buSzPct val="100000"/>
              <a:buFont typeface="Arial" panose="020B0604020202020204" pitchFamily="34" charset="0"/>
              <a:buChar char="̶"/>
              <a:defRPr lang="en-US" sz="1200" kern="1200" dirty="0">
                <a:solidFill>
                  <a:schemeClr val="tx1"/>
                </a:solidFill>
                <a:latin typeface="+mn-lt"/>
                <a:ea typeface="+mn-ea"/>
                <a:cs typeface="+mn-cs"/>
              </a:defRPr>
            </a:lvl5pPr>
            <a:lvl6pPr marL="814368" indent="-128585" algn="l" defTabSz="685783"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6pPr>
            <a:lvl7pPr marL="814368" indent="-128585" algn="l" defTabSz="685783"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7pPr>
            <a:lvl8pPr marL="814368" indent="-128585" algn="l" defTabSz="685783"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8pPr>
            <a:lvl9pPr marL="814368" indent="-128585" algn="l" defTabSz="685783"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3F4043"/>
              </a:buClr>
              <a:defRPr/>
            </a:pPr>
            <a:fld id="{F75591AE-BEA6-4220-BA32-9E966F2E8708}" type="datetime'''''''''''1''''''''''''''''''''8'''''',''''''''''''''0'''''">
              <a:rPr lang="en-US" altLang="en-US" smtClean="0">
                <a:solidFill>
                  <a:srgbClr val="000000"/>
                </a:solidFill>
              </a:rPr>
              <a:pPr lvl="0" algn="ctr">
                <a:spcBef>
                  <a:spcPct val="0"/>
                </a:spcBef>
                <a:spcAft>
                  <a:spcPct val="0"/>
                </a:spcAft>
                <a:buClr>
                  <a:srgbClr val="3F4043"/>
                </a:buClr>
                <a:defRPr/>
              </a:pPr>
              <a:t>18,0</a:t>
            </a:fld>
            <a:endParaRPr kumimoji="0" lang="en-US" sz="1200" b="0" i="0" strike="noStrike" kern="1200" cap="none" spc="0" normalizeH="0" baseline="0" noProof="0">
              <a:ln>
                <a:noFill/>
              </a:ln>
              <a:solidFill>
                <a:srgbClr val="000000"/>
              </a:solidFill>
              <a:effectLst/>
              <a:uLnTx/>
              <a:uFillTx/>
            </a:endParaRPr>
          </a:p>
        </p:txBody>
      </p:sp>
      <p:sp>
        <p:nvSpPr>
          <p:cNvPr id="210" name="Text Placeholder 4">
            <a:extLst>
              <a:ext uri="{FF2B5EF4-FFF2-40B4-BE49-F238E27FC236}">
                <a16:creationId xmlns:a16="http://schemas.microsoft.com/office/drawing/2014/main" id="{FFA92CEE-0EDE-0F5F-1E87-2330A0476DE7}"/>
              </a:ext>
            </a:extLst>
          </p:cNvPr>
          <p:cNvSpPr>
            <a:spLocks noGrp="1"/>
          </p:cNvSpPr>
          <p:nvPr>
            <p:custDataLst>
              <p:tags r:id="rId16"/>
            </p:custDataLst>
          </p:nvPr>
        </p:nvSpPr>
        <p:spPr bwMode="gray">
          <a:xfrm>
            <a:off x="1365250" y="3419475"/>
            <a:ext cx="390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rmAutofit/>
          </a:bodyPr>
          <a:lstStyle>
            <a:lvl1pPr marL="0" indent="0" algn="l" defTabSz="685783" rtl="0" eaLnBrk="1" latinLnBrk="0" hangingPunct="1">
              <a:lnSpc>
                <a:spcPct val="100000"/>
              </a:lnSpc>
              <a:spcBef>
                <a:spcPts val="225"/>
              </a:spcBef>
              <a:spcAft>
                <a:spcPts val="225"/>
              </a:spcAft>
              <a:buClr>
                <a:schemeClr val="tx1"/>
              </a:buClr>
              <a:buSzPct val="100000"/>
              <a:buFont typeface="Segoe UI" panose="020B0502040204020203" pitchFamily="34" charset="0"/>
              <a:buChar char="​"/>
              <a:defRPr lang="en-US" sz="1200" kern="1200" dirty="0">
                <a:solidFill>
                  <a:schemeClr val="tx1"/>
                </a:solidFill>
                <a:latin typeface="+mn-lt"/>
                <a:ea typeface="+mn-ea"/>
                <a:cs typeface="+mn-cs"/>
              </a:defRPr>
            </a:lvl1pPr>
            <a:lvl2pPr marL="171446" indent="-171446" algn="l" defTabSz="685783" rtl="0" eaLnBrk="1" latinLnBrk="0" hangingPunct="1">
              <a:lnSpc>
                <a:spcPct val="100000"/>
              </a:lnSpc>
              <a:spcBef>
                <a:spcPts val="0"/>
              </a:spcBef>
              <a:spcAft>
                <a:spcPts val="225"/>
              </a:spcAft>
              <a:buClr>
                <a:schemeClr val="accent1"/>
              </a:buClr>
              <a:buSzPct val="110000"/>
              <a:buFont typeface="Wingdings" panose="05000000000000000000" pitchFamily="2" charset="2"/>
              <a:buChar char=""/>
              <a:defRPr lang="en-US" sz="1200" kern="1200" dirty="0">
                <a:solidFill>
                  <a:schemeClr val="tx1"/>
                </a:solidFill>
                <a:latin typeface="+mn-lt"/>
                <a:ea typeface="+mn-ea"/>
                <a:cs typeface="+mn-cs"/>
              </a:defRPr>
            </a:lvl2pPr>
            <a:lvl3pPr marL="329176" indent="-157730" algn="l" defTabSz="685783" rtl="0" eaLnBrk="1" latinLnBrk="0" hangingPunct="1">
              <a:lnSpc>
                <a:spcPct val="100000"/>
              </a:lnSpc>
              <a:spcBef>
                <a:spcPts val="0"/>
              </a:spcBef>
              <a:spcAft>
                <a:spcPts val="225"/>
              </a:spcAft>
              <a:buClr>
                <a:schemeClr val="accent1"/>
              </a:buClr>
              <a:buSzPct val="110000"/>
              <a:buFont typeface="Arial" panose="020B0604020202020204" pitchFamily="34" charset="0"/>
              <a:buChar char="‒"/>
              <a:defRPr lang="en-US" sz="1200" kern="1200" dirty="0">
                <a:solidFill>
                  <a:schemeClr val="tx1"/>
                </a:solidFill>
                <a:latin typeface="+mn-lt"/>
                <a:ea typeface="+mn-ea"/>
                <a:cs typeface="+mn-cs"/>
              </a:defRPr>
            </a:lvl3pPr>
            <a:lvl4pPr marL="445759" indent="-116583" algn="l" defTabSz="685783" rtl="0" eaLnBrk="1" latinLnBrk="0" hangingPunct="1">
              <a:lnSpc>
                <a:spcPct val="100000"/>
              </a:lnSpc>
              <a:spcBef>
                <a:spcPts val="0"/>
              </a:spcBef>
              <a:spcAft>
                <a:spcPts val="225"/>
              </a:spcAft>
              <a:buClr>
                <a:schemeClr val="accent1"/>
              </a:buClr>
              <a:buSzPct val="100000"/>
              <a:buFont typeface="Arial" panose="020B0604020202020204" pitchFamily="34" charset="0"/>
              <a:buChar char="•"/>
              <a:defRPr lang="en-US" sz="1200" kern="1200" dirty="0">
                <a:solidFill>
                  <a:schemeClr val="tx1"/>
                </a:solidFill>
                <a:latin typeface="+mn-lt"/>
                <a:ea typeface="+mn-ea"/>
                <a:cs typeface="+mn-cs"/>
              </a:defRPr>
            </a:lvl4pPr>
            <a:lvl5pPr marL="610347" indent="-109725" algn="l" defTabSz="685783" rtl="0" eaLnBrk="1" latinLnBrk="0" hangingPunct="1">
              <a:lnSpc>
                <a:spcPct val="100000"/>
              </a:lnSpc>
              <a:spcBef>
                <a:spcPts val="0"/>
              </a:spcBef>
              <a:spcAft>
                <a:spcPts val="225"/>
              </a:spcAft>
              <a:buClr>
                <a:schemeClr val="accent1"/>
              </a:buClr>
              <a:buSzPct val="100000"/>
              <a:buFont typeface="Arial" panose="020B0604020202020204" pitchFamily="34" charset="0"/>
              <a:buChar char="̶"/>
              <a:defRPr lang="en-US" sz="1200" kern="1200" dirty="0">
                <a:solidFill>
                  <a:schemeClr val="tx1"/>
                </a:solidFill>
                <a:latin typeface="+mn-lt"/>
                <a:ea typeface="+mn-ea"/>
                <a:cs typeface="+mn-cs"/>
              </a:defRPr>
            </a:lvl5pPr>
            <a:lvl6pPr marL="814368" indent="-128585" algn="l" defTabSz="685783"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6pPr>
            <a:lvl7pPr marL="814368" indent="-128585" algn="l" defTabSz="685783"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7pPr>
            <a:lvl8pPr marL="814368" indent="-128585" algn="l" defTabSz="685783"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8pPr>
            <a:lvl9pPr marL="814368" indent="-128585" algn="l" defTabSz="685783"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3F4043"/>
              </a:buClr>
              <a:defRPr/>
            </a:pPr>
            <a:fld id="{A10D8725-0E98-4ECA-945A-396DD4725F29}" type="datetime'''''''''''1''''''4'''''''''''''''''''''',''''3'''">
              <a:rPr lang="en-US" altLang="en-US" smtClean="0">
                <a:solidFill>
                  <a:srgbClr val="000000"/>
                </a:solidFill>
              </a:rPr>
              <a:pPr lvl="0" algn="ctr">
                <a:spcBef>
                  <a:spcPct val="0"/>
                </a:spcBef>
                <a:spcAft>
                  <a:spcPct val="0"/>
                </a:spcAft>
                <a:buClr>
                  <a:srgbClr val="3F4043"/>
                </a:buClr>
                <a:defRPr/>
              </a:pPr>
              <a:t>14,3</a:t>
            </a:fld>
            <a:endParaRPr kumimoji="0" lang="en-US" sz="1200" b="0" i="0" strike="noStrike" kern="1200" cap="none" spc="0" normalizeH="0" baseline="0" noProof="0">
              <a:ln>
                <a:noFill/>
              </a:ln>
              <a:solidFill>
                <a:srgbClr val="000000"/>
              </a:solidFill>
              <a:effectLst/>
              <a:uLnTx/>
              <a:uFillTx/>
            </a:endParaRPr>
          </a:p>
        </p:txBody>
      </p:sp>
      <p:sp>
        <p:nvSpPr>
          <p:cNvPr id="200" name="Text Placeholder 4">
            <a:extLst>
              <a:ext uri="{FF2B5EF4-FFF2-40B4-BE49-F238E27FC236}">
                <a16:creationId xmlns:a16="http://schemas.microsoft.com/office/drawing/2014/main" id="{4C1F3293-4EFE-461D-940D-7EE66BAE31C5}"/>
              </a:ext>
            </a:extLst>
          </p:cNvPr>
          <p:cNvSpPr>
            <a:spLocks noGrp="1"/>
          </p:cNvSpPr>
          <p:nvPr>
            <p:custDataLst>
              <p:tags r:id="rId17"/>
            </p:custDataLst>
          </p:nvPr>
        </p:nvSpPr>
        <p:spPr bwMode="gray">
          <a:xfrm>
            <a:off x="2036763" y="3656013"/>
            <a:ext cx="390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rmAutofit/>
          </a:bodyPr>
          <a:lstStyle>
            <a:lvl1pPr marL="0" indent="0" algn="l" defTabSz="685783" rtl="0" eaLnBrk="1" latinLnBrk="0" hangingPunct="1">
              <a:lnSpc>
                <a:spcPct val="100000"/>
              </a:lnSpc>
              <a:spcBef>
                <a:spcPts val="225"/>
              </a:spcBef>
              <a:spcAft>
                <a:spcPts val="225"/>
              </a:spcAft>
              <a:buClr>
                <a:schemeClr val="tx1"/>
              </a:buClr>
              <a:buSzPct val="100000"/>
              <a:buFont typeface="Segoe UI" panose="020B0502040204020203" pitchFamily="34" charset="0"/>
              <a:buChar char="​"/>
              <a:defRPr lang="en-US" sz="1200" kern="1200" dirty="0">
                <a:solidFill>
                  <a:schemeClr val="tx1"/>
                </a:solidFill>
                <a:latin typeface="+mn-lt"/>
                <a:ea typeface="+mn-ea"/>
                <a:cs typeface="+mn-cs"/>
              </a:defRPr>
            </a:lvl1pPr>
            <a:lvl2pPr marL="171446" indent="-171446" algn="l" defTabSz="685783" rtl="0" eaLnBrk="1" latinLnBrk="0" hangingPunct="1">
              <a:lnSpc>
                <a:spcPct val="100000"/>
              </a:lnSpc>
              <a:spcBef>
                <a:spcPts val="0"/>
              </a:spcBef>
              <a:spcAft>
                <a:spcPts val="225"/>
              </a:spcAft>
              <a:buClr>
                <a:schemeClr val="accent1"/>
              </a:buClr>
              <a:buSzPct val="110000"/>
              <a:buFont typeface="Wingdings" panose="05000000000000000000" pitchFamily="2" charset="2"/>
              <a:buChar char=""/>
              <a:defRPr lang="en-US" sz="1200" kern="1200" dirty="0">
                <a:solidFill>
                  <a:schemeClr val="tx1"/>
                </a:solidFill>
                <a:latin typeface="+mn-lt"/>
                <a:ea typeface="+mn-ea"/>
                <a:cs typeface="+mn-cs"/>
              </a:defRPr>
            </a:lvl2pPr>
            <a:lvl3pPr marL="329176" indent="-157730" algn="l" defTabSz="685783" rtl="0" eaLnBrk="1" latinLnBrk="0" hangingPunct="1">
              <a:lnSpc>
                <a:spcPct val="100000"/>
              </a:lnSpc>
              <a:spcBef>
                <a:spcPts val="0"/>
              </a:spcBef>
              <a:spcAft>
                <a:spcPts val="225"/>
              </a:spcAft>
              <a:buClr>
                <a:schemeClr val="accent1"/>
              </a:buClr>
              <a:buSzPct val="110000"/>
              <a:buFont typeface="Arial" panose="020B0604020202020204" pitchFamily="34" charset="0"/>
              <a:buChar char="‒"/>
              <a:defRPr lang="en-US" sz="1200" kern="1200" dirty="0">
                <a:solidFill>
                  <a:schemeClr val="tx1"/>
                </a:solidFill>
                <a:latin typeface="+mn-lt"/>
                <a:ea typeface="+mn-ea"/>
                <a:cs typeface="+mn-cs"/>
              </a:defRPr>
            </a:lvl3pPr>
            <a:lvl4pPr marL="445759" indent="-116583" algn="l" defTabSz="685783" rtl="0" eaLnBrk="1" latinLnBrk="0" hangingPunct="1">
              <a:lnSpc>
                <a:spcPct val="100000"/>
              </a:lnSpc>
              <a:spcBef>
                <a:spcPts val="0"/>
              </a:spcBef>
              <a:spcAft>
                <a:spcPts val="225"/>
              </a:spcAft>
              <a:buClr>
                <a:schemeClr val="accent1"/>
              </a:buClr>
              <a:buSzPct val="100000"/>
              <a:buFont typeface="Arial" panose="020B0604020202020204" pitchFamily="34" charset="0"/>
              <a:buChar char="•"/>
              <a:defRPr lang="en-US" sz="1200" kern="1200" dirty="0">
                <a:solidFill>
                  <a:schemeClr val="tx1"/>
                </a:solidFill>
                <a:latin typeface="+mn-lt"/>
                <a:ea typeface="+mn-ea"/>
                <a:cs typeface="+mn-cs"/>
              </a:defRPr>
            </a:lvl4pPr>
            <a:lvl5pPr marL="610347" indent="-109725" algn="l" defTabSz="685783" rtl="0" eaLnBrk="1" latinLnBrk="0" hangingPunct="1">
              <a:lnSpc>
                <a:spcPct val="100000"/>
              </a:lnSpc>
              <a:spcBef>
                <a:spcPts val="0"/>
              </a:spcBef>
              <a:spcAft>
                <a:spcPts val="225"/>
              </a:spcAft>
              <a:buClr>
                <a:schemeClr val="accent1"/>
              </a:buClr>
              <a:buSzPct val="100000"/>
              <a:buFont typeface="Arial" panose="020B0604020202020204" pitchFamily="34" charset="0"/>
              <a:buChar char="̶"/>
              <a:defRPr lang="en-US" sz="1200" kern="1200" dirty="0">
                <a:solidFill>
                  <a:schemeClr val="tx1"/>
                </a:solidFill>
                <a:latin typeface="+mn-lt"/>
                <a:ea typeface="+mn-ea"/>
                <a:cs typeface="+mn-cs"/>
              </a:defRPr>
            </a:lvl5pPr>
            <a:lvl6pPr marL="814368" indent="-128585" algn="l" defTabSz="685783"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6pPr>
            <a:lvl7pPr marL="814368" indent="-128585" algn="l" defTabSz="685783"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7pPr>
            <a:lvl8pPr marL="814368" indent="-128585" algn="l" defTabSz="685783"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8pPr>
            <a:lvl9pPr marL="814368" indent="-128585" algn="l" defTabSz="685783"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3F4043"/>
              </a:buClr>
              <a:defRPr/>
            </a:pPr>
            <a:fld id="{23291708-BA27-4083-AC1B-B459804CF4BE}" type="datetime'''1''2'''''''''''''',''''''9'''''''''''''''''''">
              <a:rPr lang="en-US" altLang="en-US" smtClean="0">
                <a:solidFill>
                  <a:srgbClr val="000000"/>
                </a:solidFill>
              </a:rPr>
              <a:pPr lvl="0" algn="ctr">
                <a:spcBef>
                  <a:spcPct val="0"/>
                </a:spcBef>
                <a:spcAft>
                  <a:spcPct val="0"/>
                </a:spcAft>
                <a:buClr>
                  <a:srgbClr val="3F4043"/>
                </a:buClr>
                <a:defRPr/>
              </a:pPr>
              <a:t>12,9</a:t>
            </a:fld>
            <a:endParaRPr kumimoji="0" lang="en-US" sz="1200" b="0" i="0" strike="noStrike" kern="1200" cap="none" spc="0" normalizeH="0" baseline="0" noProof="0">
              <a:ln>
                <a:noFill/>
              </a:ln>
              <a:solidFill>
                <a:srgbClr val="000000"/>
              </a:solidFill>
              <a:effectLst/>
              <a:uLnTx/>
              <a:uFillTx/>
            </a:endParaRPr>
          </a:p>
        </p:txBody>
      </p:sp>
      <p:sp>
        <p:nvSpPr>
          <p:cNvPr id="230" name="Text Placeholder 4">
            <a:extLst>
              <a:ext uri="{FF2B5EF4-FFF2-40B4-BE49-F238E27FC236}">
                <a16:creationId xmlns:a16="http://schemas.microsoft.com/office/drawing/2014/main" id="{5AA7E79D-6F20-C4A0-6A9B-C9CDBC3C53DA}"/>
              </a:ext>
            </a:extLst>
          </p:cNvPr>
          <p:cNvSpPr>
            <a:spLocks noGrp="1"/>
          </p:cNvSpPr>
          <p:nvPr>
            <p:custDataLst>
              <p:tags r:id="rId18"/>
            </p:custDataLst>
          </p:nvPr>
        </p:nvSpPr>
        <p:spPr bwMode="gray">
          <a:xfrm>
            <a:off x="2708275" y="3773488"/>
            <a:ext cx="390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rmAutofit/>
          </a:bodyPr>
          <a:lstStyle>
            <a:lvl1pPr marL="0" indent="0" algn="l" defTabSz="685783" rtl="0" eaLnBrk="1" latinLnBrk="0" hangingPunct="1">
              <a:lnSpc>
                <a:spcPct val="100000"/>
              </a:lnSpc>
              <a:spcBef>
                <a:spcPts val="225"/>
              </a:spcBef>
              <a:spcAft>
                <a:spcPts val="225"/>
              </a:spcAft>
              <a:buClr>
                <a:schemeClr val="tx1"/>
              </a:buClr>
              <a:buSzPct val="100000"/>
              <a:buFont typeface="Segoe UI" panose="020B0502040204020203" pitchFamily="34" charset="0"/>
              <a:buChar char="​"/>
              <a:defRPr lang="en-US" sz="1200" kern="1200" dirty="0">
                <a:solidFill>
                  <a:schemeClr val="tx1"/>
                </a:solidFill>
                <a:latin typeface="+mn-lt"/>
                <a:ea typeface="+mn-ea"/>
                <a:cs typeface="+mn-cs"/>
              </a:defRPr>
            </a:lvl1pPr>
            <a:lvl2pPr marL="171446" indent="-171446" algn="l" defTabSz="685783" rtl="0" eaLnBrk="1" latinLnBrk="0" hangingPunct="1">
              <a:lnSpc>
                <a:spcPct val="100000"/>
              </a:lnSpc>
              <a:spcBef>
                <a:spcPts val="0"/>
              </a:spcBef>
              <a:spcAft>
                <a:spcPts val="225"/>
              </a:spcAft>
              <a:buClr>
                <a:schemeClr val="accent1"/>
              </a:buClr>
              <a:buSzPct val="110000"/>
              <a:buFont typeface="Wingdings" panose="05000000000000000000" pitchFamily="2" charset="2"/>
              <a:buChar char=""/>
              <a:defRPr lang="en-US" sz="1200" kern="1200" dirty="0">
                <a:solidFill>
                  <a:schemeClr val="tx1"/>
                </a:solidFill>
                <a:latin typeface="+mn-lt"/>
                <a:ea typeface="+mn-ea"/>
                <a:cs typeface="+mn-cs"/>
              </a:defRPr>
            </a:lvl2pPr>
            <a:lvl3pPr marL="329176" indent="-157730" algn="l" defTabSz="685783" rtl="0" eaLnBrk="1" latinLnBrk="0" hangingPunct="1">
              <a:lnSpc>
                <a:spcPct val="100000"/>
              </a:lnSpc>
              <a:spcBef>
                <a:spcPts val="0"/>
              </a:spcBef>
              <a:spcAft>
                <a:spcPts val="225"/>
              </a:spcAft>
              <a:buClr>
                <a:schemeClr val="accent1"/>
              </a:buClr>
              <a:buSzPct val="110000"/>
              <a:buFont typeface="Arial" panose="020B0604020202020204" pitchFamily="34" charset="0"/>
              <a:buChar char="‒"/>
              <a:defRPr lang="en-US" sz="1200" kern="1200" dirty="0">
                <a:solidFill>
                  <a:schemeClr val="tx1"/>
                </a:solidFill>
                <a:latin typeface="+mn-lt"/>
                <a:ea typeface="+mn-ea"/>
                <a:cs typeface="+mn-cs"/>
              </a:defRPr>
            </a:lvl3pPr>
            <a:lvl4pPr marL="445759" indent="-116583" algn="l" defTabSz="685783" rtl="0" eaLnBrk="1" latinLnBrk="0" hangingPunct="1">
              <a:lnSpc>
                <a:spcPct val="100000"/>
              </a:lnSpc>
              <a:spcBef>
                <a:spcPts val="0"/>
              </a:spcBef>
              <a:spcAft>
                <a:spcPts val="225"/>
              </a:spcAft>
              <a:buClr>
                <a:schemeClr val="accent1"/>
              </a:buClr>
              <a:buSzPct val="100000"/>
              <a:buFont typeface="Arial" panose="020B0604020202020204" pitchFamily="34" charset="0"/>
              <a:buChar char="•"/>
              <a:defRPr lang="en-US" sz="1200" kern="1200" dirty="0">
                <a:solidFill>
                  <a:schemeClr val="tx1"/>
                </a:solidFill>
                <a:latin typeface="+mn-lt"/>
                <a:ea typeface="+mn-ea"/>
                <a:cs typeface="+mn-cs"/>
              </a:defRPr>
            </a:lvl4pPr>
            <a:lvl5pPr marL="610347" indent="-109725" algn="l" defTabSz="685783" rtl="0" eaLnBrk="1" latinLnBrk="0" hangingPunct="1">
              <a:lnSpc>
                <a:spcPct val="100000"/>
              </a:lnSpc>
              <a:spcBef>
                <a:spcPts val="0"/>
              </a:spcBef>
              <a:spcAft>
                <a:spcPts val="225"/>
              </a:spcAft>
              <a:buClr>
                <a:schemeClr val="accent1"/>
              </a:buClr>
              <a:buSzPct val="100000"/>
              <a:buFont typeface="Arial" panose="020B0604020202020204" pitchFamily="34" charset="0"/>
              <a:buChar char="̶"/>
              <a:defRPr lang="en-US" sz="1200" kern="1200" dirty="0">
                <a:solidFill>
                  <a:schemeClr val="tx1"/>
                </a:solidFill>
                <a:latin typeface="+mn-lt"/>
                <a:ea typeface="+mn-ea"/>
                <a:cs typeface="+mn-cs"/>
              </a:defRPr>
            </a:lvl5pPr>
            <a:lvl6pPr marL="814368" indent="-128585" algn="l" defTabSz="685783"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6pPr>
            <a:lvl7pPr marL="814368" indent="-128585" algn="l" defTabSz="685783"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7pPr>
            <a:lvl8pPr marL="814368" indent="-128585" algn="l" defTabSz="685783"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8pPr>
            <a:lvl9pPr marL="814368" indent="-128585" algn="l" defTabSz="685783"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3F4043"/>
              </a:buClr>
              <a:defRPr/>
            </a:pPr>
            <a:fld id="{5D2C200E-810D-4249-ADFB-B1BA5A1FDA3B}" type="datetime'''''''1''''''''2'',''''''''''''''''''''''''''''2'''''''''''''">
              <a:rPr lang="en-US" altLang="en-US" smtClean="0">
                <a:solidFill>
                  <a:srgbClr val="000000"/>
                </a:solidFill>
              </a:rPr>
              <a:pPr lvl="0" algn="ctr">
                <a:spcBef>
                  <a:spcPct val="0"/>
                </a:spcBef>
                <a:spcAft>
                  <a:spcPct val="0"/>
                </a:spcAft>
                <a:buClr>
                  <a:srgbClr val="3F4043"/>
                </a:buClr>
                <a:defRPr/>
              </a:pPr>
              <a:t>12,2</a:t>
            </a:fld>
            <a:endParaRPr kumimoji="0" lang="en-US" sz="1200" b="0" i="0" strike="noStrike" kern="1200" cap="none" spc="0" normalizeH="0" baseline="0" noProof="0">
              <a:ln>
                <a:noFill/>
              </a:ln>
              <a:solidFill>
                <a:srgbClr val="000000"/>
              </a:solidFill>
              <a:effectLst/>
              <a:uLnTx/>
              <a:uFillTx/>
            </a:endParaRPr>
          </a:p>
        </p:txBody>
      </p:sp>
      <p:sp>
        <p:nvSpPr>
          <p:cNvPr id="35" name="Text Placeholder 4">
            <a:extLst>
              <a:ext uri="{FF2B5EF4-FFF2-40B4-BE49-F238E27FC236}">
                <a16:creationId xmlns:a16="http://schemas.microsoft.com/office/drawing/2014/main" id="{FA04BAA8-C058-A322-11FC-E4D6A9B9204F}"/>
              </a:ext>
            </a:extLst>
          </p:cNvPr>
          <p:cNvSpPr>
            <a:spLocks noGrp="1"/>
          </p:cNvSpPr>
          <p:nvPr>
            <p:custDataLst>
              <p:tags r:id="rId19"/>
            </p:custDataLst>
          </p:nvPr>
        </p:nvSpPr>
        <p:spPr bwMode="gray">
          <a:xfrm>
            <a:off x="3381375" y="3849688"/>
            <a:ext cx="390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rmAutofit/>
          </a:bodyPr>
          <a:lstStyle>
            <a:lvl1pPr marL="0" indent="0" algn="l" defTabSz="685783" rtl="0" eaLnBrk="1" latinLnBrk="0" hangingPunct="1">
              <a:lnSpc>
                <a:spcPct val="100000"/>
              </a:lnSpc>
              <a:spcBef>
                <a:spcPts val="225"/>
              </a:spcBef>
              <a:spcAft>
                <a:spcPts val="225"/>
              </a:spcAft>
              <a:buClr>
                <a:schemeClr val="tx1"/>
              </a:buClr>
              <a:buSzPct val="100000"/>
              <a:buFont typeface="Segoe UI" panose="020B0502040204020203" pitchFamily="34" charset="0"/>
              <a:buChar char="​"/>
              <a:defRPr lang="en-US" sz="1200" kern="1200" dirty="0">
                <a:solidFill>
                  <a:schemeClr val="tx1"/>
                </a:solidFill>
                <a:latin typeface="+mn-lt"/>
                <a:ea typeface="+mn-ea"/>
                <a:cs typeface="+mn-cs"/>
              </a:defRPr>
            </a:lvl1pPr>
            <a:lvl2pPr marL="171446" indent="-171446" algn="l" defTabSz="685783" rtl="0" eaLnBrk="1" latinLnBrk="0" hangingPunct="1">
              <a:lnSpc>
                <a:spcPct val="100000"/>
              </a:lnSpc>
              <a:spcBef>
                <a:spcPts val="0"/>
              </a:spcBef>
              <a:spcAft>
                <a:spcPts val="225"/>
              </a:spcAft>
              <a:buClr>
                <a:schemeClr val="accent1"/>
              </a:buClr>
              <a:buSzPct val="110000"/>
              <a:buFont typeface="Wingdings" panose="05000000000000000000" pitchFamily="2" charset="2"/>
              <a:buChar char=""/>
              <a:defRPr lang="en-US" sz="1200" kern="1200" dirty="0">
                <a:solidFill>
                  <a:schemeClr val="tx1"/>
                </a:solidFill>
                <a:latin typeface="+mn-lt"/>
                <a:ea typeface="+mn-ea"/>
                <a:cs typeface="+mn-cs"/>
              </a:defRPr>
            </a:lvl2pPr>
            <a:lvl3pPr marL="329176" indent="-157730" algn="l" defTabSz="685783" rtl="0" eaLnBrk="1" latinLnBrk="0" hangingPunct="1">
              <a:lnSpc>
                <a:spcPct val="100000"/>
              </a:lnSpc>
              <a:spcBef>
                <a:spcPts val="0"/>
              </a:spcBef>
              <a:spcAft>
                <a:spcPts val="225"/>
              </a:spcAft>
              <a:buClr>
                <a:schemeClr val="accent1"/>
              </a:buClr>
              <a:buSzPct val="110000"/>
              <a:buFont typeface="Arial" panose="020B0604020202020204" pitchFamily="34" charset="0"/>
              <a:buChar char="‒"/>
              <a:defRPr lang="en-US" sz="1200" kern="1200" dirty="0">
                <a:solidFill>
                  <a:schemeClr val="tx1"/>
                </a:solidFill>
                <a:latin typeface="+mn-lt"/>
                <a:ea typeface="+mn-ea"/>
                <a:cs typeface="+mn-cs"/>
              </a:defRPr>
            </a:lvl3pPr>
            <a:lvl4pPr marL="445759" indent="-116583" algn="l" defTabSz="685783" rtl="0" eaLnBrk="1" latinLnBrk="0" hangingPunct="1">
              <a:lnSpc>
                <a:spcPct val="100000"/>
              </a:lnSpc>
              <a:spcBef>
                <a:spcPts val="0"/>
              </a:spcBef>
              <a:spcAft>
                <a:spcPts val="225"/>
              </a:spcAft>
              <a:buClr>
                <a:schemeClr val="accent1"/>
              </a:buClr>
              <a:buSzPct val="100000"/>
              <a:buFont typeface="Arial" panose="020B0604020202020204" pitchFamily="34" charset="0"/>
              <a:buChar char="•"/>
              <a:defRPr lang="en-US" sz="1200" kern="1200" dirty="0">
                <a:solidFill>
                  <a:schemeClr val="tx1"/>
                </a:solidFill>
                <a:latin typeface="+mn-lt"/>
                <a:ea typeface="+mn-ea"/>
                <a:cs typeface="+mn-cs"/>
              </a:defRPr>
            </a:lvl4pPr>
            <a:lvl5pPr marL="610347" indent="-109725" algn="l" defTabSz="685783" rtl="0" eaLnBrk="1" latinLnBrk="0" hangingPunct="1">
              <a:lnSpc>
                <a:spcPct val="100000"/>
              </a:lnSpc>
              <a:spcBef>
                <a:spcPts val="0"/>
              </a:spcBef>
              <a:spcAft>
                <a:spcPts val="225"/>
              </a:spcAft>
              <a:buClr>
                <a:schemeClr val="accent1"/>
              </a:buClr>
              <a:buSzPct val="100000"/>
              <a:buFont typeface="Arial" panose="020B0604020202020204" pitchFamily="34" charset="0"/>
              <a:buChar char="̶"/>
              <a:defRPr lang="en-US" sz="1200" kern="1200" dirty="0">
                <a:solidFill>
                  <a:schemeClr val="tx1"/>
                </a:solidFill>
                <a:latin typeface="+mn-lt"/>
                <a:ea typeface="+mn-ea"/>
                <a:cs typeface="+mn-cs"/>
              </a:defRPr>
            </a:lvl5pPr>
            <a:lvl6pPr marL="814368" indent="-128585" algn="l" defTabSz="685783"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6pPr>
            <a:lvl7pPr marL="814368" indent="-128585" algn="l" defTabSz="685783"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7pPr>
            <a:lvl8pPr marL="814368" indent="-128585" algn="l" defTabSz="685783"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8pPr>
            <a:lvl9pPr marL="814368" indent="-128585" algn="l" defTabSz="685783"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3F4043"/>
              </a:buClr>
              <a:defRPr/>
            </a:pPr>
            <a:fld id="{985FDBD4-B234-48AB-BB35-09F8E8302F36}" type="datetime'''1''''''''''''''''''1'''',''''''8'''''">
              <a:rPr lang="en-US" altLang="en-US" smtClean="0">
                <a:solidFill>
                  <a:srgbClr val="000000"/>
                </a:solidFill>
              </a:rPr>
              <a:pPr lvl="0" algn="ctr">
                <a:spcBef>
                  <a:spcPct val="0"/>
                </a:spcBef>
                <a:spcAft>
                  <a:spcPct val="0"/>
                </a:spcAft>
                <a:buClr>
                  <a:srgbClr val="3F4043"/>
                </a:buClr>
                <a:defRPr/>
              </a:pPr>
              <a:t>11,8</a:t>
            </a:fld>
            <a:endParaRPr kumimoji="0" lang="en-US" sz="1200" b="0" i="0" strike="noStrike" kern="1200" cap="none" spc="0" normalizeH="0" baseline="0" noProof="0">
              <a:ln>
                <a:noFill/>
              </a:ln>
              <a:solidFill>
                <a:srgbClr val="000000"/>
              </a:solidFill>
              <a:effectLst/>
              <a:uLnTx/>
              <a:uFillTx/>
            </a:endParaRPr>
          </a:p>
        </p:txBody>
      </p:sp>
      <p:sp>
        <p:nvSpPr>
          <p:cNvPr id="234" name="Text Placeholder 4">
            <a:extLst>
              <a:ext uri="{FF2B5EF4-FFF2-40B4-BE49-F238E27FC236}">
                <a16:creationId xmlns:a16="http://schemas.microsoft.com/office/drawing/2014/main" id="{547704A2-C996-F611-1B20-B8C74476C0DE}"/>
              </a:ext>
            </a:extLst>
          </p:cNvPr>
          <p:cNvSpPr>
            <a:spLocks noGrp="1"/>
          </p:cNvSpPr>
          <p:nvPr>
            <p:custDataLst>
              <p:tags r:id="rId20"/>
            </p:custDataLst>
          </p:nvPr>
        </p:nvSpPr>
        <p:spPr bwMode="gray">
          <a:xfrm>
            <a:off x="4052888" y="3883025"/>
            <a:ext cx="390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rmAutofit/>
          </a:bodyPr>
          <a:lstStyle>
            <a:lvl1pPr marL="0" indent="0" algn="l" defTabSz="685783" rtl="0" eaLnBrk="1" latinLnBrk="0" hangingPunct="1">
              <a:lnSpc>
                <a:spcPct val="100000"/>
              </a:lnSpc>
              <a:spcBef>
                <a:spcPts val="225"/>
              </a:spcBef>
              <a:spcAft>
                <a:spcPts val="225"/>
              </a:spcAft>
              <a:buClr>
                <a:schemeClr val="tx1"/>
              </a:buClr>
              <a:buSzPct val="100000"/>
              <a:buFont typeface="Segoe UI" panose="020B0502040204020203" pitchFamily="34" charset="0"/>
              <a:buChar char="​"/>
              <a:defRPr lang="en-US" sz="1200" kern="1200" dirty="0">
                <a:solidFill>
                  <a:schemeClr val="tx1"/>
                </a:solidFill>
                <a:latin typeface="+mn-lt"/>
                <a:ea typeface="+mn-ea"/>
                <a:cs typeface="+mn-cs"/>
              </a:defRPr>
            </a:lvl1pPr>
            <a:lvl2pPr marL="171446" indent="-171446" algn="l" defTabSz="685783" rtl="0" eaLnBrk="1" latinLnBrk="0" hangingPunct="1">
              <a:lnSpc>
                <a:spcPct val="100000"/>
              </a:lnSpc>
              <a:spcBef>
                <a:spcPts val="0"/>
              </a:spcBef>
              <a:spcAft>
                <a:spcPts val="225"/>
              </a:spcAft>
              <a:buClr>
                <a:schemeClr val="accent1"/>
              </a:buClr>
              <a:buSzPct val="110000"/>
              <a:buFont typeface="Wingdings" panose="05000000000000000000" pitchFamily="2" charset="2"/>
              <a:buChar char=""/>
              <a:defRPr lang="en-US" sz="1200" kern="1200" dirty="0">
                <a:solidFill>
                  <a:schemeClr val="tx1"/>
                </a:solidFill>
                <a:latin typeface="+mn-lt"/>
                <a:ea typeface="+mn-ea"/>
                <a:cs typeface="+mn-cs"/>
              </a:defRPr>
            </a:lvl2pPr>
            <a:lvl3pPr marL="329176" indent="-157730" algn="l" defTabSz="685783" rtl="0" eaLnBrk="1" latinLnBrk="0" hangingPunct="1">
              <a:lnSpc>
                <a:spcPct val="100000"/>
              </a:lnSpc>
              <a:spcBef>
                <a:spcPts val="0"/>
              </a:spcBef>
              <a:spcAft>
                <a:spcPts val="225"/>
              </a:spcAft>
              <a:buClr>
                <a:schemeClr val="accent1"/>
              </a:buClr>
              <a:buSzPct val="110000"/>
              <a:buFont typeface="Arial" panose="020B0604020202020204" pitchFamily="34" charset="0"/>
              <a:buChar char="‒"/>
              <a:defRPr lang="en-US" sz="1200" kern="1200" dirty="0">
                <a:solidFill>
                  <a:schemeClr val="tx1"/>
                </a:solidFill>
                <a:latin typeface="+mn-lt"/>
                <a:ea typeface="+mn-ea"/>
                <a:cs typeface="+mn-cs"/>
              </a:defRPr>
            </a:lvl3pPr>
            <a:lvl4pPr marL="445759" indent="-116583" algn="l" defTabSz="685783" rtl="0" eaLnBrk="1" latinLnBrk="0" hangingPunct="1">
              <a:lnSpc>
                <a:spcPct val="100000"/>
              </a:lnSpc>
              <a:spcBef>
                <a:spcPts val="0"/>
              </a:spcBef>
              <a:spcAft>
                <a:spcPts val="225"/>
              </a:spcAft>
              <a:buClr>
                <a:schemeClr val="accent1"/>
              </a:buClr>
              <a:buSzPct val="100000"/>
              <a:buFont typeface="Arial" panose="020B0604020202020204" pitchFamily="34" charset="0"/>
              <a:buChar char="•"/>
              <a:defRPr lang="en-US" sz="1200" kern="1200" dirty="0">
                <a:solidFill>
                  <a:schemeClr val="tx1"/>
                </a:solidFill>
                <a:latin typeface="+mn-lt"/>
                <a:ea typeface="+mn-ea"/>
                <a:cs typeface="+mn-cs"/>
              </a:defRPr>
            </a:lvl4pPr>
            <a:lvl5pPr marL="610347" indent="-109725" algn="l" defTabSz="685783" rtl="0" eaLnBrk="1" latinLnBrk="0" hangingPunct="1">
              <a:lnSpc>
                <a:spcPct val="100000"/>
              </a:lnSpc>
              <a:spcBef>
                <a:spcPts val="0"/>
              </a:spcBef>
              <a:spcAft>
                <a:spcPts val="225"/>
              </a:spcAft>
              <a:buClr>
                <a:schemeClr val="accent1"/>
              </a:buClr>
              <a:buSzPct val="100000"/>
              <a:buFont typeface="Arial" panose="020B0604020202020204" pitchFamily="34" charset="0"/>
              <a:buChar char="̶"/>
              <a:defRPr lang="en-US" sz="1200" kern="1200" dirty="0">
                <a:solidFill>
                  <a:schemeClr val="tx1"/>
                </a:solidFill>
                <a:latin typeface="+mn-lt"/>
                <a:ea typeface="+mn-ea"/>
                <a:cs typeface="+mn-cs"/>
              </a:defRPr>
            </a:lvl5pPr>
            <a:lvl6pPr marL="814368" indent="-128585" algn="l" defTabSz="685783"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6pPr>
            <a:lvl7pPr marL="814368" indent="-128585" algn="l" defTabSz="685783"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7pPr>
            <a:lvl8pPr marL="814368" indent="-128585" algn="l" defTabSz="685783"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8pPr>
            <a:lvl9pPr marL="814368" indent="-128585" algn="l" defTabSz="685783"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3F4043"/>
              </a:buClr>
              <a:defRPr/>
            </a:pPr>
            <a:fld id="{7F65B00F-DCF9-4C2D-A472-58C8516F572B}" type="datetime'''1''''''''''''''''''''''''''''''''''1'''''''''''''''''',''6'">
              <a:rPr lang="en-US" altLang="en-US" smtClean="0">
                <a:solidFill>
                  <a:srgbClr val="000000"/>
                </a:solidFill>
              </a:rPr>
              <a:pPr lvl="0" algn="ctr">
                <a:spcBef>
                  <a:spcPct val="0"/>
                </a:spcBef>
                <a:spcAft>
                  <a:spcPct val="0"/>
                </a:spcAft>
                <a:buClr>
                  <a:srgbClr val="3F4043"/>
                </a:buClr>
                <a:defRPr/>
              </a:pPr>
              <a:t>11,6</a:t>
            </a:fld>
            <a:endParaRPr kumimoji="0" lang="en-US" sz="1200" b="0" i="0" strike="noStrike" kern="1200" cap="none" spc="0" normalizeH="0" baseline="0" noProof="0">
              <a:ln>
                <a:noFill/>
              </a:ln>
              <a:solidFill>
                <a:srgbClr val="000000"/>
              </a:solidFill>
              <a:effectLst/>
              <a:uLnTx/>
              <a:uFillTx/>
            </a:endParaRPr>
          </a:p>
        </p:txBody>
      </p:sp>
      <p:sp>
        <p:nvSpPr>
          <p:cNvPr id="61" name="Text Placeholder 4">
            <a:extLst>
              <a:ext uri="{FF2B5EF4-FFF2-40B4-BE49-F238E27FC236}">
                <a16:creationId xmlns:a16="http://schemas.microsoft.com/office/drawing/2014/main" id="{4C1F3293-4EFE-461D-940D-7EE66BAE31C5}"/>
              </a:ext>
            </a:extLst>
          </p:cNvPr>
          <p:cNvSpPr>
            <a:spLocks noGrp="1"/>
          </p:cNvSpPr>
          <p:nvPr>
            <p:custDataLst>
              <p:tags r:id="rId21"/>
            </p:custDataLst>
          </p:nvPr>
        </p:nvSpPr>
        <p:spPr bwMode="gray">
          <a:xfrm>
            <a:off x="4724400" y="3849688"/>
            <a:ext cx="390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rm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3F4043"/>
              </a:buClr>
              <a:defRPr/>
            </a:pPr>
            <a:fld id="{717148B9-942A-4879-B941-5A7FF072A9F6}" type="datetime'''''1''''''1'''',''''''''8'''''''''''''''''''''''''''">
              <a:rPr lang="en-US" altLang="en-US" sz="1200" smtClean="0">
                <a:solidFill>
                  <a:srgbClr val="000000"/>
                </a:solidFill>
              </a:rPr>
              <a:pPr lvl="0" algn="ctr">
                <a:spcBef>
                  <a:spcPct val="0"/>
                </a:spcBef>
                <a:spcAft>
                  <a:spcPct val="0"/>
                </a:spcAft>
                <a:buClr>
                  <a:srgbClr val="3F4043"/>
                </a:buClr>
                <a:defRPr/>
              </a:pPr>
              <a:t>11,8</a:t>
            </a:fld>
            <a:endParaRPr kumimoji="0" lang="en-US" sz="1200" b="0" i="0" strike="noStrike" kern="1200" cap="none" spc="0" normalizeH="0" baseline="0" noProof="0">
              <a:ln>
                <a:noFill/>
              </a:ln>
              <a:solidFill>
                <a:srgbClr val="000000"/>
              </a:solidFill>
              <a:effectLst/>
              <a:uLnTx/>
              <a:uFillTx/>
            </a:endParaRPr>
          </a:p>
        </p:txBody>
      </p:sp>
      <p:sp>
        <p:nvSpPr>
          <p:cNvPr id="31" name="Text Placeholder 4">
            <a:extLst>
              <a:ext uri="{FF2B5EF4-FFF2-40B4-BE49-F238E27FC236}">
                <a16:creationId xmlns:a16="http://schemas.microsoft.com/office/drawing/2014/main" id="{0A41AB24-01A7-D00B-8897-87EA6A0862CF}"/>
              </a:ext>
            </a:extLst>
          </p:cNvPr>
          <p:cNvSpPr>
            <a:spLocks noGrp="1"/>
          </p:cNvSpPr>
          <p:nvPr>
            <p:custDataLst>
              <p:tags r:id="rId22"/>
            </p:custDataLst>
          </p:nvPr>
        </p:nvSpPr>
        <p:spPr bwMode="gray">
          <a:xfrm>
            <a:off x="5395913" y="3797300"/>
            <a:ext cx="390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rm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3F4043"/>
              </a:buClr>
              <a:defRPr/>
            </a:pPr>
            <a:fld id="{955C7CE9-26D5-4714-AE03-480A65C5EDF3}" type="datetime'''''''1''''''''''''2'''',1'''''''''''''''''''''''''''''''">
              <a:rPr lang="en-US" altLang="en-US" sz="1200" smtClean="0">
                <a:solidFill>
                  <a:srgbClr val="000000"/>
                </a:solidFill>
              </a:rPr>
              <a:pPr lvl="0" algn="ctr">
                <a:spcBef>
                  <a:spcPct val="0"/>
                </a:spcBef>
                <a:spcAft>
                  <a:spcPct val="0"/>
                </a:spcAft>
                <a:buClr>
                  <a:srgbClr val="3F4043"/>
                </a:buClr>
                <a:defRPr/>
              </a:pPr>
              <a:t>12,1</a:t>
            </a:fld>
            <a:endParaRPr kumimoji="0" lang="en-US" sz="1200" b="0" i="0" strike="noStrike" kern="1200" cap="none" spc="0" normalizeH="0" baseline="0" noProof="0">
              <a:ln>
                <a:noFill/>
              </a:ln>
              <a:solidFill>
                <a:srgbClr val="000000"/>
              </a:solidFill>
              <a:effectLst/>
              <a:uLnTx/>
              <a:uFillTx/>
            </a:endParaRPr>
          </a:p>
        </p:txBody>
      </p:sp>
      <p:sp>
        <p:nvSpPr>
          <p:cNvPr id="4" name="Text Placeholder 4">
            <a:extLst>
              <a:ext uri="{FF2B5EF4-FFF2-40B4-BE49-F238E27FC236}">
                <a16:creationId xmlns:a16="http://schemas.microsoft.com/office/drawing/2014/main" id="{4C1F3293-4EFE-461D-940D-7EE66BAE31C5}"/>
              </a:ext>
            </a:extLst>
          </p:cNvPr>
          <p:cNvSpPr>
            <a:spLocks noGrp="1"/>
          </p:cNvSpPr>
          <p:nvPr>
            <p:custDataLst>
              <p:tags r:id="rId23"/>
            </p:custDataLst>
          </p:nvPr>
        </p:nvSpPr>
        <p:spPr bwMode="gray">
          <a:xfrm>
            <a:off x="693738" y="4741863"/>
            <a:ext cx="390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rm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7C3A310-89EC-4FEF-AAA7-D8C425ADA0BA}" type="datetime'''''''1''''''''''''''''''''''''''4'''''',''''''''''3'''''''''">
              <a:rPr lang="en-US" altLang="en-US" sz="1200" smtClean="0">
                <a:solidFill>
                  <a:schemeClr val="tx2"/>
                </a:solidFill>
                <a:effectLst/>
              </a:rPr>
              <a:pPr lvl="0" algn="ctr">
                <a:spcBef>
                  <a:spcPct val="0"/>
                </a:spcBef>
                <a:spcAft>
                  <a:spcPct val="0"/>
                </a:spcAft>
              </a:pPr>
              <a:t>14,3</a:t>
            </a:fld>
            <a:endParaRPr lang="en-US" sz="1200">
              <a:solidFill>
                <a:schemeClr val="tx2"/>
              </a:solidFill>
            </a:endParaRPr>
          </a:p>
        </p:txBody>
      </p:sp>
      <p:sp>
        <p:nvSpPr>
          <p:cNvPr id="6" name="Text Placeholder 4">
            <a:extLst>
              <a:ext uri="{FF2B5EF4-FFF2-40B4-BE49-F238E27FC236}">
                <a16:creationId xmlns:a16="http://schemas.microsoft.com/office/drawing/2014/main" id="{4C1F3293-4EFE-461D-940D-7EE66BAE31C5}"/>
              </a:ext>
            </a:extLst>
          </p:cNvPr>
          <p:cNvSpPr>
            <a:spLocks noGrp="1"/>
          </p:cNvSpPr>
          <p:nvPr>
            <p:custDataLst>
              <p:tags r:id="rId24"/>
            </p:custDataLst>
          </p:nvPr>
        </p:nvSpPr>
        <p:spPr bwMode="gray">
          <a:xfrm>
            <a:off x="742950" y="3387725"/>
            <a:ext cx="2936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rm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B2E59FF-E73A-4787-B12F-B83723220331}" type="datetime'1,''''''''''9'''''''''''''''''''''''''''''''''''">
              <a:rPr lang="en-US" altLang="en-US" sz="1200" smtClean="0">
                <a:solidFill>
                  <a:schemeClr val="tx2"/>
                </a:solidFill>
                <a:effectLst/>
              </a:rPr>
              <a:pPr lvl="0" algn="ctr">
                <a:spcBef>
                  <a:spcPct val="0"/>
                </a:spcBef>
                <a:spcAft>
                  <a:spcPct val="0"/>
                </a:spcAft>
              </a:pPr>
              <a:t>1,9</a:t>
            </a:fld>
            <a:endParaRPr lang="en-US" sz="1200">
              <a:solidFill>
                <a:schemeClr val="tx2"/>
              </a:solidFill>
            </a:endParaRPr>
          </a:p>
        </p:txBody>
      </p:sp>
      <p:sp>
        <p:nvSpPr>
          <p:cNvPr id="7" name="Text Placeholder 4">
            <a:extLst>
              <a:ext uri="{FF2B5EF4-FFF2-40B4-BE49-F238E27FC236}">
                <a16:creationId xmlns:a16="http://schemas.microsoft.com/office/drawing/2014/main" id="{4C1F3293-4EFE-461D-940D-7EE66BAE31C5}"/>
              </a:ext>
            </a:extLst>
          </p:cNvPr>
          <p:cNvSpPr>
            <a:spLocks noGrp="1"/>
          </p:cNvSpPr>
          <p:nvPr>
            <p:custDataLst>
              <p:tags r:id="rId25"/>
            </p:custDataLst>
          </p:nvPr>
        </p:nvSpPr>
        <p:spPr bwMode="gray">
          <a:xfrm>
            <a:off x="742950" y="3076575"/>
            <a:ext cx="2936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rm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3EB855C-9CC5-4AED-9A74-FF4E40728CD8}" type="datetime'''''''''''1'''''''',''''''''''''''''8'''''''''''''''''''">
              <a:rPr lang="en-US" altLang="en-US" sz="1200" smtClean="0">
                <a:effectLst/>
              </a:rPr>
              <a:pPr lvl="0" algn="ctr">
                <a:spcBef>
                  <a:spcPct val="0"/>
                </a:spcBef>
                <a:spcAft>
                  <a:spcPct val="0"/>
                </a:spcAft>
              </a:pPr>
              <a:t>1,8</a:t>
            </a:fld>
            <a:endParaRPr lang="en-US" sz="1200"/>
          </a:p>
        </p:txBody>
      </p:sp>
      <p:sp>
        <p:nvSpPr>
          <p:cNvPr id="11" name="Text Placeholder 4">
            <a:extLst>
              <a:ext uri="{FF2B5EF4-FFF2-40B4-BE49-F238E27FC236}">
                <a16:creationId xmlns:a16="http://schemas.microsoft.com/office/drawing/2014/main" id="{4C1F3293-4EFE-461D-940D-7EE66BAE31C5}"/>
              </a:ext>
            </a:extLst>
          </p:cNvPr>
          <p:cNvSpPr>
            <a:spLocks noGrp="1"/>
          </p:cNvSpPr>
          <p:nvPr>
            <p:custDataLst>
              <p:tags r:id="rId26"/>
            </p:custDataLst>
          </p:nvPr>
        </p:nvSpPr>
        <p:spPr bwMode="gray">
          <a:xfrm>
            <a:off x="1365250" y="4986338"/>
            <a:ext cx="390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rm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18A000A-FB37-483D-BFAA-774126AF914B}" type="datetime'1''''''''''''''''''''''1'''''''',''''''''''''''''''''''''3'">
              <a:rPr lang="en-US" altLang="en-US" sz="1200" smtClean="0">
                <a:solidFill>
                  <a:schemeClr val="tx2"/>
                </a:solidFill>
                <a:effectLst/>
              </a:rPr>
              <a:pPr lvl="0" algn="ctr">
                <a:spcBef>
                  <a:spcPct val="0"/>
                </a:spcBef>
                <a:spcAft>
                  <a:spcPct val="0"/>
                </a:spcAft>
              </a:pPr>
              <a:t>11,3</a:t>
            </a:fld>
            <a:endParaRPr lang="en-US" sz="1200">
              <a:solidFill>
                <a:schemeClr val="tx2"/>
              </a:solidFill>
            </a:endParaRPr>
          </a:p>
        </p:txBody>
      </p:sp>
      <p:sp>
        <p:nvSpPr>
          <p:cNvPr id="12" name="Text Placeholder 4">
            <a:extLst>
              <a:ext uri="{FF2B5EF4-FFF2-40B4-BE49-F238E27FC236}">
                <a16:creationId xmlns:a16="http://schemas.microsoft.com/office/drawing/2014/main" id="{4C1F3293-4EFE-461D-940D-7EE66BAE31C5}"/>
              </a:ext>
            </a:extLst>
          </p:cNvPr>
          <p:cNvSpPr>
            <a:spLocks noGrp="1"/>
          </p:cNvSpPr>
          <p:nvPr>
            <p:custDataLst>
              <p:tags r:id="rId27"/>
            </p:custDataLst>
          </p:nvPr>
        </p:nvSpPr>
        <p:spPr bwMode="gray">
          <a:xfrm>
            <a:off x="1414463" y="3911600"/>
            <a:ext cx="2936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rm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FD64D54-8852-4AB5-8CFE-3B6970410184}" type="datetime'''''''''''''''''''''''''''''''1'''''''',''5'">
              <a:rPr lang="en-US" altLang="en-US" sz="1200" smtClean="0">
                <a:solidFill>
                  <a:schemeClr val="tx2"/>
                </a:solidFill>
                <a:effectLst/>
              </a:rPr>
              <a:pPr lvl="0" algn="ctr">
                <a:spcBef>
                  <a:spcPct val="0"/>
                </a:spcBef>
                <a:spcAft>
                  <a:spcPct val="0"/>
                </a:spcAft>
              </a:pPr>
              <a:t>1,5</a:t>
            </a:fld>
            <a:endParaRPr lang="en-US" sz="1200">
              <a:solidFill>
                <a:schemeClr val="tx2"/>
              </a:solidFill>
            </a:endParaRPr>
          </a:p>
        </p:txBody>
      </p:sp>
      <p:sp>
        <p:nvSpPr>
          <p:cNvPr id="14" name="Text Placeholder 4">
            <a:extLst>
              <a:ext uri="{FF2B5EF4-FFF2-40B4-BE49-F238E27FC236}">
                <a16:creationId xmlns:a16="http://schemas.microsoft.com/office/drawing/2014/main" id="{4C1F3293-4EFE-461D-940D-7EE66BAE31C5}"/>
              </a:ext>
            </a:extLst>
          </p:cNvPr>
          <p:cNvSpPr>
            <a:spLocks noGrp="1"/>
          </p:cNvSpPr>
          <p:nvPr>
            <p:custDataLst>
              <p:tags r:id="rId28"/>
            </p:custDataLst>
          </p:nvPr>
        </p:nvSpPr>
        <p:spPr bwMode="gray">
          <a:xfrm>
            <a:off x="1414463" y="3660775"/>
            <a:ext cx="2936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rm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78E8BD3-8BDD-429B-801E-7AA870F06D80}" type="datetime'''''''''''''''''''1'''''''''''''''''''',5'''''''">
              <a:rPr lang="en-US" altLang="en-US" sz="1200" smtClean="0">
                <a:effectLst/>
              </a:rPr>
              <a:pPr lvl="0" algn="ctr">
                <a:spcBef>
                  <a:spcPct val="0"/>
                </a:spcBef>
                <a:spcAft>
                  <a:spcPct val="0"/>
                </a:spcAft>
              </a:pPr>
              <a:t>1,5</a:t>
            </a:fld>
            <a:endParaRPr lang="en-US" sz="1200"/>
          </a:p>
        </p:txBody>
      </p:sp>
      <p:sp>
        <p:nvSpPr>
          <p:cNvPr id="15" name="Text Placeholder 4">
            <a:extLst>
              <a:ext uri="{FF2B5EF4-FFF2-40B4-BE49-F238E27FC236}">
                <a16:creationId xmlns:a16="http://schemas.microsoft.com/office/drawing/2014/main" id="{4C1F3293-4EFE-461D-940D-7EE66BAE31C5}"/>
              </a:ext>
            </a:extLst>
          </p:cNvPr>
          <p:cNvSpPr>
            <a:spLocks noGrp="1"/>
          </p:cNvSpPr>
          <p:nvPr>
            <p:custDataLst>
              <p:tags r:id="rId29"/>
            </p:custDataLst>
          </p:nvPr>
        </p:nvSpPr>
        <p:spPr bwMode="gray">
          <a:xfrm>
            <a:off x="2036763" y="5080000"/>
            <a:ext cx="390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rm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8D86A33-EEE6-42D0-BE4C-FF529FC55684}" type="datetime'''1''''0'''''''''',''''2'''''''''''''''''">
              <a:rPr lang="en-US" altLang="en-US" sz="1200" smtClean="0">
                <a:solidFill>
                  <a:schemeClr val="tx2"/>
                </a:solidFill>
                <a:effectLst/>
              </a:rPr>
              <a:pPr lvl="0" algn="ctr">
                <a:spcBef>
                  <a:spcPct val="0"/>
                </a:spcBef>
                <a:spcAft>
                  <a:spcPct val="0"/>
                </a:spcAft>
              </a:pPr>
              <a:t>10,2</a:t>
            </a:fld>
            <a:endParaRPr lang="en-US" sz="1200">
              <a:solidFill>
                <a:schemeClr val="tx2"/>
              </a:solidFill>
            </a:endParaRPr>
          </a:p>
        </p:txBody>
      </p:sp>
      <p:sp>
        <p:nvSpPr>
          <p:cNvPr id="17" name="Text Placeholder 4">
            <a:extLst>
              <a:ext uri="{FF2B5EF4-FFF2-40B4-BE49-F238E27FC236}">
                <a16:creationId xmlns:a16="http://schemas.microsoft.com/office/drawing/2014/main" id="{4C1F3293-4EFE-461D-940D-7EE66BAE31C5}"/>
              </a:ext>
            </a:extLst>
          </p:cNvPr>
          <p:cNvSpPr>
            <a:spLocks noGrp="1"/>
          </p:cNvSpPr>
          <p:nvPr>
            <p:custDataLst>
              <p:tags r:id="rId30"/>
            </p:custDataLst>
          </p:nvPr>
        </p:nvSpPr>
        <p:spPr bwMode="gray">
          <a:xfrm>
            <a:off x="2085975" y="4111625"/>
            <a:ext cx="2936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rm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4BFF936-9A84-4DDF-B869-E459E857E28A}" type="datetime'''''''''''1'''''',''''''''''4'">
              <a:rPr lang="en-US" altLang="en-US" sz="1200" smtClean="0">
                <a:solidFill>
                  <a:schemeClr val="tx2"/>
                </a:solidFill>
                <a:effectLst/>
              </a:rPr>
              <a:pPr lvl="0" algn="ctr">
                <a:spcBef>
                  <a:spcPct val="0"/>
                </a:spcBef>
                <a:spcAft>
                  <a:spcPct val="0"/>
                </a:spcAft>
              </a:pPr>
              <a:t>1,4</a:t>
            </a:fld>
            <a:endParaRPr lang="en-US" sz="1200">
              <a:solidFill>
                <a:schemeClr val="tx2"/>
              </a:solidFill>
            </a:endParaRPr>
          </a:p>
        </p:txBody>
      </p:sp>
      <p:sp>
        <p:nvSpPr>
          <p:cNvPr id="23" name="Text Placeholder 4">
            <a:extLst>
              <a:ext uri="{FF2B5EF4-FFF2-40B4-BE49-F238E27FC236}">
                <a16:creationId xmlns:a16="http://schemas.microsoft.com/office/drawing/2014/main" id="{4C1F3293-4EFE-461D-940D-7EE66BAE31C5}"/>
              </a:ext>
            </a:extLst>
          </p:cNvPr>
          <p:cNvSpPr>
            <a:spLocks noGrp="1"/>
          </p:cNvSpPr>
          <p:nvPr>
            <p:custDataLst>
              <p:tags r:id="rId31"/>
            </p:custDataLst>
          </p:nvPr>
        </p:nvSpPr>
        <p:spPr bwMode="gray">
          <a:xfrm>
            <a:off x="2085975" y="3886200"/>
            <a:ext cx="2936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rm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5E6ADEA-EC6F-4759-A7BD-03819B11EAC2}" type="datetime'''''''''''''''''''''''''''''''''''''''''''1'''',4'''''''''''">
              <a:rPr lang="en-US" altLang="en-US" sz="1200" smtClean="0">
                <a:effectLst/>
              </a:rPr>
              <a:pPr lvl="0" algn="ctr">
                <a:spcBef>
                  <a:spcPct val="0"/>
                </a:spcBef>
                <a:spcAft>
                  <a:spcPct val="0"/>
                </a:spcAft>
              </a:pPr>
              <a:t>1,4</a:t>
            </a:fld>
            <a:endParaRPr lang="en-US" sz="1200"/>
          </a:p>
        </p:txBody>
      </p:sp>
      <p:sp>
        <p:nvSpPr>
          <p:cNvPr id="24" name="Text Placeholder 4">
            <a:extLst>
              <a:ext uri="{FF2B5EF4-FFF2-40B4-BE49-F238E27FC236}">
                <a16:creationId xmlns:a16="http://schemas.microsoft.com/office/drawing/2014/main" id="{4C1F3293-4EFE-461D-940D-7EE66BAE31C5}"/>
              </a:ext>
            </a:extLst>
          </p:cNvPr>
          <p:cNvSpPr>
            <a:spLocks noGrp="1"/>
          </p:cNvSpPr>
          <p:nvPr>
            <p:custDataLst>
              <p:tags r:id="rId32"/>
            </p:custDataLst>
          </p:nvPr>
        </p:nvSpPr>
        <p:spPr bwMode="gray">
          <a:xfrm>
            <a:off x="2757488" y="5129213"/>
            <a:ext cx="2936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rm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4896C85-C012-475E-A0D9-3CDC939A2AA0}" type="datetime'''''''''''''''''''''''''''''''9,''6'''">
              <a:rPr lang="en-US" altLang="en-US" sz="1200" smtClean="0">
                <a:solidFill>
                  <a:schemeClr val="tx2"/>
                </a:solidFill>
                <a:effectLst/>
              </a:rPr>
              <a:pPr lvl="0" algn="ctr">
                <a:spcBef>
                  <a:spcPct val="0"/>
                </a:spcBef>
                <a:spcAft>
                  <a:spcPct val="0"/>
                </a:spcAft>
              </a:pPr>
              <a:t>9,6</a:t>
            </a:fld>
            <a:endParaRPr lang="en-US" sz="1200">
              <a:solidFill>
                <a:schemeClr val="tx2"/>
              </a:solidFill>
            </a:endParaRPr>
          </a:p>
        </p:txBody>
      </p:sp>
      <p:sp>
        <p:nvSpPr>
          <p:cNvPr id="27" name="Text Placeholder 4">
            <a:extLst>
              <a:ext uri="{FF2B5EF4-FFF2-40B4-BE49-F238E27FC236}">
                <a16:creationId xmlns:a16="http://schemas.microsoft.com/office/drawing/2014/main" id="{4C1F3293-4EFE-461D-940D-7EE66BAE31C5}"/>
              </a:ext>
            </a:extLst>
          </p:cNvPr>
          <p:cNvSpPr>
            <a:spLocks noGrp="1"/>
          </p:cNvSpPr>
          <p:nvPr>
            <p:custDataLst>
              <p:tags r:id="rId33"/>
            </p:custDataLst>
          </p:nvPr>
        </p:nvSpPr>
        <p:spPr bwMode="gray">
          <a:xfrm>
            <a:off x="2757488" y="3998913"/>
            <a:ext cx="2936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rm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A5FB9CA-EE02-4E9B-BA3F-0CE9A134539B}" type="datetime'''''''''1'''''''''''''''',''''''''''''''''3'''">
              <a:rPr lang="en-US" altLang="en-US" sz="1200" smtClean="0">
                <a:effectLst/>
              </a:rPr>
              <a:pPr lvl="0" algn="ctr">
                <a:spcBef>
                  <a:spcPct val="0"/>
                </a:spcBef>
                <a:spcAft>
                  <a:spcPct val="0"/>
                </a:spcAft>
              </a:pPr>
              <a:t>1,3</a:t>
            </a:fld>
            <a:endParaRPr lang="en-US" sz="1200"/>
          </a:p>
        </p:txBody>
      </p:sp>
      <p:sp>
        <p:nvSpPr>
          <p:cNvPr id="36" name="Text Placeholder 4">
            <a:extLst>
              <a:ext uri="{FF2B5EF4-FFF2-40B4-BE49-F238E27FC236}">
                <a16:creationId xmlns:a16="http://schemas.microsoft.com/office/drawing/2014/main" id="{4C1F3293-4EFE-461D-940D-7EE66BAE31C5}"/>
              </a:ext>
            </a:extLst>
          </p:cNvPr>
          <p:cNvSpPr>
            <a:spLocks noGrp="1"/>
          </p:cNvSpPr>
          <p:nvPr>
            <p:custDataLst>
              <p:tags r:id="rId34"/>
            </p:custDataLst>
          </p:nvPr>
        </p:nvSpPr>
        <p:spPr bwMode="gray">
          <a:xfrm>
            <a:off x="2757488" y="4214813"/>
            <a:ext cx="2936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rm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37404D9-24C6-4263-A31D-683350FE83D7}" type="datetime'''''''''''1'''''''''''''''''''''',3'''''''''''''''''''''">
              <a:rPr lang="en-US" altLang="en-US" sz="1200" smtClean="0">
                <a:solidFill>
                  <a:schemeClr val="tx2"/>
                </a:solidFill>
                <a:effectLst/>
              </a:rPr>
              <a:pPr lvl="0" algn="ctr">
                <a:spcBef>
                  <a:spcPct val="0"/>
                </a:spcBef>
                <a:spcAft>
                  <a:spcPct val="0"/>
                </a:spcAft>
              </a:pPr>
              <a:t>1,3</a:t>
            </a:fld>
            <a:endParaRPr lang="en-US" sz="1200">
              <a:solidFill>
                <a:schemeClr val="tx2"/>
              </a:solidFill>
            </a:endParaRPr>
          </a:p>
        </p:txBody>
      </p:sp>
      <p:sp>
        <p:nvSpPr>
          <p:cNvPr id="37" name="Text Placeholder 4">
            <a:extLst>
              <a:ext uri="{FF2B5EF4-FFF2-40B4-BE49-F238E27FC236}">
                <a16:creationId xmlns:a16="http://schemas.microsoft.com/office/drawing/2014/main" id="{4C1F3293-4EFE-461D-940D-7EE66BAE31C5}"/>
              </a:ext>
            </a:extLst>
          </p:cNvPr>
          <p:cNvSpPr>
            <a:spLocks noGrp="1"/>
          </p:cNvSpPr>
          <p:nvPr>
            <p:custDataLst>
              <p:tags r:id="rId35"/>
            </p:custDataLst>
          </p:nvPr>
        </p:nvSpPr>
        <p:spPr bwMode="gray">
          <a:xfrm>
            <a:off x="3430588" y="5164138"/>
            <a:ext cx="2936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rm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FC3F488-BC9F-4A0B-A8DF-B4CDB90C6AEC}" type="datetime'''''9'''''''''''''''''''''''',''''''''''''2'">
              <a:rPr lang="en-US" altLang="en-US" sz="1200" smtClean="0">
                <a:solidFill>
                  <a:schemeClr val="tx2"/>
                </a:solidFill>
                <a:effectLst/>
              </a:rPr>
              <a:pPr lvl="0" algn="ctr">
                <a:spcBef>
                  <a:spcPct val="0"/>
                </a:spcBef>
                <a:spcAft>
                  <a:spcPct val="0"/>
                </a:spcAft>
              </a:pPr>
              <a:t>9,2</a:t>
            </a:fld>
            <a:endParaRPr lang="en-US" sz="1200">
              <a:solidFill>
                <a:schemeClr val="tx2"/>
              </a:solidFill>
            </a:endParaRPr>
          </a:p>
        </p:txBody>
      </p:sp>
      <p:sp>
        <p:nvSpPr>
          <p:cNvPr id="40" name="Text Placeholder 4">
            <a:extLst>
              <a:ext uri="{FF2B5EF4-FFF2-40B4-BE49-F238E27FC236}">
                <a16:creationId xmlns:a16="http://schemas.microsoft.com/office/drawing/2014/main" id="{4C1F3293-4EFE-461D-940D-7EE66BAE31C5}"/>
              </a:ext>
            </a:extLst>
          </p:cNvPr>
          <p:cNvSpPr>
            <a:spLocks noGrp="1"/>
          </p:cNvSpPr>
          <p:nvPr>
            <p:custDataLst>
              <p:tags r:id="rId36"/>
            </p:custDataLst>
          </p:nvPr>
        </p:nvSpPr>
        <p:spPr bwMode="gray">
          <a:xfrm>
            <a:off x="3430588" y="4071938"/>
            <a:ext cx="2936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rm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6FDBD21-1087-4086-9A2E-1C4562A7F002}" type="datetime'''''''''1'''''',''''''''''''''''''''''''''''''''''''''3'''">
              <a:rPr lang="en-US" altLang="en-US" sz="1200" smtClean="0">
                <a:effectLst/>
              </a:rPr>
              <a:pPr lvl="0" algn="ctr">
                <a:spcBef>
                  <a:spcPct val="0"/>
                </a:spcBef>
                <a:spcAft>
                  <a:spcPct val="0"/>
                </a:spcAft>
              </a:pPr>
              <a:t>1,3</a:t>
            </a:fld>
            <a:endParaRPr lang="en-US" sz="1200"/>
          </a:p>
        </p:txBody>
      </p:sp>
      <p:sp>
        <p:nvSpPr>
          <p:cNvPr id="44" name="Text Placeholder 4">
            <a:extLst>
              <a:ext uri="{FF2B5EF4-FFF2-40B4-BE49-F238E27FC236}">
                <a16:creationId xmlns:a16="http://schemas.microsoft.com/office/drawing/2014/main" id="{4C1F3293-4EFE-461D-940D-7EE66BAE31C5}"/>
              </a:ext>
            </a:extLst>
          </p:cNvPr>
          <p:cNvSpPr>
            <a:spLocks noGrp="1"/>
          </p:cNvSpPr>
          <p:nvPr>
            <p:custDataLst>
              <p:tags r:id="rId37"/>
            </p:custDataLst>
          </p:nvPr>
        </p:nvSpPr>
        <p:spPr bwMode="gray">
          <a:xfrm>
            <a:off x="4102100" y="5183188"/>
            <a:ext cx="2936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rm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9B4E0F4-F160-4FD4-823A-3795E36E4E38}" type="datetime'''''''''''''''9'''',''''''''''''''''''''''''''''0'''">
              <a:rPr lang="en-US" altLang="en-US" sz="1200" smtClean="0">
                <a:solidFill>
                  <a:schemeClr val="tx2"/>
                </a:solidFill>
                <a:effectLst/>
              </a:rPr>
              <a:pPr lvl="0" algn="ctr">
                <a:spcBef>
                  <a:spcPct val="0"/>
                </a:spcBef>
                <a:spcAft>
                  <a:spcPct val="0"/>
                </a:spcAft>
              </a:pPr>
              <a:t>9,0</a:t>
            </a:fld>
            <a:endParaRPr lang="en-US" sz="1200">
              <a:solidFill>
                <a:schemeClr val="tx2"/>
              </a:solidFill>
            </a:endParaRPr>
          </a:p>
        </p:txBody>
      </p:sp>
      <p:sp>
        <p:nvSpPr>
          <p:cNvPr id="45" name="Text Placeholder 4">
            <a:extLst>
              <a:ext uri="{FF2B5EF4-FFF2-40B4-BE49-F238E27FC236}">
                <a16:creationId xmlns:a16="http://schemas.microsoft.com/office/drawing/2014/main" id="{4C1F3293-4EFE-461D-940D-7EE66BAE31C5}"/>
              </a:ext>
            </a:extLst>
          </p:cNvPr>
          <p:cNvSpPr>
            <a:spLocks noGrp="1"/>
          </p:cNvSpPr>
          <p:nvPr>
            <p:custDataLst>
              <p:tags r:id="rId38"/>
            </p:custDataLst>
          </p:nvPr>
        </p:nvSpPr>
        <p:spPr bwMode="gray">
          <a:xfrm>
            <a:off x="4102100" y="4105275"/>
            <a:ext cx="2936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rm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CD0C0CD7-E713-40B1-A0FE-570FA21EDED3}" type="datetime'''''''''''''''''''''''''''''''''1'''',''''3'''">
              <a:rPr lang="en-US" altLang="en-US" sz="1200" smtClean="0">
                <a:effectLst/>
              </a:rPr>
              <a:pPr lvl="0" algn="ctr">
                <a:spcBef>
                  <a:spcPct val="0"/>
                </a:spcBef>
                <a:spcAft>
                  <a:spcPct val="0"/>
                </a:spcAft>
              </a:pPr>
              <a:t>1,3</a:t>
            </a:fld>
            <a:endParaRPr lang="en-US" sz="1200"/>
          </a:p>
        </p:txBody>
      </p:sp>
      <p:sp>
        <p:nvSpPr>
          <p:cNvPr id="46" name="Text Placeholder 4">
            <a:extLst>
              <a:ext uri="{FF2B5EF4-FFF2-40B4-BE49-F238E27FC236}">
                <a16:creationId xmlns:a16="http://schemas.microsoft.com/office/drawing/2014/main" id="{4C1F3293-4EFE-461D-940D-7EE66BAE31C5}"/>
              </a:ext>
            </a:extLst>
          </p:cNvPr>
          <p:cNvSpPr>
            <a:spLocks noGrp="1"/>
          </p:cNvSpPr>
          <p:nvPr>
            <p:custDataLst>
              <p:tags r:id="rId39"/>
            </p:custDataLst>
          </p:nvPr>
        </p:nvSpPr>
        <p:spPr bwMode="gray">
          <a:xfrm>
            <a:off x="4102100" y="4321175"/>
            <a:ext cx="2936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rm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BD0798F-BE01-4235-ADA7-20AD0DD029EC}" type="datetime'''1'''''''''''''',''''''3'''''''''''''''''''''''''''''''''''">
              <a:rPr lang="en-US" altLang="en-US" sz="1200" smtClean="0">
                <a:solidFill>
                  <a:schemeClr val="tx2"/>
                </a:solidFill>
                <a:effectLst/>
              </a:rPr>
              <a:pPr lvl="0" algn="ctr">
                <a:spcBef>
                  <a:spcPct val="0"/>
                </a:spcBef>
                <a:spcAft>
                  <a:spcPct val="0"/>
                </a:spcAft>
              </a:pPr>
              <a:t>1,3</a:t>
            </a:fld>
            <a:endParaRPr lang="en-US" sz="1200">
              <a:solidFill>
                <a:schemeClr val="tx2"/>
              </a:solidFill>
            </a:endParaRPr>
          </a:p>
        </p:txBody>
      </p:sp>
      <p:sp>
        <p:nvSpPr>
          <p:cNvPr id="47" name="Text Placeholder 4">
            <a:extLst>
              <a:ext uri="{FF2B5EF4-FFF2-40B4-BE49-F238E27FC236}">
                <a16:creationId xmlns:a16="http://schemas.microsoft.com/office/drawing/2014/main" id="{4C1F3293-4EFE-461D-940D-7EE66BAE31C5}"/>
              </a:ext>
            </a:extLst>
          </p:cNvPr>
          <p:cNvSpPr>
            <a:spLocks noGrp="1"/>
          </p:cNvSpPr>
          <p:nvPr>
            <p:custDataLst>
              <p:tags r:id="rId40"/>
            </p:custDataLst>
          </p:nvPr>
        </p:nvSpPr>
        <p:spPr bwMode="gray">
          <a:xfrm>
            <a:off x="4773613" y="5173663"/>
            <a:ext cx="2936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rm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47456AA-7F24-433F-B48C-6626A07D1A5F}" type="datetime'''''''''9,''''1'''''''''''''''''''''''''''''''''''''">
              <a:rPr lang="en-US" altLang="en-US" sz="1200" smtClean="0">
                <a:solidFill>
                  <a:schemeClr val="tx2"/>
                </a:solidFill>
                <a:effectLst/>
              </a:rPr>
              <a:pPr lvl="0" algn="ctr">
                <a:spcBef>
                  <a:spcPct val="0"/>
                </a:spcBef>
                <a:spcAft>
                  <a:spcPct val="0"/>
                </a:spcAft>
              </a:pPr>
              <a:t>9,1</a:t>
            </a:fld>
            <a:endParaRPr lang="en-US" sz="1200">
              <a:solidFill>
                <a:schemeClr val="tx2"/>
              </a:solidFill>
            </a:endParaRPr>
          </a:p>
        </p:txBody>
      </p:sp>
      <p:sp>
        <p:nvSpPr>
          <p:cNvPr id="42" name="Text Placeholder 4">
            <a:extLst>
              <a:ext uri="{FF2B5EF4-FFF2-40B4-BE49-F238E27FC236}">
                <a16:creationId xmlns:a16="http://schemas.microsoft.com/office/drawing/2014/main" id="{4C1F3293-4EFE-461D-940D-7EE66BAE31C5}"/>
              </a:ext>
            </a:extLst>
          </p:cNvPr>
          <p:cNvSpPr>
            <a:spLocks noGrp="1"/>
          </p:cNvSpPr>
          <p:nvPr>
            <p:custDataLst>
              <p:tags r:id="rId41"/>
            </p:custDataLst>
          </p:nvPr>
        </p:nvSpPr>
        <p:spPr bwMode="gray">
          <a:xfrm>
            <a:off x="3430588" y="4286250"/>
            <a:ext cx="2936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rm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5343642-41DC-44F0-9384-F01589A57989}" type="datetime'''''1,''''''''''''''''''''''3'''''''''''">
              <a:rPr lang="en-US" altLang="en-US" sz="1200" smtClean="0">
                <a:solidFill>
                  <a:schemeClr val="tx2"/>
                </a:solidFill>
                <a:effectLst/>
              </a:rPr>
              <a:pPr lvl="0" algn="ctr">
                <a:spcBef>
                  <a:spcPct val="0"/>
                </a:spcBef>
                <a:spcAft>
                  <a:spcPct val="0"/>
                </a:spcAft>
              </a:pPr>
              <a:t>1,3</a:t>
            </a:fld>
            <a:endParaRPr lang="en-US" sz="1200">
              <a:solidFill>
                <a:schemeClr val="tx2"/>
              </a:solidFill>
            </a:endParaRPr>
          </a:p>
        </p:txBody>
      </p:sp>
      <p:sp>
        <p:nvSpPr>
          <p:cNvPr id="50" name="Text Placeholder 4">
            <a:extLst>
              <a:ext uri="{FF2B5EF4-FFF2-40B4-BE49-F238E27FC236}">
                <a16:creationId xmlns:a16="http://schemas.microsoft.com/office/drawing/2014/main" id="{4C1F3293-4EFE-461D-940D-7EE66BAE31C5}"/>
              </a:ext>
            </a:extLst>
          </p:cNvPr>
          <p:cNvSpPr>
            <a:spLocks noGrp="1"/>
          </p:cNvSpPr>
          <p:nvPr>
            <p:custDataLst>
              <p:tags r:id="rId42"/>
            </p:custDataLst>
          </p:nvPr>
        </p:nvSpPr>
        <p:spPr bwMode="gray">
          <a:xfrm>
            <a:off x="4773613" y="4297363"/>
            <a:ext cx="2936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rm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CD22EBB-7CF5-4107-B79D-25A5912255D8}" type="datetime'''1'''''',''''''''''''''''''''4'''''''''''''''''''">
              <a:rPr lang="en-US" altLang="en-US" sz="1200" smtClean="0">
                <a:solidFill>
                  <a:schemeClr val="tx2"/>
                </a:solidFill>
                <a:effectLst/>
              </a:rPr>
              <a:pPr lvl="0" algn="ctr">
                <a:spcBef>
                  <a:spcPct val="0"/>
                </a:spcBef>
                <a:spcAft>
                  <a:spcPct val="0"/>
                </a:spcAft>
              </a:pPr>
              <a:t>1,4</a:t>
            </a:fld>
            <a:endParaRPr lang="en-US" sz="1200">
              <a:solidFill>
                <a:schemeClr val="tx2"/>
              </a:solidFill>
            </a:endParaRPr>
          </a:p>
        </p:txBody>
      </p:sp>
      <p:sp>
        <p:nvSpPr>
          <p:cNvPr id="51" name="Text Placeholder 4">
            <a:extLst>
              <a:ext uri="{FF2B5EF4-FFF2-40B4-BE49-F238E27FC236}">
                <a16:creationId xmlns:a16="http://schemas.microsoft.com/office/drawing/2014/main" id="{4C1F3293-4EFE-461D-940D-7EE66BAE31C5}"/>
              </a:ext>
            </a:extLst>
          </p:cNvPr>
          <p:cNvSpPr>
            <a:spLocks noGrp="1"/>
          </p:cNvSpPr>
          <p:nvPr>
            <p:custDataLst>
              <p:tags r:id="rId43"/>
            </p:custDataLst>
          </p:nvPr>
        </p:nvSpPr>
        <p:spPr bwMode="gray">
          <a:xfrm>
            <a:off x="5445125" y="5153025"/>
            <a:ext cx="2936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rm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5217814-25F6-4EF0-ADFE-C9FF325F780A}" type="datetime'''''''''''''9'''''',3'''''''''''''''''''''">
              <a:rPr lang="en-US" altLang="en-US" sz="1200" smtClean="0">
                <a:solidFill>
                  <a:schemeClr val="tx2"/>
                </a:solidFill>
                <a:effectLst/>
              </a:rPr>
              <a:pPr lvl="0" algn="ctr">
                <a:spcBef>
                  <a:spcPct val="0"/>
                </a:spcBef>
                <a:spcAft>
                  <a:spcPct val="0"/>
                </a:spcAft>
              </a:pPr>
              <a:t>9,3</a:t>
            </a:fld>
            <a:endParaRPr lang="en-US" sz="1200">
              <a:solidFill>
                <a:schemeClr val="tx2"/>
              </a:solidFill>
            </a:endParaRPr>
          </a:p>
        </p:txBody>
      </p:sp>
      <p:sp>
        <p:nvSpPr>
          <p:cNvPr id="52" name="Text Placeholder 4">
            <a:extLst>
              <a:ext uri="{FF2B5EF4-FFF2-40B4-BE49-F238E27FC236}">
                <a16:creationId xmlns:a16="http://schemas.microsoft.com/office/drawing/2014/main" id="{4C1F3293-4EFE-461D-940D-7EE66BAE31C5}"/>
              </a:ext>
            </a:extLst>
          </p:cNvPr>
          <p:cNvSpPr>
            <a:spLocks noGrp="1"/>
          </p:cNvSpPr>
          <p:nvPr>
            <p:custDataLst>
              <p:tags r:id="rId44"/>
            </p:custDataLst>
          </p:nvPr>
        </p:nvSpPr>
        <p:spPr bwMode="gray">
          <a:xfrm>
            <a:off x="5445125" y="4025900"/>
            <a:ext cx="2936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rm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AC64CB2-8BFD-4312-8640-BCE2C773F4CC}" type="datetime'''1'''''''''''''''''',''''3'''''''''">
              <a:rPr lang="en-US" altLang="en-US" sz="1200" smtClean="0">
                <a:effectLst/>
              </a:rPr>
              <a:pPr lvl="0" algn="ctr">
                <a:spcBef>
                  <a:spcPct val="0"/>
                </a:spcBef>
                <a:spcAft>
                  <a:spcPct val="0"/>
                </a:spcAft>
              </a:pPr>
              <a:t>1,3</a:t>
            </a:fld>
            <a:endParaRPr lang="en-US" sz="1200"/>
          </a:p>
        </p:txBody>
      </p:sp>
      <p:sp>
        <p:nvSpPr>
          <p:cNvPr id="55" name="Text Placeholder 4">
            <a:extLst>
              <a:ext uri="{FF2B5EF4-FFF2-40B4-BE49-F238E27FC236}">
                <a16:creationId xmlns:a16="http://schemas.microsoft.com/office/drawing/2014/main" id="{4C1F3293-4EFE-461D-940D-7EE66BAE31C5}"/>
              </a:ext>
            </a:extLst>
          </p:cNvPr>
          <p:cNvSpPr>
            <a:spLocks noGrp="1"/>
          </p:cNvSpPr>
          <p:nvPr>
            <p:custDataLst>
              <p:tags r:id="rId45"/>
            </p:custDataLst>
          </p:nvPr>
        </p:nvSpPr>
        <p:spPr bwMode="gray">
          <a:xfrm>
            <a:off x="5445125" y="4254500"/>
            <a:ext cx="2936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rm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8DA6BB7-2300-4540-A41D-2257C265133E}" type="datetime'''''''''''''''''''''''''''''''''''1'''''''',4'''''''''''''''">
              <a:rPr lang="en-US" altLang="en-US" sz="1200" smtClean="0">
                <a:solidFill>
                  <a:schemeClr val="tx2"/>
                </a:solidFill>
                <a:effectLst/>
              </a:rPr>
              <a:pPr lvl="0" algn="ctr">
                <a:spcBef>
                  <a:spcPct val="0"/>
                </a:spcBef>
                <a:spcAft>
                  <a:spcPct val="0"/>
                </a:spcAft>
              </a:pPr>
              <a:t>1,4</a:t>
            </a:fld>
            <a:endParaRPr lang="en-US" sz="1200">
              <a:solidFill>
                <a:schemeClr val="tx2"/>
              </a:solidFill>
            </a:endParaRPr>
          </a:p>
        </p:txBody>
      </p:sp>
      <p:sp>
        <p:nvSpPr>
          <p:cNvPr id="122" name="Text Placeholder 4">
            <a:extLst>
              <a:ext uri="{FF2B5EF4-FFF2-40B4-BE49-F238E27FC236}">
                <a16:creationId xmlns:a16="http://schemas.microsoft.com/office/drawing/2014/main" id="{4C1F3293-4EFE-461D-940D-7EE66BAE31C5}"/>
              </a:ext>
            </a:extLst>
          </p:cNvPr>
          <p:cNvSpPr>
            <a:spLocks noGrp="1"/>
          </p:cNvSpPr>
          <p:nvPr>
            <p:custDataLst>
              <p:tags r:id="rId46"/>
            </p:custDataLst>
          </p:nvPr>
        </p:nvSpPr>
        <p:spPr bwMode="auto">
          <a:xfrm>
            <a:off x="1179513" y="2878138"/>
            <a:ext cx="762000" cy="258763"/>
          </a:xfrm>
          <a:prstGeom prst="ellipse">
            <a:avLst/>
          </a:prstGeom>
          <a:solidFill>
            <a:schemeClr val="bg1"/>
          </a:solidFill>
          <a:ln>
            <a:noFill/>
          </a:ln>
          <a:effectLst/>
        </p:spPr>
        <p:txBody>
          <a:bodyPr vert="horz" wrap="none" lIns="0" tIns="0" rIns="0" bIns="0" rtlCol="0" anchor="ctr">
            <a:norm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3F4043"/>
              </a:buClr>
              <a:buSzPct val="100000"/>
              <a:buFont typeface="Segoe UI" panose="020B0502040204020203" pitchFamily="34" charset="0"/>
              <a:buChar char="​"/>
              <a:tabLst/>
              <a:defRPr/>
            </a:pPr>
            <a:r>
              <a:rPr lang="en-US" altLang="en-US" sz="1200" b="1">
                <a:solidFill>
                  <a:srgbClr val="3F4043"/>
                </a:solidFill>
                <a:effectLst/>
              </a:rPr>
              <a:t>-4.2%</a:t>
            </a:r>
            <a:endParaRPr kumimoji="0" lang="en-US" sz="1200" b="1" i="0" strike="noStrike" kern="1200" cap="none" spc="0" normalizeH="0" baseline="0" noProof="0">
              <a:ln>
                <a:noFill/>
              </a:ln>
              <a:solidFill>
                <a:srgbClr val="3F4043"/>
              </a:solidFill>
              <a:effectLst/>
              <a:uLnTx/>
              <a:uFillTx/>
              <a:ea typeface="+mn-ea"/>
              <a:cs typeface="+mn-cs"/>
            </a:endParaRPr>
          </a:p>
        </p:txBody>
      </p:sp>
      <p:sp>
        <p:nvSpPr>
          <p:cNvPr id="113" name="Text Placeholder 4">
            <a:extLst>
              <a:ext uri="{FF2B5EF4-FFF2-40B4-BE49-F238E27FC236}">
                <a16:creationId xmlns:a16="http://schemas.microsoft.com/office/drawing/2014/main" id="{4C1F3293-4EFE-461D-940D-7EE66BAE31C5}"/>
              </a:ext>
            </a:extLst>
          </p:cNvPr>
          <p:cNvSpPr>
            <a:spLocks noGrp="1"/>
          </p:cNvSpPr>
          <p:nvPr>
            <p:custDataLst>
              <p:tags r:id="rId47"/>
            </p:custDataLst>
          </p:nvPr>
        </p:nvSpPr>
        <p:spPr bwMode="auto">
          <a:xfrm>
            <a:off x="3530600" y="3371850"/>
            <a:ext cx="762000" cy="258763"/>
          </a:xfrm>
          <a:prstGeom prst="ellipse">
            <a:avLst/>
          </a:prstGeom>
          <a:solidFill>
            <a:schemeClr val="bg1"/>
          </a:solidFill>
          <a:ln>
            <a:noFill/>
          </a:ln>
          <a:effectLst/>
        </p:spPr>
        <p:txBody>
          <a:bodyPr vert="horz" wrap="none" lIns="0" tIns="0" rIns="0" bIns="0" rtlCol="0" anchor="ctr">
            <a:norm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3F4043"/>
              </a:buClr>
              <a:buSzPct val="100000"/>
              <a:buFont typeface="Segoe UI" panose="020B0502040204020203" pitchFamily="34" charset="0"/>
              <a:buChar char="​"/>
              <a:tabLst/>
              <a:defRPr/>
            </a:pPr>
            <a:r>
              <a:rPr lang="en-US" altLang="en-US" sz="1200" b="1">
                <a:solidFill>
                  <a:srgbClr val="3F4043"/>
                </a:solidFill>
                <a:effectLst/>
              </a:rPr>
              <a:t>-1.1%</a:t>
            </a:r>
            <a:endParaRPr kumimoji="0" lang="en-US" sz="1200" b="1" i="0" strike="noStrike" kern="1200" cap="none" spc="0" normalizeH="0" baseline="0" noProof="0">
              <a:ln>
                <a:noFill/>
              </a:ln>
              <a:solidFill>
                <a:srgbClr val="3F4043"/>
              </a:solidFill>
              <a:effectLst/>
              <a:uLnTx/>
              <a:uFillTx/>
              <a:ea typeface="+mn-ea"/>
              <a:cs typeface="+mn-cs"/>
            </a:endParaRPr>
          </a:p>
        </p:txBody>
      </p:sp>
      <p:sp>
        <p:nvSpPr>
          <p:cNvPr id="98" name="Rectangle 97">
            <a:extLst>
              <a:ext uri="{FF2B5EF4-FFF2-40B4-BE49-F238E27FC236}">
                <a16:creationId xmlns:a16="http://schemas.microsoft.com/office/drawing/2014/main" id="{D6E5DF17-2F70-07CE-4276-CB5171C8D19A}"/>
              </a:ext>
            </a:extLst>
          </p:cNvPr>
          <p:cNvSpPr/>
          <p:nvPr>
            <p:custDataLst>
              <p:tags r:id="rId48"/>
            </p:custDataLst>
          </p:nvPr>
        </p:nvSpPr>
        <p:spPr bwMode="auto">
          <a:xfrm>
            <a:off x="614363" y="2222499"/>
            <a:ext cx="214313" cy="160338"/>
          </a:xfrm>
          <a:prstGeom prst="rect">
            <a:avLst/>
          </a:prstGeom>
          <a:solidFill>
            <a:schemeClr val="accent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Verdana"/>
              <a:ea typeface="+mn-ea"/>
              <a:cs typeface="+mn-cs"/>
            </a:endParaRPr>
          </a:p>
        </p:txBody>
      </p:sp>
      <p:sp>
        <p:nvSpPr>
          <p:cNvPr id="57" name="Rectangle 56">
            <a:extLst>
              <a:ext uri="{FF2B5EF4-FFF2-40B4-BE49-F238E27FC236}">
                <a16:creationId xmlns:a16="http://schemas.microsoft.com/office/drawing/2014/main" id="{72CFEBCF-E643-FD6D-34F6-87C13C450402}"/>
              </a:ext>
            </a:extLst>
          </p:cNvPr>
          <p:cNvSpPr/>
          <p:nvPr>
            <p:custDataLst>
              <p:tags r:id="rId49"/>
            </p:custDataLst>
          </p:nvPr>
        </p:nvSpPr>
        <p:spPr bwMode="auto">
          <a:xfrm>
            <a:off x="2173288" y="2222500"/>
            <a:ext cx="214313" cy="160338"/>
          </a:xfrm>
          <a:prstGeom prst="rect">
            <a:avLst/>
          </a:prstGeom>
          <a:solidFill>
            <a:schemeClr val="accent3"/>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Verdana"/>
              <a:ea typeface="+mn-ea"/>
              <a:cs typeface="+mn-cs"/>
            </a:endParaRPr>
          </a:p>
        </p:txBody>
      </p:sp>
      <p:sp>
        <p:nvSpPr>
          <p:cNvPr id="58" name="Rectangle 57">
            <a:extLst>
              <a:ext uri="{FF2B5EF4-FFF2-40B4-BE49-F238E27FC236}">
                <a16:creationId xmlns:a16="http://schemas.microsoft.com/office/drawing/2014/main" id="{912E9603-DAD1-6756-D6A0-FB62E80A63DF}"/>
              </a:ext>
            </a:extLst>
          </p:cNvPr>
          <p:cNvSpPr/>
          <p:nvPr>
            <p:custDataLst>
              <p:tags r:id="rId50"/>
            </p:custDataLst>
          </p:nvPr>
        </p:nvSpPr>
        <p:spPr bwMode="auto">
          <a:xfrm>
            <a:off x="3835400" y="2222500"/>
            <a:ext cx="214313" cy="160338"/>
          </a:xfrm>
          <a:prstGeom prst="rect">
            <a:avLst/>
          </a:prstGeom>
          <a:solidFill>
            <a:schemeClr val="accent1"/>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Verdana"/>
              <a:ea typeface="+mn-ea"/>
              <a:cs typeface="+mn-cs"/>
            </a:endParaRPr>
          </a:p>
        </p:txBody>
      </p:sp>
      <p:sp>
        <p:nvSpPr>
          <p:cNvPr id="88" name="Text Placeholder 2">
            <a:extLst>
              <a:ext uri="{FF2B5EF4-FFF2-40B4-BE49-F238E27FC236}">
                <a16:creationId xmlns:a16="http://schemas.microsoft.com/office/drawing/2014/main" id="{963EA796-CA12-47D8-E7D5-15BB1E2790C5}"/>
              </a:ext>
            </a:extLst>
          </p:cNvPr>
          <p:cNvSpPr>
            <a:spLocks noGrp="1"/>
          </p:cNvSpPr>
          <p:nvPr>
            <p:custDataLst>
              <p:tags r:id="rId51"/>
            </p:custDataLst>
          </p:nvPr>
        </p:nvSpPr>
        <p:spPr bwMode="auto">
          <a:xfrm>
            <a:off x="879475" y="2217738"/>
            <a:ext cx="1192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defTabSz="914377">
              <a:spcBef>
                <a:spcPct val="0"/>
              </a:spcBef>
              <a:spcAft>
                <a:spcPct val="0"/>
              </a:spcAft>
              <a:defRPr/>
            </a:pPr>
            <a:r>
              <a:t>Drinking Yogurt</a:t>
            </a:r>
            <a:br/>
            <a:r>
              <a:t>饮用型酸奶</a:t>
            </a:r>
            <a:endParaRPr kumimoji="0" lang="en-US" sz="1200" b="0" i="0" strike="noStrike" kern="1200" cap="none" spc="0" normalizeH="0" baseline="0" noProof="0">
              <a:ln>
                <a:noFill/>
              </a:ln>
              <a:solidFill>
                <a:srgbClr val="000000"/>
              </a:solidFill>
              <a:effectLst/>
              <a:uLnTx/>
              <a:uFillTx/>
              <a:cs typeface="+mn-cs"/>
            </a:endParaRPr>
          </a:p>
        </p:txBody>
      </p:sp>
      <p:sp>
        <p:nvSpPr>
          <p:cNvPr id="53" name="Text Placeholder 2">
            <a:extLst>
              <a:ext uri="{FF2B5EF4-FFF2-40B4-BE49-F238E27FC236}">
                <a16:creationId xmlns:a16="http://schemas.microsoft.com/office/drawing/2014/main" id="{2DB9B81A-B094-FE24-9804-48341ED2C30A}"/>
              </a:ext>
            </a:extLst>
          </p:cNvPr>
          <p:cNvSpPr>
            <a:spLocks noGrp="1"/>
          </p:cNvSpPr>
          <p:nvPr>
            <p:custDataLst>
              <p:tags r:id="rId52"/>
            </p:custDataLst>
          </p:nvPr>
        </p:nvSpPr>
        <p:spPr bwMode="auto">
          <a:xfrm>
            <a:off x="2438400" y="2217738"/>
            <a:ext cx="12954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defTabSz="914377">
              <a:spcBef>
                <a:spcPct val="0"/>
              </a:spcBef>
              <a:spcAft>
                <a:spcPct val="0"/>
              </a:spcAft>
              <a:defRPr/>
            </a:pPr>
            <a:r>
              <a:t>Flavoured Yogurt</a:t>
            </a:r>
            <a:br/>
            <a:r>
              <a:t>风味酸奶</a:t>
            </a:r>
            <a:endParaRPr kumimoji="0" lang="en-US" sz="1200" b="0" i="0" strike="noStrike" kern="1200" cap="none" spc="0" normalizeH="0" baseline="0" noProof="0">
              <a:ln>
                <a:noFill/>
              </a:ln>
              <a:solidFill>
                <a:srgbClr val="000000"/>
              </a:solidFill>
              <a:effectLst/>
              <a:uLnTx/>
              <a:uFillTx/>
              <a:cs typeface="+mn-cs"/>
            </a:endParaRPr>
          </a:p>
        </p:txBody>
      </p:sp>
      <p:sp>
        <p:nvSpPr>
          <p:cNvPr id="54" name="Text Placeholder 2">
            <a:extLst>
              <a:ext uri="{FF2B5EF4-FFF2-40B4-BE49-F238E27FC236}">
                <a16:creationId xmlns:a16="http://schemas.microsoft.com/office/drawing/2014/main" id="{BC56C7F8-D262-429B-CE53-C6E98BBF8F96}"/>
              </a:ext>
            </a:extLst>
          </p:cNvPr>
          <p:cNvSpPr>
            <a:spLocks noGrp="1"/>
          </p:cNvSpPr>
          <p:nvPr>
            <p:custDataLst>
              <p:tags r:id="rId53"/>
            </p:custDataLst>
          </p:nvPr>
        </p:nvSpPr>
        <p:spPr bwMode="auto">
          <a:xfrm>
            <a:off x="4100513" y="2217738"/>
            <a:ext cx="9112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rm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defTabSz="914377">
              <a:spcBef>
                <a:spcPct val="0"/>
              </a:spcBef>
              <a:spcAft>
                <a:spcPct val="0"/>
              </a:spcAft>
              <a:defRPr/>
            </a:pPr>
            <a:r>
              <a:t>Plain Yogurt</a:t>
            </a:r>
            <a:br/>
            <a:r>
              <a:t>原味酸奶</a:t>
            </a:r>
            <a:endParaRPr kumimoji="0" lang="en-US" sz="1200" b="0" i="0" strike="noStrike" kern="1200" cap="none" spc="0" normalizeH="0" baseline="0" noProof="0">
              <a:ln>
                <a:noFill/>
              </a:ln>
              <a:solidFill>
                <a:srgbClr val="000000"/>
              </a:solidFill>
              <a:effectLst/>
              <a:uLnTx/>
              <a:uFillTx/>
              <a:cs typeface="+mn-cs"/>
            </a:endParaRPr>
          </a:p>
        </p:txBody>
      </p:sp>
      <p:sp>
        <p:nvSpPr>
          <p:cNvPr id="355" name="TrackerNumWhite 182">
            <a:extLst>
              <a:ext uri="{FF2B5EF4-FFF2-40B4-BE49-F238E27FC236}">
                <a16:creationId xmlns:a16="http://schemas.microsoft.com/office/drawing/2014/main" id="{9EC13BE6-A1CB-8FC9-7243-162A4DC88670}"/>
              </a:ext>
            </a:extLst>
          </p:cNvPr>
          <p:cNvSpPr>
            <a:spLocks/>
          </p:cNvSpPr>
          <p:nvPr>
            <p:custDataLst>
              <p:tags r:id="rId54"/>
            </p:custDataLst>
          </p:nvPr>
        </p:nvSpPr>
        <p:spPr>
          <a:xfrm>
            <a:off x="6168570" y="3116675"/>
            <a:ext cx="961502" cy="302684"/>
          </a:xfrm>
          <a:prstGeom prst="ellipse">
            <a:avLst/>
          </a:prstGeom>
          <a:solidFill>
            <a:srgbClr val="8AD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rmAutofit/>
          </a:bodyPr>
          <a:lstStyle/>
          <a:p>
            <a:pPr marL="0" marR="0" lvl="0" indent="0" algn="ctr" defTabSz="914377" rtl="0" eaLnBrk="1" fontAlgn="auto" latinLnBrk="0" hangingPunct="1">
              <a:lnSpc>
                <a:spcPct val="100000"/>
              </a:lnSpc>
              <a:spcBef>
                <a:spcPts val="300"/>
              </a:spcBef>
              <a:spcAft>
                <a:spcPts val="300"/>
              </a:spcAft>
              <a:buClr>
                <a:srgbClr val="3F4043"/>
              </a:buClr>
              <a:buSzTx/>
              <a:buFontTx/>
              <a:buNone/>
              <a:tabLst/>
              <a:defRPr/>
            </a:pPr>
            <a:r>
              <a:rPr kumimoji="0" lang="en-US" sz="1200" b="0" i="0" u="none" strike="noStrike" kern="1200" cap="none" spc="0" normalizeH="0" baseline="0" noProof="0">
                <a:ln>
                  <a:noFill/>
                </a:ln>
                <a:solidFill>
                  <a:srgbClr val="3F4043"/>
                </a:solidFill>
                <a:effectLst/>
                <a:uLnTx/>
                <a:uFillTx/>
                <a:latin typeface="Verdana"/>
                <a:ea typeface="+mn-ea"/>
                <a:cs typeface="+mn-cs"/>
              </a:rPr>
              <a:t>-5.5</a:t>
            </a:r>
          </a:p>
        </p:txBody>
      </p:sp>
      <p:sp>
        <p:nvSpPr>
          <p:cNvPr id="356" name="TrackerNumWhite 182">
            <a:extLst>
              <a:ext uri="{FF2B5EF4-FFF2-40B4-BE49-F238E27FC236}">
                <a16:creationId xmlns:a16="http://schemas.microsoft.com/office/drawing/2014/main" id="{79389CD7-8415-D004-560B-B184FD6CD65B}"/>
              </a:ext>
            </a:extLst>
          </p:cNvPr>
          <p:cNvSpPr>
            <a:spLocks/>
          </p:cNvSpPr>
          <p:nvPr>
            <p:custDataLst>
              <p:tags r:id="rId55"/>
            </p:custDataLst>
          </p:nvPr>
        </p:nvSpPr>
        <p:spPr>
          <a:xfrm>
            <a:off x="7428100" y="3126783"/>
            <a:ext cx="961502" cy="302684"/>
          </a:xfrm>
          <a:prstGeom prst="ellipse">
            <a:avLst/>
          </a:prstGeom>
          <a:solidFill>
            <a:srgbClr val="8AD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rmAutofit/>
          </a:bodyPr>
          <a:lstStyle/>
          <a:p>
            <a:pPr marL="0" marR="0" lvl="0" indent="0" algn="ctr" defTabSz="914377" rtl="0" eaLnBrk="1" fontAlgn="auto" latinLnBrk="0" hangingPunct="1">
              <a:lnSpc>
                <a:spcPct val="100000"/>
              </a:lnSpc>
              <a:spcBef>
                <a:spcPts val="300"/>
              </a:spcBef>
              <a:spcAft>
                <a:spcPts val="300"/>
              </a:spcAft>
              <a:buClr>
                <a:srgbClr val="3F4043"/>
              </a:buClr>
              <a:buSzTx/>
              <a:buFontTx/>
              <a:buNone/>
              <a:tabLst/>
              <a:defRPr/>
            </a:pPr>
            <a:r>
              <a:rPr kumimoji="0" lang="en-US" sz="1200" b="0" i="0" u="none" strike="noStrike" kern="1200" cap="none" spc="0" normalizeH="0" baseline="0" noProof="0">
                <a:ln>
                  <a:noFill/>
                </a:ln>
                <a:solidFill>
                  <a:srgbClr val="3F4043"/>
                </a:solidFill>
                <a:effectLst/>
                <a:uLnTx/>
                <a:uFillTx/>
                <a:latin typeface="Verdana"/>
                <a:ea typeface="+mn-ea"/>
                <a:cs typeface="+mn-cs"/>
              </a:rPr>
              <a:t>0.6</a:t>
            </a:r>
          </a:p>
        </p:txBody>
      </p:sp>
      <p:sp>
        <p:nvSpPr>
          <p:cNvPr id="359" name="TrackerNumWhite 182">
            <a:extLst>
              <a:ext uri="{FF2B5EF4-FFF2-40B4-BE49-F238E27FC236}">
                <a16:creationId xmlns:a16="http://schemas.microsoft.com/office/drawing/2014/main" id="{21DB6762-84A0-FAF8-26FD-F520282994FC}"/>
              </a:ext>
            </a:extLst>
          </p:cNvPr>
          <p:cNvSpPr>
            <a:spLocks/>
          </p:cNvSpPr>
          <p:nvPr>
            <p:custDataLst>
              <p:tags r:id="rId56"/>
            </p:custDataLst>
          </p:nvPr>
        </p:nvSpPr>
        <p:spPr>
          <a:xfrm>
            <a:off x="6104224" y="5219770"/>
            <a:ext cx="961502" cy="302684"/>
          </a:xfrm>
          <a:prstGeom prst="ellipse">
            <a:avLst/>
          </a:prstGeom>
          <a:solidFill>
            <a:srgbClr val="D7DF2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rmAutofit/>
          </a:bodyPr>
          <a:lstStyle/>
          <a:p>
            <a:pPr marL="0" marR="0" lvl="0" indent="0" algn="ctr" defTabSz="914377" rtl="0" eaLnBrk="1" fontAlgn="auto" latinLnBrk="0" hangingPunct="1">
              <a:lnSpc>
                <a:spcPct val="100000"/>
              </a:lnSpc>
              <a:spcBef>
                <a:spcPts val="300"/>
              </a:spcBef>
              <a:spcAft>
                <a:spcPts val="300"/>
              </a:spcAft>
              <a:buClr>
                <a:srgbClr val="FFFFFF"/>
              </a:buClr>
              <a:buSzTx/>
              <a:buFontTx/>
              <a:buNone/>
              <a:tabLst/>
              <a:defRPr/>
            </a:pPr>
            <a:r>
              <a:rPr kumimoji="0" lang="en-US" sz="1200" b="0" i="0" u="none" strike="noStrike" kern="1200" cap="none" spc="0" normalizeH="0" baseline="0" noProof="0">
                <a:ln>
                  <a:noFill/>
                </a:ln>
                <a:solidFill>
                  <a:srgbClr val="3F4043"/>
                </a:solidFill>
                <a:effectLst/>
                <a:uLnTx/>
                <a:uFillTx/>
                <a:latin typeface="Verdana"/>
                <a:ea typeface="+mn-ea"/>
                <a:cs typeface="+mn-cs"/>
              </a:rPr>
              <a:t>-6.8</a:t>
            </a:r>
          </a:p>
        </p:txBody>
      </p:sp>
      <p:sp>
        <p:nvSpPr>
          <p:cNvPr id="360" name="TrackerNumWhite 182">
            <a:extLst>
              <a:ext uri="{FF2B5EF4-FFF2-40B4-BE49-F238E27FC236}">
                <a16:creationId xmlns:a16="http://schemas.microsoft.com/office/drawing/2014/main" id="{54506DD5-DB4F-3CC4-71B9-6450AC5D7C02}"/>
              </a:ext>
            </a:extLst>
          </p:cNvPr>
          <p:cNvSpPr>
            <a:spLocks/>
          </p:cNvSpPr>
          <p:nvPr>
            <p:custDataLst>
              <p:tags r:id="rId57"/>
            </p:custDataLst>
          </p:nvPr>
        </p:nvSpPr>
        <p:spPr>
          <a:xfrm>
            <a:off x="7377005" y="5219770"/>
            <a:ext cx="961502" cy="302684"/>
          </a:xfrm>
          <a:prstGeom prst="ellipse">
            <a:avLst/>
          </a:prstGeom>
          <a:solidFill>
            <a:srgbClr val="D7DF2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rmAutofit/>
          </a:bodyPr>
          <a:lstStyle/>
          <a:p>
            <a:pPr marL="0" marR="0" lvl="0" indent="0" algn="ctr" defTabSz="914377" rtl="0" eaLnBrk="1" fontAlgn="auto" latinLnBrk="0" hangingPunct="1">
              <a:lnSpc>
                <a:spcPct val="100000"/>
              </a:lnSpc>
              <a:spcBef>
                <a:spcPts val="300"/>
              </a:spcBef>
              <a:spcAft>
                <a:spcPts val="300"/>
              </a:spcAft>
              <a:buClr>
                <a:srgbClr val="FFFFFF"/>
              </a:buClr>
              <a:buSzTx/>
              <a:buFontTx/>
              <a:buNone/>
              <a:tabLst/>
              <a:defRPr/>
            </a:pPr>
            <a:r>
              <a:rPr kumimoji="0" lang="en-US" sz="1200" b="0" i="0" u="none" strike="noStrike" kern="1200" cap="none" spc="0" normalizeH="0" baseline="0" noProof="0">
                <a:ln>
                  <a:noFill/>
                </a:ln>
                <a:solidFill>
                  <a:srgbClr val="3F4043"/>
                </a:solidFill>
                <a:effectLst/>
                <a:uLnTx/>
                <a:uFillTx/>
                <a:latin typeface="Verdana"/>
                <a:ea typeface="+mn-ea"/>
                <a:cs typeface="+mn-cs"/>
              </a:rPr>
              <a:t>-0.3</a:t>
            </a:r>
          </a:p>
        </p:txBody>
      </p:sp>
      <p:sp>
        <p:nvSpPr>
          <p:cNvPr id="361" name="TrackerNumWhite 182">
            <a:extLst>
              <a:ext uri="{FF2B5EF4-FFF2-40B4-BE49-F238E27FC236}">
                <a16:creationId xmlns:a16="http://schemas.microsoft.com/office/drawing/2014/main" id="{928B55A0-E064-2C4F-93A3-790B5CEB2E7E}"/>
              </a:ext>
            </a:extLst>
          </p:cNvPr>
          <p:cNvSpPr>
            <a:spLocks/>
          </p:cNvSpPr>
          <p:nvPr>
            <p:custDataLst>
              <p:tags r:id="rId58"/>
            </p:custDataLst>
          </p:nvPr>
        </p:nvSpPr>
        <p:spPr>
          <a:xfrm>
            <a:off x="6096000" y="4183676"/>
            <a:ext cx="961502" cy="302684"/>
          </a:xfrm>
          <a:prstGeom prst="ellipse">
            <a:avLst/>
          </a:prstGeom>
          <a:solidFill>
            <a:srgbClr val="39B54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rmAutofit/>
          </a:bodyPr>
          <a:lstStyle/>
          <a:p>
            <a:pPr marL="0" marR="0" lvl="0" indent="0" algn="ctr" defTabSz="914377" rtl="0" eaLnBrk="1" fontAlgn="auto" latinLnBrk="0" hangingPunct="1">
              <a:lnSpc>
                <a:spcPct val="100000"/>
              </a:lnSpc>
              <a:spcBef>
                <a:spcPts val="300"/>
              </a:spcBef>
              <a:spcAft>
                <a:spcPts val="30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6.5</a:t>
            </a:r>
          </a:p>
        </p:txBody>
      </p:sp>
      <p:sp>
        <p:nvSpPr>
          <p:cNvPr id="362" name="TrackerNumWhite 182">
            <a:extLst>
              <a:ext uri="{FF2B5EF4-FFF2-40B4-BE49-F238E27FC236}">
                <a16:creationId xmlns:a16="http://schemas.microsoft.com/office/drawing/2014/main" id="{2AD86CA5-A9B2-9B71-7AA5-AB5E41635F49}"/>
              </a:ext>
            </a:extLst>
          </p:cNvPr>
          <p:cNvSpPr>
            <a:spLocks/>
          </p:cNvSpPr>
          <p:nvPr>
            <p:custDataLst>
              <p:tags r:id="rId59"/>
            </p:custDataLst>
          </p:nvPr>
        </p:nvSpPr>
        <p:spPr>
          <a:xfrm>
            <a:off x="7441351" y="4183676"/>
            <a:ext cx="961502" cy="302684"/>
          </a:xfrm>
          <a:prstGeom prst="ellipse">
            <a:avLst/>
          </a:prstGeom>
          <a:solidFill>
            <a:srgbClr val="39B54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rmAutofit/>
          </a:bodyPr>
          <a:lstStyle/>
          <a:p>
            <a:pPr marL="0" marR="0" lvl="0" indent="0" algn="ctr" defTabSz="914377" rtl="0" eaLnBrk="1" fontAlgn="auto" latinLnBrk="0" hangingPunct="1">
              <a:lnSpc>
                <a:spcPct val="100000"/>
              </a:lnSpc>
              <a:spcBef>
                <a:spcPts val="300"/>
              </a:spcBef>
              <a:spcAft>
                <a:spcPts val="300"/>
              </a:spcAft>
              <a:buClr>
                <a:srgbClr val="FFFFFF"/>
              </a:buClr>
              <a:buSzTx/>
              <a:buFontTx/>
              <a:buNone/>
              <a:tabLst/>
              <a:defRPr/>
            </a:pPr>
            <a:r>
              <a:rPr kumimoji="0" lang="en-US" sz="1200" b="0" i="0" u="none" strike="noStrike" kern="1200" cap="none" spc="0" normalizeH="0" baseline="0" noProof="0">
                <a:ln>
                  <a:noFill/>
                </a:ln>
                <a:solidFill>
                  <a:srgbClr val="FFFFFF"/>
                </a:solidFill>
                <a:effectLst/>
                <a:uLnTx/>
                <a:uFillTx/>
                <a:latin typeface="Verdana"/>
                <a:ea typeface="+mn-ea"/>
                <a:cs typeface="+mn-cs"/>
              </a:rPr>
              <a:t>-1.5</a:t>
            </a:r>
          </a:p>
        </p:txBody>
      </p:sp>
      <p:cxnSp>
        <p:nvCxnSpPr>
          <p:cNvPr id="28" name="Straight Connector 27">
            <a:extLst>
              <a:ext uri="{FF2B5EF4-FFF2-40B4-BE49-F238E27FC236}">
                <a16:creationId xmlns:a16="http://schemas.microsoft.com/office/drawing/2014/main" id="{24AFD5C8-8258-E94C-76B6-2C8912A5EC4A}"/>
              </a:ext>
            </a:extLst>
          </p:cNvPr>
          <p:cNvCxnSpPr>
            <a:cxnSpLocks/>
          </p:cNvCxnSpPr>
          <p:nvPr>
            <p:custDataLst>
              <p:tags r:id="rId60"/>
            </p:custDataLst>
          </p:nvPr>
        </p:nvCxnSpPr>
        <p:spPr>
          <a:xfrm>
            <a:off x="8894762" y="1939600"/>
            <a:ext cx="274250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1A1E79A-1F83-60CE-3342-039A20CA4CB0}"/>
              </a:ext>
            </a:extLst>
          </p:cNvPr>
          <p:cNvSpPr txBox="1">
            <a:spLocks/>
          </p:cNvSpPr>
          <p:nvPr/>
        </p:nvSpPr>
        <p:spPr>
          <a:xfrm>
            <a:off x="8894762" y="1399032"/>
            <a:ext cx="2742501" cy="492443"/>
          </a:xfrm>
          <a:prstGeom prst="rect">
            <a:avLst/>
          </a:prstGeom>
        </p:spPr>
        <p:txBody>
          <a:bodyPr vert="horz" wrap="square" lIns="0" tIns="0" rIns="0" bIns="0" rtlCol="0" anchor="b" anchorCtr="0">
            <a:norm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3F4043"/>
              </a:buClr>
              <a:buSzPct val="100000"/>
              <a:buFont typeface="Segoe UI" panose="020B0502040204020203" pitchFamily="34" charset="0"/>
              <a:buChar char="​"/>
              <a:tabLst/>
              <a:defRPr/>
            </a:pPr>
            <a:r>
              <a:t>Key dynamics</a:t>
            </a:r>
            <a:br/>
            <a:r>
              <a:t>关键动态</a:t>
            </a:r>
          </a:p>
        </p:txBody>
      </p:sp>
      <p:cxnSp>
        <p:nvCxnSpPr>
          <p:cNvPr id="38" name="Straight Connector 37">
            <a:extLst>
              <a:ext uri="{FF2B5EF4-FFF2-40B4-BE49-F238E27FC236}">
                <a16:creationId xmlns:a16="http://schemas.microsoft.com/office/drawing/2014/main" id="{0148C4B5-7213-AB63-4233-0F4572CA4F75}"/>
              </a:ext>
            </a:extLst>
          </p:cNvPr>
          <p:cNvCxnSpPr>
            <a:cxnSpLocks/>
          </p:cNvCxnSpPr>
          <p:nvPr>
            <p:custDataLst>
              <p:tags r:id="rId61"/>
            </p:custDataLst>
          </p:nvPr>
        </p:nvCxnSpPr>
        <p:spPr>
          <a:xfrm>
            <a:off x="554736" y="1939600"/>
            <a:ext cx="7918704"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EA1E0F39-2F99-46B1-C0C7-3EBA9002C9E1}"/>
              </a:ext>
            </a:extLst>
          </p:cNvPr>
          <p:cNvSpPr txBox="1"/>
          <p:nvPr/>
        </p:nvSpPr>
        <p:spPr>
          <a:xfrm>
            <a:off x="554736" y="1676031"/>
            <a:ext cx="5373143" cy="215444"/>
          </a:xfrm>
          <a:prstGeom prst="rect">
            <a:avLst/>
          </a:prstGeom>
        </p:spPr>
        <p:txBody>
          <a:bodyPr vert="horz" wrap="square" lIns="0" tIns="0" rIns="0" bIns="0" rtlCol="0" anchor="b" anchorCtr="0">
            <a:normAutofit/>
          </a:bodyPr>
          <a:lstStyle>
            <a:lvl1pPr lvl="0" indent="0" defTabSz="685783">
              <a:lnSpc>
                <a:spcPct val="100000"/>
              </a:lnSpc>
              <a:spcBef>
                <a:spcPts val="225"/>
              </a:spcBef>
              <a:spcAft>
                <a:spcPts val="225"/>
              </a:spcAft>
              <a:buClr>
                <a:schemeClr val="tx1"/>
              </a:buClr>
              <a:buSzPct val="100000"/>
              <a:buFont typeface="Segoe UI" panose="020B0502040204020203" pitchFamily="34" charset="0"/>
              <a:buChar char="​"/>
              <a:defRPr lang="en-US" sz="1200" dirty="0"/>
            </a:lvl1pPr>
            <a:lvl2pPr marL="171446" lvl="1" indent="-171446" defTabSz="685783">
              <a:lnSpc>
                <a:spcPct val="100000"/>
              </a:lnSpc>
              <a:spcBef>
                <a:spcPts val="0"/>
              </a:spcBef>
              <a:spcAft>
                <a:spcPts val="225"/>
              </a:spcAft>
              <a:buClr>
                <a:schemeClr val="accent1"/>
              </a:buClr>
              <a:buSzPct val="110000"/>
              <a:buFont typeface="Wingdings" panose="05000000000000000000" pitchFamily="2" charset="2"/>
              <a:buChar char=""/>
              <a:defRPr lang="en-US" sz="1200" dirty="0"/>
            </a:lvl2pPr>
            <a:lvl3pPr marL="329176" lvl="2" indent="-157730" defTabSz="685783">
              <a:lnSpc>
                <a:spcPct val="100000"/>
              </a:lnSpc>
              <a:spcBef>
                <a:spcPts val="0"/>
              </a:spcBef>
              <a:spcAft>
                <a:spcPts val="225"/>
              </a:spcAft>
              <a:buClr>
                <a:schemeClr val="accent1"/>
              </a:buClr>
              <a:buSzPct val="110000"/>
              <a:buFont typeface="Arial" panose="020B0604020202020204" pitchFamily="34" charset="0"/>
              <a:buChar char="‒"/>
              <a:defRPr lang="en-US" sz="1200" dirty="0"/>
            </a:lvl3pPr>
            <a:lvl4pPr marL="445759" lvl="3" indent="-116583" defTabSz="685783">
              <a:lnSpc>
                <a:spcPct val="100000"/>
              </a:lnSpc>
              <a:spcBef>
                <a:spcPts val="0"/>
              </a:spcBef>
              <a:spcAft>
                <a:spcPts val="225"/>
              </a:spcAft>
              <a:buClr>
                <a:schemeClr val="accent1"/>
              </a:buClr>
              <a:buSzPct val="100000"/>
              <a:buFont typeface="Arial" panose="020B0604020202020204" pitchFamily="34" charset="0"/>
              <a:buChar char="•"/>
              <a:defRPr lang="en-US" sz="1200" dirty="0"/>
            </a:lvl4pPr>
            <a:lvl5pPr marL="610347" lvl="4" indent="-109725" defTabSz="685783">
              <a:lnSpc>
                <a:spcPct val="100000"/>
              </a:lnSpc>
              <a:spcBef>
                <a:spcPts val="0"/>
              </a:spcBef>
              <a:spcAft>
                <a:spcPts val="225"/>
              </a:spcAft>
              <a:buClr>
                <a:schemeClr val="accent1"/>
              </a:buClr>
              <a:buSzPct val="100000"/>
              <a:buFont typeface="Arial" panose="020B0604020202020204" pitchFamily="34" charset="0"/>
              <a:buChar char="̶"/>
              <a:defRPr lang="en-US" sz="1200" dirty="0"/>
            </a:lvl5pPr>
            <a:lvl6pPr marL="814368" indent="-128585" defTabSz="685783">
              <a:lnSpc>
                <a:spcPct val="100000"/>
              </a:lnSpc>
              <a:spcBef>
                <a:spcPts val="0"/>
              </a:spcBef>
              <a:spcAft>
                <a:spcPts val="225"/>
              </a:spcAft>
              <a:buSzPct val="100000"/>
              <a:buFont typeface="Arial" panose="020B0604020202020204" pitchFamily="34" charset="0"/>
              <a:buChar char="▫"/>
              <a:defRPr sz="1200">
                <a:cs typeface="Arial" panose="020B0604020202020204" pitchFamily="34" charset="0"/>
              </a:defRPr>
            </a:lvl6pPr>
            <a:lvl7pPr marL="814368" indent="-128585" defTabSz="685783">
              <a:lnSpc>
                <a:spcPct val="100000"/>
              </a:lnSpc>
              <a:spcBef>
                <a:spcPts val="0"/>
              </a:spcBef>
              <a:spcAft>
                <a:spcPts val="225"/>
              </a:spcAft>
              <a:buSzPct val="100000"/>
              <a:buFont typeface="Arial" panose="020B0604020202020204" pitchFamily="34" charset="0"/>
              <a:buChar char="▫"/>
              <a:defRPr sz="1200">
                <a:cs typeface="Arial" panose="020B0604020202020204" pitchFamily="34" charset="0"/>
              </a:defRPr>
            </a:lvl7pPr>
            <a:lvl8pPr marL="814368" indent="-128585" defTabSz="685783">
              <a:lnSpc>
                <a:spcPct val="100000"/>
              </a:lnSpc>
              <a:spcBef>
                <a:spcPts val="0"/>
              </a:spcBef>
              <a:spcAft>
                <a:spcPts val="225"/>
              </a:spcAft>
              <a:buSzPct val="100000"/>
              <a:buFont typeface="Arial" panose="020B0604020202020204" pitchFamily="34" charset="0"/>
              <a:buChar char="▫"/>
              <a:defRPr sz="1200">
                <a:cs typeface="Arial" panose="020B0604020202020204" pitchFamily="34" charset="0"/>
              </a:defRPr>
            </a:lvl8pPr>
            <a:lvl9pPr marL="814368" indent="-128585" defTabSz="685783">
              <a:lnSpc>
                <a:spcPct val="100000"/>
              </a:lnSpc>
              <a:spcBef>
                <a:spcPts val="0"/>
              </a:spcBef>
              <a:spcAft>
                <a:spcPts val="225"/>
              </a:spcAft>
              <a:buSzPct val="100000"/>
              <a:buFont typeface="Arial" panose="020B0604020202020204" pitchFamily="34" charset="0"/>
              <a:buChar char="▫"/>
              <a:defRPr sz="1200">
                <a:cs typeface="Arial" panose="020B0604020202020204" pitchFamily="34" charset="0"/>
              </a:defRPr>
            </a:lvl9pPr>
          </a:lstStyle>
          <a:p>
            <a:pPr marL="0" marR="0" lvl="0" indent="0" algn="l" defTabSz="685783" rtl="0" eaLnBrk="1" fontAlgn="auto" latinLnBrk="0" hangingPunct="1">
              <a:lnSpc>
                <a:spcPct val="100000"/>
              </a:lnSpc>
              <a:spcBef>
                <a:spcPts val="225"/>
              </a:spcBef>
              <a:spcAft>
                <a:spcPts val="225"/>
              </a:spcAft>
              <a:buClr>
                <a:srgbClr val="3F4043"/>
              </a:buClr>
              <a:buSzPct val="100000"/>
              <a:buFont typeface="Segoe UI" panose="020B0502040204020203" pitchFamily="34" charset="0"/>
              <a:buChar char="​"/>
              <a:tabLst/>
              <a:defRPr/>
            </a:pPr>
            <a:r>
              <a:t>China Demand of yoghurt by type, €Bn</a:t>
            </a:r>
            <a:br/>
            <a:r>
              <a:t>中国各类酸奶需求，€Bn</a:t>
            </a:r>
          </a:p>
        </p:txBody>
      </p:sp>
      <p:sp>
        <p:nvSpPr>
          <p:cNvPr id="41" name="TextBox 40">
            <a:extLst>
              <a:ext uri="{FF2B5EF4-FFF2-40B4-BE49-F238E27FC236}">
                <a16:creationId xmlns:a16="http://schemas.microsoft.com/office/drawing/2014/main" id="{94F615CB-4538-AEAB-ABF1-6AF4A81D35BD}"/>
              </a:ext>
            </a:extLst>
          </p:cNvPr>
          <p:cNvSpPr txBox="1">
            <a:spLocks/>
          </p:cNvSpPr>
          <p:nvPr/>
        </p:nvSpPr>
        <p:spPr>
          <a:xfrm>
            <a:off x="6097982" y="1460588"/>
            <a:ext cx="1102678" cy="430887"/>
          </a:xfrm>
          <a:prstGeom prst="rect">
            <a:avLst/>
          </a:prstGeom>
        </p:spPr>
        <p:txBody>
          <a:bodyPr vert="horz" wrap="square" lIns="0" tIns="0" rIns="0" bIns="0" rtlCol="0" anchor="b" anchorCtr="0">
            <a:normAutofit/>
          </a:bodyPr>
          <a:lstStyle>
            <a:lvl1pPr lvl="0" indent="0" defTabSz="685783">
              <a:lnSpc>
                <a:spcPct val="100000"/>
              </a:lnSpc>
              <a:spcBef>
                <a:spcPts val="225"/>
              </a:spcBef>
              <a:spcAft>
                <a:spcPts val="225"/>
              </a:spcAft>
              <a:buClr>
                <a:schemeClr val="tx1"/>
              </a:buClr>
              <a:buSzPct val="100000"/>
              <a:buFont typeface="Segoe UI" panose="020B0502040204020203" pitchFamily="34" charset="0"/>
              <a:buChar char="​"/>
              <a:defRPr lang="en-US" sz="1200" dirty="0"/>
            </a:lvl1pPr>
            <a:lvl2pPr marL="171446" lvl="1" indent="-171446" defTabSz="685783">
              <a:lnSpc>
                <a:spcPct val="100000"/>
              </a:lnSpc>
              <a:spcBef>
                <a:spcPts val="0"/>
              </a:spcBef>
              <a:spcAft>
                <a:spcPts val="225"/>
              </a:spcAft>
              <a:buClr>
                <a:schemeClr val="accent1"/>
              </a:buClr>
              <a:buSzPct val="110000"/>
              <a:buFont typeface="Wingdings" panose="05000000000000000000" pitchFamily="2" charset="2"/>
              <a:buChar char=""/>
              <a:defRPr lang="en-US" sz="1200" dirty="0"/>
            </a:lvl2pPr>
            <a:lvl3pPr marL="329176" lvl="2" indent="-157730" defTabSz="685783">
              <a:lnSpc>
                <a:spcPct val="100000"/>
              </a:lnSpc>
              <a:spcBef>
                <a:spcPts val="0"/>
              </a:spcBef>
              <a:spcAft>
                <a:spcPts val="225"/>
              </a:spcAft>
              <a:buClr>
                <a:schemeClr val="accent1"/>
              </a:buClr>
              <a:buSzPct val="110000"/>
              <a:buFont typeface="Arial" panose="020B0604020202020204" pitchFamily="34" charset="0"/>
              <a:buChar char="‒"/>
              <a:defRPr lang="en-US" sz="1200" dirty="0"/>
            </a:lvl3pPr>
            <a:lvl4pPr marL="445759" lvl="3" indent="-116583" defTabSz="685783">
              <a:lnSpc>
                <a:spcPct val="100000"/>
              </a:lnSpc>
              <a:spcBef>
                <a:spcPts val="0"/>
              </a:spcBef>
              <a:spcAft>
                <a:spcPts val="225"/>
              </a:spcAft>
              <a:buClr>
                <a:schemeClr val="accent1"/>
              </a:buClr>
              <a:buSzPct val="100000"/>
              <a:buFont typeface="Arial" panose="020B0604020202020204" pitchFamily="34" charset="0"/>
              <a:buChar char="•"/>
              <a:defRPr lang="en-US" sz="1200" dirty="0"/>
            </a:lvl4pPr>
            <a:lvl5pPr marL="610347" lvl="4" indent="-109725" defTabSz="685783">
              <a:lnSpc>
                <a:spcPct val="100000"/>
              </a:lnSpc>
              <a:spcBef>
                <a:spcPts val="0"/>
              </a:spcBef>
              <a:spcAft>
                <a:spcPts val="225"/>
              </a:spcAft>
              <a:buClr>
                <a:schemeClr val="accent1"/>
              </a:buClr>
              <a:buSzPct val="100000"/>
              <a:buFont typeface="Arial" panose="020B0604020202020204" pitchFamily="34" charset="0"/>
              <a:buChar char="̶"/>
              <a:defRPr lang="en-US" sz="1200" dirty="0"/>
            </a:lvl5pPr>
            <a:lvl6pPr marL="814368" indent="-128585" defTabSz="685783">
              <a:lnSpc>
                <a:spcPct val="100000"/>
              </a:lnSpc>
              <a:spcBef>
                <a:spcPts val="0"/>
              </a:spcBef>
              <a:spcAft>
                <a:spcPts val="225"/>
              </a:spcAft>
              <a:buSzPct val="100000"/>
              <a:buFont typeface="Arial" panose="020B0604020202020204" pitchFamily="34" charset="0"/>
              <a:buChar char="▫"/>
              <a:defRPr sz="1200">
                <a:cs typeface="Arial" panose="020B0604020202020204" pitchFamily="34" charset="0"/>
              </a:defRPr>
            </a:lvl6pPr>
            <a:lvl7pPr marL="814368" indent="-128585" defTabSz="685783">
              <a:lnSpc>
                <a:spcPct val="100000"/>
              </a:lnSpc>
              <a:spcBef>
                <a:spcPts val="0"/>
              </a:spcBef>
              <a:spcAft>
                <a:spcPts val="225"/>
              </a:spcAft>
              <a:buSzPct val="100000"/>
              <a:buFont typeface="Arial" panose="020B0604020202020204" pitchFamily="34" charset="0"/>
              <a:buChar char="▫"/>
              <a:defRPr sz="1200">
                <a:cs typeface="Arial" panose="020B0604020202020204" pitchFamily="34" charset="0"/>
              </a:defRPr>
            </a:lvl7pPr>
            <a:lvl8pPr marL="814368" indent="-128585" defTabSz="685783">
              <a:lnSpc>
                <a:spcPct val="100000"/>
              </a:lnSpc>
              <a:spcBef>
                <a:spcPts val="0"/>
              </a:spcBef>
              <a:spcAft>
                <a:spcPts val="225"/>
              </a:spcAft>
              <a:buSzPct val="100000"/>
              <a:buFont typeface="Arial" panose="020B0604020202020204" pitchFamily="34" charset="0"/>
              <a:buChar char="▫"/>
              <a:defRPr sz="1200">
                <a:cs typeface="Arial" panose="020B0604020202020204" pitchFamily="34" charset="0"/>
              </a:defRPr>
            </a:lvl8pPr>
            <a:lvl9pPr marL="814368" indent="-128585" defTabSz="685783">
              <a:lnSpc>
                <a:spcPct val="100000"/>
              </a:lnSpc>
              <a:spcBef>
                <a:spcPts val="0"/>
              </a:spcBef>
              <a:spcAft>
                <a:spcPts val="225"/>
              </a:spcAft>
              <a:buSzPct val="100000"/>
              <a:buFont typeface="Arial" panose="020B0604020202020204" pitchFamily="34" charset="0"/>
              <a:buChar char="▫"/>
              <a:defRPr sz="1200">
                <a:cs typeface="Arial" panose="020B0604020202020204" pitchFamily="34" charset="0"/>
              </a:defRPr>
            </a:lvl9pPr>
          </a:lstStyle>
          <a:p>
            <a:pPr marL="0" marR="0" lvl="0" indent="0" algn="ctr" defTabSz="685783" rtl="0" eaLnBrk="1" fontAlgn="auto" latinLnBrk="0" hangingPunct="1">
              <a:lnSpc>
                <a:spcPct val="100000"/>
              </a:lnSpc>
              <a:spcBef>
                <a:spcPts val="225"/>
              </a:spcBef>
              <a:spcAft>
                <a:spcPts val="225"/>
              </a:spcAft>
              <a:buClr>
                <a:srgbClr val="3F4043"/>
              </a:buClr>
              <a:buSzPct val="100000"/>
              <a:buFont typeface="Segoe UI" panose="020B0502040204020203" pitchFamily="34" charset="0"/>
              <a:buChar char="​"/>
              <a:tabLst/>
              <a:defRPr/>
            </a:pPr>
            <a:r>
              <a:t>CAGR, 2020-24 %</a:t>
            </a:r>
            <a:br/>
            <a:r>
              <a:t>复合年增长率，2020-24 %</a:t>
            </a:r>
          </a:p>
        </p:txBody>
      </p:sp>
      <p:sp>
        <p:nvSpPr>
          <p:cNvPr id="43" name="TextBox 42">
            <a:extLst>
              <a:ext uri="{FF2B5EF4-FFF2-40B4-BE49-F238E27FC236}">
                <a16:creationId xmlns:a16="http://schemas.microsoft.com/office/drawing/2014/main" id="{6FE5E071-B7BB-70E8-56FB-4F55682368E2}"/>
              </a:ext>
            </a:extLst>
          </p:cNvPr>
          <p:cNvSpPr txBox="1">
            <a:spLocks/>
          </p:cNvSpPr>
          <p:nvPr/>
        </p:nvSpPr>
        <p:spPr>
          <a:xfrm>
            <a:off x="7370764" y="1460588"/>
            <a:ext cx="1102678" cy="430887"/>
          </a:xfrm>
          <a:prstGeom prst="rect">
            <a:avLst/>
          </a:prstGeom>
        </p:spPr>
        <p:txBody>
          <a:bodyPr vert="horz" wrap="square" lIns="0" tIns="0" rIns="0" bIns="0" rtlCol="0" anchor="b" anchorCtr="0">
            <a:normAutofit/>
          </a:bodyPr>
          <a:lstStyle>
            <a:lvl1pPr lvl="0" indent="0" defTabSz="685783">
              <a:lnSpc>
                <a:spcPct val="100000"/>
              </a:lnSpc>
              <a:spcBef>
                <a:spcPts val="225"/>
              </a:spcBef>
              <a:spcAft>
                <a:spcPts val="225"/>
              </a:spcAft>
              <a:buClr>
                <a:schemeClr val="tx1"/>
              </a:buClr>
              <a:buSzPct val="100000"/>
              <a:buFont typeface="Segoe UI" panose="020B0502040204020203" pitchFamily="34" charset="0"/>
              <a:buChar char="​"/>
              <a:defRPr lang="en-US" sz="1200" dirty="0"/>
            </a:lvl1pPr>
            <a:lvl2pPr marL="171446" lvl="1" indent="-171446" defTabSz="685783">
              <a:lnSpc>
                <a:spcPct val="100000"/>
              </a:lnSpc>
              <a:spcBef>
                <a:spcPts val="0"/>
              </a:spcBef>
              <a:spcAft>
                <a:spcPts val="225"/>
              </a:spcAft>
              <a:buClr>
                <a:schemeClr val="accent1"/>
              </a:buClr>
              <a:buSzPct val="110000"/>
              <a:buFont typeface="Wingdings" panose="05000000000000000000" pitchFamily="2" charset="2"/>
              <a:buChar char=""/>
              <a:defRPr lang="en-US" sz="1200" dirty="0"/>
            </a:lvl2pPr>
            <a:lvl3pPr marL="329176" lvl="2" indent="-157730" defTabSz="685783">
              <a:lnSpc>
                <a:spcPct val="100000"/>
              </a:lnSpc>
              <a:spcBef>
                <a:spcPts val="0"/>
              </a:spcBef>
              <a:spcAft>
                <a:spcPts val="225"/>
              </a:spcAft>
              <a:buClr>
                <a:schemeClr val="accent1"/>
              </a:buClr>
              <a:buSzPct val="110000"/>
              <a:buFont typeface="Arial" panose="020B0604020202020204" pitchFamily="34" charset="0"/>
              <a:buChar char="‒"/>
              <a:defRPr lang="en-US" sz="1200" dirty="0"/>
            </a:lvl3pPr>
            <a:lvl4pPr marL="445759" lvl="3" indent="-116583" defTabSz="685783">
              <a:lnSpc>
                <a:spcPct val="100000"/>
              </a:lnSpc>
              <a:spcBef>
                <a:spcPts val="0"/>
              </a:spcBef>
              <a:spcAft>
                <a:spcPts val="225"/>
              </a:spcAft>
              <a:buClr>
                <a:schemeClr val="accent1"/>
              </a:buClr>
              <a:buSzPct val="100000"/>
              <a:buFont typeface="Arial" panose="020B0604020202020204" pitchFamily="34" charset="0"/>
              <a:buChar char="•"/>
              <a:defRPr lang="en-US" sz="1200" dirty="0"/>
            </a:lvl4pPr>
            <a:lvl5pPr marL="610347" lvl="4" indent="-109725" defTabSz="685783">
              <a:lnSpc>
                <a:spcPct val="100000"/>
              </a:lnSpc>
              <a:spcBef>
                <a:spcPts val="0"/>
              </a:spcBef>
              <a:spcAft>
                <a:spcPts val="225"/>
              </a:spcAft>
              <a:buClr>
                <a:schemeClr val="accent1"/>
              </a:buClr>
              <a:buSzPct val="100000"/>
              <a:buFont typeface="Arial" panose="020B0604020202020204" pitchFamily="34" charset="0"/>
              <a:buChar char="̶"/>
              <a:defRPr lang="en-US" sz="1200" dirty="0"/>
            </a:lvl5pPr>
            <a:lvl6pPr marL="814368" indent="-128585" defTabSz="685783">
              <a:lnSpc>
                <a:spcPct val="100000"/>
              </a:lnSpc>
              <a:spcBef>
                <a:spcPts val="0"/>
              </a:spcBef>
              <a:spcAft>
                <a:spcPts val="225"/>
              </a:spcAft>
              <a:buSzPct val="100000"/>
              <a:buFont typeface="Arial" panose="020B0604020202020204" pitchFamily="34" charset="0"/>
              <a:buChar char="▫"/>
              <a:defRPr sz="1200">
                <a:cs typeface="Arial" panose="020B0604020202020204" pitchFamily="34" charset="0"/>
              </a:defRPr>
            </a:lvl6pPr>
            <a:lvl7pPr marL="814368" indent="-128585" defTabSz="685783">
              <a:lnSpc>
                <a:spcPct val="100000"/>
              </a:lnSpc>
              <a:spcBef>
                <a:spcPts val="0"/>
              </a:spcBef>
              <a:spcAft>
                <a:spcPts val="225"/>
              </a:spcAft>
              <a:buSzPct val="100000"/>
              <a:buFont typeface="Arial" panose="020B0604020202020204" pitchFamily="34" charset="0"/>
              <a:buChar char="▫"/>
              <a:defRPr sz="1200">
                <a:cs typeface="Arial" panose="020B0604020202020204" pitchFamily="34" charset="0"/>
              </a:defRPr>
            </a:lvl7pPr>
            <a:lvl8pPr marL="814368" indent="-128585" defTabSz="685783">
              <a:lnSpc>
                <a:spcPct val="100000"/>
              </a:lnSpc>
              <a:spcBef>
                <a:spcPts val="0"/>
              </a:spcBef>
              <a:spcAft>
                <a:spcPts val="225"/>
              </a:spcAft>
              <a:buSzPct val="100000"/>
              <a:buFont typeface="Arial" panose="020B0604020202020204" pitchFamily="34" charset="0"/>
              <a:buChar char="▫"/>
              <a:defRPr sz="1200">
                <a:cs typeface="Arial" panose="020B0604020202020204" pitchFamily="34" charset="0"/>
              </a:defRPr>
            </a:lvl8pPr>
            <a:lvl9pPr marL="814368" indent="-128585" defTabSz="685783">
              <a:lnSpc>
                <a:spcPct val="100000"/>
              </a:lnSpc>
              <a:spcBef>
                <a:spcPts val="0"/>
              </a:spcBef>
              <a:spcAft>
                <a:spcPts val="225"/>
              </a:spcAft>
              <a:buSzPct val="100000"/>
              <a:buFont typeface="Arial" panose="020B0604020202020204" pitchFamily="34" charset="0"/>
              <a:buChar char="▫"/>
              <a:defRPr sz="1200">
                <a:cs typeface="Arial" panose="020B0604020202020204" pitchFamily="34" charset="0"/>
              </a:defRPr>
            </a:lvl9pPr>
          </a:lstStyle>
          <a:p>
            <a:pPr marL="0" marR="0" lvl="0" indent="0" algn="ctr" defTabSz="685783" rtl="0" eaLnBrk="1" fontAlgn="auto" latinLnBrk="0" hangingPunct="1">
              <a:lnSpc>
                <a:spcPct val="100000"/>
              </a:lnSpc>
              <a:spcBef>
                <a:spcPts val="225"/>
              </a:spcBef>
              <a:spcAft>
                <a:spcPts val="225"/>
              </a:spcAft>
              <a:buClr>
                <a:srgbClr val="3F4043"/>
              </a:buClr>
              <a:buSzPct val="100000"/>
              <a:buFont typeface="Segoe UI" panose="020B0502040204020203" pitchFamily="34" charset="0"/>
              <a:buChar char="​"/>
              <a:tabLst/>
              <a:defRPr/>
            </a:pPr>
            <a:r>
              <a:t>CAGR, 2024-29 %</a:t>
            </a:r>
            <a:br/>
            <a:r>
              <a:t>复合年增长率，2024-29 %</a:t>
            </a:r>
          </a:p>
        </p:txBody>
      </p:sp>
      <p:sp>
        <p:nvSpPr>
          <p:cNvPr id="9" name="5. Source">
            <a:extLst>
              <a:ext uri="{FF2B5EF4-FFF2-40B4-BE49-F238E27FC236}">
                <a16:creationId xmlns:a16="http://schemas.microsoft.com/office/drawing/2014/main" id="{B427150E-4C5E-B750-E60C-028D74A35499}"/>
              </a:ext>
            </a:extLst>
          </p:cNvPr>
          <p:cNvSpPr txBox="1"/>
          <p:nvPr>
            <p:custDataLst>
              <p:tags r:id="rId62"/>
            </p:custDataLst>
          </p:nvPr>
        </p:nvSpPr>
        <p:spPr>
          <a:xfrm>
            <a:off x="880237" y="650644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rm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77"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t>Source: Euromonitor</a:t>
            </a:r>
            <a:br/>
            <a:r>
              <a:t>资料来源：欧睿国际</a:t>
            </a:r>
          </a:p>
        </p:txBody>
      </p:sp>
      <p:sp>
        <p:nvSpPr>
          <p:cNvPr id="87" name="TextBox 86">
            <a:extLst>
              <a:ext uri="{FF2B5EF4-FFF2-40B4-BE49-F238E27FC236}">
                <a16:creationId xmlns:a16="http://schemas.microsoft.com/office/drawing/2014/main" id="{1BAB4F25-A466-6CDB-7C23-40663DD918E1}"/>
              </a:ext>
            </a:extLst>
          </p:cNvPr>
          <p:cNvSpPr txBox="1">
            <a:spLocks/>
          </p:cNvSpPr>
          <p:nvPr/>
        </p:nvSpPr>
        <p:spPr>
          <a:xfrm>
            <a:off x="9009312" y="2038927"/>
            <a:ext cx="2513638" cy="923330"/>
          </a:xfrm>
          <a:prstGeom prst="rect">
            <a:avLst/>
          </a:prstGeom>
        </p:spPr>
        <p:txBody>
          <a:bodyPr vert="horz" wrap="square" lIns="0" tIns="0" rIns="0" bIns="0" rtlCol="0" anchor="t" anchorCtr="0">
            <a:normAutofit/>
          </a:bodyPr>
          <a:lstStyle>
            <a:lvl1pPr lvl="0" indent="0" defTabSz="685783">
              <a:lnSpc>
                <a:spcPct val="100000"/>
              </a:lnSpc>
              <a:spcBef>
                <a:spcPts val="225"/>
              </a:spcBef>
              <a:spcAft>
                <a:spcPts val="225"/>
              </a:spcAft>
              <a:buClr>
                <a:schemeClr val="tx1"/>
              </a:buClr>
              <a:buSzPct val="100000"/>
              <a:buFont typeface="Segoe UI" panose="020B0502040204020203" pitchFamily="34" charset="0"/>
              <a:buChar char="​"/>
              <a:defRPr lang="en-US" sz="1200" dirty="0"/>
            </a:lvl1pPr>
            <a:lvl2pPr marL="171446" lvl="1" indent="-171446" defTabSz="685783">
              <a:lnSpc>
                <a:spcPct val="100000"/>
              </a:lnSpc>
              <a:spcBef>
                <a:spcPts val="0"/>
              </a:spcBef>
              <a:spcAft>
                <a:spcPts val="225"/>
              </a:spcAft>
              <a:buClr>
                <a:schemeClr val="accent1"/>
              </a:buClr>
              <a:buSzPct val="110000"/>
              <a:buFont typeface="Wingdings" panose="05000000000000000000" pitchFamily="2" charset="2"/>
              <a:buChar char=""/>
              <a:defRPr lang="en-US" sz="1200" dirty="0"/>
            </a:lvl2pPr>
            <a:lvl3pPr marL="329176" lvl="2" indent="-157730" defTabSz="685783">
              <a:lnSpc>
                <a:spcPct val="100000"/>
              </a:lnSpc>
              <a:spcBef>
                <a:spcPts val="0"/>
              </a:spcBef>
              <a:spcAft>
                <a:spcPts val="225"/>
              </a:spcAft>
              <a:buClr>
                <a:schemeClr val="accent1"/>
              </a:buClr>
              <a:buSzPct val="110000"/>
              <a:buFont typeface="Arial" panose="020B0604020202020204" pitchFamily="34" charset="0"/>
              <a:buChar char="‒"/>
              <a:defRPr lang="en-US" sz="1200" dirty="0"/>
            </a:lvl3pPr>
            <a:lvl4pPr marL="445759" lvl="3" indent="-116583" defTabSz="685783">
              <a:lnSpc>
                <a:spcPct val="100000"/>
              </a:lnSpc>
              <a:spcBef>
                <a:spcPts val="0"/>
              </a:spcBef>
              <a:spcAft>
                <a:spcPts val="225"/>
              </a:spcAft>
              <a:buClr>
                <a:schemeClr val="accent1"/>
              </a:buClr>
              <a:buSzPct val="100000"/>
              <a:buFont typeface="Arial" panose="020B0604020202020204" pitchFamily="34" charset="0"/>
              <a:buChar char="•"/>
              <a:defRPr lang="en-US" sz="1200" dirty="0"/>
            </a:lvl4pPr>
            <a:lvl5pPr marL="610347" lvl="4" indent="-109725" defTabSz="685783">
              <a:lnSpc>
                <a:spcPct val="100000"/>
              </a:lnSpc>
              <a:spcBef>
                <a:spcPts val="0"/>
              </a:spcBef>
              <a:spcAft>
                <a:spcPts val="225"/>
              </a:spcAft>
              <a:buClr>
                <a:schemeClr val="accent1"/>
              </a:buClr>
              <a:buSzPct val="100000"/>
              <a:buFont typeface="Arial" panose="020B0604020202020204" pitchFamily="34" charset="0"/>
              <a:buChar char="̶"/>
              <a:defRPr lang="en-US" sz="1200" dirty="0"/>
            </a:lvl5pPr>
            <a:lvl6pPr marL="814368" indent="-128585" defTabSz="685783">
              <a:lnSpc>
                <a:spcPct val="100000"/>
              </a:lnSpc>
              <a:spcBef>
                <a:spcPts val="0"/>
              </a:spcBef>
              <a:spcAft>
                <a:spcPts val="225"/>
              </a:spcAft>
              <a:buSzPct val="100000"/>
              <a:buFont typeface="Arial" panose="020B0604020202020204" pitchFamily="34" charset="0"/>
              <a:buChar char="▫"/>
              <a:defRPr sz="1200">
                <a:cs typeface="Arial" panose="020B0604020202020204" pitchFamily="34" charset="0"/>
              </a:defRPr>
            </a:lvl6pPr>
            <a:lvl7pPr marL="814368" indent="-128585" defTabSz="685783">
              <a:lnSpc>
                <a:spcPct val="100000"/>
              </a:lnSpc>
              <a:spcBef>
                <a:spcPts val="0"/>
              </a:spcBef>
              <a:spcAft>
                <a:spcPts val="225"/>
              </a:spcAft>
              <a:buSzPct val="100000"/>
              <a:buFont typeface="Arial" panose="020B0604020202020204" pitchFamily="34" charset="0"/>
              <a:buChar char="▫"/>
              <a:defRPr sz="1200">
                <a:cs typeface="Arial" panose="020B0604020202020204" pitchFamily="34" charset="0"/>
              </a:defRPr>
            </a:lvl7pPr>
            <a:lvl8pPr marL="814368" indent="-128585" defTabSz="685783">
              <a:lnSpc>
                <a:spcPct val="100000"/>
              </a:lnSpc>
              <a:spcBef>
                <a:spcPts val="0"/>
              </a:spcBef>
              <a:spcAft>
                <a:spcPts val="225"/>
              </a:spcAft>
              <a:buSzPct val="100000"/>
              <a:buFont typeface="Arial" panose="020B0604020202020204" pitchFamily="34" charset="0"/>
              <a:buChar char="▫"/>
              <a:defRPr sz="1200">
                <a:cs typeface="Arial" panose="020B0604020202020204" pitchFamily="34" charset="0"/>
              </a:defRPr>
            </a:lvl8pPr>
            <a:lvl9pPr marL="814368" indent="-128585" defTabSz="685783">
              <a:lnSpc>
                <a:spcPct val="100000"/>
              </a:lnSpc>
              <a:spcBef>
                <a:spcPts val="0"/>
              </a:spcBef>
              <a:spcAft>
                <a:spcPts val="225"/>
              </a:spcAft>
              <a:buSzPct val="100000"/>
              <a:buFont typeface="Arial" panose="020B0604020202020204" pitchFamily="34" charset="0"/>
              <a:buChar char="▫"/>
              <a:defRPr sz="1200">
                <a:cs typeface="Arial" panose="020B0604020202020204" pitchFamily="34" charset="0"/>
              </a:defRPr>
            </a:lvl9pPr>
          </a:lstStyle>
          <a:p>
            <a:pPr marL="0" marR="0" lvl="0" indent="0" algn="l" defTabSz="685783" rtl="0" eaLnBrk="1" fontAlgn="auto" latinLnBrk="0" hangingPunct="1">
              <a:lnSpc>
                <a:spcPct val="100000"/>
              </a:lnSpc>
              <a:spcBef>
                <a:spcPts val="225"/>
              </a:spcBef>
              <a:spcAft>
                <a:spcPts val="225"/>
              </a:spcAft>
              <a:buClr>
                <a:srgbClr val="3F4043"/>
              </a:buClr>
              <a:buSzPct val="100000"/>
              <a:buFont typeface="Segoe UI" panose="020B0502040204020203" pitchFamily="34" charset="0"/>
              <a:buNone/>
              <a:tabLst/>
              <a:defRPr/>
            </a:pPr>
            <a:r>
              <a:t>China is expected to stabilize in yoghurt category size, after a period of significant decline.  increase in demand for high-end whey proteins through GLP-1</a:t>
            </a:r>
            <a:br/>
            <a:r>
              <a:t>在经历了一段显著下滑后，中国酸奶类别的规模预计将会稳定。通过GLP-1，高端乳清蛋白的需求增加。</a:t>
            </a:r>
          </a:p>
        </p:txBody>
      </p:sp>
      <p:sp>
        <p:nvSpPr>
          <p:cNvPr id="118" name="TextBox 117">
            <a:extLst>
              <a:ext uri="{FF2B5EF4-FFF2-40B4-BE49-F238E27FC236}">
                <a16:creationId xmlns:a16="http://schemas.microsoft.com/office/drawing/2014/main" id="{480F905E-0E82-4B9F-F564-B52179BE7234}"/>
              </a:ext>
            </a:extLst>
          </p:cNvPr>
          <p:cNvSpPr txBox="1">
            <a:spLocks/>
          </p:cNvSpPr>
          <p:nvPr/>
        </p:nvSpPr>
        <p:spPr>
          <a:xfrm>
            <a:off x="9009311" y="3317779"/>
            <a:ext cx="2665479" cy="883473"/>
          </a:xfrm>
          <a:prstGeom prst="rect">
            <a:avLst/>
          </a:prstGeom>
        </p:spPr>
        <p:txBody>
          <a:bodyPr vert="horz" wrap="square" lIns="0" tIns="0" rIns="0" bIns="0" rtlCol="0" anchor="t" anchorCtr="0">
            <a:normAutofit/>
          </a:bodyPr>
          <a:lstStyle>
            <a:lvl1pPr lvl="0" indent="0" defTabSz="685783">
              <a:lnSpc>
                <a:spcPct val="100000"/>
              </a:lnSpc>
              <a:spcBef>
                <a:spcPts val="225"/>
              </a:spcBef>
              <a:spcAft>
                <a:spcPts val="225"/>
              </a:spcAft>
              <a:buClr>
                <a:schemeClr val="tx1"/>
              </a:buClr>
              <a:buSzPct val="100000"/>
              <a:buFont typeface="Segoe UI" panose="020B0502040204020203" pitchFamily="34" charset="0"/>
              <a:buChar char="​"/>
              <a:defRPr lang="en-US" sz="1200" dirty="0"/>
            </a:lvl1pPr>
            <a:lvl2pPr marL="171446" lvl="1" indent="-171446" defTabSz="685783">
              <a:lnSpc>
                <a:spcPct val="100000"/>
              </a:lnSpc>
              <a:spcBef>
                <a:spcPts val="0"/>
              </a:spcBef>
              <a:spcAft>
                <a:spcPts val="225"/>
              </a:spcAft>
              <a:buClr>
                <a:schemeClr val="accent1"/>
              </a:buClr>
              <a:buSzPct val="110000"/>
              <a:buFont typeface="Wingdings" panose="05000000000000000000" pitchFamily="2" charset="2"/>
              <a:buChar char=""/>
              <a:defRPr lang="en-US" sz="1200" dirty="0"/>
            </a:lvl2pPr>
            <a:lvl3pPr marL="329176" lvl="2" indent="-157730" defTabSz="685783">
              <a:lnSpc>
                <a:spcPct val="100000"/>
              </a:lnSpc>
              <a:spcBef>
                <a:spcPts val="0"/>
              </a:spcBef>
              <a:spcAft>
                <a:spcPts val="225"/>
              </a:spcAft>
              <a:buClr>
                <a:schemeClr val="accent1"/>
              </a:buClr>
              <a:buSzPct val="110000"/>
              <a:buFont typeface="Arial" panose="020B0604020202020204" pitchFamily="34" charset="0"/>
              <a:buChar char="‒"/>
              <a:defRPr lang="en-US" sz="1200" dirty="0"/>
            </a:lvl3pPr>
            <a:lvl4pPr marL="445759" lvl="3" indent="-116583" defTabSz="685783">
              <a:lnSpc>
                <a:spcPct val="100000"/>
              </a:lnSpc>
              <a:spcBef>
                <a:spcPts val="0"/>
              </a:spcBef>
              <a:spcAft>
                <a:spcPts val="225"/>
              </a:spcAft>
              <a:buClr>
                <a:schemeClr val="accent1"/>
              </a:buClr>
              <a:buSzPct val="100000"/>
              <a:buFont typeface="Arial" panose="020B0604020202020204" pitchFamily="34" charset="0"/>
              <a:buChar char="•"/>
              <a:defRPr lang="en-US" sz="1200" dirty="0"/>
            </a:lvl4pPr>
            <a:lvl5pPr marL="610347" lvl="4" indent="-109725" defTabSz="685783">
              <a:lnSpc>
                <a:spcPct val="100000"/>
              </a:lnSpc>
              <a:spcBef>
                <a:spcPts val="0"/>
              </a:spcBef>
              <a:spcAft>
                <a:spcPts val="225"/>
              </a:spcAft>
              <a:buClr>
                <a:schemeClr val="accent1"/>
              </a:buClr>
              <a:buSzPct val="100000"/>
              <a:buFont typeface="Arial" panose="020B0604020202020204" pitchFamily="34" charset="0"/>
              <a:buChar char="̶"/>
              <a:defRPr lang="en-US" sz="1200" dirty="0"/>
            </a:lvl5pPr>
            <a:lvl6pPr marL="814368" indent="-128585" defTabSz="685783">
              <a:lnSpc>
                <a:spcPct val="100000"/>
              </a:lnSpc>
              <a:spcBef>
                <a:spcPts val="0"/>
              </a:spcBef>
              <a:spcAft>
                <a:spcPts val="225"/>
              </a:spcAft>
              <a:buSzPct val="100000"/>
              <a:buFont typeface="Arial" panose="020B0604020202020204" pitchFamily="34" charset="0"/>
              <a:buChar char="▫"/>
              <a:defRPr sz="1200">
                <a:cs typeface="Arial" panose="020B0604020202020204" pitchFamily="34" charset="0"/>
              </a:defRPr>
            </a:lvl6pPr>
            <a:lvl7pPr marL="814368" indent="-128585" defTabSz="685783">
              <a:lnSpc>
                <a:spcPct val="100000"/>
              </a:lnSpc>
              <a:spcBef>
                <a:spcPts val="0"/>
              </a:spcBef>
              <a:spcAft>
                <a:spcPts val="225"/>
              </a:spcAft>
              <a:buSzPct val="100000"/>
              <a:buFont typeface="Arial" panose="020B0604020202020204" pitchFamily="34" charset="0"/>
              <a:buChar char="▫"/>
              <a:defRPr sz="1200">
                <a:cs typeface="Arial" panose="020B0604020202020204" pitchFamily="34" charset="0"/>
              </a:defRPr>
            </a:lvl7pPr>
            <a:lvl8pPr marL="814368" indent="-128585" defTabSz="685783">
              <a:lnSpc>
                <a:spcPct val="100000"/>
              </a:lnSpc>
              <a:spcBef>
                <a:spcPts val="0"/>
              </a:spcBef>
              <a:spcAft>
                <a:spcPts val="225"/>
              </a:spcAft>
              <a:buSzPct val="100000"/>
              <a:buFont typeface="Arial" panose="020B0604020202020204" pitchFamily="34" charset="0"/>
              <a:buChar char="▫"/>
              <a:defRPr sz="1200">
                <a:cs typeface="Arial" panose="020B0604020202020204" pitchFamily="34" charset="0"/>
              </a:defRPr>
            </a:lvl8pPr>
            <a:lvl9pPr marL="814368" indent="-128585" defTabSz="685783">
              <a:lnSpc>
                <a:spcPct val="100000"/>
              </a:lnSpc>
              <a:spcBef>
                <a:spcPts val="0"/>
              </a:spcBef>
              <a:spcAft>
                <a:spcPts val="225"/>
              </a:spcAft>
              <a:buSzPct val="100000"/>
              <a:buFont typeface="Arial" panose="020B0604020202020204" pitchFamily="34" charset="0"/>
              <a:buChar char="▫"/>
              <a:defRPr sz="1200">
                <a:cs typeface="Arial" panose="020B0604020202020204" pitchFamily="34" charset="0"/>
              </a:defRPr>
            </a:lvl9pPr>
          </a:lstStyle>
          <a:p>
            <a:pPr marL="171450" indent="-171450">
              <a:buClr>
                <a:srgbClr val="3F4043"/>
              </a:buClr>
              <a:buFont typeface="Arial" panose="020B0604020202020204" pitchFamily="34" charset="0"/>
              <a:buChar char="•"/>
              <a:defRPr/>
            </a:pPr>
            <a:r>
              <a:t>Sizeable market (15% of global size) with significant presence in drinking yoghurt</a:t>
            </a:r>
            <a:br/>
            <a:r>
              <a:t>市场规模可观（占全球市场的15%），在饮用型酸奶领域有显著存在。</a:t>
            </a:r>
          </a:p>
          <a:p>
            <a:pPr marL="171450" indent="-171450">
              <a:buClr>
                <a:srgbClr val="3F4043"/>
              </a:buClr>
              <a:buFont typeface="Arial" panose="020B0604020202020204" pitchFamily="34" charset="0"/>
              <a:buChar char="•"/>
              <a:defRPr/>
            </a:pPr>
            <a:endParaRPr lang="en-US">
              <a:solidFill>
                <a:srgbClr val="3F4043"/>
              </a:solidFill>
              <a:latin typeface="Verdana"/>
            </a:endParaRPr>
          </a:p>
          <a:p>
            <a:pPr marL="171450" indent="-171450">
              <a:buClr>
                <a:srgbClr val="3F4043"/>
              </a:buClr>
              <a:buFont typeface="Arial" panose="020B0604020202020204" pitchFamily="34" charset="0"/>
              <a:buChar char="•"/>
              <a:defRPr/>
            </a:pPr>
            <a:r>
              <a:t>Despite recent decline, there are significant opportunities to grow driven by new health &amp; well-ness trends</a:t>
            </a:r>
            <a:br/>
            <a:r>
              <a:t>尽管最近有所下滑，但在新的健康与 wellness 趋势推动下，仍存在显著的增长机会。</a:t>
            </a:r>
          </a:p>
        </p:txBody>
      </p:sp>
      <p:sp>
        <p:nvSpPr>
          <p:cNvPr id="205" name="Text Placeholder 204">
            <a:extLst>
              <a:ext uri="{FF2B5EF4-FFF2-40B4-BE49-F238E27FC236}">
                <a16:creationId xmlns:a16="http://schemas.microsoft.com/office/drawing/2014/main" id="{ECF8F697-1AB0-F609-9FC4-CA92CC3E6CEC}"/>
              </a:ext>
            </a:extLst>
          </p:cNvPr>
          <p:cNvSpPr>
            <a:spLocks noGrp="1"/>
          </p:cNvSpPr>
          <p:nvPr>
            <p:ph type="body" sz="quarter" idx="10"/>
          </p:nvPr>
        </p:nvSpPr>
        <p:spPr/>
        <p:txBody>
          <a:bodyPr>
            <a:normAutofit/>
          </a:bodyPr>
          <a:lstStyle/>
          <a:p>
            <a:endParaRPr lang="en-US"/>
          </a:p>
        </p:txBody>
      </p:sp>
    </p:spTree>
    <p:extLst>
      <p:ext uri="{BB962C8B-B14F-4D97-AF65-F5344CB8AC3E}">
        <p14:creationId xmlns:p14="http://schemas.microsoft.com/office/powerpoint/2010/main" val="1162326165"/>
      </p:ext>
    </p:extLst>
  </p:cSld>
  <p:clrMapOvr>
    <a:masterClrMapping/>
  </p:clrMapOvr>
  <p:extLst>
    <p:ext uri="{6950BFC3-D8DA-4A85-94F7-54DA5524770B}">
      <p188:commentRel xmlns:p188="http://schemas.microsoft.com/office/powerpoint/2018/8/main" r:id="rId65"/>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082A32B-25DC-D4F4-3F4D-27D519CFDCC9}"/>
              </a:ext>
            </a:extLst>
          </p:cNvPr>
          <p:cNvGraphicFramePr>
            <a:graphicFrameLocks noChangeAspect="1"/>
          </p:cNvGraphicFramePr>
          <p:nvPr>
            <p:custDataLst>
              <p:tags r:id="rId1"/>
            </p:custDataLst>
            <p:extLst>
              <p:ext uri="{D42A27DB-BD31-4B8C-83A1-F6EECF244321}">
                <p14:modId xmlns:p14="http://schemas.microsoft.com/office/powerpoint/2010/main" val="23100080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8082A32B-25DC-D4F4-3F4D-27D519CFDC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56297F9-5017-C396-5BE6-6151F3304953}"/>
              </a:ext>
            </a:extLst>
          </p:cNvPr>
          <p:cNvSpPr>
            <a:spLocks noGrp="1"/>
          </p:cNvSpPr>
          <p:nvPr>
            <p:ph type="title"/>
          </p:nvPr>
        </p:nvSpPr>
        <p:spPr/>
        <p:txBody>
          <a:bodyPr vert="horz">
            <a:normAutofit/>
          </a:bodyPr>
          <a:lstStyle/>
          <a:p>
            <a:r>
              <a:t>We see at least 3 significant and different ways to either grow the market, or grow your share within the market</a:t>
            </a:r>
            <a:br/>
            <a:r>
              <a:t>我们看到了至少三种显著且不同的方法，可以用来扩大市场或增加你在市场中的份额。</a:t>
            </a:r>
          </a:p>
        </p:txBody>
      </p:sp>
      <p:sp>
        <p:nvSpPr>
          <p:cNvPr id="10" name="Text Placeholder 17">
            <a:extLst>
              <a:ext uri="{FF2B5EF4-FFF2-40B4-BE49-F238E27FC236}">
                <a16:creationId xmlns:a16="http://schemas.microsoft.com/office/drawing/2014/main" id="{A368316B-F352-996D-2207-A6CEB240E37D}"/>
              </a:ext>
            </a:extLst>
          </p:cNvPr>
          <p:cNvSpPr txBox="1">
            <a:spLocks/>
          </p:cNvSpPr>
          <p:nvPr/>
        </p:nvSpPr>
        <p:spPr>
          <a:xfrm>
            <a:off x="1043709" y="4746735"/>
            <a:ext cx="2585738" cy="89668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rgbClr val="0094D9"/>
          </a:solidFill>
        </p:spPr>
        <p:txBody>
          <a:bodyPr vert="horz" wrap="square" lIns="72000" tIns="0" rIns="72000" bIns="0" rtlCol="0" anchor="ctr" anchorCtr="0">
            <a:normAutofit/>
          </a:bodyPr>
          <a:lstStyle>
            <a:lvl1pPr marL="0" indent="0" algn="ctr" defTabSz="914354" rtl="0" eaLnBrk="1" latinLnBrk="0" hangingPunct="1">
              <a:lnSpc>
                <a:spcPct val="100000"/>
              </a:lnSpc>
              <a:spcBef>
                <a:spcPts val="0"/>
              </a:spcBef>
              <a:buClr>
                <a:schemeClr val="tx1"/>
              </a:buClr>
              <a:buFont typeface="Arial" panose="020B0604020202020204" pitchFamily="34" charset="0"/>
              <a:buNone/>
              <a:defRPr sz="1867" kern="1200">
                <a:solidFill>
                  <a:schemeClr val="bg1"/>
                </a:solidFill>
                <a:latin typeface="+mn-lt"/>
                <a:ea typeface="+mn-ea"/>
                <a:cs typeface="+mn-cs"/>
              </a:defRPr>
            </a:lvl1pPr>
            <a:lvl2pPr marL="480460"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2pPr>
            <a:lvl3pPr marL="71539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3pPr>
            <a:lvl4pPr marL="960919"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4pPr>
            <a:lvl5pPr marL="119585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12000"/>
              </a:lnSpc>
              <a:spcBef>
                <a:spcPts val="0"/>
              </a:spcBef>
              <a:spcAft>
                <a:spcPts val="0"/>
              </a:spcAft>
              <a:buClr>
                <a:srgbClr val="3F4043"/>
              </a:buClr>
              <a:buSzTx/>
              <a:buFont typeface="Arial" panose="020B0604020202020204" pitchFamily="34" charset="0"/>
              <a:buNone/>
              <a:tabLst/>
              <a:defRPr/>
            </a:pPr>
            <a:r>
              <a:t>When, why &amp; how people consume yoghurts</a:t>
            </a:r>
            <a:br/>
            <a:r>
              <a:t>人们何时、为何以及如何消费酸奶。</a:t>
            </a:r>
            <a:endParaRPr kumimoji="0" lang="nl-NL" sz="1200" b="0" i="0" u="none" strike="noStrike" kern="1200" cap="none" spc="0" normalizeH="0" baseline="0" noProof="0">
              <a:ln>
                <a:noFill/>
              </a:ln>
              <a:solidFill>
                <a:srgbClr val="FFFFFF"/>
              </a:solidFill>
              <a:effectLst/>
              <a:uLnTx/>
              <a:uFillTx/>
              <a:latin typeface="Verdana"/>
              <a:ea typeface="+mn-ea"/>
              <a:cs typeface="+mn-cs"/>
            </a:endParaRPr>
          </a:p>
        </p:txBody>
      </p:sp>
      <p:grpSp>
        <p:nvGrpSpPr>
          <p:cNvPr id="41" name="Group 40">
            <a:extLst>
              <a:ext uri="{FF2B5EF4-FFF2-40B4-BE49-F238E27FC236}">
                <a16:creationId xmlns:a16="http://schemas.microsoft.com/office/drawing/2014/main" id="{6F58B347-FE28-6DB0-2387-7D238A9EC65D}"/>
              </a:ext>
            </a:extLst>
          </p:cNvPr>
          <p:cNvGrpSpPr/>
          <p:nvPr/>
        </p:nvGrpSpPr>
        <p:grpSpPr>
          <a:xfrm>
            <a:off x="1043709" y="1978609"/>
            <a:ext cx="2604655" cy="2768126"/>
            <a:chOff x="1043709" y="1978609"/>
            <a:chExt cx="2604655" cy="2768126"/>
          </a:xfrm>
        </p:grpSpPr>
        <p:pic>
          <p:nvPicPr>
            <p:cNvPr id="1026" name="Picture 2" descr="Thumbnail Image Create an image representing new occasions to consume yoghurt, including breakfast, bedtime, and mid-afternoon snack.">
              <a:extLst>
                <a:ext uri="{FF2B5EF4-FFF2-40B4-BE49-F238E27FC236}">
                  <a16:creationId xmlns:a16="http://schemas.microsoft.com/office/drawing/2014/main" id="{5CD331B6-88B2-AB7A-E65E-6A2A8C9BAA1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64090" y="1979468"/>
              <a:ext cx="2565357" cy="2767267"/>
            </a:xfrm>
            <a:prstGeom prst="rect">
              <a:avLst/>
            </a:prstGeom>
            <a:solidFill>
              <a:schemeClr val="bg1">
                <a:lumMod val="85000"/>
                <a:alpha val="46000"/>
              </a:schemeClr>
            </a:solidFill>
          </p:spPr>
        </p:pic>
        <p:sp>
          <p:nvSpPr>
            <p:cNvPr id="13" name="Rectangle 12">
              <a:extLst>
                <a:ext uri="{FF2B5EF4-FFF2-40B4-BE49-F238E27FC236}">
                  <a16:creationId xmlns:a16="http://schemas.microsoft.com/office/drawing/2014/main" id="{E3A6B1C3-8CB1-2437-CF89-DCCED844ED59}"/>
                </a:ext>
              </a:extLst>
            </p:cNvPr>
            <p:cNvSpPr/>
            <p:nvPr/>
          </p:nvSpPr>
          <p:spPr>
            <a:xfrm>
              <a:off x="1043709" y="1978609"/>
              <a:ext cx="2604655" cy="2768126"/>
            </a:xfrm>
            <a:prstGeom prst="rect">
              <a:avLst/>
            </a:prstGeom>
            <a:solidFill>
              <a:schemeClr val="bg1">
                <a:lumMod val="85000"/>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2000"/>
                </a:lnSpc>
              </a:pPr>
              <a:endParaRPr lang="nl-NL" sz="1400"/>
            </a:p>
          </p:txBody>
        </p:sp>
        <p:sp>
          <p:nvSpPr>
            <p:cNvPr id="14" name="Rectangle 13">
              <a:extLst>
                <a:ext uri="{FF2B5EF4-FFF2-40B4-BE49-F238E27FC236}">
                  <a16:creationId xmlns:a16="http://schemas.microsoft.com/office/drawing/2014/main" id="{B16A5018-0CED-64D0-E7E9-428F03A6A73A}"/>
                </a:ext>
              </a:extLst>
            </p:cNvPr>
            <p:cNvSpPr/>
            <p:nvPr/>
          </p:nvSpPr>
          <p:spPr>
            <a:xfrm>
              <a:off x="1043709" y="2654341"/>
              <a:ext cx="2595197" cy="134865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2000"/>
                </a:lnSpc>
              </a:pPr>
              <a:endParaRPr lang="nl-NL" sz="1867"/>
            </a:p>
          </p:txBody>
        </p:sp>
        <p:sp>
          <p:nvSpPr>
            <p:cNvPr id="15" name="TextBox 14">
              <a:extLst>
                <a:ext uri="{FF2B5EF4-FFF2-40B4-BE49-F238E27FC236}">
                  <a16:creationId xmlns:a16="http://schemas.microsoft.com/office/drawing/2014/main" id="{5B518EA1-AC35-6DD0-187A-EFA83FFA6DAB}"/>
                </a:ext>
              </a:extLst>
            </p:cNvPr>
            <p:cNvSpPr txBox="1"/>
            <p:nvPr/>
          </p:nvSpPr>
          <p:spPr>
            <a:xfrm>
              <a:off x="1286937" y="2980125"/>
              <a:ext cx="2108740" cy="612860"/>
            </a:xfrm>
            <a:prstGeom prst="rect">
              <a:avLst/>
            </a:prstGeom>
            <a:noFill/>
          </p:spPr>
          <p:txBody>
            <a:bodyPr wrap="square" lIns="0" tIns="0" rIns="0" bIns="0" rtlCol="0">
              <a:spAutoFit/>
            </a:bodyPr>
            <a:lstStyle/>
            <a:p>
              <a:pPr algn="ctr">
                <a:lnSpc>
                  <a:spcPct val="112000"/>
                </a:lnSpc>
              </a:pPr>
              <a:r>
                <a:rPr lang="en-US" sz="1867" b="1">
                  <a:solidFill>
                    <a:schemeClr val="accent1">
                      <a:lumMod val="50000"/>
                    </a:schemeClr>
                  </a:solidFill>
                  <a:effectLst>
                    <a:outerShdw blurRad="38100" dist="38100" dir="2700000" algn="tl">
                      <a:srgbClr val="000000">
                        <a:alpha val="43137"/>
                      </a:srgbClr>
                    </a:outerShdw>
                  </a:effectLst>
                </a:rPr>
                <a:t>CREATE NEW OCCASIONS</a:t>
              </a:r>
            </a:p>
          </p:txBody>
        </p:sp>
      </p:grpSp>
      <p:grpSp>
        <p:nvGrpSpPr>
          <p:cNvPr id="42" name="Group 41">
            <a:extLst>
              <a:ext uri="{FF2B5EF4-FFF2-40B4-BE49-F238E27FC236}">
                <a16:creationId xmlns:a16="http://schemas.microsoft.com/office/drawing/2014/main" id="{8A967820-58D1-B33C-D87D-9C44092C2676}"/>
              </a:ext>
            </a:extLst>
          </p:cNvPr>
          <p:cNvGrpSpPr/>
          <p:nvPr/>
        </p:nvGrpSpPr>
        <p:grpSpPr>
          <a:xfrm>
            <a:off x="4452657" y="1978609"/>
            <a:ext cx="2614847" cy="2768126"/>
            <a:chOff x="4452657" y="1978609"/>
            <a:chExt cx="2614847" cy="2768126"/>
          </a:xfrm>
        </p:grpSpPr>
        <p:pic>
          <p:nvPicPr>
            <p:cNvPr id="6" name="Picture 5">
              <a:extLst>
                <a:ext uri="{FF2B5EF4-FFF2-40B4-BE49-F238E27FC236}">
                  <a16:creationId xmlns:a16="http://schemas.microsoft.com/office/drawing/2014/main" id="{22C82137-DD83-158F-CF4C-4098CFD66F9E}"/>
                </a:ext>
              </a:extLst>
            </p:cNvPr>
            <p:cNvPicPr>
              <a:picLocks noChangeAspect="1"/>
            </p:cNvPicPr>
            <p:nvPr/>
          </p:nvPicPr>
          <p:blipFill rotWithShape="1">
            <a:blip r:embed="rId6"/>
            <a:srcRect l="28166" r="19684"/>
            <a:stretch/>
          </p:blipFill>
          <p:spPr>
            <a:xfrm>
              <a:off x="4472307" y="1979468"/>
              <a:ext cx="2565357" cy="2767267"/>
            </a:xfrm>
            <a:prstGeom prst="rect">
              <a:avLst/>
            </a:prstGeom>
            <a:noFill/>
          </p:spPr>
        </p:pic>
        <p:sp>
          <p:nvSpPr>
            <p:cNvPr id="16" name="Rectangle 15">
              <a:extLst>
                <a:ext uri="{FF2B5EF4-FFF2-40B4-BE49-F238E27FC236}">
                  <a16:creationId xmlns:a16="http://schemas.microsoft.com/office/drawing/2014/main" id="{AF8DB8A4-788F-535C-0F73-C8F6F19547A7}"/>
                </a:ext>
              </a:extLst>
            </p:cNvPr>
            <p:cNvSpPr/>
            <p:nvPr/>
          </p:nvSpPr>
          <p:spPr>
            <a:xfrm>
              <a:off x="4452657" y="1978609"/>
              <a:ext cx="2604655" cy="2768126"/>
            </a:xfrm>
            <a:prstGeom prst="rect">
              <a:avLst/>
            </a:prstGeom>
            <a:solidFill>
              <a:schemeClr val="bg1">
                <a:lumMod val="85000"/>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2000"/>
                </a:lnSpc>
              </a:pPr>
              <a:endParaRPr lang="nl-NL" sz="1400"/>
            </a:p>
          </p:txBody>
        </p:sp>
        <p:sp>
          <p:nvSpPr>
            <p:cNvPr id="17" name="Rectangle 16">
              <a:extLst>
                <a:ext uri="{FF2B5EF4-FFF2-40B4-BE49-F238E27FC236}">
                  <a16:creationId xmlns:a16="http://schemas.microsoft.com/office/drawing/2014/main" id="{423CC2D7-AA61-77C6-BF47-007A0417CEDF}"/>
                </a:ext>
              </a:extLst>
            </p:cNvPr>
            <p:cNvSpPr/>
            <p:nvPr/>
          </p:nvSpPr>
          <p:spPr>
            <a:xfrm>
              <a:off x="4472307" y="2654341"/>
              <a:ext cx="2595197" cy="1348651"/>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2000"/>
                </a:lnSpc>
              </a:pPr>
              <a:endParaRPr lang="nl-NL" sz="1867"/>
            </a:p>
          </p:txBody>
        </p:sp>
        <p:sp>
          <p:nvSpPr>
            <p:cNvPr id="18" name="TextBox 17">
              <a:extLst>
                <a:ext uri="{FF2B5EF4-FFF2-40B4-BE49-F238E27FC236}">
                  <a16:creationId xmlns:a16="http://schemas.microsoft.com/office/drawing/2014/main" id="{67753210-D7A4-B273-A502-62110C0E938E}"/>
                </a:ext>
              </a:extLst>
            </p:cNvPr>
            <p:cNvSpPr txBox="1"/>
            <p:nvPr/>
          </p:nvSpPr>
          <p:spPr>
            <a:xfrm>
              <a:off x="4718324" y="2902916"/>
              <a:ext cx="2108740" cy="934679"/>
            </a:xfrm>
            <a:prstGeom prst="rect">
              <a:avLst/>
            </a:prstGeom>
            <a:noFill/>
          </p:spPr>
          <p:txBody>
            <a:bodyPr wrap="square" lIns="0" tIns="0" rIns="0" bIns="0" rtlCol="0">
              <a:spAutoFit/>
            </a:bodyPr>
            <a:lstStyle/>
            <a:p>
              <a:pPr algn="ctr">
                <a:lnSpc>
                  <a:spcPct val="112000"/>
                </a:lnSpc>
              </a:pPr>
              <a:r>
                <a:rPr lang="en-US" sz="1867" b="1">
                  <a:solidFill>
                    <a:schemeClr val="accent2">
                      <a:lumMod val="50000"/>
                    </a:schemeClr>
                  </a:solidFill>
                  <a:effectLst>
                    <a:outerShdw blurRad="38100" dist="38100" dir="2700000" algn="tl">
                      <a:srgbClr val="000000">
                        <a:alpha val="43137"/>
                      </a:srgbClr>
                    </a:outerShdw>
                  </a:effectLst>
                </a:rPr>
                <a:t>ATTRACT NEW CONSUMER GROUPS</a:t>
              </a:r>
            </a:p>
          </p:txBody>
        </p:sp>
      </p:grpSp>
      <p:sp>
        <p:nvSpPr>
          <p:cNvPr id="19" name="Text Placeholder 17">
            <a:extLst>
              <a:ext uri="{FF2B5EF4-FFF2-40B4-BE49-F238E27FC236}">
                <a16:creationId xmlns:a16="http://schemas.microsoft.com/office/drawing/2014/main" id="{B0FD6700-77AD-CCBF-D3CF-03E2FC85C6AA}"/>
              </a:ext>
            </a:extLst>
          </p:cNvPr>
          <p:cNvSpPr txBox="1">
            <a:spLocks/>
          </p:cNvSpPr>
          <p:nvPr/>
        </p:nvSpPr>
        <p:spPr>
          <a:xfrm>
            <a:off x="4476670" y="4746735"/>
            <a:ext cx="2585738" cy="89668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2">
              <a:lumMod val="75000"/>
            </a:schemeClr>
          </a:solidFill>
        </p:spPr>
        <p:txBody>
          <a:bodyPr vert="horz" wrap="square" lIns="72000" tIns="0" rIns="72000" bIns="0" rtlCol="0" anchor="ctr" anchorCtr="0">
            <a:normAutofit/>
          </a:bodyPr>
          <a:lstStyle>
            <a:lvl1pPr marL="0" indent="0" algn="ctr" defTabSz="914354" rtl="0" eaLnBrk="1" latinLnBrk="0" hangingPunct="1">
              <a:lnSpc>
                <a:spcPct val="100000"/>
              </a:lnSpc>
              <a:spcBef>
                <a:spcPts val="0"/>
              </a:spcBef>
              <a:buClr>
                <a:schemeClr val="tx1"/>
              </a:buClr>
              <a:buFont typeface="Arial" panose="020B0604020202020204" pitchFamily="34" charset="0"/>
              <a:buNone/>
              <a:defRPr sz="1867" kern="1200">
                <a:solidFill>
                  <a:schemeClr val="bg1"/>
                </a:solidFill>
                <a:latin typeface="+mn-lt"/>
                <a:ea typeface="+mn-ea"/>
                <a:cs typeface="+mn-cs"/>
              </a:defRPr>
            </a:lvl1pPr>
            <a:lvl2pPr marL="480460"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2pPr>
            <a:lvl3pPr marL="71539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3pPr>
            <a:lvl4pPr marL="960919"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4pPr>
            <a:lvl5pPr marL="119585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12000"/>
              </a:lnSpc>
              <a:spcBef>
                <a:spcPts val="0"/>
              </a:spcBef>
              <a:spcAft>
                <a:spcPts val="0"/>
              </a:spcAft>
              <a:buClr>
                <a:srgbClr val="3F4043"/>
              </a:buClr>
              <a:buSzTx/>
              <a:buFont typeface="Arial" panose="020B0604020202020204" pitchFamily="34" charset="0"/>
              <a:buNone/>
              <a:tabLst/>
              <a:defRPr/>
            </a:pPr>
            <a:r>
              <a:t>Who consumes &amp; what benefits are they looking for</a:t>
            </a:r>
            <a:br/>
            <a:r>
              <a:t>谁在消费以及他们寻求哪些好处。</a:t>
            </a:r>
            <a:endParaRPr kumimoji="0" lang="nl-NL" sz="1200" b="0" i="0" u="none" strike="noStrike" kern="1200" cap="none" spc="0" normalizeH="0" baseline="0" noProof="0">
              <a:ln>
                <a:noFill/>
              </a:ln>
              <a:solidFill>
                <a:srgbClr val="FFFFFF"/>
              </a:solidFill>
              <a:effectLst/>
              <a:uLnTx/>
              <a:uFillTx/>
              <a:latin typeface="Verdana"/>
              <a:ea typeface="+mn-ea"/>
              <a:cs typeface="+mn-cs"/>
            </a:endParaRPr>
          </a:p>
        </p:txBody>
      </p:sp>
      <p:sp>
        <p:nvSpPr>
          <p:cNvPr id="21" name="Text Placeholder 17">
            <a:extLst>
              <a:ext uri="{FF2B5EF4-FFF2-40B4-BE49-F238E27FC236}">
                <a16:creationId xmlns:a16="http://schemas.microsoft.com/office/drawing/2014/main" id="{DDC0A432-CE42-3358-611A-9DFE5A008D48}"/>
              </a:ext>
            </a:extLst>
          </p:cNvPr>
          <p:cNvSpPr txBox="1">
            <a:spLocks/>
          </p:cNvSpPr>
          <p:nvPr/>
        </p:nvSpPr>
        <p:spPr>
          <a:xfrm>
            <a:off x="7860649" y="4746734"/>
            <a:ext cx="2585738" cy="896683"/>
          </a:xfrm>
          <a:custGeom>
            <a:avLst/>
            <a:gdLst>
              <a:gd name="connsiteX0" fmla="*/ 0 w 2581200"/>
              <a:gd name="connsiteY0" fmla="*/ 0 h 660400"/>
              <a:gd name="connsiteX1" fmla="*/ 204846 w 2581200"/>
              <a:gd name="connsiteY1" fmla="*/ 0 h 660400"/>
              <a:gd name="connsiteX2" fmla="*/ 2390531 w 2581200"/>
              <a:gd name="connsiteY2" fmla="*/ 0 h 660400"/>
              <a:gd name="connsiteX3" fmla="*/ 2581200 w 2581200"/>
              <a:gd name="connsiteY3" fmla="*/ 0 h 660400"/>
              <a:gd name="connsiteX4" fmla="*/ 2581200 w 2581200"/>
              <a:gd name="connsiteY4" fmla="*/ 550331 h 660400"/>
              <a:gd name="connsiteX5" fmla="*/ 2471131 w 2581200"/>
              <a:gd name="connsiteY5" fmla="*/ 660400 h 660400"/>
              <a:gd name="connsiteX6" fmla="*/ 0 w 2581200"/>
              <a:gd name="connsiteY6"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200" h="660400">
                <a:moveTo>
                  <a:pt x="0" y="0"/>
                </a:moveTo>
                <a:lnTo>
                  <a:pt x="204846" y="0"/>
                </a:lnTo>
                <a:lnTo>
                  <a:pt x="2390531" y="0"/>
                </a:lnTo>
                <a:lnTo>
                  <a:pt x="2581200" y="0"/>
                </a:lnTo>
                <a:lnTo>
                  <a:pt x="2581200" y="550331"/>
                </a:lnTo>
                <a:cubicBezTo>
                  <a:pt x="2581200" y="611120"/>
                  <a:pt x="2531920" y="660400"/>
                  <a:pt x="2471131" y="660400"/>
                </a:cubicBezTo>
                <a:lnTo>
                  <a:pt x="0" y="660400"/>
                </a:lnTo>
                <a:close/>
              </a:path>
            </a:pathLst>
          </a:custGeom>
          <a:solidFill>
            <a:schemeClr val="accent3">
              <a:lumMod val="75000"/>
            </a:schemeClr>
          </a:solidFill>
        </p:spPr>
        <p:txBody>
          <a:bodyPr vert="horz" wrap="square" lIns="72000" tIns="0" rIns="72000" bIns="0" rtlCol="0" anchor="ctr" anchorCtr="0">
            <a:normAutofit/>
          </a:bodyPr>
          <a:lstStyle>
            <a:lvl1pPr marL="0" indent="0" algn="ctr" defTabSz="914354" rtl="0" eaLnBrk="1" latinLnBrk="0" hangingPunct="1">
              <a:lnSpc>
                <a:spcPct val="100000"/>
              </a:lnSpc>
              <a:spcBef>
                <a:spcPts val="0"/>
              </a:spcBef>
              <a:buClr>
                <a:schemeClr val="tx1"/>
              </a:buClr>
              <a:buFont typeface="Arial" panose="020B0604020202020204" pitchFamily="34" charset="0"/>
              <a:buNone/>
              <a:defRPr sz="1867" kern="1200">
                <a:solidFill>
                  <a:schemeClr val="bg1"/>
                </a:solidFill>
                <a:latin typeface="+mn-lt"/>
                <a:ea typeface="+mn-ea"/>
                <a:cs typeface="+mn-cs"/>
              </a:defRPr>
            </a:lvl1pPr>
            <a:lvl2pPr marL="480460"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2pPr>
            <a:lvl3pPr marL="71539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3pPr>
            <a:lvl4pPr marL="960919"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4pPr>
            <a:lvl5pPr marL="1195857" indent="-228589" algn="l" defTabSz="914354" rtl="0" eaLnBrk="1" latinLnBrk="0" hangingPunct="1">
              <a:lnSpc>
                <a:spcPct val="100000"/>
              </a:lnSpc>
              <a:spcBef>
                <a:spcPts val="500"/>
              </a:spcBef>
              <a:buClr>
                <a:schemeClr val="tx1"/>
              </a:buClr>
              <a:buFont typeface="Arial" panose="020B0604020202020204" pitchFamily="34" charset="0"/>
              <a:buChar char="•"/>
              <a:defRPr sz="1867"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12000"/>
              </a:lnSpc>
              <a:spcBef>
                <a:spcPts val="0"/>
              </a:spcBef>
              <a:spcAft>
                <a:spcPts val="0"/>
              </a:spcAft>
              <a:buClr>
                <a:srgbClr val="3F4043"/>
              </a:buClr>
              <a:buSzTx/>
              <a:buFont typeface="Arial" panose="020B0604020202020204" pitchFamily="34" charset="0"/>
              <a:buNone/>
              <a:tabLst/>
              <a:defRPr/>
            </a:pPr>
            <a:r>
              <a:t>Consumers are looking for additional benefits.</a:t>
            </a:r>
            <a:br/>
            <a:r>
              <a:t>消费者正在寻找额外的好处。</a:t>
            </a:r>
          </a:p>
          <a:p>
            <a:pPr marL="0" marR="0" lvl="0" indent="0" algn="ctr" defTabSz="914354" rtl="0" eaLnBrk="1" fontAlgn="auto" latinLnBrk="0" hangingPunct="1">
              <a:lnSpc>
                <a:spcPct val="112000"/>
              </a:lnSpc>
              <a:spcBef>
                <a:spcPts val="0"/>
              </a:spcBef>
              <a:spcAft>
                <a:spcPts val="0"/>
              </a:spcAft>
              <a:buClr>
                <a:srgbClr val="3F4043"/>
              </a:buClr>
              <a:buSzTx/>
              <a:buFont typeface="Arial" panose="020B0604020202020204" pitchFamily="34" charset="0"/>
              <a:buNone/>
              <a:tabLst/>
              <a:defRPr/>
            </a:pPr>
            <a:r>
              <a:t>What &amp; why?</a:t>
            </a:r>
            <a:br/>
            <a:r>
              <a:t>什么与为什么？</a:t>
            </a:r>
            <a:endParaRPr kumimoji="0" lang="nl-NL" sz="1200" b="0" i="0" u="none" strike="noStrike" kern="1200" cap="none" spc="0" normalizeH="0" baseline="0" noProof="0">
              <a:ln>
                <a:noFill/>
              </a:ln>
              <a:solidFill>
                <a:srgbClr val="FFFFFF"/>
              </a:solidFill>
              <a:effectLst/>
              <a:uLnTx/>
              <a:uFillTx/>
              <a:latin typeface="Verdana"/>
              <a:ea typeface="+mn-ea"/>
              <a:cs typeface="+mn-cs"/>
            </a:endParaRPr>
          </a:p>
        </p:txBody>
      </p:sp>
      <p:grpSp>
        <p:nvGrpSpPr>
          <p:cNvPr id="43" name="Group 42">
            <a:extLst>
              <a:ext uri="{FF2B5EF4-FFF2-40B4-BE49-F238E27FC236}">
                <a16:creationId xmlns:a16="http://schemas.microsoft.com/office/drawing/2014/main" id="{1ED6EA7C-F4DF-9ADC-BE5A-4523E4D849ED}"/>
              </a:ext>
            </a:extLst>
          </p:cNvPr>
          <p:cNvGrpSpPr/>
          <p:nvPr/>
        </p:nvGrpSpPr>
        <p:grpSpPr>
          <a:xfrm>
            <a:off x="7859474" y="1978609"/>
            <a:ext cx="2607742" cy="2768126"/>
            <a:chOff x="7859474" y="1978609"/>
            <a:chExt cx="2607742" cy="2768126"/>
          </a:xfrm>
        </p:grpSpPr>
        <p:pic>
          <p:nvPicPr>
            <p:cNvPr id="7" name="Picture 6">
              <a:extLst>
                <a:ext uri="{FF2B5EF4-FFF2-40B4-BE49-F238E27FC236}">
                  <a16:creationId xmlns:a16="http://schemas.microsoft.com/office/drawing/2014/main" id="{5ED067EF-0BF4-9061-A26E-E003D03912E2}"/>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22053" t="-1" r="3323" b="-1"/>
            <a:stretch/>
          </p:blipFill>
          <p:spPr>
            <a:xfrm>
              <a:off x="7861605" y="1978610"/>
              <a:ext cx="2604655" cy="2768125"/>
            </a:xfrm>
            <a:prstGeom prst="round1Rect">
              <a:avLst/>
            </a:prstGeom>
          </p:spPr>
        </p:pic>
        <p:sp>
          <p:nvSpPr>
            <p:cNvPr id="20" name="Rectangle 19">
              <a:extLst>
                <a:ext uri="{FF2B5EF4-FFF2-40B4-BE49-F238E27FC236}">
                  <a16:creationId xmlns:a16="http://schemas.microsoft.com/office/drawing/2014/main" id="{A96FA54C-FC12-9A1E-EECF-07408168A55E}"/>
                </a:ext>
              </a:extLst>
            </p:cNvPr>
            <p:cNvSpPr/>
            <p:nvPr/>
          </p:nvSpPr>
          <p:spPr>
            <a:xfrm>
              <a:off x="7862561" y="1978609"/>
              <a:ext cx="2604655" cy="2768126"/>
            </a:xfrm>
            <a:prstGeom prst="rect">
              <a:avLst/>
            </a:prstGeom>
            <a:solidFill>
              <a:schemeClr val="bg1">
                <a:lumMod val="85000"/>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2000"/>
                </a:lnSpc>
              </a:pPr>
              <a:endParaRPr lang="nl-NL" sz="1400"/>
            </a:p>
          </p:txBody>
        </p:sp>
        <p:sp>
          <p:nvSpPr>
            <p:cNvPr id="24" name="Rectangle 23">
              <a:extLst>
                <a:ext uri="{FF2B5EF4-FFF2-40B4-BE49-F238E27FC236}">
                  <a16:creationId xmlns:a16="http://schemas.microsoft.com/office/drawing/2014/main" id="{DC2761B1-4B9D-AA9F-1C7D-F044E8AA4A1D}"/>
                </a:ext>
              </a:extLst>
            </p:cNvPr>
            <p:cNvSpPr/>
            <p:nvPr/>
          </p:nvSpPr>
          <p:spPr>
            <a:xfrm>
              <a:off x="7859474" y="2654341"/>
              <a:ext cx="2595197" cy="1348651"/>
            </a:xfrm>
            <a:prstGeom prst="rect">
              <a:avLst/>
            </a:prstGeom>
            <a:solidFill>
              <a:srgbClr val="FDC6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2000"/>
                </a:lnSpc>
              </a:pPr>
              <a:endParaRPr lang="nl-NL" sz="1867"/>
            </a:p>
          </p:txBody>
        </p:sp>
        <p:sp>
          <p:nvSpPr>
            <p:cNvPr id="25" name="TextBox 24">
              <a:extLst>
                <a:ext uri="{FF2B5EF4-FFF2-40B4-BE49-F238E27FC236}">
                  <a16:creationId xmlns:a16="http://schemas.microsoft.com/office/drawing/2014/main" id="{F7CB5E1F-17A5-68E0-D838-38F7C542895D}"/>
                </a:ext>
              </a:extLst>
            </p:cNvPr>
            <p:cNvSpPr txBox="1"/>
            <p:nvPr/>
          </p:nvSpPr>
          <p:spPr>
            <a:xfrm>
              <a:off x="8105491" y="2902916"/>
              <a:ext cx="2108740" cy="934679"/>
            </a:xfrm>
            <a:prstGeom prst="rect">
              <a:avLst/>
            </a:prstGeom>
            <a:noFill/>
          </p:spPr>
          <p:txBody>
            <a:bodyPr wrap="square" lIns="0" tIns="0" rIns="0" bIns="0" rtlCol="0">
              <a:spAutoFit/>
            </a:bodyPr>
            <a:lstStyle/>
            <a:p>
              <a:pPr algn="ctr">
                <a:lnSpc>
                  <a:spcPct val="112000"/>
                </a:lnSpc>
              </a:pPr>
              <a:r>
                <a:rPr lang="en-US" sz="1867" b="1">
                  <a:solidFill>
                    <a:srgbClr val="760E12"/>
                  </a:solidFill>
                  <a:effectLst>
                    <a:outerShdw blurRad="38100" dist="38100" dir="2700000" algn="tl">
                      <a:srgbClr val="000000">
                        <a:alpha val="43137"/>
                      </a:srgbClr>
                    </a:outerShdw>
                  </a:effectLst>
                </a:rPr>
                <a:t>TAP INTO FUNCTIONAL BENEFITS</a:t>
              </a:r>
            </a:p>
          </p:txBody>
        </p:sp>
      </p:grpSp>
    </p:spTree>
    <p:extLst>
      <p:ext uri="{BB962C8B-B14F-4D97-AF65-F5344CB8AC3E}">
        <p14:creationId xmlns:p14="http://schemas.microsoft.com/office/powerpoint/2010/main" val="2715143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E9F6401-A050-57F6-96FB-CE4DB24BEC5D}"/>
              </a:ext>
            </a:extLst>
          </p:cNvPr>
          <p:cNvGraphicFramePr>
            <a:graphicFrameLocks noChangeAspect="1"/>
          </p:cNvGraphicFramePr>
          <p:nvPr>
            <p:custDataLst>
              <p:tags r:id="rId1"/>
            </p:custDataLst>
            <p:extLst>
              <p:ext uri="{D42A27DB-BD31-4B8C-83A1-F6EECF244321}">
                <p14:modId xmlns:p14="http://schemas.microsoft.com/office/powerpoint/2010/main" val="2269465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95" imgH="394" progId="TCLayout.ActiveDocument.1">
                  <p:embed/>
                </p:oleObj>
              </mc:Choice>
              <mc:Fallback>
                <p:oleObj name="think-cell Slide" r:id="rId11" imgW="395" imgH="394" progId="TCLayout.ActiveDocument.1">
                  <p:embed/>
                  <p:pic>
                    <p:nvPicPr>
                      <p:cNvPr id="15" name="think-cell data - do not delete" hidden="1">
                        <a:extLst>
                          <a:ext uri="{FF2B5EF4-FFF2-40B4-BE49-F238E27FC236}">
                            <a16:creationId xmlns:a16="http://schemas.microsoft.com/office/drawing/2014/main" id="{0E9F6401-A050-57F6-96FB-CE4DB24BEC5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ED7FC036-E752-08F7-FC0B-A504774092ED}"/>
              </a:ext>
            </a:extLst>
          </p:cNvPr>
          <p:cNvSpPr/>
          <p:nvPr/>
        </p:nvSpPr>
        <p:spPr>
          <a:xfrm>
            <a:off x="4374739" y="2306923"/>
            <a:ext cx="3970140" cy="4138065"/>
          </a:xfrm>
          <a:prstGeom prst="rect">
            <a:avLst/>
          </a:prstGeom>
          <a:solidFill>
            <a:srgbClr val="FFFFFF"/>
          </a:solidFill>
          <a:ln w="12700" cap="flat" cmpd="sng" algn="ctr">
            <a:noFill/>
            <a:prstDash val="solid"/>
            <a:miter lim="800000"/>
          </a:ln>
          <a:effectLst>
            <a:outerShdw blurRad="127000" dist="38100" dir="2700000" algn="tl" rotWithShape="0">
              <a:prstClr val="black">
                <a:alpha val="20000"/>
              </a:prstClr>
            </a:outerShdw>
          </a:effectLst>
        </p:spPr>
        <p:txBody>
          <a:bodyPr rtlCol="0" anchor="ctr">
            <a:normAutofit/>
          </a:bodyPr>
          <a:lstStyle/>
          <a:p>
            <a:pPr marL="0" marR="0" lvl="0" indent="0" defTabSz="685766" eaLnBrk="1" fontAlgn="auto" latinLnBrk="0" hangingPunct="1">
              <a:lnSpc>
                <a:spcPct val="113000"/>
              </a:lnSpc>
              <a:spcBef>
                <a:spcPts val="1200"/>
              </a:spcBef>
              <a:spcAft>
                <a:spcPts val="0"/>
              </a:spcAft>
              <a:buClr>
                <a:srgbClr val="3F4043"/>
              </a:buClr>
              <a:buSzTx/>
              <a:buFontTx/>
              <a:buNone/>
              <a:tabLst/>
              <a:defRPr/>
            </a:pPr>
            <a:endParaRPr kumimoji="0" lang="en-US" sz="800" b="0" i="0" u="none" strike="noStrike" kern="0" cap="none" spc="0" normalizeH="0" baseline="0" noProof="0">
              <a:ln>
                <a:noFill/>
              </a:ln>
              <a:solidFill>
                <a:srgbClr val="0094D9"/>
              </a:solidFill>
              <a:effectLst/>
              <a:highlight>
                <a:srgbClr val="FFFF00"/>
              </a:highlight>
              <a:uLnTx/>
              <a:uFillTx/>
              <a:latin typeface="Verdana"/>
              <a:ea typeface="+mn-ea"/>
              <a:cs typeface="+mn-cs"/>
            </a:endParaRPr>
          </a:p>
        </p:txBody>
      </p:sp>
      <p:sp>
        <p:nvSpPr>
          <p:cNvPr id="2" name="Title 1">
            <a:extLst>
              <a:ext uri="{FF2B5EF4-FFF2-40B4-BE49-F238E27FC236}">
                <a16:creationId xmlns:a16="http://schemas.microsoft.com/office/drawing/2014/main" id="{F53372C8-918B-19CD-E204-DDA0ED634BA2}"/>
              </a:ext>
            </a:extLst>
          </p:cNvPr>
          <p:cNvSpPr>
            <a:spLocks noGrp="1"/>
          </p:cNvSpPr>
          <p:nvPr>
            <p:ph type="title"/>
          </p:nvPr>
        </p:nvSpPr>
        <p:spPr>
          <a:xfrm>
            <a:off x="487599" y="321870"/>
            <a:ext cx="9473429" cy="1036965"/>
          </a:xfrm>
        </p:spPr>
        <p:txBody>
          <a:bodyPr vert="horz">
            <a:normAutofit/>
          </a:bodyPr>
          <a:lstStyle/>
          <a:p>
            <a:r>
              <a:t>There is opportunity in positioning around health &amp; pleasure, and exploring different occasions (time of day consumption)</a:t>
            </a:r>
            <a:br/>
            <a:r>
              <a:t>围绕健康与愉悦进行定位，并探索不同的消费场合（一天中的不同时间段）存在机会</a:t>
            </a:r>
          </a:p>
        </p:txBody>
      </p:sp>
      <p:pic>
        <p:nvPicPr>
          <p:cNvPr id="28" name="Picture Placeholder 27" descr="A collage of images of a person&#10;&#10;AI-generated content may be incorrect.">
            <a:extLst>
              <a:ext uri="{FF2B5EF4-FFF2-40B4-BE49-F238E27FC236}">
                <a16:creationId xmlns:a16="http://schemas.microsoft.com/office/drawing/2014/main" id="{B624671B-F562-94E5-4698-2B3F2899D4FF}"/>
              </a:ext>
            </a:extLst>
          </p:cNvPr>
          <p:cNvPicPr>
            <a:picLocks noGrp="1" noChangeAspect="1"/>
          </p:cNvPicPr>
          <p:nvPr>
            <p:ph type="pic" sz="quarter" idx="13"/>
          </p:nvPr>
        </p:nvPicPr>
        <p:blipFill>
          <a:blip r:embed="rId13">
            <a:extLst>
              <a:ext uri="{28A0092B-C50C-407E-A947-70E740481C1C}">
                <a14:useLocalDpi xmlns:a14="http://schemas.microsoft.com/office/drawing/2010/main" val="0"/>
              </a:ext>
            </a:extLst>
          </a:blip>
          <a:srcRect t="4007" b="4007"/>
          <a:stretch>
            <a:fillRect/>
          </a:stretch>
        </p:blipFill>
        <p:spPr>
          <a:xfrm>
            <a:off x="10337165" y="0"/>
            <a:ext cx="1912937" cy="1870075"/>
          </a:xfrm>
        </p:spPr>
      </p:pic>
      <p:sp>
        <p:nvSpPr>
          <p:cNvPr id="3" name="Rectangle 2">
            <a:extLst>
              <a:ext uri="{FF2B5EF4-FFF2-40B4-BE49-F238E27FC236}">
                <a16:creationId xmlns:a16="http://schemas.microsoft.com/office/drawing/2014/main" id="{E11BA42C-1B15-6264-C541-EA68E2078511}"/>
              </a:ext>
            </a:extLst>
          </p:cNvPr>
          <p:cNvSpPr/>
          <p:nvPr/>
        </p:nvSpPr>
        <p:spPr>
          <a:xfrm>
            <a:off x="160400" y="2306924"/>
            <a:ext cx="3970140" cy="4138065"/>
          </a:xfrm>
          <a:prstGeom prst="rect">
            <a:avLst/>
          </a:prstGeom>
          <a:solidFill>
            <a:srgbClr val="FFFFFF"/>
          </a:solidFill>
          <a:ln w="12700" cap="flat" cmpd="sng" algn="ctr">
            <a:noFill/>
            <a:prstDash val="solid"/>
            <a:miter lim="800000"/>
          </a:ln>
          <a:effectLst>
            <a:outerShdw blurRad="127000" dist="38100" dir="2700000" algn="tl" rotWithShape="0">
              <a:prstClr val="black">
                <a:alpha val="20000"/>
              </a:prstClr>
            </a:outerShdw>
          </a:effectLst>
        </p:spPr>
        <p:txBody>
          <a:bodyPr rtlCol="0" anchor="ctr">
            <a:normAutofit/>
          </a:bodyPr>
          <a:lstStyle/>
          <a:p>
            <a:pPr marL="0" marR="0" lvl="0" indent="0" defTabSz="685766" eaLnBrk="1" fontAlgn="auto" latinLnBrk="0" hangingPunct="1">
              <a:lnSpc>
                <a:spcPct val="113000"/>
              </a:lnSpc>
              <a:spcBef>
                <a:spcPts val="1200"/>
              </a:spcBef>
              <a:spcAft>
                <a:spcPts val="0"/>
              </a:spcAft>
              <a:buClr>
                <a:srgbClr val="3F4043"/>
              </a:buClr>
              <a:buSzTx/>
              <a:buFontTx/>
              <a:buNone/>
              <a:tabLst/>
              <a:defRPr/>
            </a:pPr>
            <a:endParaRPr kumimoji="0" lang="en-US" sz="800" b="0" i="0" u="none" strike="noStrike" kern="0" cap="none" spc="0" normalizeH="0" baseline="0" noProof="0">
              <a:ln>
                <a:noFill/>
              </a:ln>
              <a:solidFill>
                <a:srgbClr val="0094D9"/>
              </a:solidFill>
              <a:effectLst/>
              <a:highlight>
                <a:srgbClr val="FFFF00"/>
              </a:highlight>
              <a:uLnTx/>
              <a:uFillTx/>
              <a:latin typeface="Verdana"/>
              <a:ea typeface="+mn-ea"/>
              <a:cs typeface="+mn-cs"/>
            </a:endParaRPr>
          </a:p>
        </p:txBody>
      </p:sp>
      <p:graphicFrame>
        <p:nvGraphicFramePr>
          <p:cNvPr id="4" name="Content Placeholder 24">
            <a:extLst>
              <a:ext uri="{FF2B5EF4-FFF2-40B4-BE49-F238E27FC236}">
                <a16:creationId xmlns:a16="http://schemas.microsoft.com/office/drawing/2014/main" id="{C35F505D-C862-832A-1B4D-7E6720137251}"/>
              </a:ext>
            </a:extLst>
          </p:cNvPr>
          <p:cNvGraphicFramePr>
            <a:graphicFrameLocks/>
          </p:cNvGraphicFramePr>
          <p:nvPr>
            <p:custDataLst>
              <p:tags r:id="rId2"/>
            </p:custDataLst>
            <p:extLst>
              <p:ext uri="{D42A27DB-BD31-4B8C-83A1-F6EECF244321}">
                <p14:modId xmlns:p14="http://schemas.microsoft.com/office/powerpoint/2010/main" val="1373693113"/>
              </p:ext>
            </p:extLst>
          </p:nvPr>
        </p:nvGraphicFramePr>
        <p:xfrm>
          <a:off x="411161" y="2771630"/>
          <a:ext cx="3390378" cy="3309712"/>
        </p:xfrm>
        <a:graphic>
          <a:graphicData uri="http://schemas.openxmlformats.org/drawingml/2006/chart">
            <c:chart xmlns:c="http://schemas.openxmlformats.org/drawingml/2006/chart" xmlns:r="http://schemas.openxmlformats.org/officeDocument/2006/relationships" r:id="rId14"/>
          </a:graphicData>
        </a:graphic>
      </p:graphicFrame>
      <p:sp>
        <p:nvSpPr>
          <p:cNvPr id="5" name="TextBox 4">
            <a:extLst>
              <a:ext uri="{FF2B5EF4-FFF2-40B4-BE49-F238E27FC236}">
                <a16:creationId xmlns:a16="http://schemas.microsoft.com/office/drawing/2014/main" id="{C19978BA-37AC-33EC-728F-5EE2249D02FF}"/>
              </a:ext>
            </a:extLst>
          </p:cNvPr>
          <p:cNvSpPr txBox="1"/>
          <p:nvPr>
            <p:custDataLst>
              <p:tags r:id="rId3"/>
            </p:custDataLst>
          </p:nvPr>
        </p:nvSpPr>
        <p:spPr>
          <a:xfrm>
            <a:off x="874906" y="6156099"/>
            <a:ext cx="5393746" cy="238363"/>
          </a:xfrm>
          <a:prstGeom prst="roundRect">
            <a:avLst/>
          </a:prstGeom>
          <a:noFill/>
          <a:ln>
            <a:noFill/>
          </a:ln>
        </p:spPr>
        <p:txBody>
          <a:bodyPr wrap="square" rtlCol="0">
            <a:normAutofit/>
          </a:bodyPr>
          <a:lstStyle/>
          <a:p>
            <a:pPr algn="ctr">
              <a:defRPr/>
            </a:pPr>
            <a:r>
              <a:t>% of consumers</a:t>
            </a:r>
            <a:br/>
            <a:r>
              <a:t>消费者比例</a:t>
            </a:r>
          </a:p>
        </p:txBody>
      </p:sp>
      <p:sp>
        <p:nvSpPr>
          <p:cNvPr id="6" name="Text Placeholder 23">
            <a:extLst>
              <a:ext uri="{FF2B5EF4-FFF2-40B4-BE49-F238E27FC236}">
                <a16:creationId xmlns:a16="http://schemas.microsoft.com/office/drawing/2014/main" id="{81A08F2B-1BAE-6EFB-A21B-857143618CF7}"/>
              </a:ext>
            </a:extLst>
          </p:cNvPr>
          <p:cNvSpPr txBox="1"/>
          <p:nvPr>
            <p:custDataLst>
              <p:tags r:id="rId4"/>
            </p:custDataLst>
          </p:nvPr>
        </p:nvSpPr>
        <p:spPr>
          <a:xfrm>
            <a:off x="407680" y="2337746"/>
            <a:ext cx="3577886" cy="305809"/>
          </a:xfrm>
          <a:prstGeom prst="rect">
            <a:avLst/>
          </a:prstGeom>
        </p:spPr>
        <p:txBody>
          <a:bodyPr vert="horz" lIns="0" tIns="0" rIns="0" bIns="0" rtlCol="0">
            <a:normAutofit/>
          </a:bodyPr>
          <a:lstStyle>
            <a:lvl1pPr marL="0" indent="0" algn="l" defTabSz="914400" rtl="0" eaLnBrk="1" latinLnBrk="0" hangingPunct="1">
              <a:lnSpc>
                <a:spcPts val="1400"/>
              </a:lnSpc>
              <a:spcBef>
                <a:spcPts val="600"/>
              </a:spcBef>
              <a:spcAft>
                <a:spcPts val="600"/>
              </a:spcAft>
              <a:buClr>
                <a:schemeClr val="bg2"/>
              </a:buClr>
              <a:buFont typeface="Arial" panose="020B0604020202020204" pitchFamily="34" charset="0"/>
              <a:buNone/>
              <a:defRPr sz="1100" b="0" kern="1200">
                <a:solidFill>
                  <a:schemeClr val="tx1"/>
                </a:solidFill>
                <a:latin typeface="+mn-lt"/>
                <a:ea typeface="+mn-ea"/>
                <a:cs typeface="+mn-cs"/>
              </a:defRPr>
            </a:lvl1pPr>
            <a:lvl2pPr marL="457200" indent="0" algn="l" defTabSz="914400" rtl="0" eaLnBrk="1" latinLnBrk="0" hangingPunct="1">
              <a:lnSpc>
                <a:spcPct val="100000"/>
              </a:lnSpc>
              <a:spcBef>
                <a:spcPts val="600"/>
              </a:spcBef>
              <a:buClr>
                <a:schemeClr val="accent1"/>
              </a:buClr>
              <a:buFont typeface="Arial" panose="020B0604020202020204" pitchFamily="34" charset="0"/>
              <a:buNone/>
              <a:defRPr sz="1200" b="1" kern="1200">
                <a:solidFill>
                  <a:schemeClr val="tx2"/>
                </a:solidFill>
                <a:latin typeface="+mn-lt"/>
                <a:ea typeface="+mn-ea"/>
                <a:cs typeface="+mn-cs"/>
              </a:defRPr>
            </a:lvl2pPr>
            <a:lvl3pPr marL="914400" indent="0" algn="l" defTabSz="914400" rtl="0" eaLnBrk="1" latinLnBrk="0" hangingPunct="1">
              <a:lnSpc>
                <a:spcPct val="100000"/>
              </a:lnSpc>
              <a:spcBef>
                <a:spcPts val="600"/>
              </a:spcBef>
              <a:buClr>
                <a:schemeClr val="accent1"/>
              </a:buClr>
              <a:buFont typeface="Arial" panose="020B0604020202020204" pitchFamily="34" charset="0"/>
              <a:buNone/>
              <a:defRPr sz="1200" b="1" kern="1200">
                <a:solidFill>
                  <a:schemeClr val="tx2"/>
                </a:solidFill>
                <a:latin typeface="+mn-lt"/>
                <a:ea typeface="+mn-ea"/>
                <a:cs typeface="+mn-cs"/>
              </a:defRPr>
            </a:lvl3pPr>
            <a:lvl4pPr marL="1371600" indent="0" algn="l" defTabSz="914400" rtl="0" eaLnBrk="1" latinLnBrk="0" hangingPunct="1">
              <a:lnSpc>
                <a:spcPct val="100000"/>
              </a:lnSpc>
              <a:spcBef>
                <a:spcPts val="600"/>
              </a:spcBef>
              <a:buClr>
                <a:schemeClr val="accent1"/>
              </a:buClr>
              <a:buFont typeface="Arial" panose="020B0604020202020204" pitchFamily="34" charset="0"/>
              <a:buNone/>
              <a:defRPr sz="1200" b="1" kern="1200">
                <a:solidFill>
                  <a:schemeClr val="tx2"/>
                </a:solidFill>
                <a:latin typeface="+mn-lt"/>
                <a:ea typeface="+mn-ea"/>
                <a:cs typeface="+mn-cs"/>
              </a:defRPr>
            </a:lvl4pPr>
            <a:lvl5pPr marL="1828800" indent="0" algn="l" defTabSz="914400" rtl="0" eaLnBrk="1" latinLnBrk="0" hangingPunct="1">
              <a:lnSpc>
                <a:spcPct val="100000"/>
              </a:lnSpc>
              <a:spcBef>
                <a:spcPts val="600"/>
              </a:spcBef>
              <a:buClr>
                <a:schemeClr val="tx2"/>
              </a:buClr>
              <a:buFont typeface="Arial" panose="020B0604020202020204" pitchFamily="34" charset="0"/>
              <a:buNone/>
              <a:defRPr sz="1200" b="1"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ts val="1400"/>
              </a:lnSpc>
              <a:spcBef>
                <a:spcPts val="600"/>
              </a:spcBef>
              <a:spcAft>
                <a:spcPts val="600"/>
              </a:spcAft>
              <a:buClr>
                <a:srgbClr val="FF5100"/>
              </a:buClr>
              <a:buSzTx/>
              <a:buFont typeface="Arial" panose="020B0604020202020204" pitchFamily="34" charset="0"/>
              <a:buNone/>
              <a:tabLst/>
              <a:defRPr/>
            </a:pPr>
            <a:r>
              <a:t>Why do you usually consume yoghurt? Select up to five (Top 10 reasons) (Global, 2024) 1</a:t>
            </a:r>
            <a:br/>
            <a:r>
              <a:t>您通常为什么食用酸奶？请选择最多五个原因（全球，2024年）1</a:t>
            </a:r>
          </a:p>
          <a:p>
            <a:pPr marL="0" marR="0" lvl="0" indent="0" algn="ctr" defTabSz="914400" rtl="0" eaLnBrk="1" fontAlgn="auto" latinLnBrk="0" hangingPunct="1">
              <a:lnSpc>
                <a:spcPts val="1400"/>
              </a:lnSpc>
              <a:spcBef>
                <a:spcPts val="600"/>
              </a:spcBef>
              <a:spcAft>
                <a:spcPts val="600"/>
              </a:spcAft>
              <a:buClr>
                <a:srgbClr val="FF5100"/>
              </a:buClr>
              <a:buSzTx/>
              <a:buFont typeface="Arial" panose="020B0604020202020204" pitchFamily="34" charset="0"/>
              <a:buNone/>
              <a:tabLst/>
              <a:defRPr/>
            </a:pPr>
            <a:endParaRPr kumimoji="0" lang="en-US" sz="1100" b="0" i="0" u="none" strike="noStrike" kern="1200" cap="none" spc="0" normalizeH="0" baseline="0" noProof="0">
              <a:ln>
                <a:noFill/>
              </a:ln>
              <a:solidFill>
                <a:srgbClr val="002060"/>
              </a:solidFill>
              <a:effectLst/>
              <a:uLnTx/>
              <a:uFillTx/>
              <a:latin typeface="Verdana"/>
              <a:ea typeface="+mn-ea"/>
              <a:cs typeface="Arial"/>
            </a:endParaRPr>
          </a:p>
        </p:txBody>
      </p:sp>
      <p:sp>
        <p:nvSpPr>
          <p:cNvPr id="7" name="Rectangle 6">
            <a:extLst>
              <a:ext uri="{FF2B5EF4-FFF2-40B4-BE49-F238E27FC236}">
                <a16:creationId xmlns:a16="http://schemas.microsoft.com/office/drawing/2014/main" id="{8DDB2DF3-EF09-F877-C674-55EFFEF91BC2}"/>
              </a:ext>
            </a:extLst>
          </p:cNvPr>
          <p:cNvSpPr/>
          <p:nvPr/>
        </p:nvSpPr>
        <p:spPr>
          <a:xfrm>
            <a:off x="8517891" y="2306924"/>
            <a:ext cx="3487354" cy="4138065"/>
          </a:xfrm>
          <a:prstGeom prst="rect">
            <a:avLst/>
          </a:prstGeom>
          <a:solidFill>
            <a:srgbClr val="FFFFFF"/>
          </a:solidFill>
          <a:ln w="12700" cap="flat" cmpd="sng" algn="ctr">
            <a:noFill/>
            <a:prstDash val="solid"/>
            <a:miter lim="800000"/>
          </a:ln>
          <a:effectLst>
            <a:outerShdw blurRad="127000" dist="38100" dir="2700000" algn="tl" rotWithShape="0">
              <a:prstClr val="black">
                <a:alpha val="20000"/>
              </a:prstClr>
            </a:outerShdw>
          </a:effectLst>
        </p:spPr>
        <p:txBody>
          <a:bodyPr rtlCol="0" anchor="ctr">
            <a:normAutofit/>
          </a:bodyPr>
          <a:lstStyle/>
          <a:p>
            <a:pPr marL="0" marR="0" lvl="0" indent="0" defTabSz="685766" eaLnBrk="1" fontAlgn="auto" latinLnBrk="0" hangingPunct="1">
              <a:lnSpc>
                <a:spcPct val="113000"/>
              </a:lnSpc>
              <a:spcBef>
                <a:spcPts val="1200"/>
              </a:spcBef>
              <a:spcAft>
                <a:spcPts val="0"/>
              </a:spcAft>
              <a:buClr>
                <a:srgbClr val="3F4043"/>
              </a:buClr>
              <a:buSzTx/>
              <a:buFontTx/>
              <a:buNone/>
              <a:tabLst/>
              <a:defRPr/>
            </a:pPr>
            <a:endParaRPr kumimoji="0" lang="en-US" sz="800" b="0" i="0" u="none" strike="noStrike" kern="0" cap="none" spc="0" normalizeH="0" baseline="0" noProof="0">
              <a:ln>
                <a:noFill/>
              </a:ln>
              <a:solidFill>
                <a:srgbClr val="0094D9"/>
              </a:solidFill>
              <a:effectLst/>
              <a:highlight>
                <a:srgbClr val="FFFF00"/>
              </a:highlight>
              <a:uLnTx/>
              <a:uFillTx/>
              <a:latin typeface="Verdana"/>
              <a:ea typeface="+mn-ea"/>
              <a:cs typeface="+mn-cs"/>
            </a:endParaRPr>
          </a:p>
        </p:txBody>
      </p:sp>
      <p:sp>
        <p:nvSpPr>
          <p:cNvPr id="8" name="Text Placeholder 22">
            <a:extLst>
              <a:ext uri="{FF2B5EF4-FFF2-40B4-BE49-F238E27FC236}">
                <a16:creationId xmlns:a16="http://schemas.microsoft.com/office/drawing/2014/main" id="{03487439-63E1-5D1C-64C9-53D8036F1AA2}"/>
              </a:ext>
            </a:extLst>
          </p:cNvPr>
          <p:cNvSpPr txBox="1"/>
          <p:nvPr>
            <p:custDataLst>
              <p:tags r:id="rId5"/>
            </p:custDataLst>
          </p:nvPr>
        </p:nvSpPr>
        <p:spPr>
          <a:xfrm>
            <a:off x="8742830" y="2386598"/>
            <a:ext cx="684000" cy="305809"/>
          </a:xfrm>
          <a:prstGeom prst="rect">
            <a:avLst/>
          </a:prstGeom>
        </p:spPr>
        <p:txBody>
          <a:bodyPr vert="horz" lIns="0" tIns="0" rIns="0" bIns="0" rtlCol="0">
            <a:normAutofit/>
          </a:bodyPr>
          <a:lstStyle>
            <a:lvl1pPr marL="0" indent="0" algn="l" defTabSz="914400" rtl="0" eaLnBrk="1" latinLnBrk="0" hangingPunct="1">
              <a:lnSpc>
                <a:spcPts val="1400"/>
              </a:lnSpc>
              <a:spcBef>
                <a:spcPts val="600"/>
              </a:spcBef>
              <a:spcAft>
                <a:spcPts val="600"/>
              </a:spcAft>
              <a:buClr>
                <a:schemeClr val="bg2"/>
              </a:buClr>
              <a:buFont typeface="Arial" panose="020B0604020202020204" pitchFamily="34" charset="0"/>
              <a:buNone/>
              <a:defRPr sz="1100" b="1" kern="1200">
                <a:solidFill>
                  <a:schemeClr val="bg2"/>
                </a:solidFill>
                <a:latin typeface="+mn-lt"/>
                <a:ea typeface="+mn-ea"/>
                <a:cs typeface="+mn-cs"/>
              </a:defRPr>
            </a:lvl1pPr>
            <a:lvl2pPr marL="457200" indent="0" algn="l" defTabSz="914400" rtl="0" eaLnBrk="1" latinLnBrk="0" hangingPunct="1">
              <a:lnSpc>
                <a:spcPct val="100000"/>
              </a:lnSpc>
              <a:spcBef>
                <a:spcPts val="600"/>
              </a:spcBef>
              <a:buClr>
                <a:schemeClr val="accent1"/>
              </a:buClr>
              <a:buFont typeface="Arial" panose="020B0604020202020204" pitchFamily="34" charset="0"/>
              <a:buNone/>
              <a:defRPr sz="1200" b="1" kern="1200">
                <a:solidFill>
                  <a:schemeClr val="tx2"/>
                </a:solidFill>
                <a:latin typeface="+mn-lt"/>
                <a:ea typeface="+mn-ea"/>
                <a:cs typeface="+mn-cs"/>
              </a:defRPr>
            </a:lvl2pPr>
            <a:lvl3pPr marL="914400" indent="0" algn="l" defTabSz="914400" rtl="0" eaLnBrk="1" latinLnBrk="0" hangingPunct="1">
              <a:lnSpc>
                <a:spcPct val="100000"/>
              </a:lnSpc>
              <a:spcBef>
                <a:spcPts val="600"/>
              </a:spcBef>
              <a:buClr>
                <a:schemeClr val="accent1"/>
              </a:buClr>
              <a:buFont typeface="Arial" panose="020B0604020202020204" pitchFamily="34" charset="0"/>
              <a:buNone/>
              <a:defRPr sz="1200" b="1" kern="1200">
                <a:solidFill>
                  <a:schemeClr val="tx2"/>
                </a:solidFill>
                <a:latin typeface="+mn-lt"/>
                <a:ea typeface="+mn-ea"/>
                <a:cs typeface="+mn-cs"/>
              </a:defRPr>
            </a:lvl3pPr>
            <a:lvl4pPr marL="1371600" indent="0" algn="l" defTabSz="914400" rtl="0" eaLnBrk="1" latinLnBrk="0" hangingPunct="1">
              <a:lnSpc>
                <a:spcPct val="100000"/>
              </a:lnSpc>
              <a:spcBef>
                <a:spcPts val="600"/>
              </a:spcBef>
              <a:buClr>
                <a:schemeClr val="accent1"/>
              </a:buClr>
              <a:buFont typeface="Arial" panose="020B0604020202020204" pitchFamily="34" charset="0"/>
              <a:buNone/>
              <a:defRPr sz="1200" b="1" kern="1200">
                <a:solidFill>
                  <a:schemeClr val="tx2"/>
                </a:solidFill>
                <a:latin typeface="+mn-lt"/>
                <a:ea typeface="+mn-ea"/>
                <a:cs typeface="+mn-cs"/>
              </a:defRPr>
            </a:lvl4pPr>
            <a:lvl5pPr marL="1828800" indent="0" algn="l" defTabSz="914400" rtl="0" eaLnBrk="1" latinLnBrk="0" hangingPunct="1">
              <a:lnSpc>
                <a:spcPct val="100000"/>
              </a:lnSpc>
              <a:spcBef>
                <a:spcPts val="600"/>
              </a:spcBef>
              <a:buClr>
                <a:schemeClr val="tx2"/>
              </a:buClr>
              <a:buFont typeface="Arial" panose="020B0604020202020204" pitchFamily="34" charset="0"/>
              <a:buNone/>
              <a:defRPr sz="1200" b="1"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FF5100"/>
              </a:buClr>
              <a:defRPr/>
            </a:pPr>
            <a:endParaRPr lang="en-NL" sz="800">
              <a:solidFill>
                <a:srgbClr val="002060"/>
              </a:solidFill>
              <a:cs typeface="Arial"/>
            </a:endParaRPr>
          </a:p>
        </p:txBody>
      </p:sp>
      <p:sp>
        <p:nvSpPr>
          <p:cNvPr id="9" name="Text Placeholder 23">
            <a:extLst>
              <a:ext uri="{FF2B5EF4-FFF2-40B4-BE49-F238E27FC236}">
                <a16:creationId xmlns:a16="http://schemas.microsoft.com/office/drawing/2014/main" id="{025060D7-2D4E-4F5B-EB73-DEFA0A7DEBEA}"/>
              </a:ext>
            </a:extLst>
          </p:cNvPr>
          <p:cNvSpPr txBox="1"/>
          <p:nvPr>
            <p:custDataLst>
              <p:tags r:id="rId6"/>
            </p:custDataLst>
          </p:nvPr>
        </p:nvSpPr>
        <p:spPr>
          <a:xfrm>
            <a:off x="8597124" y="2355482"/>
            <a:ext cx="3160891" cy="305809"/>
          </a:xfrm>
          <a:prstGeom prst="rect">
            <a:avLst/>
          </a:prstGeom>
        </p:spPr>
        <p:txBody>
          <a:bodyPr vert="horz" lIns="0" tIns="0" rIns="0" bIns="0" rtlCol="0">
            <a:normAutofit/>
          </a:bodyPr>
          <a:lstStyle>
            <a:lvl1pPr marL="0" indent="0" algn="l" defTabSz="914400" rtl="0" eaLnBrk="1" latinLnBrk="0" hangingPunct="1">
              <a:lnSpc>
                <a:spcPts val="1400"/>
              </a:lnSpc>
              <a:spcBef>
                <a:spcPts val="600"/>
              </a:spcBef>
              <a:spcAft>
                <a:spcPts val="600"/>
              </a:spcAft>
              <a:buClr>
                <a:schemeClr val="bg2"/>
              </a:buClr>
              <a:buFont typeface="Arial" panose="020B0604020202020204" pitchFamily="34" charset="0"/>
              <a:buNone/>
              <a:defRPr sz="1100" b="0" kern="1200">
                <a:solidFill>
                  <a:schemeClr val="tx1"/>
                </a:solidFill>
                <a:latin typeface="+mn-lt"/>
                <a:ea typeface="+mn-ea"/>
                <a:cs typeface="+mn-cs"/>
              </a:defRPr>
            </a:lvl1pPr>
            <a:lvl2pPr marL="457200" indent="0" algn="l" defTabSz="914400" rtl="0" eaLnBrk="1" latinLnBrk="0" hangingPunct="1">
              <a:lnSpc>
                <a:spcPct val="100000"/>
              </a:lnSpc>
              <a:spcBef>
                <a:spcPts val="600"/>
              </a:spcBef>
              <a:buClr>
                <a:schemeClr val="accent1"/>
              </a:buClr>
              <a:buFont typeface="Arial" panose="020B0604020202020204" pitchFamily="34" charset="0"/>
              <a:buNone/>
              <a:defRPr sz="1200" b="1" kern="1200">
                <a:solidFill>
                  <a:schemeClr val="tx2"/>
                </a:solidFill>
                <a:latin typeface="+mn-lt"/>
                <a:ea typeface="+mn-ea"/>
                <a:cs typeface="+mn-cs"/>
              </a:defRPr>
            </a:lvl2pPr>
            <a:lvl3pPr marL="914400" indent="0" algn="l" defTabSz="914400" rtl="0" eaLnBrk="1" latinLnBrk="0" hangingPunct="1">
              <a:lnSpc>
                <a:spcPct val="100000"/>
              </a:lnSpc>
              <a:spcBef>
                <a:spcPts val="600"/>
              </a:spcBef>
              <a:buClr>
                <a:schemeClr val="accent1"/>
              </a:buClr>
              <a:buFont typeface="Arial" panose="020B0604020202020204" pitchFamily="34" charset="0"/>
              <a:buNone/>
              <a:defRPr sz="1200" b="1" kern="1200">
                <a:solidFill>
                  <a:schemeClr val="tx2"/>
                </a:solidFill>
                <a:latin typeface="+mn-lt"/>
                <a:ea typeface="+mn-ea"/>
                <a:cs typeface="+mn-cs"/>
              </a:defRPr>
            </a:lvl3pPr>
            <a:lvl4pPr marL="1371600" indent="0" algn="l" defTabSz="914400" rtl="0" eaLnBrk="1" latinLnBrk="0" hangingPunct="1">
              <a:lnSpc>
                <a:spcPct val="100000"/>
              </a:lnSpc>
              <a:spcBef>
                <a:spcPts val="600"/>
              </a:spcBef>
              <a:buClr>
                <a:schemeClr val="accent1"/>
              </a:buClr>
              <a:buFont typeface="Arial" panose="020B0604020202020204" pitchFamily="34" charset="0"/>
              <a:buNone/>
              <a:defRPr sz="1200" b="1" kern="1200">
                <a:solidFill>
                  <a:schemeClr val="tx2"/>
                </a:solidFill>
                <a:latin typeface="+mn-lt"/>
                <a:ea typeface="+mn-ea"/>
                <a:cs typeface="+mn-cs"/>
              </a:defRPr>
            </a:lvl4pPr>
            <a:lvl5pPr marL="1828800" indent="0" algn="l" defTabSz="914400" rtl="0" eaLnBrk="1" latinLnBrk="0" hangingPunct="1">
              <a:lnSpc>
                <a:spcPct val="100000"/>
              </a:lnSpc>
              <a:spcBef>
                <a:spcPts val="600"/>
              </a:spcBef>
              <a:buClr>
                <a:schemeClr val="tx2"/>
              </a:buClr>
              <a:buFont typeface="Arial" panose="020B0604020202020204" pitchFamily="34" charset="0"/>
              <a:buNone/>
              <a:defRPr sz="1200" b="1"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ts val="1400"/>
              </a:lnSpc>
              <a:spcBef>
                <a:spcPts val="600"/>
              </a:spcBef>
              <a:spcAft>
                <a:spcPts val="600"/>
              </a:spcAft>
              <a:buClr>
                <a:srgbClr val="FF5100"/>
              </a:buClr>
              <a:buSzTx/>
              <a:buFont typeface="Arial" panose="020B0604020202020204" pitchFamily="34" charset="0"/>
              <a:buNone/>
              <a:tabLst/>
              <a:defRPr/>
            </a:pPr>
            <a:r>
              <a:t>When do you typically consume this product? Select up to three (Global, 2024) 1</a:t>
            </a:r>
            <a:br/>
            <a:r>
              <a:t>您通常在什么时候食用这种产品？请选择最多三个时间点（全球，2024年）1</a:t>
            </a:r>
          </a:p>
          <a:p>
            <a:pPr marL="0" marR="0" lvl="0" indent="0" algn="ctr" defTabSz="914400" rtl="0" eaLnBrk="1" fontAlgn="auto" latinLnBrk="0" hangingPunct="1">
              <a:lnSpc>
                <a:spcPts val="1400"/>
              </a:lnSpc>
              <a:spcBef>
                <a:spcPts val="600"/>
              </a:spcBef>
              <a:spcAft>
                <a:spcPts val="600"/>
              </a:spcAft>
              <a:buClr>
                <a:srgbClr val="FF5100"/>
              </a:buClr>
              <a:buSzTx/>
              <a:buFont typeface="Arial" panose="020B0604020202020204" pitchFamily="34" charset="0"/>
              <a:buNone/>
              <a:tabLst/>
              <a:defRPr/>
            </a:pPr>
            <a:endParaRPr kumimoji="0" lang="en-US" sz="1100" b="0" i="0" u="none" strike="noStrike" kern="1200" cap="none" spc="0" normalizeH="0" baseline="0" noProof="0">
              <a:ln>
                <a:noFill/>
              </a:ln>
              <a:solidFill>
                <a:srgbClr val="002060"/>
              </a:solidFill>
              <a:effectLst/>
              <a:uLnTx/>
              <a:uFillTx/>
              <a:latin typeface="Verdana"/>
              <a:ea typeface="+mn-ea"/>
              <a:cs typeface="Arial"/>
            </a:endParaRPr>
          </a:p>
        </p:txBody>
      </p:sp>
      <p:graphicFrame>
        <p:nvGraphicFramePr>
          <p:cNvPr id="10" name="Chart Placeholder 10">
            <a:extLst>
              <a:ext uri="{FF2B5EF4-FFF2-40B4-BE49-F238E27FC236}">
                <a16:creationId xmlns:a16="http://schemas.microsoft.com/office/drawing/2014/main" id="{0B161D87-ABD7-2755-DE92-3C7B003D6DEB}"/>
              </a:ext>
            </a:extLst>
          </p:cNvPr>
          <p:cNvGraphicFramePr>
            <a:graphicFrameLocks/>
          </p:cNvGraphicFramePr>
          <p:nvPr>
            <p:custDataLst>
              <p:tags r:id="rId7"/>
            </p:custDataLst>
            <p:extLst>
              <p:ext uri="{D42A27DB-BD31-4B8C-83A1-F6EECF244321}">
                <p14:modId xmlns:p14="http://schemas.microsoft.com/office/powerpoint/2010/main" val="1806672102"/>
              </p:ext>
            </p:extLst>
          </p:nvPr>
        </p:nvGraphicFramePr>
        <p:xfrm>
          <a:off x="8883010" y="2863524"/>
          <a:ext cx="3143793" cy="3512283"/>
        </p:xfrm>
        <a:graphic>
          <a:graphicData uri="http://schemas.openxmlformats.org/drawingml/2006/chart">
            <c:chart xmlns:c="http://schemas.openxmlformats.org/drawingml/2006/chart" xmlns:r="http://schemas.openxmlformats.org/officeDocument/2006/relationships" r:id="rId15"/>
          </a:graphicData>
        </a:graphic>
      </p:graphicFrame>
      <p:sp>
        <p:nvSpPr>
          <p:cNvPr id="11" name="TextBox 10">
            <a:extLst>
              <a:ext uri="{FF2B5EF4-FFF2-40B4-BE49-F238E27FC236}">
                <a16:creationId xmlns:a16="http://schemas.microsoft.com/office/drawing/2014/main" id="{38B518C1-4D49-14EC-7181-49EDB22E1D01}"/>
              </a:ext>
            </a:extLst>
          </p:cNvPr>
          <p:cNvSpPr txBox="1"/>
          <p:nvPr>
            <p:custDataLst>
              <p:tags r:id="rId8"/>
            </p:custDataLst>
          </p:nvPr>
        </p:nvSpPr>
        <p:spPr>
          <a:xfrm>
            <a:off x="10279063" y="6146770"/>
            <a:ext cx="2190357" cy="238363"/>
          </a:xfrm>
          <a:prstGeom prst="roundRect">
            <a:avLst/>
          </a:prstGeom>
          <a:noFill/>
          <a:ln>
            <a:noFill/>
          </a:ln>
        </p:spPr>
        <p:txBody>
          <a:bodyPr wrap="square" rtlCol="0">
            <a:normAutofit/>
          </a:bodyPr>
          <a:lstStyle/>
          <a:p>
            <a:pPr algn="ctr">
              <a:defRPr/>
            </a:pPr>
            <a:r>
              <a:rPr lang="en-US" sz="800">
                <a:solidFill>
                  <a:srgbClr val="002060"/>
                </a:solidFill>
                <a:cs typeface="Arial" panose="020B0604020202020204" pitchFamily="34" charset="0"/>
              </a:rPr>
              <a:t>% of consumers</a:t>
            </a:r>
          </a:p>
        </p:txBody>
      </p:sp>
      <p:pic>
        <p:nvPicPr>
          <p:cNvPr id="13" name="Picture 12">
            <a:extLst>
              <a:ext uri="{FF2B5EF4-FFF2-40B4-BE49-F238E27FC236}">
                <a16:creationId xmlns:a16="http://schemas.microsoft.com/office/drawing/2014/main" id="{A0D7E17B-377D-77B1-95DD-70CB63667968}"/>
              </a:ext>
            </a:extLst>
          </p:cNvPr>
          <p:cNvPicPr>
            <a:picLocks noChangeAspect="1"/>
          </p:cNvPicPr>
          <p:nvPr/>
        </p:nvPicPr>
        <p:blipFill rotWithShape="1">
          <a:blip r:embed="rId16"/>
          <a:srcRect l="9894"/>
          <a:stretch/>
        </p:blipFill>
        <p:spPr>
          <a:xfrm>
            <a:off x="4616273" y="2864168"/>
            <a:ext cx="3304758" cy="3124636"/>
          </a:xfrm>
          <a:prstGeom prst="rect">
            <a:avLst/>
          </a:prstGeom>
        </p:spPr>
      </p:pic>
      <p:sp>
        <p:nvSpPr>
          <p:cNvPr id="16" name="TextBox 15">
            <a:extLst>
              <a:ext uri="{FF2B5EF4-FFF2-40B4-BE49-F238E27FC236}">
                <a16:creationId xmlns:a16="http://schemas.microsoft.com/office/drawing/2014/main" id="{1E49E740-58B0-E3C3-0ECC-1505B1F8BA4B}"/>
              </a:ext>
            </a:extLst>
          </p:cNvPr>
          <p:cNvSpPr txBox="1"/>
          <p:nvPr>
            <p:custDataLst>
              <p:tags r:id="rId9"/>
            </p:custDataLst>
          </p:nvPr>
        </p:nvSpPr>
        <p:spPr>
          <a:xfrm>
            <a:off x="5061160" y="6156097"/>
            <a:ext cx="5393746" cy="238363"/>
          </a:xfrm>
          <a:prstGeom prst="roundRect">
            <a:avLst/>
          </a:prstGeom>
          <a:noFill/>
          <a:ln>
            <a:noFill/>
          </a:ln>
        </p:spPr>
        <p:txBody>
          <a:bodyPr wrap="square" rtlCol="0">
            <a:normAutofit/>
          </a:bodyPr>
          <a:lstStyle/>
          <a:p>
            <a:pPr algn="ctr">
              <a:defRPr/>
            </a:pPr>
            <a:r>
              <a:rPr lang="en-US" sz="800">
                <a:solidFill>
                  <a:srgbClr val="002060"/>
                </a:solidFill>
                <a:cs typeface="Arial" panose="020B0604020202020204" pitchFamily="34" charset="0"/>
              </a:rPr>
              <a:t>% of consumers</a:t>
            </a:r>
          </a:p>
        </p:txBody>
      </p:sp>
      <p:pic>
        <p:nvPicPr>
          <p:cNvPr id="18" name="Picture 17">
            <a:extLst>
              <a:ext uri="{FF2B5EF4-FFF2-40B4-BE49-F238E27FC236}">
                <a16:creationId xmlns:a16="http://schemas.microsoft.com/office/drawing/2014/main" id="{006CCF61-6EEE-937E-98C8-4D5B4906EC3C}"/>
              </a:ext>
            </a:extLst>
          </p:cNvPr>
          <p:cNvPicPr>
            <a:picLocks noChangeAspect="1"/>
          </p:cNvPicPr>
          <p:nvPr/>
        </p:nvPicPr>
        <p:blipFill rotWithShape="1">
          <a:blip r:embed="rId17"/>
          <a:srcRect l="-1" t="1" r="-5098" b="-5098"/>
          <a:stretch/>
        </p:blipFill>
        <p:spPr>
          <a:xfrm>
            <a:off x="4374739" y="5935866"/>
            <a:ext cx="4172532" cy="257211"/>
          </a:xfrm>
          <a:prstGeom prst="rect">
            <a:avLst/>
          </a:prstGeom>
        </p:spPr>
      </p:pic>
      <p:sp>
        <p:nvSpPr>
          <p:cNvPr id="19" name="Rectangle 18">
            <a:extLst>
              <a:ext uri="{FF2B5EF4-FFF2-40B4-BE49-F238E27FC236}">
                <a16:creationId xmlns:a16="http://schemas.microsoft.com/office/drawing/2014/main" id="{50935B42-34A2-6DF6-78BE-25EC5F0C1E35}"/>
              </a:ext>
            </a:extLst>
          </p:cNvPr>
          <p:cNvSpPr/>
          <p:nvPr/>
        </p:nvSpPr>
        <p:spPr>
          <a:xfrm>
            <a:off x="6174769" y="3290582"/>
            <a:ext cx="657546" cy="2645284"/>
          </a:xfrm>
          <a:prstGeom prst="rect">
            <a:avLst/>
          </a:prstGeom>
          <a:noFill/>
          <a:ln w="28575"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p>
            <a:pPr algn="ctr">
              <a:spcBef>
                <a:spcPts val="300"/>
              </a:spcBef>
              <a:spcAft>
                <a:spcPts val="300"/>
              </a:spcAft>
            </a:pPr>
            <a:endParaRPr lang="nl-NL" sz="1600" err="1">
              <a:solidFill>
                <a:schemeClr val="bg1"/>
              </a:solidFill>
            </a:endParaRPr>
          </a:p>
        </p:txBody>
      </p:sp>
      <p:sp>
        <p:nvSpPr>
          <p:cNvPr id="21" name="TextBox 20">
            <a:extLst>
              <a:ext uri="{FF2B5EF4-FFF2-40B4-BE49-F238E27FC236}">
                <a16:creationId xmlns:a16="http://schemas.microsoft.com/office/drawing/2014/main" id="{B29D6F9D-04FA-77AA-5CDD-5641D1D1E028}"/>
              </a:ext>
            </a:extLst>
          </p:cNvPr>
          <p:cNvSpPr txBox="1"/>
          <p:nvPr/>
        </p:nvSpPr>
        <p:spPr>
          <a:xfrm>
            <a:off x="4484557" y="2347452"/>
            <a:ext cx="3704333" cy="600164"/>
          </a:xfrm>
          <a:prstGeom prst="rect">
            <a:avLst/>
          </a:prstGeom>
          <a:noFill/>
          <a:ln w="6350">
            <a:noFill/>
            <a:miter lim="800000"/>
          </a:ln>
        </p:spPr>
        <p:txBody>
          <a:bodyPr wrap="square">
            <a:normAutofit/>
          </a:bodyPr>
          <a:lstStyle/>
          <a:p>
            <a:r>
              <a:t>What have been the most important sources of pleasure and reward for you in the past 12 months? (Global 2022)</a:t>
            </a:r>
            <a:br/>
            <a:r>
              <a:t>在过去12个月中，哪些是最重要的愉悦和奖励来源？（全球，2022年）</a:t>
            </a:r>
            <a:endParaRPr lang="nl-NL" sz="1100">
              <a:solidFill>
                <a:srgbClr val="002060"/>
              </a:solidFill>
              <a:latin typeface="Verdana"/>
              <a:cs typeface="Arial"/>
            </a:endParaRPr>
          </a:p>
        </p:txBody>
      </p:sp>
      <p:sp>
        <p:nvSpPr>
          <p:cNvPr id="48" name="TextBox 47">
            <a:extLst>
              <a:ext uri="{FF2B5EF4-FFF2-40B4-BE49-F238E27FC236}">
                <a16:creationId xmlns:a16="http://schemas.microsoft.com/office/drawing/2014/main" id="{0D12F02D-67A0-E4AA-696D-FA5A4D87532F}"/>
              </a:ext>
            </a:extLst>
          </p:cNvPr>
          <p:cNvSpPr txBox="1"/>
          <p:nvPr/>
        </p:nvSpPr>
        <p:spPr>
          <a:xfrm>
            <a:off x="487599" y="1531147"/>
            <a:ext cx="8313173" cy="700833"/>
          </a:xfrm>
          <a:prstGeom prst="rect">
            <a:avLst/>
          </a:prstGeom>
          <a:noFill/>
        </p:spPr>
        <p:txBody>
          <a:bodyPr wrap="none" lIns="0" tIns="0" rIns="0" bIns="0" rtlCol="0">
            <a:normAutofit/>
          </a:bodyPr>
          <a:lstStyle/>
          <a:p>
            <a:pPr marL="285750" indent="-285750" algn="l">
              <a:lnSpc>
                <a:spcPct val="112000"/>
              </a:lnSpc>
              <a:buFont typeface="Arial" panose="020B0604020202020204" pitchFamily="34" charset="0"/>
              <a:buChar char="•"/>
            </a:pPr>
            <a:r>
              <a:t>Health, taste and convenience are the top three reasons for consuming yoghurt</a:t>
            </a:r>
            <a:br/>
            <a:r>
              <a:t>健康、口味和便利性是食用酸奶的三大原因</a:t>
            </a:r>
          </a:p>
          <a:p>
            <a:pPr marL="285750" indent="-285750" algn="l">
              <a:lnSpc>
                <a:spcPct val="112000"/>
              </a:lnSpc>
              <a:buFont typeface="Arial" panose="020B0604020202020204" pitchFamily="34" charset="0"/>
              <a:buChar char="•"/>
            </a:pPr>
            <a:r>
              <a:t>Healthy food is already seen as a source of pleasure &amp; reward in China</a:t>
            </a:r>
            <a:br/>
            <a:r>
              <a:t>在中国，健康食品已经被视为愉悦和奖励的来源</a:t>
            </a:r>
          </a:p>
          <a:p>
            <a:pPr marL="285750" indent="-285750" algn="l">
              <a:lnSpc>
                <a:spcPct val="112000"/>
              </a:lnSpc>
              <a:buFont typeface="Arial" panose="020B0604020202020204" pitchFamily="34" charset="0"/>
              <a:buChar char="•"/>
            </a:pPr>
            <a:r>
              <a:t>Yoghurt is consumed, to varying degrees, throughout the day</a:t>
            </a:r>
            <a:br/>
            <a:r>
              <a:t>酸奶在一天中的不同时间段被不同程度地消费</a:t>
            </a:r>
            <a:endParaRPr lang="nl-NL" sz="1400" b="1" i="1">
              <a:solidFill>
                <a:srgbClr val="002060"/>
              </a:solidFill>
            </a:endParaRPr>
          </a:p>
        </p:txBody>
      </p:sp>
      <p:sp>
        <p:nvSpPr>
          <p:cNvPr id="49" name="TextBox 48">
            <a:extLst>
              <a:ext uri="{FF2B5EF4-FFF2-40B4-BE49-F238E27FC236}">
                <a16:creationId xmlns:a16="http://schemas.microsoft.com/office/drawing/2014/main" id="{E1DDF0BE-DAA1-4D67-BBE2-C36E8B46C264}"/>
              </a:ext>
            </a:extLst>
          </p:cNvPr>
          <p:cNvSpPr txBox="1"/>
          <p:nvPr/>
        </p:nvSpPr>
        <p:spPr>
          <a:xfrm>
            <a:off x="253388" y="6612284"/>
            <a:ext cx="5035033" cy="124714"/>
          </a:xfrm>
          <a:prstGeom prst="rect">
            <a:avLst/>
          </a:prstGeom>
          <a:noFill/>
        </p:spPr>
        <p:txBody>
          <a:bodyPr wrap="none" lIns="0" tIns="0" rIns="0" bIns="0" rtlCol="0">
            <a:normAutofit/>
          </a:bodyPr>
          <a:lstStyle/>
          <a:p>
            <a:pPr algn="l">
              <a:lnSpc>
                <a:spcPct val="112000"/>
              </a:lnSpc>
            </a:pPr>
            <a:r>
              <a:t>Source: FMCG Gurus, Innova Lifestyle &amp; Attitudes Survey 2022. Innova Category Survey 2024</a:t>
            </a:r>
            <a:br/>
            <a:r>
              <a:t>资料来源：FMCG Gurus，Innova 生活方式与态度调查 2022。Innova 类别调查 2024</a:t>
            </a:r>
          </a:p>
        </p:txBody>
      </p:sp>
    </p:spTree>
    <p:extLst>
      <p:ext uri="{BB962C8B-B14F-4D97-AF65-F5344CB8AC3E}">
        <p14:creationId xmlns:p14="http://schemas.microsoft.com/office/powerpoint/2010/main" val="943977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7B79B17-C4C4-756B-F4F6-ECCB253728D5}"/>
              </a:ext>
            </a:extLst>
          </p:cNvPr>
          <p:cNvPicPr>
            <a:picLocks noChangeAspect="1"/>
          </p:cNvPicPr>
          <p:nvPr/>
        </p:nvPicPr>
        <p:blipFill rotWithShape="1">
          <a:blip r:embed="rId2"/>
          <a:srcRect/>
          <a:stretch/>
        </p:blipFill>
        <p:spPr>
          <a:xfrm>
            <a:off x="947" y="0"/>
            <a:ext cx="12191053" cy="6858000"/>
          </a:xfrm>
          <a:prstGeom prst="rect">
            <a:avLst/>
          </a:prstGeom>
          <a:noFill/>
        </p:spPr>
      </p:pic>
      <p:sp>
        <p:nvSpPr>
          <p:cNvPr id="7" name="Rectangle 6">
            <a:extLst>
              <a:ext uri="{FF2B5EF4-FFF2-40B4-BE49-F238E27FC236}">
                <a16:creationId xmlns:a16="http://schemas.microsoft.com/office/drawing/2014/main" id="{FE095000-4332-3C69-5839-153780A433E6}"/>
              </a:ext>
            </a:extLst>
          </p:cNvPr>
          <p:cNvSpPr/>
          <p:nvPr/>
        </p:nvSpPr>
        <p:spPr>
          <a:xfrm>
            <a:off x="1315601" y="5147353"/>
            <a:ext cx="3698188" cy="83943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112000"/>
              </a:lnSpc>
            </a:pPr>
            <a:r>
              <a:t>KIDS</a:t>
            </a:r>
            <a:br/>
            <a:r>
              <a:t>儿童</a:t>
            </a:r>
            <a:endParaRPr lang="en-NL" sz="2800" b="1"/>
          </a:p>
        </p:txBody>
      </p:sp>
      <p:sp>
        <p:nvSpPr>
          <p:cNvPr id="8" name="Rectangle 7">
            <a:extLst>
              <a:ext uri="{FF2B5EF4-FFF2-40B4-BE49-F238E27FC236}">
                <a16:creationId xmlns:a16="http://schemas.microsoft.com/office/drawing/2014/main" id="{17D75461-7DCA-9906-AAC4-AD52601D8A4B}"/>
              </a:ext>
            </a:extLst>
          </p:cNvPr>
          <p:cNvSpPr/>
          <p:nvPr/>
        </p:nvSpPr>
        <p:spPr>
          <a:xfrm>
            <a:off x="6763838" y="5147353"/>
            <a:ext cx="3698188" cy="83943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112000"/>
              </a:lnSpc>
            </a:pPr>
            <a:r>
              <a:t>ACTIVE AGEING</a:t>
            </a:r>
            <a:br/>
            <a:r>
              <a:t>积极老龄化</a:t>
            </a:r>
            <a:endParaRPr lang="en-NL" sz="2800" b="1"/>
          </a:p>
        </p:txBody>
      </p:sp>
      <p:pic>
        <p:nvPicPr>
          <p:cNvPr id="2" name="Picture Placeholder 27">
            <a:extLst>
              <a:ext uri="{FF2B5EF4-FFF2-40B4-BE49-F238E27FC236}">
                <a16:creationId xmlns:a16="http://schemas.microsoft.com/office/drawing/2014/main" id="{B0FB35E2-D46F-C7D5-4B79-7C9BA620E3E0}"/>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3909" b="3909"/>
          <a:stretch/>
        </p:blipFill>
        <p:spPr>
          <a:xfrm>
            <a:off x="10322829" y="0"/>
            <a:ext cx="1912937" cy="1870075"/>
          </a:xfrm>
        </p:spPr>
      </p:pic>
      <p:pic>
        <p:nvPicPr>
          <p:cNvPr id="13" name="Picture Placeholder 27">
            <a:extLst>
              <a:ext uri="{FF2B5EF4-FFF2-40B4-BE49-F238E27FC236}">
                <a16:creationId xmlns:a16="http://schemas.microsoft.com/office/drawing/2014/main" id="{ACDDA5CF-90C4-58D7-D8FE-71DAB71454B0}"/>
              </a:ext>
            </a:extLst>
          </p:cNvPr>
          <p:cNvPicPr>
            <a:picLocks noChangeAspect="1"/>
          </p:cNvPicPr>
          <p:nvPr/>
        </p:nvPicPr>
        <p:blipFill>
          <a:blip r:embed="rId4">
            <a:extLst>
              <a:ext uri="{28A0092B-C50C-407E-A947-70E740481C1C}">
                <a14:useLocalDpi xmlns:a14="http://schemas.microsoft.com/office/drawing/2010/main" val="0"/>
              </a:ext>
            </a:extLst>
          </a:blip>
          <a:srcRect t="3811" b="3811"/>
          <a:stretch/>
        </p:blipFill>
        <p:spPr>
          <a:xfrm>
            <a:off x="10324030" y="-1"/>
            <a:ext cx="1912937" cy="1870075"/>
          </a:xfrm>
          <a:custGeom>
            <a:avLst/>
            <a:gdLst>
              <a:gd name="connsiteX0" fmla="*/ 0 w 3132137"/>
              <a:gd name="connsiteY0" fmla="*/ 0 h 4408488"/>
              <a:gd name="connsiteX1" fmla="*/ 3132137 w 3132137"/>
              <a:gd name="connsiteY1" fmla="*/ 0 h 4408488"/>
              <a:gd name="connsiteX2" fmla="*/ 3132137 w 3132137"/>
              <a:gd name="connsiteY2" fmla="*/ 1 h 4408488"/>
              <a:gd name="connsiteX3" fmla="*/ 3132137 w 3132137"/>
              <a:gd name="connsiteY3" fmla="*/ 2356339 h 4408488"/>
              <a:gd name="connsiteX4" fmla="*/ 3132137 w 3132137"/>
              <a:gd name="connsiteY4" fmla="*/ 4408488 h 4408488"/>
              <a:gd name="connsiteX5" fmla="*/ 522033 w 3132137"/>
              <a:gd name="connsiteY5" fmla="*/ 4408488 h 4408488"/>
              <a:gd name="connsiteX6" fmla="*/ 0 w 3132137"/>
              <a:gd name="connsiteY6" fmla="*/ 3886455 h 4408488"/>
              <a:gd name="connsiteX7" fmla="*/ 0 w 3132137"/>
              <a:gd name="connsiteY7" fmla="*/ 2356339 h 4408488"/>
              <a:gd name="connsiteX8" fmla="*/ 0 w 3132137"/>
              <a:gd name="connsiteY8" fmla="*/ 1 h 4408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2137" h="4408488">
                <a:moveTo>
                  <a:pt x="0" y="0"/>
                </a:moveTo>
                <a:lnTo>
                  <a:pt x="3132137" y="0"/>
                </a:lnTo>
                <a:lnTo>
                  <a:pt x="3132137" y="1"/>
                </a:lnTo>
                <a:lnTo>
                  <a:pt x="3132137" y="2356339"/>
                </a:lnTo>
                <a:lnTo>
                  <a:pt x="3132137" y="4408488"/>
                </a:lnTo>
                <a:lnTo>
                  <a:pt x="522033" y="4408488"/>
                </a:lnTo>
                <a:cubicBezTo>
                  <a:pt x="233722" y="4408488"/>
                  <a:pt x="0" y="4174766"/>
                  <a:pt x="0" y="3886455"/>
                </a:cubicBezTo>
                <a:lnTo>
                  <a:pt x="0" y="2356339"/>
                </a:lnTo>
                <a:lnTo>
                  <a:pt x="0" y="1"/>
                </a:lnTo>
                <a:close/>
              </a:path>
            </a:pathLst>
          </a:custGeom>
        </p:spPr>
      </p:pic>
    </p:spTree>
    <p:extLst>
      <p:ext uri="{BB962C8B-B14F-4D97-AF65-F5344CB8AC3E}">
        <p14:creationId xmlns:p14="http://schemas.microsoft.com/office/powerpoint/2010/main" val="3576871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descr="A person carrying a child on his back&#10;&#10;Description automatically generated">
            <a:extLst>
              <a:ext uri="{FF2B5EF4-FFF2-40B4-BE49-F238E27FC236}">
                <a16:creationId xmlns:a16="http://schemas.microsoft.com/office/drawing/2014/main" id="{16A01816-0A7A-C87F-BD55-57C8A48457BB}"/>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t="2035" b="13591"/>
          <a:stretch/>
        </p:blipFill>
        <p:spPr>
          <a:xfrm>
            <a:off x="0" y="1"/>
            <a:ext cx="12192000" cy="6857999"/>
          </a:xfrm>
          <a:prstGeom prst="rect">
            <a:avLst/>
          </a:prstGeom>
        </p:spPr>
      </p:pic>
      <p:sp>
        <p:nvSpPr>
          <p:cNvPr id="50" name="Oval 49">
            <a:extLst>
              <a:ext uri="{FF2B5EF4-FFF2-40B4-BE49-F238E27FC236}">
                <a16:creationId xmlns:a16="http://schemas.microsoft.com/office/drawing/2014/main" id="{099F277D-B571-5A69-3D83-101A8453CFB9}"/>
              </a:ext>
            </a:extLst>
          </p:cNvPr>
          <p:cNvSpPr/>
          <p:nvPr/>
        </p:nvSpPr>
        <p:spPr>
          <a:xfrm>
            <a:off x="3978826" y="2118350"/>
            <a:ext cx="1449872" cy="14150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112000"/>
              </a:lnSpc>
              <a:spcBef>
                <a:spcPts val="0"/>
              </a:spcBef>
              <a:spcAft>
                <a:spcPts val="0"/>
              </a:spcAft>
              <a:buClrTx/>
              <a:buSzTx/>
              <a:buFontTx/>
              <a:buNone/>
              <a:tabLst/>
              <a:defRPr/>
            </a:pPr>
            <a:endParaRPr kumimoji="0" lang="nl-NL" sz="1400" b="0" i="0" u="none" strike="noStrike" kern="1200" cap="none" spc="0" normalizeH="0" baseline="0" noProof="0">
              <a:ln>
                <a:noFill/>
              </a:ln>
              <a:solidFill>
                <a:srgbClr val="FFFFFF"/>
              </a:solidFill>
              <a:effectLst/>
              <a:uLnTx/>
              <a:uFillTx/>
              <a:latin typeface="Verdana"/>
              <a:ea typeface="+mn-ea"/>
              <a:cs typeface="+mn-cs"/>
            </a:endParaRPr>
          </a:p>
        </p:txBody>
      </p:sp>
      <p:sp>
        <p:nvSpPr>
          <p:cNvPr id="49" name="Oval 48">
            <a:extLst>
              <a:ext uri="{FF2B5EF4-FFF2-40B4-BE49-F238E27FC236}">
                <a16:creationId xmlns:a16="http://schemas.microsoft.com/office/drawing/2014/main" id="{B1064FC4-71F8-6528-E69B-2F7B3102B920}"/>
              </a:ext>
            </a:extLst>
          </p:cNvPr>
          <p:cNvSpPr/>
          <p:nvPr/>
        </p:nvSpPr>
        <p:spPr>
          <a:xfrm>
            <a:off x="2474502" y="1473576"/>
            <a:ext cx="1873794" cy="179592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112000"/>
              </a:lnSpc>
              <a:spcBef>
                <a:spcPts val="0"/>
              </a:spcBef>
              <a:spcAft>
                <a:spcPts val="0"/>
              </a:spcAft>
              <a:buClrTx/>
              <a:buSzTx/>
              <a:buFontTx/>
              <a:buNone/>
              <a:tabLst/>
              <a:defRPr/>
            </a:pPr>
            <a:endParaRPr kumimoji="0" lang="nl-NL" sz="1400" b="0" i="0" u="none" strike="noStrike" kern="1200" cap="none" spc="0" normalizeH="0" baseline="0" noProof="0">
              <a:ln>
                <a:noFill/>
              </a:ln>
              <a:solidFill>
                <a:srgbClr val="FFFFFF"/>
              </a:solidFill>
              <a:effectLst/>
              <a:uLnTx/>
              <a:uFillTx/>
              <a:latin typeface="Verdana"/>
              <a:ea typeface="+mn-ea"/>
              <a:cs typeface="+mn-cs"/>
            </a:endParaRPr>
          </a:p>
        </p:txBody>
      </p:sp>
      <p:sp>
        <p:nvSpPr>
          <p:cNvPr id="48" name="Oval 47">
            <a:extLst>
              <a:ext uri="{FF2B5EF4-FFF2-40B4-BE49-F238E27FC236}">
                <a16:creationId xmlns:a16="http://schemas.microsoft.com/office/drawing/2014/main" id="{4C607783-3EBD-7670-CD8C-0B64E7EDE1EE}"/>
              </a:ext>
            </a:extLst>
          </p:cNvPr>
          <p:cNvSpPr/>
          <p:nvPr/>
        </p:nvSpPr>
        <p:spPr>
          <a:xfrm>
            <a:off x="731163" y="1939275"/>
            <a:ext cx="2254108" cy="222260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112000"/>
              </a:lnSpc>
              <a:spcBef>
                <a:spcPts val="0"/>
              </a:spcBef>
              <a:spcAft>
                <a:spcPts val="0"/>
              </a:spcAft>
              <a:buClrTx/>
              <a:buSzTx/>
              <a:buFontTx/>
              <a:buNone/>
              <a:tabLst/>
              <a:defRPr/>
            </a:pPr>
            <a:endParaRPr kumimoji="0" lang="nl-NL" sz="1400" b="0" i="0" u="none" strike="noStrike" kern="1200" cap="none" spc="0" normalizeH="0" baseline="0" noProof="0">
              <a:ln>
                <a:noFill/>
              </a:ln>
              <a:solidFill>
                <a:srgbClr val="FFFFFF"/>
              </a:solidFill>
              <a:effectLst/>
              <a:uLnTx/>
              <a:uFillTx/>
              <a:latin typeface="Verdana"/>
              <a:ea typeface="+mn-ea"/>
              <a:cs typeface="+mn-cs"/>
            </a:endParaRPr>
          </a:p>
        </p:txBody>
      </p:sp>
      <p:sp>
        <p:nvSpPr>
          <p:cNvPr id="46" name="Oval 45">
            <a:extLst>
              <a:ext uri="{FF2B5EF4-FFF2-40B4-BE49-F238E27FC236}">
                <a16:creationId xmlns:a16="http://schemas.microsoft.com/office/drawing/2014/main" id="{45F38E96-BA33-5651-8182-256271C9497B}"/>
              </a:ext>
            </a:extLst>
          </p:cNvPr>
          <p:cNvSpPr/>
          <p:nvPr/>
        </p:nvSpPr>
        <p:spPr>
          <a:xfrm>
            <a:off x="1859148" y="3480300"/>
            <a:ext cx="1920906" cy="194403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112000"/>
              </a:lnSpc>
              <a:spcBef>
                <a:spcPts val="0"/>
              </a:spcBef>
              <a:spcAft>
                <a:spcPts val="0"/>
              </a:spcAft>
              <a:buClrTx/>
              <a:buSzTx/>
              <a:buFontTx/>
              <a:buNone/>
              <a:tabLst/>
              <a:defRPr/>
            </a:pPr>
            <a:endParaRPr kumimoji="0" lang="nl-NL" sz="1400" b="0" i="0" u="none" strike="noStrike" kern="1200" cap="none" spc="0" normalizeH="0" baseline="0" noProof="0">
              <a:ln>
                <a:noFill/>
              </a:ln>
              <a:solidFill>
                <a:srgbClr val="FFFFFF"/>
              </a:solidFill>
              <a:effectLst/>
              <a:uLnTx/>
              <a:uFillTx/>
              <a:latin typeface="Verdana"/>
              <a:ea typeface="+mn-ea"/>
              <a:cs typeface="+mn-cs"/>
            </a:endParaRPr>
          </a:p>
        </p:txBody>
      </p:sp>
      <p:sp>
        <p:nvSpPr>
          <p:cNvPr id="35" name="Oval 34">
            <a:extLst>
              <a:ext uri="{FF2B5EF4-FFF2-40B4-BE49-F238E27FC236}">
                <a16:creationId xmlns:a16="http://schemas.microsoft.com/office/drawing/2014/main" id="{6B0F3DEC-494F-2606-ACD4-6DB30D5AEA2E}"/>
              </a:ext>
            </a:extLst>
          </p:cNvPr>
          <p:cNvSpPr/>
          <p:nvPr/>
        </p:nvSpPr>
        <p:spPr>
          <a:xfrm>
            <a:off x="527721" y="4601922"/>
            <a:ext cx="1608665" cy="154821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112000"/>
              </a:lnSpc>
              <a:spcBef>
                <a:spcPts val="0"/>
              </a:spcBef>
              <a:spcAft>
                <a:spcPts val="0"/>
              </a:spcAft>
              <a:buClrTx/>
              <a:buSzTx/>
              <a:buFontTx/>
              <a:buNone/>
              <a:tabLst/>
              <a:defRPr/>
            </a:pPr>
            <a:endParaRPr kumimoji="0" lang="nl-NL" sz="1400" b="0" i="0" u="none" strike="noStrike" kern="1200" cap="none" spc="0" normalizeH="0" baseline="0" noProof="0">
              <a:ln>
                <a:noFill/>
              </a:ln>
              <a:solidFill>
                <a:srgbClr val="FFFFFF"/>
              </a:solidFill>
              <a:effectLst/>
              <a:uLnTx/>
              <a:uFillTx/>
              <a:latin typeface="Verdana"/>
              <a:ea typeface="+mn-ea"/>
              <a:cs typeface="+mn-cs"/>
            </a:endParaRPr>
          </a:p>
        </p:txBody>
      </p:sp>
      <p:graphicFrame>
        <p:nvGraphicFramePr>
          <p:cNvPr id="5" name="Object 4" hidden="1">
            <a:extLst>
              <a:ext uri="{FF2B5EF4-FFF2-40B4-BE49-F238E27FC236}">
                <a16:creationId xmlns:a16="http://schemas.microsoft.com/office/drawing/2014/main" id="{8DE88282-9C31-457D-A20C-ADB1155918B5}"/>
              </a:ext>
            </a:extLst>
          </p:cNvPr>
          <p:cNvGraphicFramePr>
            <a:graphicFrameLocks noChangeAspect="1"/>
          </p:cNvGraphicFramePr>
          <p:nvPr>
            <p:custDataLst>
              <p:tags r:id="rId1"/>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think-cell Slide" r:id="rId7" imgW="473" imgH="473" progId="TCLayout.ActiveDocument.1">
                  <p:embed/>
                </p:oleObj>
              </mc:Choice>
              <mc:Fallback>
                <p:oleObj name="think-cell Slide" r:id="rId7" imgW="473" imgH="473" progId="TCLayout.ActiveDocument.1">
                  <p:embed/>
                  <p:pic>
                    <p:nvPicPr>
                      <p:cNvPr id="5" name="Object 4" hidden="1">
                        <a:extLst>
                          <a:ext uri="{FF2B5EF4-FFF2-40B4-BE49-F238E27FC236}">
                            <a16:creationId xmlns:a16="http://schemas.microsoft.com/office/drawing/2014/main" id="{8DE88282-9C31-457D-A20C-ADB1155918B5}"/>
                          </a:ext>
                        </a:extLst>
                      </p:cNvPr>
                      <p:cNvPicPr/>
                      <p:nvPr/>
                    </p:nvPicPr>
                    <p:blipFill>
                      <a:blip r:embed="rId8"/>
                      <a:stretch>
                        <a:fillRect/>
                      </a:stretch>
                    </p:blipFill>
                    <p:spPr>
                      <a:xfrm>
                        <a:off x="2120" y="2120"/>
                        <a:ext cx="2117"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B0C99F1-B720-4B63-8D74-0EA195786638}"/>
              </a:ext>
            </a:extLst>
          </p:cNvPr>
          <p:cNvSpPr/>
          <p:nvPr>
            <p:custDataLst>
              <p:tags r:id="rId2"/>
            </p:custDataLst>
          </p:nvPr>
        </p:nvSpPr>
        <p:spPr>
          <a:xfrm>
            <a:off x="1" y="1"/>
            <a:ext cx="211667" cy="211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rmAutofit/>
          </a:bodyPr>
          <a:lstStyle/>
          <a:p>
            <a:pPr marL="0" marR="0" lvl="0" indent="0" algn="ctr" defTabSz="609555" rtl="0" eaLnBrk="1" fontAlgn="auto" latinLnBrk="0" hangingPunct="1">
              <a:lnSpc>
                <a:spcPct val="112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Verdana" panose="020B0604030504040204" pitchFamily="34" charset="0"/>
              <a:ea typeface="+mn-ea"/>
              <a:cs typeface="+mn-cs"/>
              <a:sym typeface="Verdana" panose="020B0604030504040204" pitchFamily="34" charset="0"/>
            </a:endParaRPr>
          </a:p>
        </p:txBody>
      </p:sp>
      <p:sp>
        <p:nvSpPr>
          <p:cNvPr id="6" name="Rectangle 5" hidden="1">
            <a:extLst>
              <a:ext uri="{FF2B5EF4-FFF2-40B4-BE49-F238E27FC236}">
                <a16:creationId xmlns:a16="http://schemas.microsoft.com/office/drawing/2014/main" id="{7F3ADCAD-77BC-4389-B814-F46CA1231286}"/>
              </a:ext>
            </a:extLst>
          </p:cNvPr>
          <p:cNvSpPr/>
          <p:nvPr>
            <p:custDataLst>
              <p:tags r:id="rId3"/>
            </p:custDataLst>
          </p:nvPr>
        </p:nvSpPr>
        <p:spPr>
          <a:xfrm>
            <a:off x="1" y="1"/>
            <a:ext cx="211667" cy="211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rmAutofit/>
          </a:bodyPr>
          <a:lstStyle/>
          <a:p>
            <a:pPr marL="0" marR="0" lvl="0" indent="0" algn="ctr" defTabSz="609555" rtl="0" eaLnBrk="1" fontAlgn="auto" latinLnBrk="0" hangingPunct="1">
              <a:lnSpc>
                <a:spcPct val="112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Verdana" panose="020B0604030504040204" pitchFamily="34" charset="0"/>
              <a:ea typeface="+mn-ea"/>
              <a:cs typeface="+mn-cs"/>
              <a:sym typeface="Verdana" panose="020B0604030504040204" pitchFamily="34" charset="0"/>
            </a:endParaRPr>
          </a:p>
        </p:txBody>
      </p:sp>
      <p:sp>
        <p:nvSpPr>
          <p:cNvPr id="2" name="Title 1">
            <a:extLst>
              <a:ext uri="{FF2B5EF4-FFF2-40B4-BE49-F238E27FC236}">
                <a16:creationId xmlns:a16="http://schemas.microsoft.com/office/drawing/2014/main" id="{EB59723D-AB44-443B-B320-1ED37C2D453D}"/>
              </a:ext>
            </a:extLst>
          </p:cNvPr>
          <p:cNvSpPr>
            <a:spLocks noGrp="1"/>
          </p:cNvSpPr>
          <p:nvPr>
            <p:ph type="title"/>
          </p:nvPr>
        </p:nvSpPr>
        <p:spPr>
          <a:xfrm>
            <a:off x="575735" y="548219"/>
            <a:ext cx="10219265" cy="1036965"/>
          </a:xfrm>
        </p:spPr>
        <p:txBody>
          <a:bodyPr vert="horz" lIns="0" tIns="0" rIns="0" bIns="0" rtlCol="0" anchor="t" anchorCtr="0">
            <a:normAutofit/>
          </a:bodyPr>
          <a:lstStyle/>
          <a:p>
            <a:pPr>
              <a:lnSpc>
                <a:spcPct val="107000"/>
              </a:lnSpc>
              <a:spcBef>
                <a:spcPts val="0"/>
              </a:spcBef>
              <a:spcAft>
                <a:spcPts val="1067"/>
              </a:spcAft>
            </a:pPr>
            <a:r>
              <a:t>Our kids, the future thinkers, creators, and leaders</a:t>
            </a:r>
            <a:br/>
            <a:r>
              <a:t>我们的孩子，未来的思考者、创造者和领导者</a:t>
            </a:r>
            <a:endParaRPr lang="nl-NL" sz="3600">
              <a:latin typeface="Calibri" panose="020F0502020204030204" pitchFamily="34" charset="0"/>
              <a:cs typeface="Calibri" panose="020F0502020204030204" pitchFamily="34" charset="0"/>
            </a:endParaRPr>
          </a:p>
        </p:txBody>
      </p:sp>
      <p:sp>
        <p:nvSpPr>
          <p:cNvPr id="30" name="Oval 29">
            <a:extLst>
              <a:ext uri="{FF2B5EF4-FFF2-40B4-BE49-F238E27FC236}">
                <a16:creationId xmlns:a16="http://schemas.microsoft.com/office/drawing/2014/main" id="{2FFBD3BF-A957-21D1-346D-9DD46B847A5C}"/>
              </a:ext>
            </a:extLst>
          </p:cNvPr>
          <p:cNvSpPr/>
          <p:nvPr/>
        </p:nvSpPr>
        <p:spPr>
          <a:xfrm>
            <a:off x="345187" y="4410213"/>
            <a:ext cx="1973732" cy="1899568"/>
          </a:xfrm>
          <a:prstGeom prst="ellipse">
            <a:avLst/>
          </a:prstGeom>
          <a:solidFill>
            <a:schemeClr val="accent3">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112000"/>
              </a:lnSpc>
              <a:spcBef>
                <a:spcPts val="0"/>
              </a:spcBef>
              <a:spcAft>
                <a:spcPts val="0"/>
              </a:spcAft>
              <a:buClrTx/>
              <a:buSzTx/>
              <a:buFontTx/>
              <a:buNone/>
              <a:tabLst/>
              <a:defRPr/>
            </a:pPr>
            <a:endParaRPr kumimoji="0" lang="nl-NL" sz="1400" b="0" i="0" u="none" strike="noStrike" kern="1200" cap="none" spc="0" normalizeH="0" baseline="0" noProof="0">
              <a:ln>
                <a:noFill/>
              </a:ln>
              <a:solidFill>
                <a:srgbClr val="FFFFFF"/>
              </a:solidFill>
              <a:effectLst/>
              <a:uLnTx/>
              <a:uFillTx/>
              <a:latin typeface="Verdana"/>
              <a:ea typeface="+mn-ea"/>
              <a:cs typeface="+mn-cs"/>
            </a:endParaRPr>
          </a:p>
        </p:txBody>
      </p:sp>
      <p:sp>
        <p:nvSpPr>
          <p:cNvPr id="34" name="Oval 33">
            <a:extLst>
              <a:ext uri="{FF2B5EF4-FFF2-40B4-BE49-F238E27FC236}">
                <a16:creationId xmlns:a16="http://schemas.microsoft.com/office/drawing/2014/main" id="{8070B74A-8075-71CB-38CC-024E821CC73E}"/>
              </a:ext>
            </a:extLst>
          </p:cNvPr>
          <p:cNvSpPr/>
          <p:nvPr/>
        </p:nvSpPr>
        <p:spPr>
          <a:xfrm>
            <a:off x="3839559" y="1940476"/>
            <a:ext cx="1771391" cy="1728842"/>
          </a:xfrm>
          <a:prstGeom prst="ellipse">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112000"/>
              </a:lnSpc>
              <a:spcBef>
                <a:spcPts val="0"/>
              </a:spcBef>
              <a:spcAft>
                <a:spcPts val="0"/>
              </a:spcAft>
              <a:buClrTx/>
              <a:buSzTx/>
              <a:buFontTx/>
              <a:buNone/>
              <a:tabLst/>
              <a:defRPr/>
            </a:pPr>
            <a:endParaRPr kumimoji="0" lang="nl-NL" sz="1400" b="0" i="0" u="none" strike="noStrike" kern="1200" cap="none" spc="0" normalizeH="0" baseline="0" noProof="0">
              <a:ln>
                <a:noFill/>
              </a:ln>
              <a:solidFill>
                <a:srgbClr val="FFFFFF"/>
              </a:solidFill>
              <a:effectLst/>
              <a:uLnTx/>
              <a:uFillTx/>
              <a:latin typeface="Verdana"/>
              <a:ea typeface="+mn-ea"/>
              <a:cs typeface="+mn-cs"/>
            </a:endParaRPr>
          </a:p>
        </p:txBody>
      </p:sp>
      <p:sp>
        <p:nvSpPr>
          <p:cNvPr id="32" name="Oval 31">
            <a:extLst>
              <a:ext uri="{FF2B5EF4-FFF2-40B4-BE49-F238E27FC236}">
                <a16:creationId xmlns:a16="http://schemas.microsoft.com/office/drawing/2014/main" id="{A0F95606-8066-CD93-3372-9B5A33FA8149}"/>
              </a:ext>
            </a:extLst>
          </p:cNvPr>
          <p:cNvSpPr/>
          <p:nvPr/>
        </p:nvSpPr>
        <p:spPr>
          <a:xfrm>
            <a:off x="491587" y="1685187"/>
            <a:ext cx="2700337" cy="2683929"/>
          </a:xfrm>
          <a:prstGeom prst="ellipse">
            <a:avLst/>
          </a:prstGeom>
          <a:solidFill>
            <a:schemeClr val="accent6">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112000"/>
              </a:lnSpc>
              <a:spcBef>
                <a:spcPts val="0"/>
              </a:spcBef>
              <a:spcAft>
                <a:spcPts val="0"/>
              </a:spcAft>
              <a:buClrTx/>
              <a:buSzTx/>
              <a:buFontTx/>
              <a:buNone/>
              <a:tabLst/>
              <a:defRPr/>
            </a:pPr>
            <a:endParaRPr kumimoji="0" lang="nl-NL" sz="1400" b="0" i="0" u="none" strike="noStrike" kern="1200" cap="none" spc="0" normalizeH="0" baseline="0" noProof="0">
              <a:ln>
                <a:noFill/>
              </a:ln>
              <a:solidFill>
                <a:srgbClr val="FFFFFF"/>
              </a:solidFill>
              <a:effectLst/>
              <a:uLnTx/>
              <a:uFillTx/>
              <a:latin typeface="Verdana"/>
              <a:ea typeface="+mn-ea"/>
              <a:cs typeface="+mn-cs"/>
            </a:endParaRPr>
          </a:p>
        </p:txBody>
      </p:sp>
      <p:sp>
        <p:nvSpPr>
          <p:cNvPr id="33" name="Oval 32">
            <a:extLst>
              <a:ext uri="{FF2B5EF4-FFF2-40B4-BE49-F238E27FC236}">
                <a16:creationId xmlns:a16="http://schemas.microsoft.com/office/drawing/2014/main" id="{16DF9EFF-B54D-556E-8FE1-4C03E5B3F737}"/>
              </a:ext>
            </a:extLst>
          </p:cNvPr>
          <p:cNvSpPr/>
          <p:nvPr/>
        </p:nvSpPr>
        <p:spPr>
          <a:xfrm>
            <a:off x="2288928" y="1261824"/>
            <a:ext cx="2290947" cy="2195742"/>
          </a:xfrm>
          <a:prstGeom prst="ellipse">
            <a:avLst/>
          </a:pr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112000"/>
              </a:lnSpc>
              <a:spcBef>
                <a:spcPts val="0"/>
              </a:spcBef>
              <a:spcAft>
                <a:spcPts val="0"/>
              </a:spcAft>
              <a:buClrTx/>
              <a:buSzTx/>
              <a:buFontTx/>
              <a:buNone/>
              <a:tabLst/>
              <a:defRPr/>
            </a:pPr>
            <a:endParaRPr kumimoji="0" lang="nl-NL" sz="1400" b="0" i="0" u="none" strike="noStrike" kern="1200" cap="none" spc="0" normalizeH="0" baseline="0" noProof="0">
              <a:ln>
                <a:noFill/>
              </a:ln>
              <a:solidFill>
                <a:srgbClr val="FFFFFF"/>
              </a:solidFill>
              <a:effectLst/>
              <a:uLnTx/>
              <a:uFillTx/>
              <a:latin typeface="Verdana"/>
              <a:ea typeface="+mn-ea"/>
              <a:cs typeface="+mn-cs"/>
            </a:endParaRPr>
          </a:p>
        </p:txBody>
      </p:sp>
      <p:sp>
        <p:nvSpPr>
          <p:cNvPr id="31" name="Oval 30">
            <a:extLst>
              <a:ext uri="{FF2B5EF4-FFF2-40B4-BE49-F238E27FC236}">
                <a16:creationId xmlns:a16="http://schemas.microsoft.com/office/drawing/2014/main" id="{8EAD0E22-51C1-4A7B-466C-3022310C5DA8}"/>
              </a:ext>
            </a:extLst>
          </p:cNvPr>
          <p:cNvSpPr/>
          <p:nvPr/>
        </p:nvSpPr>
        <p:spPr>
          <a:xfrm>
            <a:off x="1620962" y="3261578"/>
            <a:ext cx="2290947" cy="2318536"/>
          </a:xfrm>
          <a:prstGeom prst="ellipse">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112000"/>
              </a:lnSpc>
              <a:spcBef>
                <a:spcPts val="0"/>
              </a:spcBef>
              <a:spcAft>
                <a:spcPts val="0"/>
              </a:spcAft>
              <a:buClrTx/>
              <a:buSzTx/>
              <a:buFontTx/>
              <a:buNone/>
              <a:tabLst/>
              <a:defRPr/>
            </a:pPr>
            <a:endParaRPr kumimoji="0" lang="nl-NL" sz="1400" b="0" i="0" u="none" strike="noStrike" kern="1200" cap="none" spc="0" normalizeH="0" baseline="0" noProof="0">
              <a:ln>
                <a:noFill/>
              </a:ln>
              <a:solidFill>
                <a:srgbClr val="FFFFFF"/>
              </a:solidFill>
              <a:effectLst/>
              <a:uLnTx/>
              <a:uFillTx/>
              <a:latin typeface="Verdana"/>
              <a:ea typeface="+mn-ea"/>
              <a:cs typeface="+mn-cs"/>
            </a:endParaRPr>
          </a:p>
        </p:txBody>
      </p:sp>
      <p:sp>
        <p:nvSpPr>
          <p:cNvPr id="28" name="TextBox 27">
            <a:extLst>
              <a:ext uri="{FF2B5EF4-FFF2-40B4-BE49-F238E27FC236}">
                <a16:creationId xmlns:a16="http://schemas.microsoft.com/office/drawing/2014/main" id="{4ECAF8B9-6431-092E-F166-A62EE35FE186}"/>
              </a:ext>
            </a:extLst>
          </p:cNvPr>
          <p:cNvSpPr txBox="1"/>
          <p:nvPr/>
        </p:nvSpPr>
        <p:spPr>
          <a:xfrm>
            <a:off x="493374" y="5098387"/>
            <a:ext cx="1756800" cy="523220"/>
          </a:xfrm>
          <a:prstGeom prst="rect">
            <a:avLst/>
          </a:prstGeom>
          <a:noFill/>
        </p:spPr>
        <p:txBody>
          <a:bodyPr wrap="square">
            <a:norm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t>Bone mineralization</a:t>
            </a:r>
            <a:br/>
            <a:r>
              <a:t>骨骼矿化</a:t>
            </a:r>
          </a:p>
        </p:txBody>
      </p:sp>
      <p:sp>
        <p:nvSpPr>
          <p:cNvPr id="41" name="TextBox 40">
            <a:extLst>
              <a:ext uri="{FF2B5EF4-FFF2-40B4-BE49-F238E27FC236}">
                <a16:creationId xmlns:a16="http://schemas.microsoft.com/office/drawing/2014/main" id="{41BFEC3E-85F4-EE62-B980-E36CD4645287}"/>
              </a:ext>
            </a:extLst>
          </p:cNvPr>
          <p:cNvSpPr txBox="1"/>
          <p:nvPr/>
        </p:nvSpPr>
        <p:spPr>
          <a:xfrm>
            <a:off x="1994443" y="3898343"/>
            <a:ext cx="1632125" cy="954107"/>
          </a:xfrm>
          <a:prstGeom prst="rect">
            <a:avLst/>
          </a:prstGeom>
          <a:noFill/>
        </p:spPr>
        <p:txBody>
          <a:bodyPr wrap="square">
            <a:normAutofit/>
          </a:bodyPr>
          <a:lstStyle>
            <a:defPPr>
              <a:defRPr lang="nl-NL"/>
            </a:defPPr>
            <a:lvl1pPr marR="0" lvl="0" indent="0" algn="ctr" defTabSz="609585" fontAlgn="auto">
              <a:lnSpc>
                <a:spcPct val="100000"/>
              </a:lnSpc>
              <a:spcBef>
                <a:spcPts val="0"/>
              </a:spcBef>
              <a:spcAft>
                <a:spcPts val="0"/>
              </a:spcAft>
              <a:buClrTx/>
              <a:buSzTx/>
              <a:buFontTx/>
              <a:buNone/>
              <a:tabLst/>
              <a:defRPr kumimoji="0" b="1" i="0" u="none" strike="noStrike" cap="none" spc="0" normalizeH="0" baseline="0">
                <a:ln>
                  <a:noFill/>
                </a:ln>
                <a:solidFill>
                  <a:schemeClr val="tx2"/>
                </a:solidFill>
                <a:effectLst/>
                <a:uLnTx/>
                <a:uFillTx/>
                <a:latin typeface="Calibri" panose="020F0502020204030204" pitchFamily="34" charset="0"/>
                <a:cs typeface="Calibri" panose="020F0502020204030204" pitchFamily="34" charset="0"/>
              </a:defRPr>
            </a:lvl1pPr>
          </a:lstStyle>
          <a:p>
            <a:pPr marL="0" marR="0" lvl="0" indent="0" algn="ctr" defTabSz="609585" rtl="0" eaLnBrk="1" fontAlgn="auto" latinLnBrk="0" hangingPunct="1">
              <a:lnSpc>
                <a:spcPct val="100000"/>
              </a:lnSpc>
              <a:spcBef>
                <a:spcPts val="0"/>
              </a:spcBef>
              <a:spcAft>
                <a:spcPts val="0"/>
              </a:spcAft>
              <a:buClrTx/>
              <a:buSzTx/>
              <a:buFontTx/>
              <a:buNone/>
              <a:tabLst/>
              <a:defRPr/>
            </a:pPr>
            <a:r>
              <a:t>Linear</a:t>
            </a:r>
            <a:br/>
            <a:r>
              <a:t>线性</a:t>
            </a:r>
          </a:p>
          <a:p>
            <a:pPr marL="0" marR="0" lvl="0" indent="0" algn="ctr" defTabSz="609585" rtl="0" eaLnBrk="1" fontAlgn="auto" latinLnBrk="0" hangingPunct="1">
              <a:lnSpc>
                <a:spcPct val="100000"/>
              </a:lnSpc>
              <a:spcBef>
                <a:spcPts val="0"/>
              </a:spcBef>
              <a:spcAft>
                <a:spcPts val="0"/>
              </a:spcAft>
              <a:buClrTx/>
              <a:buSzTx/>
              <a:buFontTx/>
              <a:buNone/>
              <a:tabLst/>
              <a:defRPr/>
            </a:pPr>
            <a:r>
              <a:t>growth &amp; body composition</a:t>
            </a:r>
            <a:br/>
            <a:r>
              <a:t>生长与体成分</a:t>
            </a:r>
          </a:p>
        </p:txBody>
      </p:sp>
      <p:sp>
        <p:nvSpPr>
          <p:cNvPr id="43" name="TextBox 42">
            <a:extLst>
              <a:ext uri="{FF2B5EF4-FFF2-40B4-BE49-F238E27FC236}">
                <a16:creationId xmlns:a16="http://schemas.microsoft.com/office/drawing/2014/main" id="{2615DAB8-6AF2-AEAA-99CE-1054636F4E68}"/>
              </a:ext>
            </a:extLst>
          </p:cNvPr>
          <p:cNvSpPr txBox="1"/>
          <p:nvPr/>
        </p:nvSpPr>
        <p:spPr>
          <a:xfrm>
            <a:off x="1017792" y="2583958"/>
            <a:ext cx="1430438" cy="954107"/>
          </a:xfrm>
          <a:prstGeom prst="rect">
            <a:avLst/>
          </a:prstGeom>
          <a:noFill/>
        </p:spPr>
        <p:txBody>
          <a:bodyPr wrap="square">
            <a:normAutofit/>
          </a:bodyPr>
          <a:lstStyle>
            <a:defPPr>
              <a:defRPr lang="nl-NL"/>
            </a:defPPr>
            <a:lvl1pPr marR="0" lvl="0" indent="0" algn="ctr" defTabSz="609585" fontAlgn="auto">
              <a:lnSpc>
                <a:spcPct val="100000"/>
              </a:lnSpc>
              <a:spcBef>
                <a:spcPts val="0"/>
              </a:spcBef>
              <a:spcAft>
                <a:spcPts val="0"/>
              </a:spcAft>
              <a:buClrTx/>
              <a:buSzTx/>
              <a:buFontTx/>
              <a:buNone/>
              <a:tabLst/>
              <a:defRPr kumimoji="0" b="1" i="0" u="none" strike="noStrike" cap="none" spc="0" normalizeH="0" baseline="0">
                <a:ln>
                  <a:noFill/>
                </a:ln>
                <a:solidFill>
                  <a:schemeClr val="tx2"/>
                </a:solidFill>
                <a:effectLst/>
                <a:uLnTx/>
                <a:uFillTx/>
                <a:latin typeface="Calibri" panose="020F0502020204030204" pitchFamily="34" charset="0"/>
                <a:cs typeface="Calibri" panose="020F0502020204030204" pitchFamily="34" charset="0"/>
              </a:defRPr>
            </a:lvl1pPr>
          </a:lstStyle>
          <a:p>
            <a:pPr marL="0" marR="0" lvl="0" indent="0" algn="ctr" defTabSz="609585" rtl="0" eaLnBrk="1" fontAlgn="auto" latinLnBrk="0" hangingPunct="1">
              <a:lnSpc>
                <a:spcPct val="100000"/>
              </a:lnSpc>
              <a:spcBef>
                <a:spcPts val="0"/>
              </a:spcBef>
              <a:spcAft>
                <a:spcPts val="0"/>
              </a:spcAft>
              <a:buClrTx/>
              <a:buSzTx/>
              <a:buFontTx/>
              <a:buNone/>
              <a:tabLst/>
              <a:defRPr/>
            </a:pPr>
            <a:r>
              <a:t>Maturation of the immune system</a:t>
            </a:r>
            <a:br/>
            <a:r>
              <a:t>免疫系统的成熟</a:t>
            </a:r>
          </a:p>
        </p:txBody>
      </p:sp>
      <p:sp>
        <p:nvSpPr>
          <p:cNvPr id="44" name="TextBox 43">
            <a:extLst>
              <a:ext uri="{FF2B5EF4-FFF2-40B4-BE49-F238E27FC236}">
                <a16:creationId xmlns:a16="http://schemas.microsoft.com/office/drawing/2014/main" id="{E4FE5A3D-CD3E-18EA-883D-F22100B0BD0C}"/>
              </a:ext>
            </a:extLst>
          </p:cNvPr>
          <p:cNvSpPr txBox="1"/>
          <p:nvPr/>
        </p:nvSpPr>
        <p:spPr>
          <a:xfrm>
            <a:off x="2494602" y="1837530"/>
            <a:ext cx="1873795" cy="738664"/>
          </a:xfrm>
          <a:prstGeom prst="rect">
            <a:avLst/>
          </a:prstGeom>
          <a:noFill/>
        </p:spPr>
        <p:txBody>
          <a:bodyPr wrap="square">
            <a:normAutofit/>
          </a:bodyPr>
          <a:lstStyle>
            <a:defPPr>
              <a:defRPr lang="nl-NL"/>
            </a:defPPr>
            <a:lvl1pPr marR="0" lvl="0" indent="0" algn="ctr" defTabSz="609585" fontAlgn="auto">
              <a:lnSpc>
                <a:spcPct val="100000"/>
              </a:lnSpc>
              <a:spcBef>
                <a:spcPts val="0"/>
              </a:spcBef>
              <a:spcAft>
                <a:spcPts val="0"/>
              </a:spcAft>
              <a:buClrTx/>
              <a:buSzTx/>
              <a:buFontTx/>
              <a:buNone/>
              <a:tabLst/>
              <a:defRPr kumimoji="0" b="1" i="0" u="none" strike="noStrike" cap="none" spc="0" normalizeH="0" baseline="0">
                <a:ln>
                  <a:noFill/>
                </a:ln>
                <a:solidFill>
                  <a:schemeClr val="tx2"/>
                </a:solidFill>
                <a:effectLst/>
                <a:uLnTx/>
                <a:uFillTx/>
                <a:latin typeface="Calibri" panose="020F0502020204030204" pitchFamily="34" charset="0"/>
                <a:cs typeface="Calibri" panose="020F0502020204030204" pitchFamily="34" charset="0"/>
              </a:defRPr>
            </a:lvl1pPr>
          </a:lstStyle>
          <a:p>
            <a:pPr marL="0" marR="0" lvl="0" indent="0" algn="ctr" defTabSz="609585" rtl="0" eaLnBrk="1" fontAlgn="auto" latinLnBrk="0" hangingPunct="1">
              <a:lnSpc>
                <a:spcPct val="100000"/>
              </a:lnSpc>
              <a:spcBef>
                <a:spcPts val="0"/>
              </a:spcBef>
              <a:spcAft>
                <a:spcPts val="0"/>
              </a:spcAft>
              <a:buClrTx/>
              <a:buSzTx/>
              <a:buFontTx/>
              <a:buNone/>
              <a:tabLst/>
              <a:defRPr/>
            </a:pPr>
            <a:r>
              <a:t>Brain &amp; cognitive processing</a:t>
            </a:r>
            <a:br/>
            <a:r>
              <a:t>大脑与认知处理</a:t>
            </a:r>
          </a:p>
        </p:txBody>
      </p:sp>
      <p:sp>
        <p:nvSpPr>
          <p:cNvPr id="45" name="TextBox 44">
            <a:extLst>
              <a:ext uri="{FF2B5EF4-FFF2-40B4-BE49-F238E27FC236}">
                <a16:creationId xmlns:a16="http://schemas.microsoft.com/office/drawing/2014/main" id="{0AA6FD23-7432-C3A8-00BD-4197A1999BC9}"/>
              </a:ext>
            </a:extLst>
          </p:cNvPr>
          <p:cNvSpPr txBox="1"/>
          <p:nvPr/>
        </p:nvSpPr>
        <p:spPr>
          <a:xfrm>
            <a:off x="3927114" y="2531911"/>
            <a:ext cx="1542699" cy="523220"/>
          </a:xfrm>
          <a:prstGeom prst="rect">
            <a:avLst/>
          </a:prstGeom>
          <a:noFill/>
        </p:spPr>
        <p:txBody>
          <a:bodyPr wrap="square">
            <a:normAutofit/>
          </a:bodyPr>
          <a:lstStyle>
            <a:defPPr>
              <a:defRPr lang="nl-NL"/>
            </a:defPPr>
            <a:lvl1pPr marR="0" lvl="0" indent="0" algn="ctr" defTabSz="609585" fontAlgn="auto">
              <a:lnSpc>
                <a:spcPct val="100000"/>
              </a:lnSpc>
              <a:spcBef>
                <a:spcPts val="0"/>
              </a:spcBef>
              <a:spcAft>
                <a:spcPts val="0"/>
              </a:spcAft>
              <a:buClrTx/>
              <a:buSzTx/>
              <a:buFontTx/>
              <a:buNone/>
              <a:tabLst/>
              <a:defRPr kumimoji="0" b="1" i="0" u="none" strike="noStrike" cap="none" spc="0" normalizeH="0" baseline="0">
                <a:ln>
                  <a:noFill/>
                </a:ln>
                <a:solidFill>
                  <a:schemeClr val="tx2"/>
                </a:solidFill>
                <a:effectLst/>
                <a:uLnTx/>
                <a:uFillTx/>
                <a:latin typeface="Calibri" panose="020F0502020204030204" pitchFamily="34" charset="0"/>
                <a:cs typeface="Calibri" panose="020F0502020204030204" pitchFamily="34" charset="0"/>
              </a:defRPr>
            </a:lvl1pPr>
          </a:lstStyle>
          <a:p>
            <a:pPr marL="0" marR="0" lvl="0" indent="0" algn="ctr" defTabSz="609585" rtl="0" eaLnBrk="1" fontAlgn="auto" latinLnBrk="0" hangingPunct="1">
              <a:lnSpc>
                <a:spcPct val="100000"/>
              </a:lnSpc>
              <a:spcBef>
                <a:spcPts val="0"/>
              </a:spcBef>
              <a:spcAft>
                <a:spcPts val="0"/>
              </a:spcAft>
              <a:buClrTx/>
              <a:buSzTx/>
              <a:buFontTx/>
              <a:buNone/>
              <a:tabLst/>
              <a:defRPr/>
            </a:pPr>
            <a:r>
              <a:t>Mental</a:t>
            </a:r>
            <a:br/>
            <a:r>
              <a:t>心理健康</a:t>
            </a:r>
          </a:p>
          <a:p>
            <a:pPr marL="0" marR="0" lvl="0" indent="0" algn="ctr" defTabSz="609585" rtl="0" eaLnBrk="1" fontAlgn="auto" latinLnBrk="0" hangingPunct="1">
              <a:lnSpc>
                <a:spcPct val="100000"/>
              </a:lnSpc>
              <a:spcBef>
                <a:spcPts val="0"/>
              </a:spcBef>
              <a:spcAft>
                <a:spcPts val="0"/>
              </a:spcAft>
              <a:buClrTx/>
              <a:buSzTx/>
              <a:buFontTx/>
              <a:buNone/>
              <a:tabLst/>
              <a:defRPr/>
            </a:pPr>
            <a:r>
              <a:t>well-being</a:t>
            </a:r>
            <a:br/>
            <a:r>
              <a:t>福祉</a:t>
            </a:r>
            <a:endParaRPr kumimoji="0" lang="nl-NL" sz="14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 name="Rectangle 3">
            <a:extLst>
              <a:ext uri="{FF2B5EF4-FFF2-40B4-BE49-F238E27FC236}">
                <a16:creationId xmlns:a16="http://schemas.microsoft.com/office/drawing/2014/main" id="{E0D48444-5B29-1082-06A6-A9CC6118C5A3}"/>
              </a:ext>
            </a:extLst>
          </p:cNvPr>
          <p:cNvSpPr/>
          <p:nvPr/>
        </p:nvSpPr>
        <p:spPr>
          <a:xfrm>
            <a:off x="-7339" y="-8695"/>
            <a:ext cx="2455569" cy="39727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112000"/>
              </a:lnSpc>
            </a:pPr>
            <a:r>
              <a:rPr lang="en-US" sz="1600" b="1">
                <a:solidFill/>
              </a:rPr>
              <a:t>KIDS</a:t>
            </a:r>
            <a:endParaRPr lang="en-NL" sz="1600" b="1"/>
          </a:p>
        </p:txBody>
      </p:sp>
      <p:pic>
        <p:nvPicPr>
          <p:cNvPr id="8" name="Picture Placeholder 27">
            <a:extLst>
              <a:ext uri="{FF2B5EF4-FFF2-40B4-BE49-F238E27FC236}">
                <a16:creationId xmlns:a16="http://schemas.microsoft.com/office/drawing/2014/main" id="{B5FABE8B-F8C8-B591-0040-6D2968D17AF4}"/>
              </a:ext>
            </a:extLst>
          </p:cNvPr>
          <p:cNvPicPr>
            <a:picLocks noChangeAspect="1"/>
          </p:cNvPicPr>
          <p:nvPr/>
        </p:nvPicPr>
        <p:blipFill>
          <a:blip r:embed="rId9">
            <a:extLst>
              <a:ext uri="{28A0092B-C50C-407E-A947-70E740481C1C}">
                <a14:useLocalDpi xmlns:a14="http://schemas.microsoft.com/office/drawing/2010/main" val="0"/>
              </a:ext>
            </a:extLst>
          </a:blip>
          <a:srcRect t="3811" b="3811"/>
          <a:stretch/>
        </p:blipFill>
        <p:spPr>
          <a:xfrm>
            <a:off x="10324030" y="-1"/>
            <a:ext cx="1912937" cy="1870075"/>
          </a:xfrm>
          <a:custGeom>
            <a:avLst/>
            <a:gdLst>
              <a:gd name="connsiteX0" fmla="*/ 0 w 3132137"/>
              <a:gd name="connsiteY0" fmla="*/ 0 h 4408488"/>
              <a:gd name="connsiteX1" fmla="*/ 3132137 w 3132137"/>
              <a:gd name="connsiteY1" fmla="*/ 0 h 4408488"/>
              <a:gd name="connsiteX2" fmla="*/ 3132137 w 3132137"/>
              <a:gd name="connsiteY2" fmla="*/ 1 h 4408488"/>
              <a:gd name="connsiteX3" fmla="*/ 3132137 w 3132137"/>
              <a:gd name="connsiteY3" fmla="*/ 2356339 h 4408488"/>
              <a:gd name="connsiteX4" fmla="*/ 3132137 w 3132137"/>
              <a:gd name="connsiteY4" fmla="*/ 4408488 h 4408488"/>
              <a:gd name="connsiteX5" fmla="*/ 522033 w 3132137"/>
              <a:gd name="connsiteY5" fmla="*/ 4408488 h 4408488"/>
              <a:gd name="connsiteX6" fmla="*/ 0 w 3132137"/>
              <a:gd name="connsiteY6" fmla="*/ 3886455 h 4408488"/>
              <a:gd name="connsiteX7" fmla="*/ 0 w 3132137"/>
              <a:gd name="connsiteY7" fmla="*/ 2356339 h 4408488"/>
              <a:gd name="connsiteX8" fmla="*/ 0 w 3132137"/>
              <a:gd name="connsiteY8" fmla="*/ 1 h 4408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2137" h="4408488">
                <a:moveTo>
                  <a:pt x="0" y="0"/>
                </a:moveTo>
                <a:lnTo>
                  <a:pt x="3132137" y="0"/>
                </a:lnTo>
                <a:lnTo>
                  <a:pt x="3132137" y="1"/>
                </a:lnTo>
                <a:lnTo>
                  <a:pt x="3132137" y="2356339"/>
                </a:lnTo>
                <a:lnTo>
                  <a:pt x="3132137" y="4408488"/>
                </a:lnTo>
                <a:lnTo>
                  <a:pt x="522033" y="4408488"/>
                </a:lnTo>
                <a:cubicBezTo>
                  <a:pt x="233722" y="4408488"/>
                  <a:pt x="0" y="4174766"/>
                  <a:pt x="0" y="3886455"/>
                </a:cubicBezTo>
                <a:lnTo>
                  <a:pt x="0" y="2356339"/>
                </a:lnTo>
                <a:lnTo>
                  <a:pt x="0" y="1"/>
                </a:lnTo>
                <a:close/>
              </a:path>
            </a:pathLst>
          </a:custGeom>
        </p:spPr>
      </p:pic>
    </p:spTree>
    <p:extLst>
      <p:ext uri="{BB962C8B-B14F-4D97-AF65-F5344CB8AC3E}">
        <p14:creationId xmlns:p14="http://schemas.microsoft.com/office/powerpoint/2010/main" val="27416297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62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S_UNIQUEID" val="12449"/>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2.xml><?xml version="1.0" encoding="utf-8"?>
<p:tagLst xmlns:a="http://schemas.openxmlformats.org/drawingml/2006/main" xmlns:r="http://schemas.openxmlformats.org/officeDocument/2006/relationships" xmlns:p="http://schemas.openxmlformats.org/presentationml/2006/main">
  <p:tag name="SHAPENAME" val="5. Source"/>
</p:tagLst>
</file>

<file path=ppt/tags/tag1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8.xml><?xml version="1.0" encoding="utf-8"?>
<p:tagLst xmlns:a="http://schemas.openxmlformats.org/drawingml/2006/main" xmlns:r="http://schemas.openxmlformats.org/officeDocument/2006/relationships" xmlns:p="http://schemas.openxmlformats.org/presentationml/2006/main">
  <p:tag name="SHAPENAME" val="5. Source"/>
</p:tagLst>
</file>

<file path=ppt/tags/tag1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xml><?xml version="1.0" encoding="utf-8"?>
<p:tagLst xmlns:a="http://schemas.openxmlformats.org/drawingml/2006/main" xmlns:r="http://schemas.openxmlformats.org/officeDocument/2006/relationships" xmlns:p="http://schemas.openxmlformats.org/presentationml/2006/main">
  <p:tag name="AS_UNIQUEID" val="12450"/>
</p:tagLst>
</file>

<file path=ppt/tags/tag1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6.xml><?xml version="1.0" encoding="utf-8"?>
<p:tagLst xmlns:a="http://schemas.openxmlformats.org/drawingml/2006/main" xmlns:r="http://schemas.openxmlformats.org/officeDocument/2006/relationships" xmlns:p="http://schemas.openxmlformats.org/presentationml/2006/main">
  <p:tag name="SHAPENAME" val="5. Sourc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xml><?xml version="1.0" encoding="utf-8"?>
<p:tagLst xmlns:a="http://schemas.openxmlformats.org/drawingml/2006/main" xmlns:r="http://schemas.openxmlformats.org/officeDocument/2006/relationships" xmlns:p="http://schemas.openxmlformats.org/presentationml/2006/main">
  <p:tag name="AS_UNIQUEID" val="12451"/>
</p:tagLst>
</file>

<file path=ppt/tags/tag1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1.xml><?xml version="1.0" encoding="utf-8"?>
<p:tagLst xmlns:a="http://schemas.openxmlformats.org/drawingml/2006/main" xmlns:r="http://schemas.openxmlformats.org/officeDocument/2006/relationships" xmlns:p="http://schemas.openxmlformats.org/presentationml/2006/main">
  <p:tag name="SHAPENAME" val="5. Source"/>
</p:tagLst>
</file>

<file path=ppt/tags/tag1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2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8.xml><?xml version="1.0" encoding="utf-8"?>
<p:tagLst xmlns:a="http://schemas.openxmlformats.org/drawingml/2006/main" xmlns:r="http://schemas.openxmlformats.org/officeDocument/2006/relationships" xmlns:p="http://schemas.openxmlformats.org/presentationml/2006/main">
  <p:tag name="SHAPENAME" val="5. Source"/>
</p:tagLst>
</file>

<file path=ppt/tags/tag1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AS_UNIQUEID" val="12452"/>
</p:tagLst>
</file>

<file path=ppt/tags/tag1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3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6.xml><?xml version="1.0" encoding="utf-8"?>
<p:tagLst xmlns:a="http://schemas.openxmlformats.org/drawingml/2006/main" xmlns:r="http://schemas.openxmlformats.org/officeDocument/2006/relationships" xmlns:p="http://schemas.openxmlformats.org/presentationml/2006/main">
  <p:tag name="SHAPENAME" val="5. Source"/>
</p:tagLst>
</file>

<file path=ppt/tags/tag1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xml><?xml version="1.0" encoding="utf-8"?>
<p:tagLst xmlns:a="http://schemas.openxmlformats.org/drawingml/2006/main" xmlns:r="http://schemas.openxmlformats.org/officeDocument/2006/relationships" xmlns:p="http://schemas.openxmlformats.org/presentationml/2006/main">
  <p:tag name="AS_UNIQUEID" val="12453"/>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4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5.xml><?xml version="1.0" encoding="utf-8"?>
<p:tagLst xmlns:a="http://schemas.openxmlformats.org/drawingml/2006/main" xmlns:r="http://schemas.openxmlformats.org/officeDocument/2006/relationships" xmlns:p="http://schemas.openxmlformats.org/presentationml/2006/main">
  <p:tag name="SHAPENAME" val="5. Source"/>
</p:tagLst>
</file>

<file path=ppt/tags/tag1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5.xml><?xml version="1.0" encoding="utf-8"?>
<p:tagLst xmlns:a="http://schemas.openxmlformats.org/drawingml/2006/main" xmlns:r="http://schemas.openxmlformats.org/officeDocument/2006/relationships" xmlns:p="http://schemas.openxmlformats.org/presentationml/2006/main">
  <p:tag name="AS_UNIQUEID" val="12454"/>
</p:tagLst>
</file>

<file path=ppt/tags/tag1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3.xml><?xml version="1.0" encoding="utf-8"?>
<p:tagLst xmlns:a="http://schemas.openxmlformats.org/drawingml/2006/main" xmlns:r="http://schemas.openxmlformats.org/officeDocument/2006/relationships" xmlns:p="http://schemas.openxmlformats.org/presentationml/2006/main">
  <p:tag name="SHAPENAME" val="5. Source"/>
</p:tagLst>
</file>

<file path=ppt/tags/tag1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5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xml><?xml version="1.0" encoding="utf-8"?>
<p:tagLst xmlns:a="http://schemas.openxmlformats.org/drawingml/2006/main" xmlns:r="http://schemas.openxmlformats.org/officeDocument/2006/relationships" xmlns:p="http://schemas.openxmlformats.org/presentationml/2006/main">
  <p:tag name="AS_UNIQUEID" val="12500"/>
</p:tagLst>
</file>

<file path=ppt/tags/tag16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1.xml><?xml version="1.0" encoding="utf-8"?>
<p:tagLst xmlns:a="http://schemas.openxmlformats.org/drawingml/2006/main" xmlns:r="http://schemas.openxmlformats.org/officeDocument/2006/relationships" xmlns:p="http://schemas.openxmlformats.org/presentationml/2006/main">
  <p:tag name="SHAPENAME" val="5. Source"/>
</p:tagLst>
</file>

<file path=ppt/tags/tag1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7.xml><?xml version="1.0" encoding="utf-8"?>
<p:tagLst xmlns:a="http://schemas.openxmlformats.org/drawingml/2006/main" xmlns:r="http://schemas.openxmlformats.org/officeDocument/2006/relationships" xmlns:p="http://schemas.openxmlformats.org/presentationml/2006/main">
  <p:tag name="SHAPENAME" val="5. Source"/>
</p:tagLst>
</file>

<file path=ppt/tags/tag1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xml><?xml version="1.0" encoding="utf-8"?>
<p:tagLst xmlns:a="http://schemas.openxmlformats.org/drawingml/2006/main" xmlns:r="http://schemas.openxmlformats.org/officeDocument/2006/relationships" xmlns:p="http://schemas.openxmlformats.org/presentationml/2006/main">
  <p:tag name="AS_UNIQUEID" val="12501"/>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SHAPENAME" val="5. Source"/>
</p:tagLst>
</file>

<file path=ppt/tags/tag1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SHAPENAME" val="5. Sourc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8sbINHGdvcXqvGC1Oputb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S_UNIQUEID" val="12502"/>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aYLV5VhLR_mr1rCMmFpNM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UFUBr331RCu3yvYrqhs0yA"/>
</p:tagLst>
</file>

<file path=ppt/tags/tag1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6.xml><?xml version="1.0" encoding="utf-8"?>
<p:tagLst xmlns:a="http://schemas.openxmlformats.org/drawingml/2006/main" xmlns:r="http://schemas.openxmlformats.org/officeDocument/2006/relationships" xmlns:p="http://schemas.openxmlformats.org/presentationml/2006/main">
  <p:tag name="AS_UNIQUEID" val="30705"/>
</p:tagLst>
</file>

<file path=ppt/tags/tag187.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88.xml><?xml version="1.0" encoding="utf-8"?>
<p:tagLst xmlns:a="http://schemas.openxmlformats.org/drawingml/2006/main" xmlns:r="http://schemas.openxmlformats.org/officeDocument/2006/relationships" xmlns:p="http://schemas.openxmlformats.org/presentationml/2006/main">
  <p:tag name="AS_UNIQUEID" val="4168"/>
</p:tagLst>
</file>

<file path=ppt/tags/tag189.xml><?xml version="1.0" encoding="utf-8"?>
<p:tagLst xmlns:a="http://schemas.openxmlformats.org/drawingml/2006/main" xmlns:r="http://schemas.openxmlformats.org/officeDocument/2006/relationships" xmlns:p="http://schemas.openxmlformats.org/presentationml/2006/main">
  <p:tag name="AS_UNIQUEID" val="4169"/>
</p:tagLst>
</file>

<file path=ppt/tags/tag19.xml><?xml version="1.0" encoding="utf-8"?>
<p:tagLst xmlns:a="http://schemas.openxmlformats.org/drawingml/2006/main" xmlns:r="http://schemas.openxmlformats.org/officeDocument/2006/relationships" xmlns:p="http://schemas.openxmlformats.org/presentationml/2006/main">
  <p:tag name="AS_UNIQUEID" val="12503"/>
</p:tagLst>
</file>

<file path=ppt/tags/tag190.xml><?xml version="1.0" encoding="utf-8"?>
<p:tagLst xmlns:a="http://schemas.openxmlformats.org/drawingml/2006/main" xmlns:r="http://schemas.openxmlformats.org/officeDocument/2006/relationships" xmlns:p="http://schemas.openxmlformats.org/presentationml/2006/main">
  <p:tag name="AS_UNIQUEID" val="4170"/>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1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4.xml><?xml version="1.0" encoding="utf-8"?>
<p:tagLst xmlns:a="http://schemas.openxmlformats.org/drawingml/2006/main" xmlns:r="http://schemas.openxmlformats.org/officeDocument/2006/relationships" xmlns:p="http://schemas.openxmlformats.org/presentationml/2006/main">
  <p:tag name="SHAPENAME" val="4. Footnote"/>
</p:tagLst>
</file>

<file path=ppt/tags/tag195.xml><?xml version="1.0" encoding="utf-8"?>
<p:tagLst xmlns:a="http://schemas.openxmlformats.org/drawingml/2006/main" xmlns:r="http://schemas.openxmlformats.org/officeDocument/2006/relationships" xmlns:p="http://schemas.openxmlformats.org/presentationml/2006/main">
  <p:tag name="NAME" val="ACET"/>
</p:tagLst>
</file>

<file path=ppt/tags/tag196.xml><?xml version="1.0" encoding="utf-8"?>
<p:tagLst xmlns:a="http://schemas.openxmlformats.org/drawingml/2006/main" xmlns:r="http://schemas.openxmlformats.org/officeDocument/2006/relationships" xmlns:p="http://schemas.openxmlformats.org/presentationml/2006/main">
  <p:tag name="NAME" val="Moon"/>
</p:tagLst>
</file>

<file path=ppt/tags/tag197.xml><?xml version="1.0" encoding="utf-8"?>
<p:tagLst xmlns:a="http://schemas.openxmlformats.org/drawingml/2006/main" xmlns:r="http://schemas.openxmlformats.org/officeDocument/2006/relationships" xmlns:p="http://schemas.openxmlformats.org/presentationml/2006/main">
  <p:tag name="NAME" val="Moon"/>
</p:tagLst>
</file>

<file path=ppt/tags/tag198.xml><?xml version="1.0" encoding="utf-8"?>
<p:tagLst xmlns:a="http://schemas.openxmlformats.org/drawingml/2006/main" xmlns:r="http://schemas.openxmlformats.org/officeDocument/2006/relationships" xmlns:p="http://schemas.openxmlformats.org/presentationml/2006/main">
  <p:tag name="NAME" val="Moon"/>
</p:tagLst>
</file>

<file path=ppt/tags/tag199.xml><?xml version="1.0" encoding="utf-8"?>
<p:tagLst xmlns:a="http://schemas.openxmlformats.org/drawingml/2006/main" xmlns:r="http://schemas.openxmlformats.org/officeDocument/2006/relationships" xmlns:p="http://schemas.openxmlformats.org/presentationml/2006/main">
  <p:tag name="NAME" val="Moon"/>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S_UNIQUEID" val="12504"/>
</p:tagLst>
</file>

<file path=ppt/tags/tag200.xml><?xml version="1.0" encoding="utf-8"?>
<p:tagLst xmlns:a="http://schemas.openxmlformats.org/drawingml/2006/main" xmlns:r="http://schemas.openxmlformats.org/officeDocument/2006/relationships" xmlns:p="http://schemas.openxmlformats.org/presentationml/2006/main">
  <p:tag name="NAME" val="Moon"/>
</p:tagLst>
</file>

<file path=ppt/tags/tag201.xml><?xml version="1.0" encoding="utf-8"?>
<p:tagLst xmlns:a="http://schemas.openxmlformats.org/drawingml/2006/main" xmlns:r="http://schemas.openxmlformats.org/officeDocument/2006/relationships" xmlns:p="http://schemas.openxmlformats.org/presentationml/2006/main">
  <p:tag name="ANGLE" val="5"/>
</p:tagLst>
</file>

<file path=ppt/tags/tag202.xml><?xml version="1.0" encoding="utf-8"?>
<p:tagLst xmlns:a="http://schemas.openxmlformats.org/drawingml/2006/main" xmlns:r="http://schemas.openxmlformats.org/officeDocument/2006/relationships" xmlns:p="http://schemas.openxmlformats.org/presentationml/2006/main">
  <p:tag name="ANGLE" val="5"/>
</p:tagLst>
</file>

<file path=ppt/tags/tag203.xml><?xml version="1.0" encoding="utf-8"?>
<p:tagLst xmlns:a="http://schemas.openxmlformats.org/drawingml/2006/main" xmlns:r="http://schemas.openxmlformats.org/officeDocument/2006/relationships" xmlns:p="http://schemas.openxmlformats.org/presentationml/2006/main">
  <p:tag name="ANGLE" val="4"/>
</p:tagLst>
</file>

<file path=ppt/tags/tag204.xml><?xml version="1.0" encoding="utf-8"?>
<p:tagLst xmlns:a="http://schemas.openxmlformats.org/drawingml/2006/main" xmlns:r="http://schemas.openxmlformats.org/officeDocument/2006/relationships" xmlns:p="http://schemas.openxmlformats.org/presentationml/2006/main">
  <p:tag name="ANGLE" val="4"/>
</p:tagLst>
</file>

<file path=ppt/tags/tag205.xml><?xml version="1.0" encoding="utf-8"?>
<p:tagLst xmlns:a="http://schemas.openxmlformats.org/drawingml/2006/main" xmlns:r="http://schemas.openxmlformats.org/officeDocument/2006/relationships" xmlns:p="http://schemas.openxmlformats.org/presentationml/2006/main">
  <p:tag name="ANGLE" val="3"/>
</p:tagLst>
</file>

<file path=ppt/tags/tag206.xml><?xml version="1.0" encoding="utf-8"?>
<p:tagLst xmlns:a="http://schemas.openxmlformats.org/drawingml/2006/main" xmlns:r="http://schemas.openxmlformats.org/officeDocument/2006/relationships" xmlns:p="http://schemas.openxmlformats.org/presentationml/2006/main">
  <p:tag name="ANGLE" val="3"/>
</p:tagLst>
</file>

<file path=ppt/tags/tag207.xml><?xml version="1.0" encoding="utf-8"?>
<p:tagLst xmlns:a="http://schemas.openxmlformats.org/drawingml/2006/main" xmlns:r="http://schemas.openxmlformats.org/officeDocument/2006/relationships" xmlns:p="http://schemas.openxmlformats.org/presentationml/2006/main">
  <p:tag name="ANGLE" val="2"/>
</p:tagLst>
</file>

<file path=ppt/tags/tag208.xml><?xml version="1.0" encoding="utf-8"?>
<p:tagLst xmlns:a="http://schemas.openxmlformats.org/drawingml/2006/main" xmlns:r="http://schemas.openxmlformats.org/officeDocument/2006/relationships" xmlns:p="http://schemas.openxmlformats.org/presentationml/2006/main">
  <p:tag name="ANGLE" val="2"/>
</p:tagLst>
</file>

<file path=ppt/tags/tag209.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AS_UNIQUEID" val="12505"/>
</p:tagLst>
</file>

<file path=ppt/tags/tag210.xml><?xml version="1.0" encoding="utf-8"?>
<p:tagLst xmlns:a="http://schemas.openxmlformats.org/drawingml/2006/main" xmlns:r="http://schemas.openxmlformats.org/officeDocument/2006/relationships" xmlns:p="http://schemas.openxmlformats.org/presentationml/2006/main">
  <p:tag name="ANGLE" val="1"/>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13.xml><?xml version="1.0" encoding="utf-8"?>
<p:tagLst xmlns:a="http://schemas.openxmlformats.org/drawingml/2006/main" xmlns:r="http://schemas.openxmlformats.org/officeDocument/2006/relationships" xmlns:p="http://schemas.openxmlformats.org/presentationml/2006/main">
  <p:tag name="SHAPENAME" val="Subtitle"/>
</p:tagLst>
</file>

<file path=ppt/tags/tag214.xml><?xml version="1.0" encoding="utf-8"?>
<p:tagLst xmlns:a="http://schemas.openxmlformats.org/drawingml/2006/main" xmlns:r="http://schemas.openxmlformats.org/officeDocument/2006/relationships" xmlns:p="http://schemas.openxmlformats.org/presentationml/2006/main">
  <p:tag name="SHAPENAME" val="Titl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2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9.xml><?xml version="1.0" encoding="utf-8"?>
<p:tagLst xmlns:a="http://schemas.openxmlformats.org/drawingml/2006/main" xmlns:r="http://schemas.openxmlformats.org/officeDocument/2006/relationships" xmlns:p="http://schemas.openxmlformats.org/presentationml/2006/main">
  <p:tag name="SHAPENAME" val="5. Source"/>
</p:tagLst>
</file>

<file path=ppt/tags/tag22.xml><?xml version="1.0" encoding="utf-8"?>
<p:tagLst xmlns:a="http://schemas.openxmlformats.org/drawingml/2006/main" xmlns:r="http://schemas.openxmlformats.org/officeDocument/2006/relationships" xmlns:p="http://schemas.openxmlformats.org/presentationml/2006/main">
  <p:tag name="AS_UNIQUEID" val="12506"/>
</p:tagLst>
</file>

<file path=ppt/tags/tag2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2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6.xml><?xml version="1.0" encoding="utf-8"?>
<p:tagLst xmlns:a="http://schemas.openxmlformats.org/drawingml/2006/main" xmlns:r="http://schemas.openxmlformats.org/officeDocument/2006/relationships" xmlns:p="http://schemas.openxmlformats.org/presentationml/2006/main">
  <p:tag name="SHAPENAME" val="5. Source"/>
</p:tagLst>
</file>

<file path=ppt/tags/tag2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S_UNIQUEID" val="12507"/>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2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2.xml><?xml version="1.0" encoding="utf-8"?>
<p:tagLst xmlns:a="http://schemas.openxmlformats.org/drawingml/2006/main" xmlns:r="http://schemas.openxmlformats.org/officeDocument/2006/relationships" xmlns:p="http://schemas.openxmlformats.org/presentationml/2006/main">
  <p:tag name="SHAPENAME" val="5. Source"/>
</p:tagLst>
</file>

<file path=ppt/tags/tag2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2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8.xml><?xml version="1.0" encoding="utf-8"?>
<p:tagLst xmlns:a="http://schemas.openxmlformats.org/drawingml/2006/main" xmlns:r="http://schemas.openxmlformats.org/officeDocument/2006/relationships" xmlns:p="http://schemas.openxmlformats.org/presentationml/2006/main">
  <p:tag name="SHAPENAME" val="5. Source"/>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AS_UNIQUEID" val="12508"/>
</p:tagLst>
</file>

<file path=ppt/tags/tag2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2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6.xml><?xml version="1.0" encoding="utf-8"?>
<p:tagLst xmlns:a="http://schemas.openxmlformats.org/drawingml/2006/main" xmlns:r="http://schemas.openxmlformats.org/officeDocument/2006/relationships" xmlns:p="http://schemas.openxmlformats.org/presentationml/2006/main">
  <p:tag name="SHAPENAME" val="5. Sourc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2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xml><?xml version="1.0" encoding="utf-8"?>
<p:tagLst xmlns:a="http://schemas.openxmlformats.org/drawingml/2006/main" xmlns:r="http://schemas.openxmlformats.org/officeDocument/2006/relationships" xmlns:p="http://schemas.openxmlformats.org/presentationml/2006/main">
  <p:tag name="AS_UNIQUEID" val="12509"/>
</p:tagLst>
</file>

<file path=ppt/tags/tag2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1.xml><?xml version="1.0" encoding="utf-8"?>
<p:tagLst xmlns:a="http://schemas.openxmlformats.org/drawingml/2006/main" xmlns:r="http://schemas.openxmlformats.org/officeDocument/2006/relationships" xmlns:p="http://schemas.openxmlformats.org/presentationml/2006/main">
  <p:tag name="SHAPENAME" val="5. Source"/>
</p:tagLst>
</file>

<file path=ppt/tags/tag2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25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9.xml><?xml version="1.0" encoding="utf-8"?>
<p:tagLst xmlns:a="http://schemas.openxmlformats.org/drawingml/2006/main" xmlns:r="http://schemas.openxmlformats.org/officeDocument/2006/relationships" xmlns:p="http://schemas.openxmlformats.org/presentationml/2006/main">
  <p:tag name="SHAPENAME" val="5. Source"/>
</p:tagLst>
</file>

<file path=ppt/tags/tag26.xml><?xml version="1.0" encoding="utf-8"?>
<p:tagLst xmlns:a="http://schemas.openxmlformats.org/drawingml/2006/main" xmlns:r="http://schemas.openxmlformats.org/officeDocument/2006/relationships" xmlns:p="http://schemas.openxmlformats.org/presentationml/2006/main">
  <p:tag name="AS_UNIQUEID" val="12510"/>
</p:tagLst>
</file>

<file path=ppt/tags/tag2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26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7.xml><?xml version="1.0" encoding="utf-8"?>
<p:tagLst xmlns:a="http://schemas.openxmlformats.org/drawingml/2006/main" xmlns:r="http://schemas.openxmlformats.org/officeDocument/2006/relationships" xmlns:p="http://schemas.openxmlformats.org/presentationml/2006/main">
  <p:tag name="SHAPENAME" val="5. Source"/>
</p:tagLst>
</file>

<file path=ppt/tags/tag2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xml><?xml version="1.0" encoding="utf-8"?>
<p:tagLst xmlns:a="http://schemas.openxmlformats.org/drawingml/2006/main" xmlns:r="http://schemas.openxmlformats.org/officeDocument/2006/relationships" xmlns:p="http://schemas.openxmlformats.org/presentationml/2006/main">
  <p:tag name="AS_UNIQUEID" val="12511"/>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27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5.xml><?xml version="1.0" encoding="utf-8"?>
<p:tagLst xmlns:a="http://schemas.openxmlformats.org/drawingml/2006/main" xmlns:r="http://schemas.openxmlformats.org/officeDocument/2006/relationships" xmlns:p="http://schemas.openxmlformats.org/presentationml/2006/main">
  <p:tag name="SHAPENAME" val="5. Source"/>
</p:tagLst>
</file>

<file path=ppt/tags/tag2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28.xml><?xml version="1.0" encoding="utf-8"?>
<p:tagLst xmlns:a="http://schemas.openxmlformats.org/drawingml/2006/main" xmlns:r="http://schemas.openxmlformats.org/officeDocument/2006/relationships" xmlns:p="http://schemas.openxmlformats.org/presentationml/2006/main">
  <p:tag name="AS_UNIQUEID" val="12512"/>
</p:tagLst>
</file>

<file path=ppt/tags/tag2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3.xml><?xml version="1.0" encoding="utf-8"?>
<p:tagLst xmlns:a="http://schemas.openxmlformats.org/drawingml/2006/main" xmlns:r="http://schemas.openxmlformats.org/officeDocument/2006/relationships" xmlns:p="http://schemas.openxmlformats.org/presentationml/2006/main">
  <p:tag name="SHAPENAME" val="5. Source"/>
</p:tagLst>
</file>

<file path=ppt/tags/tag2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28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AS_UNIQUEID" val="12513"/>
</p:tagLst>
</file>

<file path=ppt/tags/tag2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1.xml><?xml version="1.0" encoding="utf-8"?>
<p:tagLst xmlns:a="http://schemas.openxmlformats.org/drawingml/2006/main" xmlns:r="http://schemas.openxmlformats.org/officeDocument/2006/relationships" xmlns:p="http://schemas.openxmlformats.org/presentationml/2006/main">
  <p:tag name="SHAPENAME" val="5. Source"/>
</p:tagLst>
</file>

<file path=ppt/tags/tag2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29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9.xml><?xml version="1.0" encoding="utf-8"?>
<p:tagLst xmlns:a="http://schemas.openxmlformats.org/drawingml/2006/main" xmlns:r="http://schemas.openxmlformats.org/officeDocument/2006/relationships" xmlns:p="http://schemas.openxmlformats.org/presentationml/2006/main">
  <p:tag name="SHAPENAME" val="5. Sourc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qYRNloxN5_oZScfFHkhKA"/>
</p:tagLst>
</file>

<file path=ppt/tags/tag30.xml><?xml version="1.0" encoding="utf-8"?>
<p:tagLst xmlns:a="http://schemas.openxmlformats.org/drawingml/2006/main" xmlns:r="http://schemas.openxmlformats.org/officeDocument/2006/relationships" xmlns:p="http://schemas.openxmlformats.org/presentationml/2006/main">
  <p:tag name="AS_UNIQUEID" val="12456"/>
</p:tagLst>
</file>

<file path=ppt/tags/tag3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30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05.xml><?xml version="1.0" encoding="utf-8"?>
<p:tagLst xmlns:a="http://schemas.openxmlformats.org/drawingml/2006/main" xmlns:r="http://schemas.openxmlformats.org/officeDocument/2006/relationships" xmlns:p="http://schemas.openxmlformats.org/presentationml/2006/main">
  <p:tag name="SHAPENAME" val="5. Source"/>
</p:tagLst>
</file>

<file path=ppt/tags/tag3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xml><?xml version="1.0" encoding="utf-8"?>
<p:tagLst xmlns:a="http://schemas.openxmlformats.org/drawingml/2006/main" xmlns:r="http://schemas.openxmlformats.org/officeDocument/2006/relationships" xmlns:p="http://schemas.openxmlformats.org/presentationml/2006/main">
  <p:tag name="AS_UNIQUEID" val="12457"/>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31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13.xml><?xml version="1.0" encoding="utf-8"?>
<p:tagLst xmlns:a="http://schemas.openxmlformats.org/drawingml/2006/main" xmlns:r="http://schemas.openxmlformats.org/officeDocument/2006/relationships" xmlns:p="http://schemas.openxmlformats.org/presentationml/2006/main">
  <p:tag name="SHAPENAME" val="5. Source"/>
</p:tagLst>
</file>

<file path=ppt/tags/tag3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32.xml><?xml version="1.0" encoding="utf-8"?>
<p:tagLst xmlns:a="http://schemas.openxmlformats.org/drawingml/2006/main" xmlns:r="http://schemas.openxmlformats.org/officeDocument/2006/relationships" xmlns:p="http://schemas.openxmlformats.org/presentationml/2006/main">
  <p:tag name="AS_UNIQUEID" val="12458"/>
</p:tagLst>
</file>

<file path=ppt/tags/tag3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1.xml><?xml version="1.0" encoding="utf-8"?>
<p:tagLst xmlns:a="http://schemas.openxmlformats.org/drawingml/2006/main" xmlns:r="http://schemas.openxmlformats.org/officeDocument/2006/relationships" xmlns:p="http://schemas.openxmlformats.org/presentationml/2006/main">
  <p:tag name="SHAPENAME" val="5. Source"/>
</p:tagLst>
</file>

<file path=ppt/tags/tag3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SHAPENAME" val="5. Source"/>
</p:tagLst>
</file>

<file path=ppt/tags/tag3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SHAPENAME" val="5. Source"/>
</p:tagLst>
</file>

<file path=ppt/tags/tag33.xml><?xml version="1.0" encoding="utf-8"?>
<p:tagLst xmlns:a="http://schemas.openxmlformats.org/drawingml/2006/main" xmlns:r="http://schemas.openxmlformats.org/officeDocument/2006/relationships" xmlns:p="http://schemas.openxmlformats.org/presentationml/2006/main">
  <p:tag name="AS_UNIQUEID" val="12459"/>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AS_UNIQUEID" val="11508"/>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AS_UNIQUEID" val="11509"/>
  <p:tag name="THINKCELLSHAPEDONOTDELETE" val="tRqHR8RD7bSlLts27oGcgDA"/>
</p:tagLst>
</file>

<file path=ppt/tags/tag333.xml><?xml version="1.0" encoding="utf-8"?>
<p:tagLst xmlns:a="http://schemas.openxmlformats.org/drawingml/2006/main" xmlns:r="http://schemas.openxmlformats.org/officeDocument/2006/relationships" xmlns:p="http://schemas.openxmlformats.org/presentationml/2006/main">
  <p:tag name="AS_UNIQUEID" val="11510"/>
</p:tagLst>
</file>

<file path=ppt/tags/tag334.xml><?xml version="1.0" encoding="utf-8"?>
<p:tagLst xmlns:a="http://schemas.openxmlformats.org/drawingml/2006/main" xmlns:r="http://schemas.openxmlformats.org/officeDocument/2006/relationships" xmlns:p="http://schemas.openxmlformats.org/presentationml/2006/main">
  <p:tag name="AS_UNIQUEID" val="12573"/>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IKaP7VxIEtD_Z8EOmJaVo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IKaP7VxIEtD_Z8EOmJaVoQ"/>
</p:tagLst>
</file>

<file path=ppt/tags/tag34.xml><?xml version="1.0" encoding="utf-8"?>
<p:tagLst xmlns:a="http://schemas.openxmlformats.org/drawingml/2006/main" xmlns:r="http://schemas.openxmlformats.org/officeDocument/2006/relationships" xmlns:p="http://schemas.openxmlformats.org/presentationml/2006/main">
  <p:tag name="AS_UNIQUEID" val="12460"/>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NRzKap34GOiLnSrloFYBp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NRzKap34GOiLnSrloFYBp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t_IWJAhHybfwOMpuVbu6Dw"/>
</p:tagLst>
</file>

<file path=ppt/tags/tag35.xml><?xml version="1.0" encoding="utf-8"?>
<p:tagLst xmlns:a="http://schemas.openxmlformats.org/drawingml/2006/main" xmlns:r="http://schemas.openxmlformats.org/officeDocument/2006/relationships" xmlns:p="http://schemas.openxmlformats.org/presentationml/2006/main">
  <p:tag name="AS_UNIQUEID" val="12461"/>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WjrSq00htkErfzna0tUDM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2hqqvMYz4GO0H.Zs4VWOm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zkiRIis9EuuNON7YOlkVm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VVkda6yDP6kx5Z.y284CV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gl0EqShmeTRUkGwGTKpEk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08lQHlrcNrki.iO2zgIj4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rLlQm5UDMcI2MO5Iaylyv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w08xe5aikrPVhgFaC89.Y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5MljI_NdSqOlZMDyUqi5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wT14r11ftDIIXcX7kC08aw"/>
</p:tagLst>
</file>

<file path=ppt/tags/tag36.xml><?xml version="1.0" encoding="utf-8"?>
<p:tagLst xmlns:a="http://schemas.openxmlformats.org/drawingml/2006/main" xmlns:r="http://schemas.openxmlformats.org/officeDocument/2006/relationships" xmlns:p="http://schemas.openxmlformats.org/presentationml/2006/main">
  <p:tag name="AS_UNIQUEID" val="12462"/>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WRaJv769qvFebLEMRCl1B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L5BM0mnAd1xUqKGZTNKev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GsOIhz9nG.iHxWy32bZu2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FXOW0iraIXdXBJpzmHfyx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so5O9HAFAi6YdpM70sBNJ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KM69Ku4CsdCbU34PWhgGT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Im4unyxanwH6.u0dM56tg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Bvmo5GsqbsNgXMXjBSQYY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qshGlKsCqW0hcda9Y8Gr4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Fy.6rnhwgznkWrGOObHMxw"/>
</p:tagLst>
</file>

<file path=ppt/tags/tag37.xml><?xml version="1.0" encoding="utf-8"?>
<p:tagLst xmlns:a="http://schemas.openxmlformats.org/drawingml/2006/main" xmlns:r="http://schemas.openxmlformats.org/officeDocument/2006/relationships" xmlns:p="http://schemas.openxmlformats.org/presentationml/2006/main">
  <p:tag name="AS_UNIQUEID" val="12463"/>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KfDYDHRBIcbrBD3mjG3rF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EhRXmBjMxmjz0zzW1grJb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SYkGoxVctYjC1XbnE..ki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tB.xjH2VZnoB4tp2ADMyQ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6soMIDpN2IedwpfeQDBN2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teEw7rkQxlXlHlNe3o5y6Q"/>
</p:tagLst>
</file>

<file path=ppt/tags/tag376.xml><?xml version="1.0" encoding="utf-8"?>
<p:tagLst xmlns:a="http://schemas.openxmlformats.org/drawingml/2006/main" xmlns:r="http://schemas.openxmlformats.org/officeDocument/2006/relationships" xmlns:p="http://schemas.openxmlformats.org/presentationml/2006/main">
  <p:tag name="NAME" val="TrackerNumWhite"/>
  <p:tag name="THINKCELLSHAPEDONOTDELETE" val="py9ffmh65O2Jib9LO5PwA7A"/>
</p:tagLst>
</file>

<file path=ppt/tags/tag377.xml><?xml version="1.0" encoding="utf-8"?>
<p:tagLst xmlns:a="http://schemas.openxmlformats.org/drawingml/2006/main" xmlns:r="http://schemas.openxmlformats.org/officeDocument/2006/relationships" xmlns:p="http://schemas.openxmlformats.org/presentationml/2006/main">
  <p:tag name="NAME" val="TrackerNumWhite"/>
  <p:tag name="THINKCELLSHAPEDONOTDELETE" val="py9ffmh65O2Jib9LO5PwA7A"/>
</p:tagLst>
</file>

<file path=ppt/tags/tag378.xml><?xml version="1.0" encoding="utf-8"?>
<p:tagLst xmlns:a="http://schemas.openxmlformats.org/drawingml/2006/main" xmlns:r="http://schemas.openxmlformats.org/officeDocument/2006/relationships" xmlns:p="http://schemas.openxmlformats.org/presentationml/2006/main">
  <p:tag name="NAME" val="TrackerNumWhite"/>
  <p:tag name="THINKCELLSHAPEDONOTDELETE" val="py9ffmh65O2Jib9LO5PwA7A"/>
</p:tagLst>
</file>

<file path=ppt/tags/tag379.xml><?xml version="1.0" encoding="utf-8"?>
<p:tagLst xmlns:a="http://schemas.openxmlformats.org/drawingml/2006/main" xmlns:r="http://schemas.openxmlformats.org/officeDocument/2006/relationships" xmlns:p="http://schemas.openxmlformats.org/presentationml/2006/main">
  <p:tag name="NAME" val="TrackerNumWhite"/>
  <p:tag name="THINKCELLSHAPEDONOTDELETE" val="py9ffmh65O2Jib9LO5PwA7A"/>
</p:tagLst>
</file>

<file path=ppt/tags/tag38.xml><?xml version="1.0" encoding="utf-8"?>
<p:tagLst xmlns:a="http://schemas.openxmlformats.org/drawingml/2006/main" xmlns:r="http://schemas.openxmlformats.org/officeDocument/2006/relationships" xmlns:p="http://schemas.openxmlformats.org/presentationml/2006/main">
  <p:tag name="AS_UNIQUEID" val="12515"/>
</p:tagLst>
</file>

<file path=ppt/tags/tag380.xml><?xml version="1.0" encoding="utf-8"?>
<p:tagLst xmlns:a="http://schemas.openxmlformats.org/drawingml/2006/main" xmlns:r="http://schemas.openxmlformats.org/officeDocument/2006/relationships" xmlns:p="http://schemas.openxmlformats.org/presentationml/2006/main">
  <p:tag name="NAME" val="TrackerNumWhite"/>
  <p:tag name="THINKCELLSHAPEDONOTDELETE" val="py9ffmh65O2Jib9LO5PwA7A"/>
</p:tagLst>
</file>

<file path=ppt/tags/tag381.xml><?xml version="1.0" encoding="utf-8"?>
<p:tagLst xmlns:a="http://schemas.openxmlformats.org/drawingml/2006/main" xmlns:r="http://schemas.openxmlformats.org/officeDocument/2006/relationships" xmlns:p="http://schemas.openxmlformats.org/presentationml/2006/main">
  <p:tag name="NAME" val="TrackerNumWhite"/>
  <p:tag name="THINKCELLSHAPEDONOTDELETE" val="py9ffmh65O2Jib9LO5PwA7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85NQtIE9XEPA1bwi4Nvq2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85NQtIE9XEPA1bwi4Nvq2w"/>
</p:tagLst>
</file>

<file path=ppt/tags/tag384.xml><?xml version="1.0" encoding="utf-8"?>
<p:tagLst xmlns:a="http://schemas.openxmlformats.org/drawingml/2006/main" xmlns:r="http://schemas.openxmlformats.org/officeDocument/2006/relationships" xmlns:p="http://schemas.openxmlformats.org/presentationml/2006/main">
  <p:tag name="SHAPENAME" val="5. Sourc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t_IWJAhHybfwOMpuVbu6D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WjrSq00htkErfzna0tUDM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2hqqvMYz4GO0H.Zs4VWOmA"/>
</p:tagLst>
</file>

<file path=ppt/tags/tag39.xml><?xml version="1.0" encoding="utf-8"?>
<p:tagLst xmlns:a="http://schemas.openxmlformats.org/drawingml/2006/main" xmlns:r="http://schemas.openxmlformats.org/officeDocument/2006/relationships" xmlns:p="http://schemas.openxmlformats.org/presentationml/2006/main">
  <p:tag name="AS_UNIQUEID" val="12516"/>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zkiRIis9EuuNON7YOlkVm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VVkda6yDP6kx5Z.y284CV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gl0EqShmeTRUkGwGTKpEk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08lQHlrcNrki.iO2zgIj4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rLlQm5UDMcI2MO5Iaylyv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w08xe5aikrPVhgFaC89.Y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5MljI_NdSqOlZMDyUqi5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wT14r11ftDIIXcX7kC08a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_fN2OqS3QZKOPICQhSRWx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WRaJv769qvFebLEMRCl1Bg"/>
</p:tagLst>
</file>

<file path=ppt/tags/tag4.xml><?xml version="1.0" encoding="utf-8"?>
<p:tagLst xmlns:a="http://schemas.openxmlformats.org/drawingml/2006/main" xmlns:r="http://schemas.openxmlformats.org/officeDocument/2006/relationships" xmlns:p="http://schemas.openxmlformats.org/presentationml/2006/main">
  <p:tag name="AS_UNIQUEID" val="12567"/>
</p:tagLst>
</file>

<file path=ppt/tags/tag40.xml><?xml version="1.0" encoding="utf-8"?>
<p:tagLst xmlns:a="http://schemas.openxmlformats.org/drawingml/2006/main" xmlns:r="http://schemas.openxmlformats.org/officeDocument/2006/relationships" xmlns:p="http://schemas.openxmlformats.org/presentationml/2006/main">
  <p:tag name="AS_UNIQUEID" val="12517"/>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L5BM0mnAd1xUqKGZTNKev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GsOIhz9nG.iHxWy32bZu2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FXOW0iraIXdXBJpzmHfyx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so5O9HAFAi6YdpM70sBNJ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KM69Ku4CsdCbU34PWhgGT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Im4unyxanwH6.u0dM56tg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Bvmo5GsqbsNgXMXjBSQYY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2Gel31gOvWrrkMI4vQlzp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nI90vUczk1BKFz7K.pQrd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Y8Kah_5xs0ZVcJLQSIsrxQ"/>
</p:tagLst>
</file>

<file path=ppt/tags/tag41.xml><?xml version="1.0" encoding="utf-8"?>
<p:tagLst xmlns:a="http://schemas.openxmlformats.org/drawingml/2006/main" xmlns:r="http://schemas.openxmlformats.org/officeDocument/2006/relationships" xmlns:p="http://schemas.openxmlformats.org/presentationml/2006/main">
  <p:tag name="AS_UNIQUEID" val="12518"/>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YLHAceiPauEmmFXRf_Ptx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jPujD42_eIE1MLsSE7zTf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XPQeHOLgd40ZY.xdfmc7J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_ty9PzP4lijdOEBaTYEAw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YZ1IwXCo.vwv3fUIuVXfw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VYfN5vdqQCN9YF5XGAhSo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99INUvfL3h9aqrcYDFmbe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VnG4XVnDDXpYjVJzeZqds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Wdt3kFzHz.ftkzOALJCto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tUXL7p.Abh5paZEjt..6zQ"/>
</p:tagLst>
</file>

<file path=ppt/tags/tag42.xml><?xml version="1.0" encoding="utf-8"?>
<p:tagLst xmlns:a="http://schemas.openxmlformats.org/drawingml/2006/main" xmlns:r="http://schemas.openxmlformats.org/officeDocument/2006/relationships" xmlns:p="http://schemas.openxmlformats.org/presentationml/2006/main">
  <p:tag name="AS_UNIQUEID" val="12519"/>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oPTo5lWZwp8x6fD60.MTn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2isS1hJQyQrtgg.pH_pl4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2hPqtnMCuZmLVJkYS7rcR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46QVD7PynLimCDBX3S8J.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vK6lfeN6AJ1jjzOFJyWJmg"/>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pFr1A6PunE0f8AIqgq9Et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qEe1cLVCUCqrYslFdjUFL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n8.NcmsCtdIq52e3s4_o4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OJbsHq8pojV4TapVNcW0s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gQ9Gia2pyCSgZs9AsRYlfA"/>
</p:tagLst>
</file>

<file path=ppt/tags/tag43.xml><?xml version="1.0" encoding="utf-8"?>
<p:tagLst xmlns:a="http://schemas.openxmlformats.org/drawingml/2006/main" xmlns:r="http://schemas.openxmlformats.org/officeDocument/2006/relationships" xmlns:p="http://schemas.openxmlformats.org/presentationml/2006/main">
  <p:tag name="AS_UNIQUEID" val="12520"/>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qshGlKsCqW0hcda9Y8Gr4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Fy.6rnhwgznkWrGOObHMx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KfDYDHRBIcbrBD3mjG3rF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EhRXmBjMxmjz0zzW1grJb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SYkGoxVctYjC1XbnE..ki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tB.xjH2VZnoB4tp2ADMyQ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6soMIDpN2IedwpfeQDBN2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teEw7rkQxlXlHlNe3o5y6Q"/>
</p:tagLst>
</file>

<file path=ppt/tags/tag438.xml><?xml version="1.0" encoding="utf-8"?>
<p:tagLst xmlns:a="http://schemas.openxmlformats.org/drawingml/2006/main" xmlns:r="http://schemas.openxmlformats.org/officeDocument/2006/relationships" xmlns:p="http://schemas.openxmlformats.org/presentationml/2006/main">
  <p:tag name="NAME" val="TrackerNumWhite"/>
  <p:tag name="THINKCELLSHAPEDONOTDELETE" val="py9ffmh65O2Jib9LO5PwA7A"/>
</p:tagLst>
</file>

<file path=ppt/tags/tag439.xml><?xml version="1.0" encoding="utf-8"?>
<p:tagLst xmlns:a="http://schemas.openxmlformats.org/drawingml/2006/main" xmlns:r="http://schemas.openxmlformats.org/officeDocument/2006/relationships" xmlns:p="http://schemas.openxmlformats.org/presentationml/2006/main">
  <p:tag name="NAME" val="TrackerNumWhite"/>
  <p:tag name="THINKCELLSHAPEDONOTDELETE" val="py9ffmh65O2Jib9LO5PwA7A"/>
</p:tagLst>
</file>

<file path=ppt/tags/tag44.xml><?xml version="1.0" encoding="utf-8"?>
<p:tagLst xmlns:a="http://schemas.openxmlformats.org/drawingml/2006/main" xmlns:r="http://schemas.openxmlformats.org/officeDocument/2006/relationships" xmlns:p="http://schemas.openxmlformats.org/presentationml/2006/main">
  <p:tag name="AS_UNIQUEID" val="12521"/>
</p:tagLst>
</file>

<file path=ppt/tags/tag440.xml><?xml version="1.0" encoding="utf-8"?>
<p:tagLst xmlns:a="http://schemas.openxmlformats.org/drawingml/2006/main" xmlns:r="http://schemas.openxmlformats.org/officeDocument/2006/relationships" xmlns:p="http://schemas.openxmlformats.org/presentationml/2006/main">
  <p:tag name="NAME" val="TrackerNumWhite"/>
  <p:tag name="THINKCELLSHAPEDONOTDELETE" val="py9ffmh65O2Jib9LO5PwA7A"/>
</p:tagLst>
</file>

<file path=ppt/tags/tag441.xml><?xml version="1.0" encoding="utf-8"?>
<p:tagLst xmlns:a="http://schemas.openxmlformats.org/drawingml/2006/main" xmlns:r="http://schemas.openxmlformats.org/officeDocument/2006/relationships" xmlns:p="http://schemas.openxmlformats.org/presentationml/2006/main">
  <p:tag name="NAME" val="TrackerNumWhite"/>
  <p:tag name="THINKCELLSHAPEDONOTDELETE" val="py9ffmh65O2Jib9LO5PwA7A"/>
</p:tagLst>
</file>

<file path=ppt/tags/tag442.xml><?xml version="1.0" encoding="utf-8"?>
<p:tagLst xmlns:a="http://schemas.openxmlformats.org/drawingml/2006/main" xmlns:r="http://schemas.openxmlformats.org/officeDocument/2006/relationships" xmlns:p="http://schemas.openxmlformats.org/presentationml/2006/main">
  <p:tag name="NAME" val="TrackerNumWhite"/>
  <p:tag name="THINKCELLSHAPEDONOTDELETE" val="py9ffmh65O2Jib9LO5PwA7A"/>
</p:tagLst>
</file>

<file path=ppt/tags/tag443.xml><?xml version="1.0" encoding="utf-8"?>
<p:tagLst xmlns:a="http://schemas.openxmlformats.org/drawingml/2006/main" xmlns:r="http://schemas.openxmlformats.org/officeDocument/2006/relationships" xmlns:p="http://schemas.openxmlformats.org/presentationml/2006/main">
  <p:tag name="NAME" val="TrackerNumWhite"/>
  <p:tag name="THINKCELLSHAPEDONOTDELETE" val="py9ffmh65O2Jib9LO5PwA7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85NQtIE9XEPA1bwi4Nvq2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85NQtIE9XEPA1bwi4Nvq2w"/>
</p:tagLst>
</file>

<file path=ppt/tags/tag446.xml><?xml version="1.0" encoding="utf-8"?>
<p:tagLst xmlns:a="http://schemas.openxmlformats.org/drawingml/2006/main" xmlns:r="http://schemas.openxmlformats.org/officeDocument/2006/relationships" xmlns:p="http://schemas.openxmlformats.org/presentationml/2006/main">
  <p:tag name="SHAPENAME" val="5. Sourc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AS_UNIQUEID" val="13250"/>
</p:tagLst>
</file>

<file path=ppt/tags/tag45.xml><?xml version="1.0" encoding="utf-8"?>
<p:tagLst xmlns:a="http://schemas.openxmlformats.org/drawingml/2006/main" xmlns:r="http://schemas.openxmlformats.org/officeDocument/2006/relationships" xmlns:p="http://schemas.openxmlformats.org/presentationml/2006/main">
  <p:tag name="AS_UNIQUEID" val="12522"/>
</p:tagLst>
</file>

<file path=ppt/tags/tag450.xml><?xml version="1.0" encoding="utf-8"?>
<p:tagLst xmlns:a="http://schemas.openxmlformats.org/drawingml/2006/main" xmlns:r="http://schemas.openxmlformats.org/officeDocument/2006/relationships" xmlns:p="http://schemas.openxmlformats.org/presentationml/2006/main">
  <p:tag name="AS_UNIQUEID" val="13256"/>
</p:tagLst>
</file>

<file path=ppt/tags/tag451.xml><?xml version="1.0" encoding="utf-8"?>
<p:tagLst xmlns:a="http://schemas.openxmlformats.org/drawingml/2006/main" xmlns:r="http://schemas.openxmlformats.org/officeDocument/2006/relationships" xmlns:p="http://schemas.openxmlformats.org/presentationml/2006/main">
  <p:tag name="AS_UNIQUEID" val="13264"/>
</p:tagLst>
</file>

<file path=ppt/tags/tag452.xml><?xml version="1.0" encoding="utf-8"?>
<p:tagLst xmlns:a="http://schemas.openxmlformats.org/drawingml/2006/main" xmlns:r="http://schemas.openxmlformats.org/officeDocument/2006/relationships" xmlns:p="http://schemas.openxmlformats.org/presentationml/2006/main">
  <p:tag name="AS_UNIQUEID" val="13263"/>
</p:tagLst>
</file>

<file path=ppt/tags/tag453.xml><?xml version="1.0" encoding="utf-8"?>
<p:tagLst xmlns:a="http://schemas.openxmlformats.org/drawingml/2006/main" xmlns:r="http://schemas.openxmlformats.org/officeDocument/2006/relationships" xmlns:p="http://schemas.openxmlformats.org/presentationml/2006/main">
  <p:tag name="AS_UNIQUEID" val="13264"/>
</p:tagLst>
</file>

<file path=ppt/tags/tag454.xml><?xml version="1.0" encoding="utf-8"?>
<p:tagLst xmlns:a="http://schemas.openxmlformats.org/drawingml/2006/main" xmlns:r="http://schemas.openxmlformats.org/officeDocument/2006/relationships" xmlns:p="http://schemas.openxmlformats.org/presentationml/2006/main">
  <p:tag name="AS_UNIQUEID" val="13241"/>
</p:tagLst>
</file>

<file path=ppt/tags/tag455.xml><?xml version="1.0" encoding="utf-8"?>
<p:tagLst xmlns:a="http://schemas.openxmlformats.org/drawingml/2006/main" xmlns:r="http://schemas.openxmlformats.org/officeDocument/2006/relationships" xmlns:p="http://schemas.openxmlformats.org/presentationml/2006/main">
  <p:tag name="AS_UNIQUEID" val="13256"/>
</p:tagLst>
</file>

<file path=ppt/tags/tag456.xml><?xml version="1.0" encoding="utf-8"?>
<p:tagLst xmlns:a="http://schemas.openxmlformats.org/drawingml/2006/main" xmlns:r="http://schemas.openxmlformats.org/officeDocument/2006/relationships" xmlns:p="http://schemas.openxmlformats.org/presentationml/2006/main">
  <p:tag name="AS_UNIQUEID" val="13256"/>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KSa4wVfEKpo5t.WNQpF51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JuUiS2K8qjQ_SX2rgar0pQ"/>
</p:tagLst>
</file>

<file path=ppt/tags/tag46.xml><?xml version="1.0" encoding="utf-8"?>
<p:tagLst xmlns:a="http://schemas.openxmlformats.org/drawingml/2006/main" xmlns:r="http://schemas.openxmlformats.org/officeDocument/2006/relationships" xmlns:p="http://schemas.openxmlformats.org/presentationml/2006/main">
  <p:tag name="AS_UNIQUEID" val="12523"/>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YHfo6hqES.UBhY.9ccbHA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RjH7h_VKz9XqGnvurQXaW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KMrLsF7DxxltQjnTTV9ai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TyxZGltyIzgcmdRZgv8sY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oaQiM.stSacr5FwaPnmwmA"/>
</p:tagLst>
</file>

<file path=ppt/tags/tag47.xml><?xml version="1.0" encoding="utf-8"?>
<p:tagLst xmlns:a="http://schemas.openxmlformats.org/drawingml/2006/main" xmlns:r="http://schemas.openxmlformats.org/officeDocument/2006/relationships" xmlns:p="http://schemas.openxmlformats.org/presentationml/2006/main">
  <p:tag name="AS_UNIQUEID" val="12524"/>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1Zz4u4T7qZRryojoytOlF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sbJSFOwqNlJRW_Ke6TlfH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p9SJlHTghlbSH4Qcoglo6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U_as2.JjjE4DZexn_zHys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CHG_T8kfhDXTDXaq_pJ2n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xvuMZlco78nJHwLFyO7.d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17TH6bfahEJ9vR1sRnfiE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6BAWDOWo5DCV8vCT7x303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2Ydj6HsqmTEgWQvGSy0FhQ"/>
</p:tagLst>
</file>

<file path=ppt/tags/tag479.xml><?xml version="1.0" encoding="utf-8"?>
<p:tagLst xmlns:a="http://schemas.openxmlformats.org/drawingml/2006/main" xmlns:r="http://schemas.openxmlformats.org/officeDocument/2006/relationships" xmlns:p="http://schemas.openxmlformats.org/presentationml/2006/main">
  <p:tag name="NAME" val="TrackerNumWhite"/>
  <p:tag name="THINKCELLSHAPEDONOTDELETE" val="py9ffmh65O2Jib9LO5PwA7A"/>
</p:tagLst>
</file>

<file path=ppt/tags/tag48.xml><?xml version="1.0" encoding="utf-8"?>
<p:tagLst xmlns:a="http://schemas.openxmlformats.org/drawingml/2006/main" xmlns:r="http://schemas.openxmlformats.org/officeDocument/2006/relationships" xmlns:p="http://schemas.openxmlformats.org/presentationml/2006/main">
  <p:tag name="AS_UNIQUEID" val="12525"/>
</p:tagLst>
</file>

<file path=ppt/tags/tag480.xml><?xml version="1.0" encoding="utf-8"?>
<p:tagLst xmlns:a="http://schemas.openxmlformats.org/drawingml/2006/main" xmlns:r="http://schemas.openxmlformats.org/officeDocument/2006/relationships" xmlns:p="http://schemas.openxmlformats.org/presentationml/2006/main">
  <p:tag name="NAME" val="TrackerNumWhite"/>
  <p:tag name="THINKCELLSHAPEDONOTDELETE" val="py9ffmh65O2Jib9LO5PwA7A"/>
</p:tagLst>
</file>

<file path=ppt/tags/tag481.xml><?xml version="1.0" encoding="utf-8"?>
<p:tagLst xmlns:a="http://schemas.openxmlformats.org/drawingml/2006/main" xmlns:r="http://schemas.openxmlformats.org/officeDocument/2006/relationships" xmlns:p="http://schemas.openxmlformats.org/presentationml/2006/main">
  <p:tag name="NAME" val="TrackerNumWhite"/>
  <p:tag name="THINKCELLSHAPEDONOTDELETE" val="py9ffmh65O2Jib9LO5PwA7A"/>
</p:tagLst>
</file>

<file path=ppt/tags/tag482.xml><?xml version="1.0" encoding="utf-8"?>
<p:tagLst xmlns:a="http://schemas.openxmlformats.org/drawingml/2006/main" xmlns:r="http://schemas.openxmlformats.org/officeDocument/2006/relationships" xmlns:p="http://schemas.openxmlformats.org/presentationml/2006/main">
  <p:tag name="NAME" val="TrackerNumWhite"/>
  <p:tag name="THINKCELLSHAPEDONOTDELETE" val="py9ffmh65O2Jib9LO5PwA7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qk8TXoB4riUNl.rRQgse.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1JAM_LFM_nb5KWtPs5V.7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zJIxXuAjnt5ewwLWSWZ.S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xhzy9iTzrEqxBR7GHxAos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gHyCdvJYsDAG6e63KyDhp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ciCo3Nisgxl6AOiV_U4YY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9xt110w9_gY4F218eSnRQ"/>
</p:tagLst>
</file>

<file path=ppt/tags/tag49.xml><?xml version="1.0" encoding="utf-8"?>
<p:tagLst xmlns:a="http://schemas.openxmlformats.org/drawingml/2006/main" xmlns:r="http://schemas.openxmlformats.org/officeDocument/2006/relationships" xmlns:p="http://schemas.openxmlformats.org/presentationml/2006/main">
  <p:tag name="AS_UNIQUEID" val="12526"/>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pQLEsenFg72.Tul2ddp_S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wudKJq5yjMaZ.oqUnNO7j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LQOeM7j8PP00Z6bhWGK7w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LMkUzAK38zNMo7Sag1g5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SsPpYzCCyKA5Q3Wo2n_6jg"/>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VDYXF.8eQspCWpl233cQC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003eSzplDgIFUKPeQUsvz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aWKGNp_K7W76a8z1bh0XAg"/>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oK_SuLjBB9aMMMOK9YfB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upi36uPrubHZd5C1HPePRQ"/>
</p:tagLst>
</file>

<file path=ppt/tags/tag5.xml><?xml version="1.0" encoding="utf-8"?>
<p:tagLst xmlns:a="http://schemas.openxmlformats.org/drawingml/2006/main" xmlns:r="http://schemas.openxmlformats.org/officeDocument/2006/relationships" xmlns:p="http://schemas.openxmlformats.org/presentationml/2006/main">
  <p:tag name="AS_UNIQUEID" val="12568"/>
</p:tagLst>
</file>

<file path=ppt/tags/tag50.xml><?xml version="1.0" encoding="utf-8"?>
<p:tagLst xmlns:a="http://schemas.openxmlformats.org/drawingml/2006/main" xmlns:r="http://schemas.openxmlformats.org/officeDocument/2006/relationships" xmlns:p="http://schemas.openxmlformats.org/presentationml/2006/main">
  <p:tag name="AS_UNIQUEID" val="12527"/>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_Y6nHl4GjgxB.qcWAst3s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vPdQ4kea_TVAP8ubX7hxO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OWuBY6_t1SxHiF5TWDo35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DdLQVBtP1d70P8f4FX8.M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j0_xmj9GtLHYiRm6PwjqI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jdWw1M8OAJg8wsjS8qmt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1r8sxIjKLwbCYU2CDtfHw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g6kMsYVOtm38.LXGimiXE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xs7SCLoK.c9kwVUawZorWQ"/>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KM0cHRW_K6coIwM5hdiuwg"/>
</p:tagLst>
</file>

<file path=ppt/tags/tag51.xml><?xml version="1.0" encoding="utf-8"?>
<p:tagLst xmlns:a="http://schemas.openxmlformats.org/drawingml/2006/main" xmlns:r="http://schemas.openxmlformats.org/officeDocument/2006/relationships" xmlns:p="http://schemas.openxmlformats.org/presentationml/2006/main">
  <p:tag name="AS_UNIQUEID" val="12528"/>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OqM0.HHmhFnd3q0doms96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mbf5umSaNvS35K7ApT7x5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jaBvPfD.1NwtgTHOrq_gN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Nbm.SShu0JaQ_N4qlkPrcg"/>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V1knmYOX1i_axaa9fup3O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CnNr5E2z7If6A0ZY05.4A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mAZP.SM90M7nxEXkW1jbAA"/>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69XdYqgE.yepHEMXMUqVh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oouxhgnaWCtume7VlDehD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2buab1pKtj_GsmEYR5CebQ"/>
</p:tagLst>
</file>

<file path=ppt/tags/tag52.xml><?xml version="1.0" encoding="utf-8"?>
<p:tagLst xmlns:a="http://schemas.openxmlformats.org/drawingml/2006/main" xmlns:r="http://schemas.openxmlformats.org/officeDocument/2006/relationships" xmlns:p="http://schemas.openxmlformats.org/presentationml/2006/main">
  <p:tag name="AS_UNIQUEID" val="12529"/>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Ug31bghXPxecgBZyVe2C.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VIiELVw_yIgA1ZLU2oH0H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uvw3sSB9oufd5By1h5TcA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yWJ1xxlNkWiqytcYHBYhqQ"/>
</p:tagLst>
</file>

<file path=ppt/tags/tag524.xml><?xml version="1.0" encoding="utf-8"?>
<p:tagLst xmlns:a="http://schemas.openxmlformats.org/drawingml/2006/main" xmlns:r="http://schemas.openxmlformats.org/officeDocument/2006/relationships" xmlns:p="http://schemas.openxmlformats.org/presentationml/2006/main">
  <p:tag name="AS_UNIQUEID" val="12475"/>
</p:tagLst>
</file>

<file path=ppt/tags/tag525.xml><?xml version="1.0" encoding="utf-8"?>
<p:tagLst xmlns:a="http://schemas.openxmlformats.org/drawingml/2006/main" xmlns:r="http://schemas.openxmlformats.org/officeDocument/2006/relationships" xmlns:p="http://schemas.openxmlformats.org/presentationml/2006/main">
  <p:tag name="AS_UNIQUEID" val="12476"/>
</p:tagLst>
</file>

<file path=ppt/tags/tag526.xml><?xml version="1.0" encoding="utf-8"?>
<p:tagLst xmlns:a="http://schemas.openxmlformats.org/drawingml/2006/main" xmlns:r="http://schemas.openxmlformats.org/officeDocument/2006/relationships" xmlns:p="http://schemas.openxmlformats.org/presentationml/2006/main">
  <p:tag name="AS_UNIQUEID" val="12477"/>
</p:tagLst>
</file>

<file path=ppt/tags/tag527.xml><?xml version="1.0" encoding="utf-8"?>
<p:tagLst xmlns:a="http://schemas.openxmlformats.org/drawingml/2006/main" xmlns:r="http://schemas.openxmlformats.org/officeDocument/2006/relationships" xmlns:p="http://schemas.openxmlformats.org/presentationml/2006/main">
  <p:tag name="AS_UNIQUEID" val="12473"/>
</p:tagLst>
</file>

<file path=ppt/tags/tag528.xml><?xml version="1.0" encoding="utf-8"?>
<p:tagLst xmlns:a="http://schemas.openxmlformats.org/drawingml/2006/main" xmlns:r="http://schemas.openxmlformats.org/officeDocument/2006/relationships" xmlns:p="http://schemas.openxmlformats.org/presentationml/2006/main">
  <p:tag name="AS_UNIQUEID" val="8914"/>
</p:tagLst>
</file>

<file path=ppt/tags/tag529.xml><?xml version="1.0" encoding="utf-8"?>
<p:tagLst xmlns:a="http://schemas.openxmlformats.org/drawingml/2006/main" xmlns:r="http://schemas.openxmlformats.org/officeDocument/2006/relationships" xmlns:p="http://schemas.openxmlformats.org/presentationml/2006/main">
  <p:tag name="AS_UNIQUEID" val="8926"/>
</p:tagLst>
</file>

<file path=ppt/tags/tag53.xml><?xml version="1.0" encoding="utf-8"?>
<p:tagLst xmlns:a="http://schemas.openxmlformats.org/drawingml/2006/main" xmlns:r="http://schemas.openxmlformats.org/officeDocument/2006/relationships" xmlns:p="http://schemas.openxmlformats.org/presentationml/2006/main">
  <p:tag name="AS_UNIQUEID" val="12530"/>
</p:tagLst>
</file>

<file path=ppt/tags/tag530.xml><?xml version="1.0" encoding="utf-8"?>
<p:tagLst xmlns:a="http://schemas.openxmlformats.org/drawingml/2006/main" xmlns:r="http://schemas.openxmlformats.org/officeDocument/2006/relationships" xmlns:p="http://schemas.openxmlformats.org/presentationml/2006/main">
  <p:tag name="AS_UNIQUEID" val="8908"/>
</p:tagLst>
</file>

<file path=ppt/tags/tag531.xml><?xml version="1.0" encoding="utf-8"?>
<p:tagLst xmlns:a="http://schemas.openxmlformats.org/drawingml/2006/main" xmlns:r="http://schemas.openxmlformats.org/officeDocument/2006/relationships" xmlns:p="http://schemas.openxmlformats.org/presentationml/2006/main">
  <p:tag name="AS_UNIQUEID" val="8911"/>
</p:tagLst>
</file>

<file path=ppt/tags/tag532.xml><?xml version="1.0" encoding="utf-8"?>
<p:tagLst xmlns:a="http://schemas.openxmlformats.org/drawingml/2006/main" xmlns:r="http://schemas.openxmlformats.org/officeDocument/2006/relationships" xmlns:p="http://schemas.openxmlformats.org/presentationml/2006/main">
  <p:tag name="AS_UNIQUEID" val="8914"/>
</p:tagLst>
</file>

<file path=ppt/tags/tag533.xml><?xml version="1.0" encoding="utf-8"?>
<p:tagLst xmlns:a="http://schemas.openxmlformats.org/drawingml/2006/main" xmlns:r="http://schemas.openxmlformats.org/officeDocument/2006/relationships" xmlns:p="http://schemas.openxmlformats.org/presentationml/2006/main">
  <p:tag name="AS_UNIQUEID" val="8917"/>
</p:tagLst>
</file>

<file path=ppt/tags/tag534.xml><?xml version="1.0" encoding="utf-8"?>
<p:tagLst xmlns:a="http://schemas.openxmlformats.org/drawingml/2006/main" xmlns:r="http://schemas.openxmlformats.org/officeDocument/2006/relationships" xmlns:p="http://schemas.openxmlformats.org/presentationml/2006/main">
  <p:tag name="AS_UNIQUEID" val="8926"/>
</p:tagLst>
</file>

<file path=ppt/tags/tag535.xml><?xml version="1.0" encoding="utf-8"?>
<p:tagLst xmlns:a="http://schemas.openxmlformats.org/drawingml/2006/main" xmlns:r="http://schemas.openxmlformats.org/officeDocument/2006/relationships" xmlns:p="http://schemas.openxmlformats.org/presentationml/2006/main">
  <p:tag name="AS_UNIQUEID" val="8927"/>
</p:tagLst>
</file>

<file path=ppt/tags/tag536.xml><?xml version="1.0" encoding="utf-8"?>
<p:tagLst xmlns:a="http://schemas.openxmlformats.org/drawingml/2006/main" xmlns:r="http://schemas.openxmlformats.org/officeDocument/2006/relationships" xmlns:p="http://schemas.openxmlformats.org/presentationml/2006/main">
  <p:tag name="AS_UNIQUEID" val="8928"/>
</p:tagLst>
</file>

<file path=ppt/tags/tag537.xml><?xml version="1.0" encoding="utf-8"?>
<p:tagLst xmlns:a="http://schemas.openxmlformats.org/drawingml/2006/main" xmlns:r="http://schemas.openxmlformats.org/officeDocument/2006/relationships" xmlns:p="http://schemas.openxmlformats.org/presentationml/2006/main">
  <p:tag name="AS_UNIQUEID" val="8935"/>
</p:tagLst>
</file>

<file path=ppt/tags/tag538.xml><?xml version="1.0" encoding="utf-8"?>
<p:tagLst xmlns:a="http://schemas.openxmlformats.org/drawingml/2006/main" xmlns:r="http://schemas.openxmlformats.org/officeDocument/2006/relationships" xmlns:p="http://schemas.openxmlformats.org/presentationml/2006/main">
  <p:tag name="AS_UNIQUEID" val="8938"/>
</p:tagLst>
</file>

<file path=ppt/tags/tag539.xml><?xml version="1.0" encoding="utf-8"?>
<p:tagLst xmlns:a="http://schemas.openxmlformats.org/drawingml/2006/main" xmlns:r="http://schemas.openxmlformats.org/officeDocument/2006/relationships" xmlns:p="http://schemas.openxmlformats.org/presentationml/2006/main">
  <p:tag name="AS_UNIQUEID" val="8942"/>
</p:tagLst>
</file>

<file path=ppt/tags/tag54.xml><?xml version="1.0" encoding="utf-8"?>
<p:tagLst xmlns:a="http://schemas.openxmlformats.org/drawingml/2006/main" xmlns:r="http://schemas.openxmlformats.org/officeDocument/2006/relationships" xmlns:p="http://schemas.openxmlformats.org/presentationml/2006/main">
  <p:tag name="AS_UNIQUEID" val="12531"/>
</p:tagLst>
</file>

<file path=ppt/tags/tag540.xml><?xml version="1.0" encoding="utf-8"?>
<p:tagLst xmlns:a="http://schemas.openxmlformats.org/drawingml/2006/main" xmlns:r="http://schemas.openxmlformats.org/officeDocument/2006/relationships" xmlns:p="http://schemas.openxmlformats.org/presentationml/2006/main">
  <p:tag name="AS_UNIQUEID" val="8909"/>
</p:tagLst>
</file>

<file path=ppt/tags/tag541.xml><?xml version="1.0" encoding="utf-8"?>
<p:tagLst xmlns:a="http://schemas.openxmlformats.org/drawingml/2006/main" xmlns:r="http://schemas.openxmlformats.org/officeDocument/2006/relationships" xmlns:p="http://schemas.openxmlformats.org/presentationml/2006/main">
  <p:tag name="AS_UNIQUEID" val="8910"/>
</p:tagLst>
</file>

<file path=ppt/tags/tag542.xml><?xml version="1.0" encoding="utf-8"?>
<p:tagLst xmlns:a="http://schemas.openxmlformats.org/drawingml/2006/main" xmlns:r="http://schemas.openxmlformats.org/officeDocument/2006/relationships" xmlns:p="http://schemas.openxmlformats.org/presentationml/2006/main">
  <p:tag name="AS_UNIQUEID" val="8915"/>
</p:tagLst>
</file>

<file path=ppt/tags/tag543.xml><?xml version="1.0" encoding="utf-8"?>
<p:tagLst xmlns:a="http://schemas.openxmlformats.org/drawingml/2006/main" xmlns:r="http://schemas.openxmlformats.org/officeDocument/2006/relationships" xmlns:p="http://schemas.openxmlformats.org/presentationml/2006/main">
  <p:tag name="AS_UNIQUEID" val="8936"/>
</p:tagLst>
</file>

<file path=ppt/tags/tag544.xml><?xml version="1.0" encoding="utf-8"?>
<p:tagLst xmlns:a="http://schemas.openxmlformats.org/drawingml/2006/main" xmlns:r="http://schemas.openxmlformats.org/officeDocument/2006/relationships" xmlns:p="http://schemas.openxmlformats.org/presentationml/2006/main">
  <p:tag name="AS_UNIQUEID" val="8937"/>
</p:tagLst>
</file>

<file path=ppt/tags/tag545.xml><?xml version="1.0" encoding="utf-8"?>
<p:tagLst xmlns:a="http://schemas.openxmlformats.org/drawingml/2006/main" xmlns:r="http://schemas.openxmlformats.org/officeDocument/2006/relationships" xmlns:p="http://schemas.openxmlformats.org/presentationml/2006/main">
  <p:tag name="AS_UNIQUEID" val="8916"/>
</p:tagLst>
</file>

<file path=ppt/tags/tag546.xml><?xml version="1.0" encoding="utf-8"?>
<p:tagLst xmlns:a="http://schemas.openxmlformats.org/drawingml/2006/main" xmlns:r="http://schemas.openxmlformats.org/officeDocument/2006/relationships" xmlns:p="http://schemas.openxmlformats.org/presentationml/2006/main">
  <p:tag name="AS_UNIQUEID" val="8927"/>
</p:tagLst>
</file>

<file path=ppt/tags/tag547.xml><?xml version="1.0" encoding="utf-8"?>
<p:tagLst xmlns:a="http://schemas.openxmlformats.org/drawingml/2006/main" xmlns:r="http://schemas.openxmlformats.org/officeDocument/2006/relationships" xmlns:p="http://schemas.openxmlformats.org/presentationml/2006/main">
  <p:tag name="AS_UNIQUEID" val="8928"/>
</p:tagLst>
</file>

<file path=ppt/tags/tag548.xml><?xml version="1.0" encoding="utf-8"?>
<p:tagLst xmlns:a="http://schemas.openxmlformats.org/drawingml/2006/main" xmlns:r="http://schemas.openxmlformats.org/officeDocument/2006/relationships" xmlns:p="http://schemas.openxmlformats.org/presentationml/2006/main">
  <p:tag name="AS_UNIQUEID" val="8915"/>
</p:tagLst>
</file>

<file path=ppt/tags/tag549.xml><?xml version="1.0" encoding="utf-8"?>
<p:tagLst xmlns:a="http://schemas.openxmlformats.org/drawingml/2006/main" xmlns:r="http://schemas.openxmlformats.org/officeDocument/2006/relationships" xmlns:p="http://schemas.openxmlformats.org/presentationml/2006/main">
  <p:tag name="AS_UNIQUEID" val="8916"/>
</p:tagLst>
</file>

<file path=ppt/tags/tag55.xml><?xml version="1.0" encoding="utf-8"?>
<p:tagLst xmlns:a="http://schemas.openxmlformats.org/drawingml/2006/main" xmlns:r="http://schemas.openxmlformats.org/officeDocument/2006/relationships" xmlns:p="http://schemas.openxmlformats.org/presentationml/2006/main">
  <p:tag name="AS_UNIQUEID" val="12532"/>
</p:tagLst>
</file>

<file path=ppt/tags/tag550.xml><?xml version="1.0" encoding="utf-8"?>
<p:tagLst xmlns:a="http://schemas.openxmlformats.org/drawingml/2006/main" xmlns:r="http://schemas.openxmlformats.org/officeDocument/2006/relationships" xmlns:p="http://schemas.openxmlformats.org/presentationml/2006/main">
  <p:tag name="AS_UNIQUEID" val="8943"/>
</p:tagLst>
</file>

<file path=ppt/tags/tag551.xml><?xml version="1.0" encoding="utf-8"?>
<p:tagLst xmlns:a="http://schemas.openxmlformats.org/drawingml/2006/main" xmlns:r="http://schemas.openxmlformats.org/officeDocument/2006/relationships" xmlns:p="http://schemas.openxmlformats.org/presentationml/2006/main">
  <p:tag name="AS_UNIQUEID" val="8944"/>
</p:tagLst>
</file>

<file path=ppt/tags/tag552.xml><?xml version="1.0" encoding="utf-8"?>
<p:tagLst xmlns:a="http://schemas.openxmlformats.org/drawingml/2006/main" xmlns:r="http://schemas.openxmlformats.org/officeDocument/2006/relationships" xmlns:p="http://schemas.openxmlformats.org/presentationml/2006/main">
  <p:tag name="AS_UNIQUEID" val="8943"/>
</p:tagLst>
</file>

<file path=ppt/tags/tag553.xml><?xml version="1.0" encoding="utf-8"?>
<p:tagLst xmlns:a="http://schemas.openxmlformats.org/drawingml/2006/main" xmlns:r="http://schemas.openxmlformats.org/officeDocument/2006/relationships" xmlns:p="http://schemas.openxmlformats.org/presentationml/2006/main">
  <p:tag name="AS_UNIQUEID" val="8944"/>
</p:tagLst>
</file>

<file path=ppt/tags/tag554.xml><?xml version="1.0" encoding="utf-8"?>
<p:tagLst xmlns:a="http://schemas.openxmlformats.org/drawingml/2006/main" xmlns:r="http://schemas.openxmlformats.org/officeDocument/2006/relationships" xmlns:p="http://schemas.openxmlformats.org/presentationml/2006/main">
  <p:tag name="AS_UNIQUEID" val="8939"/>
</p:tagLst>
</file>

<file path=ppt/tags/tag555.xml><?xml version="1.0" encoding="utf-8"?>
<p:tagLst xmlns:a="http://schemas.openxmlformats.org/drawingml/2006/main" xmlns:r="http://schemas.openxmlformats.org/officeDocument/2006/relationships" xmlns:p="http://schemas.openxmlformats.org/presentationml/2006/main">
  <p:tag name="AS_UNIQUEID" val="8940"/>
</p:tagLst>
</file>

<file path=ppt/tags/tag556.xml><?xml version="1.0" encoding="utf-8"?>
<p:tagLst xmlns:a="http://schemas.openxmlformats.org/drawingml/2006/main" xmlns:r="http://schemas.openxmlformats.org/officeDocument/2006/relationships" xmlns:p="http://schemas.openxmlformats.org/presentationml/2006/main">
  <p:tag name="AS_UNIQUEID" val="8918"/>
</p:tagLst>
</file>

<file path=ppt/tags/tag557.xml><?xml version="1.0" encoding="utf-8"?>
<p:tagLst xmlns:a="http://schemas.openxmlformats.org/drawingml/2006/main" xmlns:r="http://schemas.openxmlformats.org/officeDocument/2006/relationships" xmlns:p="http://schemas.openxmlformats.org/presentationml/2006/main">
  <p:tag name="AS_UNIQUEID" val="8919"/>
</p:tagLst>
</file>

<file path=ppt/tags/tag558.xml><?xml version="1.0" encoding="utf-8"?>
<p:tagLst xmlns:a="http://schemas.openxmlformats.org/drawingml/2006/main" xmlns:r="http://schemas.openxmlformats.org/officeDocument/2006/relationships" xmlns:p="http://schemas.openxmlformats.org/presentationml/2006/main">
  <p:tag name="AS_UNIQUEID" val="8918"/>
</p:tagLst>
</file>

<file path=ppt/tags/tag559.xml><?xml version="1.0" encoding="utf-8"?>
<p:tagLst xmlns:a="http://schemas.openxmlformats.org/drawingml/2006/main" xmlns:r="http://schemas.openxmlformats.org/officeDocument/2006/relationships" xmlns:p="http://schemas.openxmlformats.org/presentationml/2006/main">
  <p:tag name="AS_UNIQUEID" val="8919"/>
</p:tagLst>
</file>

<file path=ppt/tags/tag56.xml><?xml version="1.0" encoding="utf-8"?>
<p:tagLst xmlns:a="http://schemas.openxmlformats.org/drawingml/2006/main" xmlns:r="http://schemas.openxmlformats.org/officeDocument/2006/relationships" xmlns:p="http://schemas.openxmlformats.org/presentationml/2006/main">
  <p:tag name="AS_UNIQUEID" val="12533"/>
</p:tagLst>
</file>

<file path=ppt/tags/tag560.xml><?xml version="1.0" encoding="utf-8"?>
<p:tagLst xmlns:a="http://schemas.openxmlformats.org/drawingml/2006/main" xmlns:r="http://schemas.openxmlformats.org/officeDocument/2006/relationships" xmlns:p="http://schemas.openxmlformats.org/presentationml/2006/main">
  <p:tag name="AS_UNIQUEID" val="8912"/>
</p:tagLst>
</file>

<file path=ppt/tags/tag561.xml><?xml version="1.0" encoding="utf-8"?>
<p:tagLst xmlns:a="http://schemas.openxmlformats.org/drawingml/2006/main" xmlns:r="http://schemas.openxmlformats.org/officeDocument/2006/relationships" xmlns:p="http://schemas.openxmlformats.org/presentationml/2006/main">
  <p:tag name="AS_UNIQUEID" val="8913"/>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AS_UNIQUEID" val="12534"/>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S_UNIQUEID" val="12569"/>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61.xml><?xml version="1.0" encoding="utf-8"?>
<p:tagLst xmlns:a="http://schemas.openxmlformats.org/drawingml/2006/main" xmlns:r="http://schemas.openxmlformats.org/officeDocument/2006/relationships" xmlns:p="http://schemas.openxmlformats.org/presentationml/2006/main">
  <p:tag name="SHAPENAME" val="4. Footnote"/>
</p:tagLst>
</file>

<file path=ppt/tags/tag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xml><?xml version="1.0" encoding="utf-8"?>
<p:tagLst xmlns:a="http://schemas.openxmlformats.org/drawingml/2006/main" xmlns:r="http://schemas.openxmlformats.org/officeDocument/2006/relationships" xmlns:p="http://schemas.openxmlformats.org/presentationml/2006/main">
  <p:tag name="NAME" val="ACET"/>
</p:tagLst>
</file>

<file path=ppt/tags/tag64.xml><?xml version="1.0" encoding="utf-8"?>
<p:tagLst xmlns:a="http://schemas.openxmlformats.org/drawingml/2006/main" xmlns:r="http://schemas.openxmlformats.org/officeDocument/2006/relationships" xmlns:p="http://schemas.openxmlformats.org/presentationml/2006/main">
  <p:tag name="SHAPENAME" val="Grid"/>
</p:tagLst>
</file>

<file path=ppt/tags/tag65.xml><?xml version="1.0" encoding="utf-8"?>
<p:tagLst xmlns:a="http://schemas.openxmlformats.org/drawingml/2006/main" xmlns:r="http://schemas.openxmlformats.org/officeDocument/2006/relationships" xmlns:p="http://schemas.openxmlformats.org/presentationml/2006/main">
  <p:tag name="NAME" val="Moon"/>
</p:tagLst>
</file>

<file path=ppt/tags/tag66.xml><?xml version="1.0" encoding="utf-8"?>
<p:tagLst xmlns:a="http://schemas.openxmlformats.org/drawingml/2006/main" xmlns:r="http://schemas.openxmlformats.org/officeDocument/2006/relationships" xmlns:p="http://schemas.openxmlformats.org/presentationml/2006/main">
  <p:tag name="NAME" val="Moon"/>
</p:tagLst>
</file>

<file path=ppt/tags/tag67.xml><?xml version="1.0" encoding="utf-8"?>
<p:tagLst xmlns:a="http://schemas.openxmlformats.org/drawingml/2006/main" xmlns:r="http://schemas.openxmlformats.org/officeDocument/2006/relationships" xmlns:p="http://schemas.openxmlformats.org/presentationml/2006/main">
  <p:tag name="NAME" val="Moon"/>
</p:tagLst>
</file>

<file path=ppt/tags/tag68.xml><?xml version="1.0" encoding="utf-8"?>
<p:tagLst xmlns:a="http://schemas.openxmlformats.org/drawingml/2006/main" xmlns:r="http://schemas.openxmlformats.org/officeDocument/2006/relationships" xmlns:p="http://schemas.openxmlformats.org/presentationml/2006/main">
  <p:tag name="NAME" val="Moon"/>
</p:tagLst>
</file>

<file path=ppt/tags/tag69.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AS_UNIQUEID" val="12570"/>
</p:tagLst>
</file>

<file path=ppt/tags/tag70.xml><?xml version="1.0" encoding="utf-8"?>
<p:tagLst xmlns:a="http://schemas.openxmlformats.org/drawingml/2006/main" xmlns:r="http://schemas.openxmlformats.org/officeDocument/2006/relationships" xmlns:p="http://schemas.openxmlformats.org/presentationml/2006/main">
  <p:tag name="ANGLE" val="5"/>
</p:tagLst>
</file>

<file path=ppt/tags/tag71.xml><?xml version="1.0" encoding="utf-8"?>
<p:tagLst xmlns:a="http://schemas.openxmlformats.org/drawingml/2006/main" xmlns:r="http://schemas.openxmlformats.org/officeDocument/2006/relationships" xmlns:p="http://schemas.openxmlformats.org/presentationml/2006/main">
  <p:tag name="ANGLE" val="5"/>
</p:tagLst>
</file>

<file path=ppt/tags/tag72.xml><?xml version="1.0" encoding="utf-8"?>
<p:tagLst xmlns:a="http://schemas.openxmlformats.org/drawingml/2006/main" xmlns:r="http://schemas.openxmlformats.org/officeDocument/2006/relationships" xmlns:p="http://schemas.openxmlformats.org/presentationml/2006/main">
  <p:tag name="ANGLE" val="4"/>
</p:tagLst>
</file>

<file path=ppt/tags/tag73.xml><?xml version="1.0" encoding="utf-8"?>
<p:tagLst xmlns:a="http://schemas.openxmlformats.org/drawingml/2006/main" xmlns:r="http://schemas.openxmlformats.org/officeDocument/2006/relationships" xmlns:p="http://schemas.openxmlformats.org/presentationml/2006/main">
  <p:tag name="ANGLE" val="4"/>
</p:tagLst>
</file>

<file path=ppt/tags/tag74.xml><?xml version="1.0" encoding="utf-8"?>
<p:tagLst xmlns:a="http://schemas.openxmlformats.org/drawingml/2006/main" xmlns:r="http://schemas.openxmlformats.org/officeDocument/2006/relationships" xmlns:p="http://schemas.openxmlformats.org/presentationml/2006/main">
  <p:tag name="ANGLE" val="3"/>
</p:tagLst>
</file>

<file path=ppt/tags/tag75.xml><?xml version="1.0" encoding="utf-8"?>
<p:tagLst xmlns:a="http://schemas.openxmlformats.org/drawingml/2006/main" xmlns:r="http://schemas.openxmlformats.org/officeDocument/2006/relationships" xmlns:p="http://schemas.openxmlformats.org/presentationml/2006/main">
  <p:tag name="ANGLE" val="3"/>
</p:tagLst>
</file>

<file path=ppt/tags/tag76.xml><?xml version="1.0" encoding="utf-8"?>
<p:tagLst xmlns:a="http://schemas.openxmlformats.org/drawingml/2006/main" xmlns:r="http://schemas.openxmlformats.org/officeDocument/2006/relationships" xmlns:p="http://schemas.openxmlformats.org/presentationml/2006/main">
  <p:tag name="ANGLE" val="2"/>
</p:tagLst>
</file>

<file path=ppt/tags/tag77.xml><?xml version="1.0" encoding="utf-8"?>
<p:tagLst xmlns:a="http://schemas.openxmlformats.org/drawingml/2006/main" xmlns:r="http://schemas.openxmlformats.org/officeDocument/2006/relationships" xmlns:p="http://schemas.openxmlformats.org/presentationml/2006/main">
  <p:tag name="ANGLE" val="2"/>
</p:tagLst>
</file>

<file path=ppt/tags/tag78.xml><?xml version="1.0" encoding="utf-8"?>
<p:tagLst xmlns:a="http://schemas.openxmlformats.org/drawingml/2006/main" xmlns:r="http://schemas.openxmlformats.org/officeDocument/2006/relationships" xmlns:p="http://schemas.openxmlformats.org/presentationml/2006/main">
  <p:tag name="ANGLE" val="1"/>
</p:tagLst>
</file>

<file path=ppt/tags/tag79.xml><?xml version="1.0" encoding="utf-8"?>
<p:tagLst xmlns:a="http://schemas.openxmlformats.org/drawingml/2006/main" xmlns:r="http://schemas.openxmlformats.org/officeDocument/2006/relationships" xmlns:p="http://schemas.openxmlformats.org/presentationml/2006/main">
  <p:tag name="ANGLE" val="1"/>
</p:tagLst>
</file>

<file path=ppt/tags/tag8.xml><?xml version="1.0" encoding="utf-8"?>
<p:tagLst xmlns:a="http://schemas.openxmlformats.org/drawingml/2006/main" xmlns:r="http://schemas.openxmlformats.org/officeDocument/2006/relationships" xmlns:p="http://schemas.openxmlformats.org/presentationml/2006/main">
  <p:tag name="AS_UNIQUEID" val="12571"/>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8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3.xml><?xml version="1.0" encoding="utf-8"?>
<p:tagLst xmlns:a="http://schemas.openxmlformats.org/drawingml/2006/main" xmlns:r="http://schemas.openxmlformats.org/officeDocument/2006/relationships" xmlns:p="http://schemas.openxmlformats.org/presentationml/2006/main">
  <p:tag name="SHAPENAME" val="Subtitle"/>
</p:tagLst>
</file>

<file path=ppt/tags/tag84.xml><?xml version="1.0" encoding="utf-8"?>
<p:tagLst xmlns:a="http://schemas.openxmlformats.org/drawingml/2006/main" xmlns:r="http://schemas.openxmlformats.org/officeDocument/2006/relationships" xmlns:p="http://schemas.openxmlformats.org/presentationml/2006/main">
  <p:tag name="SHAPENAME" val="Titl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xml><?xml version="1.0" encoding="utf-8"?>
<p:tagLst xmlns:a="http://schemas.openxmlformats.org/drawingml/2006/main" xmlns:r="http://schemas.openxmlformats.org/officeDocument/2006/relationships" xmlns:p="http://schemas.openxmlformats.org/presentationml/2006/main">
  <p:tag name="SHAPENAME" val="5. Source"/>
</p:tagLst>
</file>

<file path=ppt/tags/tag9.xml><?xml version="1.0" encoding="utf-8"?>
<p:tagLst xmlns:a="http://schemas.openxmlformats.org/drawingml/2006/main" xmlns:r="http://schemas.openxmlformats.org/officeDocument/2006/relationships" xmlns:p="http://schemas.openxmlformats.org/presentationml/2006/main">
  <p:tag name="AS_UNIQUEID" val="12448"/>
</p:tagLst>
</file>

<file path=ppt/tags/tag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FrieslandCampina">
  <a:themeElements>
    <a:clrScheme name="FC-Corporate">
      <a:dk1>
        <a:srgbClr val="2C353A"/>
      </a:dk1>
      <a:lt1>
        <a:srgbClr val="FFFFFF"/>
      </a:lt1>
      <a:dk2>
        <a:srgbClr val="2C353A"/>
      </a:dk2>
      <a:lt2>
        <a:srgbClr val="FFFFFF"/>
      </a:lt2>
      <a:accent1>
        <a:srgbClr val="0094D9"/>
      </a:accent1>
      <a:accent2>
        <a:srgbClr val="39B54A"/>
      </a:accent2>
      <a:accent3>
        <a:srgbClr val="F7931E"/>
      </a:accent3>
      <a:accent4>
        <a:srgbClr val="EC008C"/>
      </a:accent4>
      <a:accent5>
        <a:srgbClr val="D7DF23"/>
      </a:accent5>
      <a:accent6>
        <a:srgbClr val="ED1C24"/>
      </a:accent6>
      <a:hlink>
        <a:srgbClr val="2C353A"/>
      </a:hlink>
      <a:folHlink>
        <a:srgbClr val="2C353A"/>
      </a:folHlink>
    </a:clrScheme>
    <a:fontScheme name="Etten-Leur">
      <a:majorFont>
        <a:latin typeface="Verdana"/>
        <a:ea typeface=""/>
        <a:cs typeface=""/>
      </a:majorFont>
      <a:minorFont>
        <a:latin typeface="Verdana"/>
        <a:ea typeface=""/>
        <a:cs typeface=""/>
      </a:minorFont>
    </a:fontScheme>
    <a:fmtScheme name="Kantoorth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lnSpc>
            <a:spcPct val="112000"/>
          </a:lnSpc>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lgn="l">
          <a:lnSpc>
            <a:spcPct val="112000"/>
          </a:lnSpc>
          <a:defRPr sz="1400" dirty="0" smtClean="0"/>
        </a:defPPr>
      </a:lstStyle>
    </a:txDef>
  </a:objectDefaults>
  <a:extraClrSchemeLst/>
  <a:custClrLst>
    <a:custClr name="Secondary 1">
      <a:srgbClr val="74BDE9"/>
    </a:custClr>
    <a:custClr name="Secondary 2">
      <a:srgbClr val="A2D39B"/>
    </a:custClr>
    <a:custClr name="Secondary 3">
      <a:srgbClr val="FDC689"/>
    </a:custClr>
    <a:custClr name="Secondary 4">
      <a:srgbClr val="F49AC1"/>
    </a:custClr>
    <a:custClr name="Secondary 5">
      <a:srgbClr val="DFEC9A"/>
    </a:custClr>
    <a:custClr name="Secondary 6">
      <a:srgbClr val="F69679"/>
    </a:custClr>
    <a:custClr>
      <a:srgbClr val="FFFFFF"/>
    </a:custClr>
    <a:custClr>
      <a:srgbClr val="FFFFFF"/>
    </a:custClr>
    <a:custClr>
      <a:srgbClr val="FFFFFF"/>
    </a:custClr>
    <a:custClr>
      <a:srgbClr val="FFFFFF"/>
    </a:custClr>
    <a:custClr name="Tertiary 1">
      <a:srgbClr val="DCE7F7"/>
    </a:custClr>
    <a:custClr name="Tertiary 2">
      <a:srgbClr val="DBF0D8"/>
    </a:custClr>
    <a:custClr name="Tertiary 3">
      <a:srgbClr val="F7E1CB"/>
    </a:custClr>
    <a:custClr name="Tertiary 4">
      <a:srgbClr val="F9DBEA"/>
    </a:custClr>
    <a:custClr name="Tertiary 5">
      <a:srgbClr val="F7F7D5"/>
    </a:custClr>
    <a:custClr name="Tertiary 6">
      <a:srgbClr val="FADBD2"/>
    </a:custClr>
    <a:custClr>
      <a:srgbClr val="FFFFFF"/>
    </a:custClr>
    <a:custClr>
      <a:srgbClr val="FFFFFF"/>
    </a:custClr>
    <a:custClr>
      <a:srgbClr val="FFFFFF"/>
    </a:custClr>
    <a:custClr>
      <a:srgbClr val="FFFFFF"/>
    </a:custClr>
    <a:custClr name="Dark 1">
      <a:srgbClr val="004A6D"/>
    </a:custClr>
    <a:custClr name="Dark 2">
      <a:srgbClr val="1C5B25"/>
    </a:custClr>
    <a:custClr name="Dark 3">
      <a:srgbClr val="7C4A0F"/>
    </a:custClr>
    <a:custClr name="Dark 4">
      <a:srgbClr val="760046"/>
    </a:custClr>
    <a:custClr name="Dark 5">
      <a:srgbClr val="6C7011"/>
    </a:custClr>
    <a:custClr name="Dark 6">
      <a:srgbClr val="760E12"/>
    </a:custClr>
    <a:custClr>
      <a:srgbClr val="FFFFFF"/>
    </a:custClr>
    <a:custClr>
      <a:srgbClr val="FFFFFF"/>
    </a:custClr>
    <a:custClr>
      <a:srgbClr val="FFFFFF"/>
    </a:custClr>
    <a:custClr>
      <a:srgbClr val="FFFFFF"/>
    </a:custClr>
    <a:custClr name="Quaternary 1">
      <a:srgbClr val="EEF3FB"/>
    </a:custClr>
    <a:custClr name="Black">
      <a:srgbClr val="2C353A"/>
    </a:custClr>
    <a:custClr name="Gray">
      <a:srgbClr val="6E6F72"/>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1. Template 2023 incl Nourishing by nature logo.potx" id="{EE487467-7799-4F01-B413-026CFA9216E0}" vid="{6D3BD52B-E966-4A68-9891-CD3B7F17EFE4}"/>
    </a:ext>
  </a:extLst>
</a:theme>
</file>

<file path=ppt/theme/theme10.xml><?xml version="1.0" encoding="utf-8"?>
<a:theme xmlns:a="http://schemas.openxmlformats.org/drawingml/2006/main" name="1_Analyst Template Content Slides">
  <a:themeElements>
    <a:clrScheme name="Innova 2023">
      <a:dk1>
        <a:srgbClr val="0D0740"/>
      </a:dk1>
      <a:lt1>
        <a:sysClr val="window" lastClr="FFFFFF"/>
      </a:lt1>
      <a:dk2>
        <a:srgbClr val="0D0740"/>
      </a:dk2>
      <a:lt2>
        <a:srgbClr val="FF5100"/>
      </a:lt2>
      <a:accent1>
        <a:srgbClr val="0E0642"/>
      </a:accent1>
      <a:accent2>
        <a:srgbClr val="FF5100"/>
      </a:accent2>
      <a:accent3>
        <a:srgbClr val="68D15D"/>
      </a:accent3>
      <a:accent4>
        <a:srgbClr val="A8B9FF"/>
      </a:accent4>
      <a:accent5>
        <a:srgbClr val="FF9D73"/>
      </a:accent5>
      <a:accent6>
        <a:srgbClr val="0A6D00"/>
      </a:accent6>
      <a:hlink>
        <a:srgbClr val="FF5100"/>
      </a:hlink>
      <a:folHlink>
        <a:srgbClr val="FF5100"/>
      </a:folHlink>
    </a:clrScheme>
    <a:fontScheme name="Innova_Font">
      <a:majorFont>
        <a:latin typeface="Calibri"/>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5_FC Ingredients">
  <a:themeElements>
    <a:clrScheme name="FrieslandCampina">
      <a:dk1>
        <a:srgbClr val="3F4043"/>
      </a:dk1>
      <a:lt1>
        <a:srgbClr val="FFFFFF"/>
      </a:lt1>
      <a:dk2>
        <a:srgbClr val="3F4043"/>
      </a:dk2>
      <a:lt2>
        <a:srgbClr val="FFFFFF"/>
      </a:lt2>
      <a:accent1>
        <a:srgbClr val="0094D9"/>
      </a:accent1>
      <a:accent2>
        <a:srgbClr val="39B54A"/>
      </a:accent2>
      <a:accent3>
        <a:srgbClr val="D7DF23"/>
      </a:accent3>
      <a:accent4>
        <a:srgbClr val="EC008C"/>
      </a:accent4>
      <a:accent5>
        <a:srgbClr val="ED1C24"/>
      </a:accent5>
      <a:accent6>
        <a:srgbClr val="F7931E"/>
      </a:accent6>
      <a:hlink>
        <a:srgbClr val="3F4043"/>
      </a:hlink>
      <a:folHlink>
        <a:srgbClr val="3F4043"/>
      </a:folHlink>
    </a:clrScheme>
    <a:fontScheme name="Etten-Leur">
      <a:majorFont>
        <a:latin typeface="Verdana"/>
        <a:ea typeface=""/>
        <a:cs typeface=""/>
      </a:majorFont>
      <a:minorFont>
        <a:latin typeface="Verdana"/>
        <a:ea typeface=""/>
        <a:cs typeface=""/>
      </a:minorFont>
    </a:fontScheme>
    <a:fmtScheme name="Kantoorth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lnSpc>
            <a:spcPct val="112000"/>
          </a:lnSpc>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lgn="l">
          <a:lnSpc>
            <a:spcPct val="112000"/>
          </a:lnSpc>
          <a:defRPr sz="1400" dirty="0" smtClean="0"/>
        </a:defPPr>
      </a:lstStyle>
    </a:txDef>
  </a:objectDefaults>
  <a:extraClrSchemeLst/>
  <a:extLst>
    <a:ext uri="{05A4C25C-085E-4340-85A3-A5531E510DB2}">
      <thm15:themeFamily xmlns:thm15="http://schemas.microsoft.com/office/thememl/2012/main" name="FrieslandCampina Ingredients PPT 16x9 template 2019 WIP versie 3.potx" id="{116787CD-BBF2-4C34-9803-8CE0FE533194}" vid="{53D38922-0930-4A84-B79B-4AC3504F2AA0}"/>
    </a:ext>
  </a:extLst>
</a:theme>
</file>

<file path=ppt/theme/theme12.xml><?xml version="1.0" encoding="utf-8"?>
<a:theme xmlns:a="http://schemas.openxmlformats.org/drawingml/2006/main" name="6_FC Ingredients">
  <a:themeElements>
    <a:clrScheme name="FrieslandCampina">
      <a:dk1>
        <a:srgbClr val="3F4043"/>
      </a:dk1>
      <a:lt1>
        <a:srgbClr val="FFFFFF"/>
      </a:lt1>
      <a:dk2>
        <a:srgbClr val="3F4043"/>
      </a:dk2>
      <a:lt2>
        <a:srgbClr val="FFFFFF"/>
      </a:lt2>
      <a:accent1>
        <a:srgbClr val="0094D9"/>
      </a:accent1>
      <a:accent2>
        <a:srgbClr val="39B54A"/>
      </a:accent2>
      <a:accent3>
        <a:srgbClr val="D7DF23"/>
      </a:accent3>
      <a:accent4>
        <a:srgbClr val="EC008C"/>
      </a:accent4>
      <a:accent5>
        <a:srgbClr val="ED1C24"/>
      </a:accent5>
      <a:accent6>
        <a:srgbClr val="F7931E"/>
      </a:accent6>
      <a:hlink>
        <a:srgbClr val="3F4043"/>
      </a:hlink>
      <a:folHlink>
        <a:srgbClr val="3F4043"/>
      </a:folHlink>
    </a:clrScheme>
    <a:fontScheme name="Etten-Leur">
      <a:majorFont>
        <a:latin typeface="Verdana"/>
        <a:ea typeface=""/>
        <a:cs typeface=""/>
      </a:majorFont>
      <a:minorFont>
        <a:latin typeface="Verdana"/>
        <a:ea typeface=""/>
        <a:cs typeface=""/>
      </a:minorFont>
    </a:fontScheme>
    <a:fmtScheme name="Kantoorth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lnSpc>
            <a:spcPct val="112000"/>
          </a:lnSpc>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lgn="l">
          <a:lnSpc>
            <a:spcPct val="112000"/>
          </a:lnSpc>
          <a:defRPr sz="1400" dirty="0" smtClean="0"/>
        </a:defPPr>
      </a:lstStyle>
    </a:txDef>
  </a:objectDefaults>
  <a:extraClrSchemeLst/>
  <a:extLst>
    <a:ext uri="{05A4C25C-085E-4340-85A3-A5531E510DB2}">
      <thm15:themeFamily xmlns:thm15="http://schemas.microsoft.com/office/thememl/2012/main" name="FrieslandCampina Ingredients PPT 16x9 template 2019 WIP versie 3.potx" id="{116787CD-BBF2-4C34-9803-8CE0FE533194}" vid="{53D38922-0930-4A84-B79B-4AC3504F2AA0}"/>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FC Ingredients">
  <a:themeElements>
    <a:clrScheme name="FrieslandCampina">
      <a:dk1>
        <a:srgbClr val="3F4043"/>
      </a:dk1>
      <a:lt1>
        <a:srgbClr val="FFFFFF"/>
      </a:lt1>
      <a:dk2>
        <a:srgbClr val="3F4043"/>
      </a:dk2>
      <a:lt2>
        <a:srgbClr val="FFFFFF"/>
      </a:lt2>
      <a:accent1>
        <a:srgbClr val="0094D9"/>
      </a:accent1>
      <a:accent2>
        <a:srgbClr val="39B54A"/>
      </a:accent2>
      <a:accent3>
        <a:srgbClr val="D7DF23"/>
      </a:accent3>
      <a:accent4>
        <a:srgbClr val="EC008C"/>
      </a:accent4>
      <a:accent5>
        <a:srgbClr val="ED1C24"/>
      </a:accent5>
      <a:accent6>
        <a:srgbClr val="F7931E"/>
      </a:accent6>
      <a:hlink>
        <a:srgbClr val="3F4043"/>
      </a:hlink>
      <a:folHlink>
        <a:srgbClr val="3F4043"/>
      </a:folHlink>
    </a:clrScheme>
    <a:fontScheme name="Etten-Leur">
      <a:majorFont>
        <a:latin typeface="Verdana"/>
        <a:ea typeface=""/>
        <a:cs typeface=""/>
      </a:majorFont>
      <a:minorFont>
        <a:latin typeface="Verdana"/>
        <a:ea typeface=""/>
        <a:cs typeface=""/>
      </a:minorFont>
    </a:fontScheme>
    <a:fmtScheme name="Kantoorth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lnSpc>
            <a:spcPct val="112000"/>
          </a:lnSpc>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lgn="l">
          <a:lnSpc>
            <a:spcPct val="112000"/>
          </a:lnSpc>
          <a:defRPr sz="1400" dirty="0" smtClean="0"/>
        </a:defPPr>
      </a:lstStyle>
    </a:txDef>
  </a:objectDefaults>
  <a:extraClrSchemeLst/>
  <a:extLst>
    <a:ext uri="{05A4C25C-085E-4340-85A3-A5531E510DB2}">
      <thm15:themeFamily xmlns:thm15="http://schemas.microsoft.com/office/thememl/2012/main" name="FrieslandCampina Ingredients PPT 16x9 template 2019 WIP versie 3.potx" id="{116787CD-BBF2-4C34-9803-8CE0FE533194}" vid="{53D38922-0930-4A84-B79B-4AC3504F2AA0}"/>
    </a:ext>
  </a:extLst>
</a:theme>
</file>

<file path=ppt/theme/theme3.xml><?xml version="1.0" encoding="utf-8"?>
<a:theme xmlns:a="http://schemas.openxmlformats.org/drawingml/2006/main" name="1_White">
  <a:themeElements>
    <a:clrScheme name="Scheme1">
      <a:dk1>
        <a:srgbClr val="3F4043"/>
      </a:dk1>
      <a:lt1>
        <a:srgbClr val="FFFFFF"/>
      </a:lt1>
      <a:dk2>
        <a:srgbClr val="FFFFFF"/>
      </a:dk2>
      <a:lt2>
        <a:srgbClr val="FFFFFF"/>
      </a:lt2>
      <a:accent1>
        <a:srgbClr val="0094D9"/>
      </a:accent1>
      <a:accent2>
        <a:srgbClr val="39B54A"/>
      </a:accent2>
      <a:accent3>
        <a:srgbClr val="D7DF23"/>
      </a:accent3>
      <a:accent4>
        <a:srgbClr val="EC008C"/>
      </a:accent4>
      <a:accent5>
        <a:srgbClr val="ED1C24"/>
      </a:accent5>
      <a:accent6>
        <a:srgbClr val="F7931E"/>
      </a:accent6>
      <a:hlink>
        <a:srgbClr val="0000FF"/>
      </a:hlink>
      <a:folHlink>
        <a:srgbClr val="800080"/>
      </a:folHlink>
    </a:clrScheme>
    <a:fontScheme name="Custom">
      <a:majorFont>
        <a:latin typeface="Verdana"/>
        <a:ea typeface=""/>
        <a:cs typeface=""/>
      </a:majorFont>
      <a:minorFont>
        <a:latin typeface="Verdana"/>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3F4043"/>
        </a:dk1>
        <a:lt1>
          <a:srgbClr val="FFFFFF"/>
        </a:lt1>
        <a:dk2>
          <a:srgbClr val="FFFFFF"/>
        </a:dk2>
        <a:lt2>
          <a:srgbClr val="FFFFFF"/>
        </a:lt2>
        <a:accent1>
          <a:srgbClr val="0094D9"/>
        </a:accent1>
        <a:accent2>
          <a:srgbClr val="39B54A"/>
        </a:accent2>
        <a:accent3>
          <a:srgbClr val="D7DF23"/>
        </a:accent3>
        <a:accent4>
          <a:srgbClr val="EC008C"/>
        </a:accent4>
        <a:accent5>
          <a:srgbClr val="ED1C24"/>
        </a:accent5>
        <a:accent6>
          <a:srgbClr val="F7931E"/>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Presentation2" id="{40F0C28D-059A-43DD-A740-8B36583F68BD}" vid="{6C2A9E15-9F41-4B66-8A09-DBC2A61959B8}"/>
    </a:ext>
  </a:extLst>
</a:theme>
</file>

<file path=ppt/theme/theme4.xml><?xml version="1.0" encoding="utf-8"?>
<a:theme xmlns:a="http://schemas.openxmlformats.org/drawingml/2006/main" name="22_FC Ingredients">
  <a:themeElements>
    <a:clrScheme name="FrieslandCampina">
      <a:dk1>
        <a:srgbClr val="3F4043"/>
      </a:dk1>
      <a:lt1>
        <a:srgbClr val="FFFFFF"/>
      </a:lt1>
      <a:dk2>
        <a:srgbClr val="3F4043"/>
      </a:dk2>
      <a:lt2>
        <a:srgbClr val="FFFFFF"/>
      </a:lt2>
      <a:accent1>
        <a:srgbClr val="0094D9"/>
      </a:accent1>
      <a:accent2>
        <a:srgbClr val="39B54A"/>
      </a:accent2>
      <a:accent3>
        <a:srgbClr val="D7DF23"/>
      </a:accent3>
      <a:accent4>
        <a:srgbClr val="EC008C"/>
      </a:accent4>
      <a:accent5>
        <a:srgbClr val="ED1C24"/>
      </a:accent5>
      <a:accent6>
        <a:srgbClr val="F7931E"/>
      </a:accent6>
      <a:hlink>
        <a:srgbClr val="3F4043"/>
      </a:hlink>
      <a:folHlink>
        <a:srgbClr val="3F4043"/>
      </a:folHlink>
    </a:clrScheme>
    <a:fontScheme name="Etten-Leur">
      <a:majorFont>
        <a:latin typeface="Verdana"/>
        <a:ea typeface=""/>
        <a:cs typeface=""/>
      </a:majorFont>
      <a:minorFont>
        <a:latin typeface="Verdana"/>
        <a:ea typeface=""/>
        <a:cs typeface=""/>
      </a:minorFont>
    </a:fontScheme>
    <a:fmtScheme name="Kantoorth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lnSpc>
            <a:spcPct val="112000"/>
          </a:lnSpc>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lgn="l">
          <a:lnSpc>
            <a:spcPct val="112000"/>
          </a:lnSpc>
          <a:defRPr sz="1400" dirty="0" smtClean="0"/>
        </a:defPPr>
      </a:lstStyle>
    </a:txDef>
  </a:objectDefaults>
  <a:extraClrSchemeLst/>
  <a:extLst>
    <a:ext uri="{05A4C25C-085E-4340-85A3-A5531E510DB2}">
      <thm15:themeFamily xmlns:thm15="http://schemas.microsoft.com/office/thememl/2012/main" name="FrieslandCampina Ingredients PPT 16x9 template 2019 WIP versie 3.potx" id="{116787CD-BBF2-4C34-9803-8CE0FE533194}" vid="{53D38922-0930-4A84-B79B-4AC3504F2AA0}"/>
    </a:ext>
  </a:extLst>
</a:theme>
</file>

<file path=ppt/theme/theme5.xml><?xml version="1.0" encoding="utf-8"?>
<a:theme xmlns:a="http://schemas.openxmlformats.org/drawingml/2006/main" name="Contrast">
  <a:themeElements>
    <a:clrScheme name="Scheme2">
      <a:dk1>
        <a:srgbClr val="FFFFFF"/>
      </a:dk1>
      <a:lt1>
        <a:srgbClr val="0094D9"/>
      </a:lt1>
      <a:dk2>
        <a:srgbClr val="3F4043"/>
      </a:dk2>
      <a:lt2>
        <a:srgbClr val="3F4043"/>
      </a:lt2>
      <a:accent1>
        <a:srgbClr val="FFFFFF"/>
      </a:accent1>
      <a:accent2>
        <a:srgbClr val="39B54A"/>
      </a:accent2>
      <a:accent3>
        <a:srgbClr val="D7DF23"/>
      </a:accent3>
      <a:accent4>
        <a:srgbClr val="EC008C"/>
      </a:accent4>
      <a:accent5>
        <a:srgbClr val="ED1C24"/>
      </a:accent5>
      <a:accent6>
        <a:srgbClr val="F7931E"/>
      </a:accent6>
      <a:hlink>
        <a:srgbClr val="0000FF"/>
      </a:hlink>
      <a:folHlink>
        <a:srgbClr val="800080"/>
      </a:folHlink>
    </a:clrScheme>
    <a:fontScheme name="Custom">
      <a:majorFont>
        <a:latin typeface="Verdana"/>
        <a:ea typeface=""/>
        <a:cs typeface=""/>
      </a:majorFont>
      <a:minorFont>
        <a:latin typeface="Verdana"/>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0094D9"/>
        </a:lt1>
        <a:dk2>
          <a:srgbClr val="3F4043"/>
        </a:dk2>
        <a:lt2>
          <a:srgbClr val="3F4043"/>
        </a:lt2>
        <a:accent1>
          <a:srgbClr val="FFFFFF"/>
        </a:accent1>
        <a:accent2>
          <a:srgbClr val="39B54A"/>
        </a:accent2>
        <a:accent3>
          <a:srgbClr val="D7DF23"/>
        </a:accent3>
        <a:accent4>
          <a:srgbClr val="EC008C"/>
        </a:accent4>
        <a:accent5>
          <a:srgbClr val="ED1C24"/>
        </a:accent5>
        <a:accent6>
          <a:srgbClr val="F7931E"/>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Presentation2" id="{40F0C28D-059A-43DD-A740-8B36583F68BD}" vid="{4A821D22-05A0-4FA2-8DD2-22B474BE148A}"/>
    </a:ext>
  </a:extLst>
</a:theme>
</file>

<file path=ppt/theme/theme6.xml><?xml version="1.0" encoding="utf-8"?>
<a:theme xmlns:a="http://schemas.openxmlformats.org/drawingml/2006/main" name="1_FC Ingredients">
  <a:themeElements>
    <a:clrScheme name="FrieslandCampina">
      <a:dk1>
        <a:srgbClr val="3F4043"/>
      </a:dk1>
      <a:lt1>
        <a:srgbClr val="FFFFFF"/>
      </a:lt1>
      <a:dk2>
        <a:srgbClr val="3F4043"/>
      </a:dk2>
      <a:lt2>
        <a:srgbClr val="FFFFFF"/>
      </a:lt2>
      <a:accent1>
        <a:srgbClr val="0094D9"/>
      </a:accent1>
      <a:accent2>
        <a:srgbClr val="39B54A"/>
      </a:accent2>
      <a:accent3>
        <a:srgbClr val="D7DF23"/>
      </a:accent3>
      <a:accent4>
        <a:srgbClr val="EC008C"/>
      </a:accent4>
      <a:accent5>
        <a:srgbClr val="ED1C24"/>
      </a:accent5>
      <a:accent6>
        <a:srgbClr val="F7931E"/>
      </a:accent6>
      <a:hlink>
        <a:srgbClr val="3F4043"/>
      </a:hlink>
      <a:folHlink>
        <a:srgbClr val="3F4043"/>
      </a:folHlink>
    </a:clrScheme>
    <a:fontScheme name="Etten-Leur">
      <a:majorFont>
        <a:latin typeface="Verdana"/>
        <a:ea typeface=""/>
        <a:cs typeface=""/>
      </a:majorFont>
      <a:minorFont>
        <a:latin typeface="Verdana"/>
        <a:ea typeface=""/>
        <a:cs typeface=""/>
      </a:minorFont>
    </a:fontScheme>
    <a:fmtScheme name="Kantoorth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lnSpc>
            <a:spcPct val="112000"/>
          </a:lnSpc>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lgn="l">
          <a:lnSpc>
            <a:spcPct val="112000"/>
          </a:lnSpc>
          <a:defRPr sz="1400" dirty="0" smtClean="0"/>
        </a:defPPr>
      </a:lstStyle>
    </a:txDef>
  </a:objectDefaults>
  <a:extraClrSchemeLst/>
  <a:extLst>
    <a:ext uri="{05A4C25C-085E-4340-85A3-A5531E510DB2}">
      <thm15:themeFamily xmlns:thm15="http://schemas.microsoft.com/office/thememl/2012/main" name="FrieslandCampina Ingredients PPT 16x9 template 2019 WIP versie 3.potx" id="{116787CD-BBF2-4C34-9803-8CE0FE533194}" vid="{53D38922-0930-4A84-B79B-4AC3504F2AA0}"/>
    </a:ext>
  </a:extLst>
</a:theme>
</file>

<file path=ppt/theme/theme7.xml><?xml version="1.0" encoding="utf-8"?>
<a:theme xmlns:a="http://schemas.openxmlformats.org/drawingml/2006/main" name="2_FC Ingredients">
  <a:themeElements>
    <a:clrScheme name="FrieslandCampina">
      <a:dk1>
        <a:srgbClr val="3F4043"/>
      </a:dk1>
      <a:lt1>
        <a:srgbClr val="FFFFFF"/>
      </a:lt1>
      <a:dk2>
        <a:srgbClr val="3F4043"/>
      </a:dk2>
      <a:lt2>
        <a:srgbClr val="FFFFFF"/>
      </a:lt2>
      <a:accent1>
        <a:srgbClr val="0094D9"/>
      </a:accent1>
      <a:accent2>
        <a:srgbClr val="39B54A"/>
      </a:accent2>
      <a:accent3>
        <a:srgbClr val="D7DF23"/>
      </a:accent3>
      <a:accent4>
        <a:srgbClr val="EC008C"/>
      </a:accent4>
      <a:accent5>
        <a:srgbClr val="ED1C24"/>
      </a:accent5>
      <a:accent6>
        <a:srgbClr val="F7931E"/>
      </a:accent6>
      <a:hlink>
        <a:srgbClr val="3F4043"/>
      </a:hlink>
      <a:folHlink>
        <a:srgbClr val="3F4043"/>
      </a:folHlink>
    </a:clrScheme>
    <a:fontScheme name="Etten-Leur">
      <a:majorFont>
        <a:latin typeface="Verdana"/>
        <a:ea typeface=""/>
        <a:cs typeface=""/>
      </a:majorFont>
      <a:minorFont>
        <a:latin typeface="Verdana"/>
        <a:ea typeface=""/>
        <a:cs typeface=""/>
      </a:minorFont>
    </a:fontScheme>
    <a:fmtScheme name="Kantoorth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lnSpc>
            <a:spcPct val="112000"/>
          </a:lnSpc>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lgn="l">
          <a:lnSpc>
            <a:spcPct val="112000"/>
          </a:lnSpc>
          <a:defRPr sz="1400" dirty="0" smtClean="0"/>
        </a:defPPr>
      </a:lstStyle>
    </a:txDef>
  </a:objectDefaults>
  <a:extraClrSchemeLst/>
  <a:extLst>
    <a:ext uri="{05A4C25C-085E-4340-85A3-A5531E510DB2}">
      <thm15:themeFamily xmlns:thm15="http://schemas.microsoft.com/office/thememl/2012/main" name="FrieslandCampina Ingredients PPT 16x9 template 2019 WIP versie 3.potx" id="{116787CD-BBF2-4C34-9803-8CE0FE533194}" vid="{53D38922-0930-4A84-B79B-4AC3504F2AA0}"/>
    </a:ext>
  </a:extLst>
</a:theme>
</file>

<file path=ppt/theme/theme8.xml><?xml version="1.0" encoding="utf-8"?>
<a:theme xmlns:a="http://schemas.openxmlformats.org/drawingml/2006/main" name="14_FC Ingredients">
  <a:themeElements>
    <a:clrScheme name="FrieslandCampina">
      <a:dk1>
        <a:srgbClr val="3F4043"/>
      </a:dk1>
      <a:lt1>
        <a:srgbClr val="FFFFFF"/>
      </a:lt1>
      <a:dk2>
        <a:srgbClr val="3F4043"/>
      </a:dk2>
      <a:lt2>
        <a:srgbClr val="FFFFFF"/>
      </a:lt2>
      <a:accent1>
        <a:srgbClr val="0094D9"/>
      </a:accent1>
      <a:accent2>
        <a:srgbClr val="39B54A"/>
      </a:accent2>
      <a:accent3>
        <a:srgbClr val="D7DF23"/>
      </a:accent3>
      <a:accent4>
        <a:srgbClr val="EC008C"/>
      </a:accent4>
      <a:accent5>
        <a:srgbClr val="ED1C24"/>
      </a:accent5>
      <a:accent6>
        <a:srgbClr val="F7931E"/>
      </a:accent6>
      <a:hlink>
        <a:srgbClr val="3F4043"/>
      </a:hlink>
      <a:folHlink>
        <a:srgbClr val="3F4043"/>
      </a:folHlink>
    </a:clrScheme>
    <a:fontScheme name="Etten-Leur">
      <a:majorFont>
        <a:latin typeface="Verdana"/>
        <a:ea typeface=""/>
        <a:cs typeface=""/>
      </a:majorFont>
      <a:minorFont>
        <a:latin typeface="Verdana"/>
        <a:ea typeface=""/>
        <a:cs typeface=""/>
      </a:minorFont>
    </a:fontScheme>
    <a:fmtScheme name="Kantoorth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lnSpc>
            <a:spcPct val="112000"/>
          </a:lnSpc>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lgn="l">
          <a:lnSpc>
            <a:spcPct val="112000"/>
          </a:lnSpc>
          <a:defRPr sz="1400" dirty="0" smtClean="0"/>
        </a:defPPr>
      </a:lstStyle>
    </a:txDef>
  </a:objectDefaults>
  <a:extraClrSchemeLst/>
  <a:extLst>
    <a:ext uri="{05A4C25C-085E-4340-85A3-A5531E510DB2}">
      <thm15:themeFamily xmlns:thm15="http://schemas.microsoft.com/office/thememl/2012/main" name="FrieslandCampina Ingredients PPT 16x9 template 2019 WIP versie 3.potx" id="{116787CD-BBF2-4C34-9803-8CE0FE533194}" vid="{53D38922-0930-4A84-B79B-4AC3504F2AA0}"/>
    </a:ext>
  </a:extLst>
</a:theme>
</file>

<file path=ppt/theme/theme9.xml><?xml version="1.0" encoding="utf-8"?>
<a:theme xmlns:a="http://schemas.openxmlformats.org/drawingml/2006/main" name="4_FC Ingredients">
  <a:themeElements>
    <a:clrScheme name="FrieslandCampina">
      <a:dk1>
        <a:srgbClr val="3F4043"/>
      </a:dk1>
      <a:lt1>
        <a:srgbClr val="FFFFFF"/>
      </a:lt1>
      <a:dk2>
        <a:srgbClr val="3F4043"/>
      </a:dk2>
      <a:lt2>
        <a:srgbClr val="FFFFFF"/>
      </a:lt2>
      <a:accent1>
        <a:srgbClr val="0094D9"/>
      </a:accent1>
      <a:accent2>
        <a:srgbClr val="39B54A"/>
      </a:accent2>
      <a:accent3>
        <a:srgbClr val="D7DF23"/>
      </a:accent3>
      <a:accent4>
        <a:srgbClr val="EC008C"/>
      </a:accent4>
      <a:accent5>
        <a:srgbClr val="ED1C24"/>
      </a:accent5>
      <a:accent6>
        <a:srgbClr val="F7931E"/>
      </a:accent6>
      <a:hlink>
        <a:srgbClr val="3F4043"/>
      </a:hlink>
      <a:folHlink>
        <a:srgbClr val="3F4043"/>
      </a:folHlink>
    </a:clrScheme>
    <a:fontScheme name="Etten-Leur">
      <a:majorFont>
        <a:latin typeface="Verdana"/>
        <a:ea typeface=""/>
        <a:cs typeface=""/>
      </a:majorFont>
      <a:minorFont>
        <a:latin typeface="Verdana"/>
        <a:ea typeface=""/>
        <a:cs typeface=""/>
      </a:minorFont>
    </a:fontScheme>
    <a:fmtScheme name="Kantoorth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lnSpc>
            <a:spcPct val="112000"/>
          </a:lnSpc>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lgn="l">
          <a:lnSpc>
            <a:spcPct val="112000"/>
          </a:lnSpc>
          <a:defRPr sz="1400" dirty="0" smtClean="0"/>
        </a:defPPr>
      </a:lstStyle>
    </a:txDef>
  </a:objectDefaults>
  <a:extraClrSchemeLst/>
  <a:extLst>
    <a:ext uri="{05A4C25C-085E-4340-85A3-A5531E510DB2}">
      <thm15:themeFamily xmlns:thm15="http://schemas.microsoft.com/office/thememl/2012/main" name="FrieslandCampina Ingredients PPT 16x9 template 2019 WIP versie 3.potx" id="{116787CD-BBF2-4C34-9803-8CE0FE533194}" vid="{53D38922-0930-4A84-B79B-4AC3504F2AA0}"/>
    </a:ext>
  </a:extLst>
</a:theme>
</file>

<file path=ppt/theme/themeOverride1.xml><?xml version="1.0" encoding="utf-8"?>
<a:themeOverride xmlns:a="http://schemas.openxmlformats.org/drawingml/2006/main">
  <a:clrScheme name="FrieslandCampina">
    <a:dk1>
      <a:srgbClr val="3F4043"/>
    </a:dk1>
    <a:lt1>
      <a:srgbClr val="FFFFFF"/>
    </a:lt1>
    <a:dk2>
      <a:srgbClr val="3F4043"/>
    </a:dk2>
    <a:lt2>
      <a:srgbClr val="FFFFFF"/>
    </a:lt2>
    <a:accent1>
      <a:srgbClr val="0094D9"/>
    </a:accent1>
    <a:accent2>
      <a:srgbClr val="39B54A"/>
    </a:accent2>
    <a:accent3>
      <a:srgbClr val="D7DF23"/>
    </a:accent3>
    <a:accent4>
      <a:srgbClr val="EC008C"/>
    </a:accent4>
    <a:accent5>
      <a:srgbClr val="ED1C24"/>
    </a:accent5>
    <a:accent6>
      <a:srgbClr val="F7931E"/>
    </a:accent6>
    <a:hlink>
      <a:srgbClr val="3F4043"/>
    </a:hlink>
    <a:folHlink>
      <a:srgbClr val="3F4043"/>
    </a:folHlink>
  </a:clrScheme>
  <a:fontScheme name="Etten-Leur">
    <a:majorFont>
      <a:latin typeface="Verdana"/>
      <a:ea typeface=""/>
      <a:cs typeface=""/>
    </a:majorFont>
    <a:minorFont>
      <a:latin typeface="Verdana"/>
      <a:ea typeface=""/>
      <a:cs typeface=""/>
    </a:minorFont>
  </a:fontScheme>
  <a:fmtScheme name="Kantoorth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FrieslandCampina">
    <a:dk1>
      <a:srgbClr val="3F4043"/>
    </a:dk1>
    <a:lt1>
      <a:srgbClr val="FFFFFF"/>
    </a:lt1>
    <a:dk2>
      <a:srgbClr val="3F4043"/>
    </a:dk2>
    <a:lt2>
      <a:srgbClr val="FFFFFF"/>
    </a:lt2>
    <a:accent1>
      <a:srgbClr val="0094D9"/>
    </a:accent1>
    <a:accent2>
      <a:srgbClr val="39B54A"/>
    </a:accent2>
    <a:accent3>
      <a:srgbClr val="D7DF23"/>
    </a:accent3>
    <a:accent4>
      <a:srgbClr val="EC008C"/>
    </a:accent4>
    <a:accent5>
      <a:srgbClr val="ED1C24"/>
    </a:accent5>
    <a:accent6>
      <a:srgbClr val="F7931E"/>
    </a:accent6>
    <a:hlink>
      <a:srgbClr val="3F4043"/>
    </a:hlink>
    <a:folHlink>
      <a:srgbClr val="3F4043"/>
    </a:folHlink>
  </a:clrScheme>
  <a:fontScheme name="Etten-Leur">
    <a:majorFont>
      <a:latin typeface="Verdana"/>
      <a:ea typeface=""/>
      <a:cs typeface=""/>
    </a:majorFont>
    <a:minorFont>
      <a:latin typeface="Verdana"/>
      <a:ea typeface=""/>
      <a:cs typeface=""/>
    </a:minorFont>
  </a:fontScheme>
  <a:fmtScheme name="Kantoorth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6BB22ED71031B41A9395CA24635EF5C" ma:contentTypeVersion="14" ma:contentTypeDescription="Create a new document." ma:contentTypeScope="" ma:versionID="ecd013a5fef3096ed9c97ec2dc1d09d1">
  <xsd:schema xmlns:xsd="http://www.w3.org/2001/XMLSchema" xmlns:xs="http://www.w3.org/2001/XMLSchema" xmlns:p="http://schemas.microsoft.com/office/2006/metadata/properties" xmlns:ns2="3cb47db3-bf86-45d5-be0d-a965a693a267" xmlns:ns3="2a76e2b6-48cc-4231-8e20-836ebd331984" targetNamespace="http://schemas.microsoft.com/office/2006/metadata/properties" ma:root="true" ma:fieldsID="9525ef1cb78265669ee8b31f85c02640" ns2:_="" ns3:_="">
    <xsd:import namespace="3cb47db3-bf86-45d5-be0d-a965a693a267"/>
    <xsd:import namespace="2a76e2b6-48cc-4231-8e20-836ebd33198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ObjectDetectorVersions" minOccurs="0"/>
                <xsd:element ref="ns2:MediaServiceSearchProperties" minOccurs="0"/>
                <xsd:element ref="ns2:MediaServiceGenerationTime" minOccurs="0"/>
                <xsd:element ref="ns2:MediaServiceEventHashCode" minOccurs="0"/>
                <xsd:element ref="ns2:lcf76f155ced4ddcb4097134ff3c332f" minOccurs="0"/>
                <xsd:element ref="ns3:TaxCatchAll"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cb47db3-bf86-45d5-be0d-a965a693a26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5916c95a-6096-4fd1-ad46-e32d8cb0c71e"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a76e2b6-48cc-4231-8e20-836ebd331984"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b001361d-023c-462b-a0a7-b1418c8aae4a}" ma:internalName="TaxCatchAll" ma:showField="CatchAllData" ma:web="2a76e2b6-48cc-4231-8e20-836ebd331984">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3cb47db3-bf86-45d5-be0d-a965a693a267">
      <Terms xmlns="http://schemas.microsoft.com/office/infopath/2007/PartnerControls"/>
    </lcf76f155ced4ddcb4097134ff3c332f>
    <TaxCatchAll xmlns="2a76e2b6-48cc-4231-8e20-836ebd331984" xsi:nil="true"/>
  </documentManagement>
</p:properties>
</file>

<file path=customXml/itemProps1.xml><?xml version="1.0" encoding="utf-8"?>
<ds:datastoreItem xmlns:ds="http://schemas.openxmlformats.org/officeDocument/2006/customXml" ds:itemID="{4B50A6F1-347B-431F-9D27-4BE810006184}">
  <ds:schemaRefs>
    <ds:schemaRef ds:uri="http://schemas.microsoft.com/sharepoint/v3/contenttype/forms"/>
  </ds:schemaRefs>
</ds:datastoreItem>
</file>

<file path=customXml/itemProps2.xml><?xml version="1.0" encoding="utf-8"?>
<ds:datastoreItem xmlns:ds="http://schemas.openxmlformats.org/officeDocument/2006/customXml" ds:itemID="{067BBD4D-7FD6-4B81-9B6C-FEB6F7634E2A}">
  <ds:schemaRefs>
    <ds:schemaRef ds:uri="2a76e2b6-48cc-4231-8e20-836ebd331984"/>
    <ds:schemaRef ds:uri="3cb47db3-bf86-45d5-be0d-a965a693a26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334F5048-B2AB-43A0-85BF-2DBEC104B0E5}">
  <ds:schemaRefs>
    <ds:schemaRef ds:uri="2a76e2b6-48cc-4231-8e20-836ebd331984"/>
    <ds:schemaRef ds:uri="3cb47db3-bf86-45d5-be0d-a965a693a26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0</TotalTime>
  <Words>3469</Words>
  <Application>Microsoft Office PowerPoint</Application>
  <PresentationFormat>Widescreen</PresentationFormat>
  <Paragraphs>579</Paragraphs>
  <Slides>32</Slides>
  <Notes>18</Notes>
  <HiddenSlides>0</HiddenSlides>
  <MMClips>0</MMClips>
  <ScaleCrop>false</ScaleCrop>
  <HeadingPairs>
    <vt:vector size="8" baseType="variant">
      <vt:variant>
        <vt:lpstr>Fonts Used</vt:lpstr>
      </vt:variant>
      <vt:variant>
        <vt:i4>16</vt:i4>
      </vt:variant>
      <vt:variant>
        <vt:lpstr>Theme</vt:lpstr>
      </vt:variant>
      <vt:variant>
        <vt:i4>12</vt:i4>
      </vt:variant>
      <vt:variant>
        <vt:lpstr>Embedded OLE Servers</vt:lpstr>
      </vt:variant>
      <vt:variant>
        <vt:i4>1</vt:i4>
      </vt:variant>
      <vt:variant>
        <vt:lpstr>Slide Titles</vt:lpstr>
      </vt:variant>
      <vt:variant>
        <vt:i4>32</vt:i4>
      </vt:variant>
    </vt:vector>
  </HeadingPairs>
  <TitlesOfParts>
    <vt:vector size="61" baseType="lpstr">
      <vt:lpstr>CentraNo1</vt:lpstr>
      <vt:lpstr>Inter</vt:lpstr>
      <vt:lpstr>Proxima Nova Rg</vt:lpstr>
      <vt:lpstr>verdana, 9</vt:lpstr>
      <vt:lpstr>Verdana-Bold</vt:lpstr>
      <vt:lpstr>Arial</vt:lpstr>
      <vt:lpstr>Calibri</vt:lpstr>
      <vt:lpstr>Courier New</vt:lpstr>
      <vt:lpstr>Lato</vt:lpstr>
      <vt:lpstr>open sans</vt:lpstr>
      <vt:lpstr>open sans</vt:lpstr>
      <vt:lpstr>Segoe UI</vt:lpstr>
      <vt:lpstr>Symbol</vt:lpstr>
      <vt:lpstr>Times New Roman</vt:lpstr>
      <vt:lpstr>Verdana</vt:lpstr>
      <vt:lpstr>Wingdings</vt:lpstr>
      <vt:lpstr>1_FrieslandCampina</vt:lpstr>
      <vt:lpstr>3_FC Ingredients</vt:lpstr>
      <vt:lpstr>1_White</vt:lpstr>
      <vt:lpstr>22_FC Ingredients</vt:lpstr>
      <vt:lpstr>Contrast</vt:lpstr>
      <vt:lpstr>1_FC Ingredients</vt:lpstr>
      <vt:lpstr>2_FC Ingredients</vt:lpstr>
      <vt:lpstr>14_FC Ingredients</vt:lpstr>
      <vt:lpstr>4_FC Ingredients</vt:lpstr>
      <vt:lpstr>1_Analyst Template Content Slides</vt:lpstr>
      <vt:lpstr>5_FC Ingredients</vt:lpstr>
      <vt:lpstr>6_FC Ingredients</vt:lpstr>
      <vt:lpstr>think-cell Slide</vt:lpstr>
      <vt:lpstr>PowerPoint Presentation</vt:lpstr>
      <vt:lpstr>Katie Verlaan</vt:lpstr>
      <vt:lpstr>Yoghurt: Tried, tested and trusted – now reimagined  </vt:lpstr>
      <vt:lpstr>Globally, Yogurt is a growing market, with plain (spoonable) yogurt category showing the highest projected growth </vt:lpstr>
      <vt:lpstr>Although a declining market, the future of yoghurt in China is in no way bleak. Flattening decline &amp; very positive consumer trends.</vt:lpstr>
      <vt:lpstr>We see at least 3 significant and different ways to either grow the market, or grow your share within the market</vt:lpstr>
      <vt:lpstr>There is opportunity in positioning around health &amp; pleasure, and exploring different occasions (time of day consumption)</vt:lpstr>
      <vt:lpstr>PowerPoint Presentation</vt:lpstr>
      <vt:lpstr>Our kids, the future thinkers, creators, and leaders</vt:lpstr>
      <vt:lpstr>Market China | An “all-in-one” solution is desired from the Chinese parents</vt:lpstr>
      <vt:lpstr>Consumers are changing their attitude towards a more preventative &amp; holistic approach to health  </vt:lpstr>
      <vt:lpstr>Aging population is increasing worldwide, and the geography of the world's oldest countries is shifting from Europe towards SE Asia by 2050</vt:lpstr>
      <vt:lpstr>Generational approach: different generations, different needs</vt:lpstr>
      <vt:lpstr>Whilst small, we see that Functional yoghurts are growing significantly, and adding value to the category </vt:lpstr>
      <vt:lpstr>Actually, functionality is becoming a norm in the yoghurt innovation landscape</vt:lpstr>
      <vt:lpstr>PowerPoint Presentation</vt:lpstr>
      <vt:lpstr>The Anti Obesity Medicines (AOMs): market is much bigger and growing faster than anticipated</vt:lpstr>
      <vt:lpstr>Anti Obesity Medicines (AOMs):</vt:lpstr>
      <vt:lpstr>The impact of GLP-1 drugs beyond diabetes and weight loss opportunities for companion products</vt:lpstr>
      <vt:lpstr>PowerPoint Presentation</vt:lpstr>
      <vt:lpstr>These are a few of the challenges we hear about</vt:lpstr>
      <vt:lpstr>So, what's the  secret to success?</vt:lpstr>
      <vt:lpstr>Casein Protein: from underdog to champion</vt:lpstr>
      <vt:lpstr>How to level up your high protein drink/ yoghurt </vt:lpstr>
      <vt:lpstr>GOS offers improved sensory experience </vt:lpstr>
      <vt:lpstr>PowerPoint Presentation</vt:lpstr>
      <vt:lpstr>Our facts &amp; figures 2024 – FrieslandCampina Ingredients</vt:lpstr>
      <vt:lpstr>We are FrieslandCampina Ingredients  </vt:lpstr>
      <vt:lpstr>Everything we do, starts with the end consumer in mind</vt:lpstr>
      <vt:lpstr>We are proud to nourish people around the globe with our ingredients</vt:lpstr>
      <vt:lpstr>Acting in many parts of the innovation process and collaborating, can provide brand owners with know-how and speed to market in these area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erlaan, K. (Katie)</dc:creator>
  <cp:lastModifiedBy>HAO, H. (Harold)</cp:lastModifiedBy>
  <cp:revision>6</cp:revision>
  <dcterms:created xsi:type="dcterms:W3CDTF">2025-04-11T12:37:26Z</dcterms:created>
  <dcterms:modified xsi:type="dcterms:W3CDTF">2025-04-18T02:48: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6BB22ED71031B41A9395CA24635EF5C</vt:lpwstr>
  </property>
  <property fmtid="{D5CDD505-2E9C-101B-9397-08002B2CF9AE}" pid="3" name="MediaServiceImageTags">
    <vt:lpwstr/>
  </property>
</Properties>
</file>